
<file path=[Content_Types].xml><?xml version="1.0" encoding="utf-8"?>
<Types xmlns="http://schemas.openxmlformats.org/package/2006/content-types">
  <Default ContentType="image/jpeg" Extension="jpeg"/>
  <Default ContentType="image/png" Extension="pn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showSpecialPlsOnTitleSld="0" saveSubsetFonts="1">
  <p:sldMasterIdLst>
    <p:sldMasterId id="2147483648" r:id="rId1"/>
    <p:sldMasterId id="2147483660" r:id="rId2"/>
  </p:sldMasterIdLst>
  <p:notesMasterIdLst>
    <p:notesMasterId r:id="rId3"/>
  </p:notesMasterIdLst>
  <p:sldIdLst>
    <p:sldId id="261" r:id="rId4"/>
    <p:sldId id="267" r:id="rId5"/>
    <p:sldId id="283" r:id="rId6"/>
    <p:sldId id="291" r:id="rId7"/>
    <p:sldId id="300" r:id="rId8"/>
    <p:sldId id="292" r:id="rId9"/>
    <p:sldId id="281" r:id="rId10"/>
    <p:sldId id="270" r:id="rId11"/>
    <p:sldId id="271" r:id="rId12"/>
    <p:sldId id="272" r:id="rId13"/>
    <p:sldId id="282" r:id="rId14"/>
    <p:sldId id="285" r:id="rId15"/>
    <p:sldId id="273" r:id="rId16"/>
    <p:sldId id="274" r:id="rId17"/>
    <p:sldId id="295" r:id="rId18"/>
    <p:sldId id="275" r:id="rId19"/>
    <p:sldId id="293" r:id="rId20"/>
    <p:sldId id="296" r:id="rId21"/>
    <p:sldId id="294" r:id="rId22"/>
    <p:sldId id="286" r:id="rId23"/>
    <p:sldId id="266" r:id="rId24"/>
    <p:sldId id="262" r:id="rId25"/>
    <p:sldId id="301" r:id="rId26"/>
    <p:sldId id="302" r:id="rId27"/>
    <p:sldId id="303" r:id="rId28"/>
    <p:sldId id="287" r:id="rId29"/>
    <p:sldId id="263" r:id="rId30"/>
    <p:sldId id="297" r:id="rId31"/>
    <p:sldId id="298" r:id="rId32"/>
    <p:sldId id="288" r:id="rId33"/>
    <p:sldId id="289" r:id="rId34"/>
    <p:sldId id="290" r:id="rId35"/>
    <p:sldId id="304" r:id="rId36"/>
  </p:sldIdLst>
  <p:sldSz cx="12192000" cy="6858000"/>
  <p:notesSz cx="6858000" cy="9144000"/>
  <p:custDataLst>
    <p:tags r:id="rId3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4" d="100"/>
          <a:sy n="84" d="100"/>
        </p:scale>
        <p:origin x="378" y="84"/>
      </p:cViewPr>
      <p:guideLst/>
    </p:cSldViewPr>
  </p:slideViewPr>
  <p:notesTextViewPr>
    <p:cViewPr>
      <p:scale>
        <a:sx n="1" d="1"/>
        <a:sy n="1" d="1"/>
      </p:scale>
      <p:origin x="0" y="0"/>
    </p:cViewPr>
  </p:notesTextViewPr>
  <p:sorterViewPr>
    <p:cViewPr varScale="1">
      <p:scale>
        <a:sx n="100" d="100"/>
        <a:sy n="100" d="100"/>
      </p:scale>
      <p:origin x="0" y="-7146"/>
    </p:cViewPr>
  </p:sorterViewPr>
  <p:notesViewPr>
    <p:cSldViewPr>
      <p:cViewPr>
        <p:scale>
          <a:sx n="1" d="100"/>
          <a:sy n="1" d="100"/>
        </p:scale>
        <p:origin x="0" y="0"/>
      </p:cViewPr>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7.xml" Type="http://schemas.openxmlformats.org/officeDocument/2006/relationships/slide"/><Relationship Id="rId11" Target="slides/slide8.xml" Type="http://schemas.openxmlformats.org/officeDocument/2006/relationships/slide"/><Relationship Id="rId12" Target="slides/slide9.xml" Type="http://schemas.openxmlformats.org/officeDocument/2006/relationships/slide"/><Relationship Id="rId13" Target="slides/slide10.xml" Type="http://schemas.openxmlformats.org/officeDocument/2006/relationships/slide"/><Relationship Id="rId14" Target="slides/slide11.xml" Type="http://schemas.openxmlformats.org/officeDocument/2006/relationships/slide"/><Relationship Id="rId15" Target="slides/slide12.xml" Type="http://schemas.openxmlformats.org/officeDocument/2006/relationships/slide"/><Relationship Id="rId16" Target="slides/slide13.xml" Type="http://schemas.openxmlformats.org/officeDocument/2006/relationships/slide"/><Relationship Id="rId17" Target="slides/slide14.xml" Type="http://schemas.openxmlformats.org/officeDocument/2006/relationships/slide"/><Relationship Id="rId18" Target="slides/slide15.xml" Type="http://schemas.openxmlformats.org/officeDocument/2006/relationships/slide"/><Relationship Id="rId19" Target="slides/slide16.xml" Type="http://schemas.openxmlformats.org/officeDocument/2006/relationships/slide"/><Relationship Id="rId2" Target="slideMasters/slideMaster2.xml" Type="http://schemas.openxmlformats.org/officeDocument/2006/relationships/slideMaster"/><Relationship Id="rId20" Target="slides/slide17.xml" Type="http://schemas.openxmlformats.org/officeDocument/2006/relationships/slide"/><Relationship Id="rId21" Target="slides/slide18.xml" Type="http://schemas.openxmlformats.org/officeDocument/2006/relationships/slide"/><Relationship Id="rId22" Target="slides/slide19.xml" Type="http://schemas.openxmlformats.org/officeDocument/2006/relationships/slide"/><Relationship Id="rId23" Target="slides/slide20.xml" Type="http://schemas.openxmlformats.org/officeDocument/2006/relationships/slide"/><Relationship Id="rId24" Target="slides/slide21.xml" Type="http://schemas.openxmlformats.org/officeDocument/2006/relationships/slide"/><Relationship Id="rId25" Target="slides/slide22.xml" Type="http://schemas.openxmlformats.org/officeDocument/2006/relationships/slide"/><Relationship Id="rId26" Target="slides/slide23.xml" Type="http://schemas.openxmlformats.org/officeDocument/2006/relationships/slide"/><Relationship Id="rId27" Target="slides/slide24.xml" Type="http://schemas.openxmlformats.org/officeDocument/2006/relationships/slide"/><Relationship Id="rId28" Target="slides/slide25.xml" Type="http://schemas.openxmlformats.org/officeDocument/2006/relationships/slide"/><Relationship Id="rId29" Target="slides/slide26.xml" Type="http://schemas.openxmlformats.org/officeDocument/2006/relationships/slide"/><Relationship Id="rId3" Target="notesMasters/notesMaster1.xml" Type="http://schemas.openxmlformats.org/officeDocument/2006/relationships/notesMaster"/><Relationship Id="rId30" Target="slides/slide27.xml" Type="http://schemas.openxmlformats.org/officeDocument/2006/relationships/slide"/><Relationship Id="rId31" Target="slides/slide28.xml" Type="http://schemas.openxmlformats.org/officeDocument/2006/relationships/slide"/><Relationship Id="rId32" Target="slides/slide29.xml" Type="http://schemas.openxmlformats.org/officeDocument/2006/relationships/slide"/><Relationship Id="rId33" Target="slides/slide30.xml" Type="http://schemas.openxmlformats.org/officeDocument/2006/relationships/slide"/><Relationship Id="rId34" Target="slides/slide31.xml" Type="http://schemas.openxmlformats.org/officeDocument/2006/relationships/slide"/><Relationship Id="rId35" Target="slides/slide32.xml" Type="http://schemas.openxmlformats.org/officeDocument/2006/relationships/slide"/><Relationship Id="rId36" Target="slides/slide33.xml" Type="http://schemas.openxmlformats.org/officeDocument/2006/relationships/slide"/><Relationship Id="rId37" Target="tags/tag19.xml" Type="http://schemas.openxmlformats.org/officeDocument/2006/relationships/tags"/><Relationship Id="rId38" Target="presProps.xml" Type="http://schemas.openxmlformats.org/officeDocument/2006/relationships/presProps"/><Relationship Id="rId39" Target="viewProps.xml" Type="http://schemas.openxmlformats.org/officeDocument/2006/relationships/viewProps"/><Relationship Id="rId4" Target="slides/slide1.xml" Type="http://schemas.openxmlformats.org/officeDocument/2006/relationships/slide"/><Relationship Id="rId40" Target="theme/theme1.xml" Type="http://schemas.openxmlformats.org/officeDocument/2006/relationships/theme"/><Relationship Id="rId41" Target="tableStyles.xml" Type="http://schemas.openxmlformats.org/officeDocument/2006/relationships/tableStyles"/><Relationship Id="rId5" Target="slides/slide2.xml" Type="http://schemas.openxmlformats.org/officeDocument/2006/relationships/slide"/><Relationship Id="rId6" Target="slides/slide3.xml" Type="http://schemas.openxmlformats.org/officeDocument/2006/relationships/slide"/><Relationship Id="rId7" Target="slides/slide4.xml" Type="http://schemas.openxmlformats.org/officeDocument/2006/relationships/slide"/><Relationship Id="rId8" Target="slides/slide5.xml" Type="http://schemas.openxmlformats.org/officeDocument/2006/relationships/slide"/><Relationship Id="rId9" Target="slides/slide6.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D3FAC92-DD36-4F91-9846-AF1BAEC0E1E2}" type="datetimeFigureOut">
              <a:rPr lang="zh-CN" altLang="en-US" smtClean="0"/>
              <a:t>2018/5/2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A8C5BE-3C00-4CA3-9155-65BAE90245F7}" type="slidenum">
              <a:rPr lang="zh-CN" altLang="en-US" smtClean="0"/>
              <a:t>‹#›</a:t>
            </a:fld>
            <a:endParaRPr lang="zh-CN" altLang="en-US"/>
          </a:p>
        </p:txBody>
      </p:sp>
    </p:spTree>
    <p:extLst>
      <p:ext uri="{BB962C8B-B14F-4D97-AF65-F5344CB8AC3E}">
        <p14:creationId val="1077556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slides/slide12.xml" Type="http://schemas.openxmlformats.org/officeDocument/2006/relationships/slide"/><Relationship Id="rId2" Target="../notesMasters/notesMaster1.xml" Type="http://schemas.openxmlformats.org/officeDocument/2006/relationships/notesMaster"/></Relationships>
</file>

<file path=ppt/notesSlides/_rels/notesSlide2.xml.rels><?xml version="1.0" encoding="UTF-8" standalone="yes"?><Relationships xmlns="http://schemas.openxmlformats.org/package/2006/relationships"><Relationship Id="rId1" Target="../slides/slide15.xml" Type="http://schemas.openxmlformats.org/officeDocument/2006/relationships/slide"/><Relationship Id="rId2" Target="../notesMasters/notesMaster1.xml" Type="http://schemas.openxmlformats.org/officeDocument/2006/relationships/notesMaster"/></Relationships>
</file>

<file path=ppt/notesSlides/_rels/notesSlide3.xml.rels><?xml version="1.0" encoding="UTF-8" standalone="yes"?><Relationships xmlns="http://schemas.openxmlformats.org/package/2006/relationships"><Relationship Id="rId1" Target="../slides/slide20.xml" Type="http://schemas.openxmlformats.org/officeDocument/2006/relationships/slide"/><Relationship Id="rId2" Target="../notesMasters/notesMaster1.xml" Type="http://schemas.openxmlformats.org/officeDocument/2006/relationships/notesMaster"/></Relationships>
</file>

<file path=ppt/notesSlides/_rels/notesSlide4.xml.rels><?xml version="1.0" encoding="UTF-8" standalone="yes"?><Relationships xmlns="http://schemas.openxmlformats.org/package/2006/relationships"><Relationship Id="rId1" Target="../slides/slide26.xml" Type="http://schemas.openxmlformats.org/officeDocument/2006/relationships/slide"/><Relationship Id="rId2" Target="../notesMasters/notesMaster1.xml" Type="http://schemas.openxmlformats.org/officeDocument/2006/relationships/notesMaster"/></Relationships>
</file>

<file path=ppt/notesSlides/_rels/notesSlide5.xml.rels><?xml version="1.0" encoding="UTF-8" standalone="yes"?><Relationships xmlns="http://schemas.openxmlformats.org/package/2006/relationships"><Relationship Id="rId1" Target="../slides/slide31.xml" Type="http://schemas.openxmlformats.org/officeDocument/2006/relationships/slide"/><Relationship Id="rId2" Target="../notesMasters/notesMaster1.xml" Type="http://schemas.openxmlformats.org/officeDocument/2006/relationships/notesMaster"/></Relationships>
</file>

<file path=ppt/notesSlides/notesSlide1.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85275610"/>
      </p:ext>
    </p:extLst>
  </p:cSld>
  <p:clrMapOvr>
    <a:masterClrMapping/>
  </p:clrMapOvr>
</p:notes>
</file>

<file path=ppt/notesSlides/notesSlide2.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2700030985"/>
      </p:ext>
    </p:extLst>
  </p:cSld>
  <p:clrMapOvr>
    <a:masterClrMapping/>
  </p:clrMapOvr>
</p:notes>
</file>

<file path=ppt/notesSlides/notesSlide3.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504311714"/>
      </p:ext>
    </p:extLst>
  </p:cSld>
  <p:clrMapOvr>
    <a:masterClrMapping/>
  </p:clrMapOvr>
</p:notes>
</file>

<file path=ppt/notesSlides/notesSlide4.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245397239"/>
      </p:ext>
    </p:extLst>
  </p:cSld>
  <p:clrMapOvr>
    <a:masterClrMapping/>
  </p:clrMapOvr>
</p:notes>
</file>

<file path=ppt/notesSlides/notesSlide5.xml><?xml version="1.0" encoding="utf-8"?>
<p:notes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spTree>
      <p:nvGrpSpPr>
        <p:cNvPr id="1" name=""/>
        <p:cNvGrpSpPr/>
        <p:nvPr/>
      </p:nvGrpSpPr>
      <p:grpSpPr>
        <a:xfrm>
          <a:off x="0" y="0"/>
          <a:ext cx="0" cy="0"/>
        </a:xfrm>
      </p:grpSpPr>
    </p:spTree>
    <p:extLst>
      <p:ext uri="{BB962C8B-B14F-4D97-AF65-F5344CB8AC3E}">
        <p14:creationId val="3216225724"/>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5980A376-87B9-48C2-BC4B-4A58C3CC1FF6}" type="datetime1">
              <a:rPr lang="zh-CN" altLang="en-US" smtClean="0"/>
              <a:t>2018/5/2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1737484205"/>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2216B348-D791-4FB1-A6F6-32EAE07C9643}" type="datetime1">
              <a:rPr lang="zh-CN" altLang="en-US" smtClean="0"/>
              <a:t>2018/5/2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1650384956"/>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90D8D996-8899-42F6-9D3B-D57A19FD2BB0}" type="datetime1">
              <a:rPr lang="zh-CN" altLang="en-US" smtClean="0"/>
              <a:t>2018/5/2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1084506092"/>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4262233514"/>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547732023"/>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655454530"/>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908683053"/>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839788" y="365125"/>
            <a:ext cx="10515600" cy="1325563"/>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Content Placeholder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Content Placeholder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406542510"/>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73896289"/>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266213520"/>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681132572"/>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7" name="任意多边形 6"/>
          <p:cNvSpPr/>
          <p:nvPr userDrawn="1"/>
        </p:nvSpPr>
        <p:spPr>
          <a:xfrm rot="10800000">
            <a:off x="11263684" y="6088454"/>
            <a:ext cx="928316" cy="769546"/>
          </a:xfrm>
          <a:custGeom>
            <a:gdLst>
              <a:gd name="connsiteX0" fmla="*/ 0 w 928316"/>
              <a:gd name="connsiteY0" fmla="*/ 0 h 769546"/>
              <a:gd name="connsiteX1" fmla="*/ 928316 w 928316"/>
              <a:gd name="connsiteY1" fmla="*/ 0 h 769546"/>
              <a:gd name="connsiteX2" fmla="*/ 521465 w 928316"/>
              <a:gd name="connsiteY2" fmla="*/ 769546 h 769546"/>
              <a:gd name="connsiteX3" fmla="*/ 0 w 928316"/>
              <a:gd name="connsiteY3" fmla="*/ 769546 h 769546"/>
            </a:gdLst>
            <a:cxnLst>
              <a:cxn ang="0">
                <a:pos x="connsiteX0" y="connsiteY0"/>
              </a:cxn>
              <a:cxn ang="0">
                <a:pos x="connsiteX1" y="connsiteY1"/>
              </a:cxn>
              <a:cxn ang="0">
                <a:pos x="connsiteX2" y="connsiteY2"/>
              </a:cxn>
              <a:cxn ang="0">
                <a:pos x="connsiteX3" y="connsiteY3"/>
              </a:cxn>
            </a:cxnLst>
            <a:rect l="l" t="t" r="r" b="b"/>
            <a:pathLst>
              <a:path w="928315" h="769546">
                <a:moveTo>
                  <a:pt x="0" y="0"/>
                </a:moveTo>
                <a:lnTo>
                  <a:pt x="928316" y="0"/>
                </a:lnTo>
                <a:lnTo>
                  <a:pt x="521465" y="769546"/>
                </a:lnTo>
                <a:lnTo>
                  <a:pt x="0" y="769546"/>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E10A5926-F4BB-4243-94B7-4992C5E0F968}" type="datetime1">
              <a:rPr lang="zh-CN" altLang="en-US" smtClean="0"/>
              <a:t>2018/5/2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a:xfrm>
            <a:off x="9256776" y="6356350"/>
            <a:ext cx="2743200" cy="365125"/>
          </a:xfrm>
        </p:spPr>
        <p:txBody>
          <a:bodyPr/>
          <a:lstStyle>
            <a:lvl1pPr>
              <a:defRPr sz="1600">
                <a:solidFill>
                  <a:schemeClr val="bg1"/>
                </a:solidFill>
                <a:latin typeface="微软雅黑" panose="020b0503020204020204" pitchFamily="34" charset="-122"/>
                <a:ea typeface="微软雅黑" panose="020b0503020204020204" pitchFamily="34" charset="-122"/>
              </a:defRPr>
            </a:lvl1pPr>
          </a:lstStyle>
          <a:p>
            <a:fld id="{A9395AEE-55EF-42F0-B0F1-1EC5577B9074}" type="slidenum">
              <a:rPr lang="zh-CN" altLang="en-US" smtClean="0"/>
              <a:t>‹#›</a:t>
            </a:fld>
            <a:endParaRPr lang="zh-CN" altLang="en-US"/>
          </a:p>
        </p:txBody>
      </p:sp>
      <p:sp>
        <p:nvSpPr>
          <p:cNvPr id="8" name="任意多边形 7"/>
          <p:cNvSpPr/>
          <p:nvPr userDrawn="1"/>
        </p:nvSpPr>
        <p:spPr>
          <a:xfrm>
            <a:off x="-12193" y="254582"/>
            <a:ext cx="928316" cy="769546"/>
          </a:xfrm>
          <a:custGeom>
            <a:gdLst>
              <a:gd name="connsiteX0" fmla="*/ 0 w 928316"/>
              <a:gd name="connsiteY0" fmla="*/ 0 h 769546"/>
              <a:gd name="connsiteX1" fmla="*/ 928316 w 928316"/>
              <a:gd name="connsiteY1" fmla="*/ 0 h 769546"/>
              <a:gd name="connsiteX2" fmla="*/ 521465 w 928316"/>
              <a:gd name="connsiteY2" fmla="*/ 769546 h 769546"/>
              <a:gd name="connsiteX3" fmla="*/ 0 w 928316"/>
              <a:gd name="connsiteY3" fmla="*/ 769546 h 769546"/>
            </a:gdLst>
            <a:cxnLst>
              <a:cxn ang="0">
                <a:pos x="connsiteX0" y="connsiteY0"/>
              </a:cxn>
              <a:cxn ang="0">
                <a:pos x="connsiteX1" y="connsiteY1"/>
              </a:cxn>
              <a:cxn ang="0">
                <a:pos x="connsiteX2" y="connsiteY2"/>
              </a:cxn>
              <a:cxn ang="0">
                <a:pos x="connsiteX3" y="connsiteY3"/>
              </a:cxn>
            </a:cxnLst>
            <a:rect l="l" t="t" r="r" b="b"/>
            <a:pathLst>
              <a:path w="928315" h="769546">
                <a:moveTo>
                  <a:pt x="0" y="0"/>
                </a:moveTo>
                <a:lnTo>
                  <a:pt x="928316" y="0"/>
                </a:lnTo>
                <a:lnTo>
                  <a:pt x="521465" y="769546"/>
                </a:lnTo>
                <a:lnTo>
                  <a:pt x="0" y="769546"/>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3200" b="1">
              <a:solidFill>
                <a:schemeClr val="tx1">
                  <a:lumMod val="65000"/>
                  <a:lumOff val="35000"/>
                </a:schemeClr>
              </a:solidFill>
              <a:latin typeface="微软雅黑" panose="020b0503020204020204" pitchFamily="34" charset="-122"/>
              <a:ea typeface="微软雅黑" panose="020b0503020204020204" pitchFamily="34" charset="-122"/>
            </a:endParaRPr>
          </a:p>
        </p:txBody>
      </p:sp>
    </p:spTree>
    <p:extLst>
      <p:ext uri="{BB962C8B-B14F-4D97-AF65-F5344CB8AC3E}">
        <p14:creationId val="2086792635"/>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CN" altLang="en-US" smtClean="0"/>
              <a:t>单击图标添加图片</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009601163"/>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824984991"/>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373657213"/>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p:txBody>
          <a:bodyPr/>
          <a:lstStyle/>
          <a:p>
            <a:fld id="{6D414709-A794-427A-8893-E5AF9F4D3D13}" type="datetime1">
              <a:rPr lang="zh-CN" altLang="en-US" smtClean="0"/>
              <a:t>2018/5/24</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735787144"/>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FD0A52A3-6BA2-40DC-A240-1A1B261CB9F0}" type="datetime1">
              <a:rPr lang="zh-CN" altLang="en-US" smtClean="0"/>
              <a:t>2018/5/2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2564793386"/>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515A88E4-0D31-4C5D-89DC-0D41840D42C5}" type="datetime1">
              <a:rPr lang="zh-CN" altLang="en-US" smtClean="0"/>
              <a:t>2018/5/24</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2376710390"/>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AA43A015-F7EC-4DAD-952C-68785C489C11}" type="datetime1">
              <a:rPr lang="zh-CN" altLang="en-US" smtClean="0"/>
              <a:t>2018/5/24</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976721590"/>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日期占位符 1"/>
          <p:cNvSpPr>
            <a:spLocks noGrp="1"/>
          </p:cNvSpPr>
          <p:nvPr>
            <p:ph type="dt" sz="half" idx="10"/>
          </p:nvPr>
        </p:nvSpPr>
        <p:spPr/>
        <p:txBody>
          <a:bodyPr/>
          <a:lstStyle/>
          <a:p>
            <a:fld id="{2BA366BF-4EF6-4A10-8359-53058339DF94}" type="datetime1">
              <a:rPr lang="zh-CN" altLang="en-US" smtClean="0"/>
              <a:t>2018/5/24</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2625306640"/>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3E6EFAA4-EA82-47DE-9F56-281B71C6ECAD}" type="datetime1">
              <a:rPr lang="zh-CN" altLang="en-US" smtClean="0"/>
              <a:t>2018/5/2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4018830676"/>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p>
        </p:txBody>
      </p:sp>
      <p:sp>
        <p:nvSpPr>
          <p:cNvPr id="5" name="日期占位符 4"/>
          <p:cNvSpPr>
            <a:spLocks noGrp="1"/>
          </p:cNvSpPr>
          <p:nvPr>
            <p:ph type="dt" sz="half" idx="10"/>
          </p:nvPr>
        </p:nvSpPr>
        <p:spPr/>
        <p:txBody>
          <a:bodyPr/>
          <a:lstStyle/>
          <a:p>
            <a:fld id="{7997A426-86BB-4FE3-921E-D14D4D9F1BE4}" type="datetime1">
              <a:rPr lang="zh-CN" altLang="en-US" smtClean="0"/>
              <a:t>2018/5/24</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A9395AEE-55EF-42F0-B0F1-1EC5577B9074}" type="slidenum">
              <a:rPr lang="zh-CN" altLang="en-US" smtClean="0"/>
              <a:t>‹#›</a:t>
            </a:fld>
            <a:endParaRPr lang="zh-CN" altLang="en-US"/>
          </a:p>
        </p:txBody>
      </p:sp>
    </p:spTree>
    <p:extLst>
      <p:ext uri="{BB962C8B-B14F-4D97-AF65-F5344CB8AC3E}">
        <p14:creationId val="2955825814"/>
      </p:ext>
    </p:extLst>
  </p:cSld>
  <p:clrMapOvr>
    <a:masterClrMapping/>
  </p:clrMapOvr>
  <mc:AlternateContent>
    <mc:Choice Requires="p15">
      <p:transition spd="slow" p14:dur="1250">
        <p15:prstTrans prst="pageCurlDouble"/>
      </p:transition>
    </mc:Choice>
    <mc:Fallback>
      <p:transition spd="slow">
        <p:fade/>
      </p:transition>
    </mc:Fallback>
  </mc:AlternateContent>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D4E55F-6E7E-4A24-AF06-E342CF566784}" type="datetime1">
              <a:rPr lang="zh-CN" altLang="en-US" smtClean="0"/>
              <a:t>2018/5/24</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9395AEE-55EF-42F0-B0F1-1EC5577B9074}" type="slidenum">
              <a:rPr lang="zh-CN" altLang="en-US" smtClean="0"/>
              <a:t>‹#›</a:t>
            </a:fld>
            <a:endParaRPr lang="zh-CN" altLang="en-US"/>
          </a:p>
        </p:txBody>
      </p:sp>
    </p:spTree>
    <p:extLst>
      <p:ext uri="{BB962C8B-B14F-4D97-AF65-F5344CB8AC3E}">
        <p14:creationId val="14760842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mc:Choice Requires="p15">
      <p:transition spd="slow" p14:dur="1250">
        <p15:prstTrans prst="pageCurlDouble"/>
      </p:transition>
    </mc:Choice>
    <mc:Fallback>
      <p:transition spd="slow">
        <p:fade/>
      </p:transition>
    </mc:Fallback>
  </mc:AlternateContent>
  <p:timing/>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6E5758D-A3C3-4E88-8AC0-22500507BD7E}" type="datetimeFigureOut">
              <a:rPr lang="zh-CN" altLang="en-US" smtClean="0">
                <a:solidFill>
                  <a:prstClr val="black">
                    <a:tint val="75000"/>
                  </a:prstClr>
                </a:solidFill>
              </a:rPr>
              <a:t>2018/5/24</a:t>
            </a:fld>
            <a:endParaRPr lang="zh-CN" alt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13236368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media/image1.jpe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9.png" Type="http://schemas.openxmlformats.org/officeDocument/2006/relationships/image"/></Relationships>
</file>

<file path=ppt/slides/_rels/slide12.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1.xml" Type="http://schemas.openxmlformats.org/officeDocument/2006/relationships/notesSlide"/><Relationship Id="rId3" Target="../media/image10.png" Type="http://schemas.openxmlformats.org/officeDocument/2006/relationships/image"/><Relationship Id="rId4" Target="../media/image11.pn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4.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5.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2.xml" Type="http://schemas.openxmlformats.org/officeDocument/2006/relationships/notesSlide"/><Relationship Id="rId3" Target="../media/image12.pn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7.xml.rels><?xml version="1.0" encoding="UTF-8" standalone="yes"?><Relationships xmlns="http://schemas.openxmlformats.org/package/2006/relationships"><Relationship Id="rId1" Target="../slideLayouts/slideLayout2.xml" Type="http://schemas.openxmlformats.org/officeDocument/2006/relationships/slideLayout"/><Relationship Id="rId10" Target="../tags/tag10.xml" Type="http://schemas.openxmlformats.org/officeDocument/2006/relationships/tags"/><Relationship Id="rId11" Target="../tags/tag11.xml" Type="http://schemas.openxmlformats.org/officeDocument/2006/relationships/tags"/><Relationship Id="rId12" Target="../tags/tag12.xml" Type="http://schemas.openxmlformats.org/officeDocument/2006/relationships/tags"/><Relationship Id="rId13" Target="../tags/tag13.xml" Type="http://schemas.openxmlformats.org/officeDocument/2006/relationships/tags"/><Relationship Id="rId14" Target="../tags/tag14.xml" Type="http://schemas.openxmlformats.org/officeDocument/2006/relationships/tags"/><Relationship Id="rId15" Target="../tags/tag15.xml" Type="http://schemas.openxmlformats.org/officeDocument/2006/relationships/tags"/><Relationship Id="rId16" Target="../tags/tag16.xml" Type="http://schemas.openxmlformats.org/officeDocument/2006/relationships/tags"/><Relationship Id="rId17" Target="../tags/tag17.xml" Type="http://schemas.openxmlformats.org/officeDocument/2006/relationships/tags"/><Relationship Id="rId2" Target="../tags/tag2.xml" Type="http://schemas.openxmlformats.org/officeDocument/2006/relationships/tags"/><Relationship Id="rId3" Target="../tags/tag3.xml" Type="http://schemas.openxmlformats.org/officeDocument/2006/relationships/tags"/><Relationship Id="rId4" Target="../tags/tag4.xml" Type="http://schemas.openxmlformats.org/officeDocument/2006/relationships/tags"/><Relationship Id="rId5" Target="../tags/tag5.xml" Type="http://schemas.openxmlformats.org/officeDocument/2006/relationships/tags"/><Relationship Id="rId6" Target="../tags/tag6.xml" Type="http://schemas.openxmlformats.org/officeDocument/2006/relationships/tags"/><Relationship Id="rId7" Target="../tags/tag7.xml" Type="http://schemas.openxmlformats.org/officeDocument/2006/relationships/tags"/><Relationship Id="rId8" Target="../tags/tag8.xml" Type="http://schemas.openxmlformats.org/officeDocument/2006/relationships/tags"/><Relationship Id="rId9" Target="../tags/tag9.xml" Type="http://schemas.openxmlformats.org/officeDocument/2006/relationships/tags"/></Relationships>
</file>

<file path=ppt/slides/_rels/slide18.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9.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3.jpeg" Type="http://schemas.openxmlformats.org/officeDocument/2006/relationships/image"/><Relationship Id="rId3" Target="../media/image14.jpe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3.xml" Type="http://schemas.openxmlformats.org/officeDocument/2006/relationships/slideLayout"/><Relationship Id="rId2" Target="../media/image2.pn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3.xml" Type="http://schemas.openxmlformats.org/officeDocument/2006/relationships/notesSlide"/><Relationship Id="rId3" Target="../media/image15.png" Type="http://schemas.openxmlformats.org/officeDocument/2006/relationships/image"/><Relationship Id="rId4" Target="../tags/tag18.xml" Type="http://schemas.openxmlformats.org/officeDocument/2006/relationships/tags"/></Relationships>
</file>

<file path=ppt/slides/_rels/slide2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6.pn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7.jpeg" Type="http://schemas.openxmlformats.org/officeDocument/2006/relationships/image"/><Relationship Id="rId3" Target="../media/image18.jpe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9.png" Type="http://schemas.openxmlformats.org/officeDocument/2006/relationships/image"/><Relationship Id="rId3" Target="../media/image20.png"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21.png" Type="http://schemas.openxmlformats.org/officeDocument/2006/relationships/image"/><Relationship Id="rId3" Target="../media/image22.jpe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3.xml" Type="http://schemas.openxmlformats.org/officeDocument/2006/relationships/slideLayout"/><Relationship Id="rId2" Target="../notesSlides/notesSlide4.xml" Type="http://schemas.openxmlformats.org/officeDocument/2006/relationships/notesSlide"/><Relationship Id="rId3" Target="../media/image23.png" Type="http://schemas.openxmlformats.org/officeDocument/2006/relationships/image"/><Relationship Id="rId4" Target="../media/image24.png" Type="http://schemas.openxmlformats.org/officeDocument/2006/relationships/image"/></Relationships>
</file>

<file path=ppt/slides/_rels/slide27.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25.png" Type="http://schemas.openxmlformats.org/officeDocument/2006/relationships/image"/></Relationships>
</file>

<file path=ppt/slides/_rels/slide28.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9.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3.xml.rels><?xml version="1.0" encoding="UTF-8" standalone="yes"?><Relationships xmlns="http://schemas.openxmlformats.org/package/2006/relationships"><Relationship Id="rId1" Target="../slideLayouts/slideLayout3.xml" Type="http://schemas.openxmlformats.org/officeDocument/2006/relationships/slideLayout"/><Relationship Id="rId2" Target="../media/image5.png" Type="http://schemas.openxmlformats.org/officeDocument/2006/relationships/image"/><Relationship Id="rId3" Target="../tags/tag1.xml" Type="http://schemas.openxmlformats.org/officeDocument/2006/relationships/tags"/></Relationships>
</file>

<file path=ppt/slides/_rels/slide30.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26.png" Type="http://schemas.openxmlformats.org/officeDocument/2006/relationships/image"/><Relationship Id="rId3" Target="../media/image27.png" Type="http://schemas.openxmlformats.org/officeDocument/2006/relationships/image"/></Relationships>
</file>

<file path=ppt/slides/_rels/slide3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5.xml" Type="http://schemas.openxmlformats.org/officeDocument/2006/relationships/notesSlide"/><Relationship Id="rId3" Target="../media/image28.png" Type="http://schemas.openxmlformats.org/officeDocument/2006/relationships/image"/></Relationships>
</file>

<file path=ppt/slides/_rels/slide32.xml.rels><?xml version="1.0" encoding="UTF-8" standalone="yes"?><Relationships xmlns="http://schemas.openxmlformats.org/package/2006/relationships"><Relationship Id="rId1" Target="../slideLayouts/slideLayout7.xml" Type="http://schemas.openxmlformats.org/officeDocument/2006/relationships/slideLayout"/><Relationship Id="rId2" Target="../media/image29.jpeg" Type="http://schemas.openxmlformats.org/officeDocument/2006/relationships/image"/></Relationships>
</file>

<file path=ppt/slides/_rels/slide33.xml.rels><?xml version="1.0" encoding="UTF-8" standalone="yes"?><Relationships xmlns="http://schemas.openxmlformats.org/package/2006/relationships"><Relationship Id="rId1" Target="../slideLayouts/slideLayout7.xml" Type="http://schemas.openxmlformats.org/officeDocument/2006/relationships/slideLayout"/><Relationship Id="rId2" Target="../media/image30.jpe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6.png" Type="http://schemas.openxmlformats.org/officeDocument/2006/relationships/image"/><Relationship Id="rId3" Target="../media/image7.png" Type="http://schemas.openxmlformats.org/officeDocument/2006/relationships/image"/><Relationship Id="rId4" Target="../media/image8.png" Type="http://schemas.openxmlformats.org/officeDocument/2006/relationships/image"/></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4" name="图片 3"/>
          <p:cNvPicPr>
            <a:picLocks noChangeAspect="1"/>
          </p:cNvPicPr>
          <p:nvPr/>
        </p:nvPicPr>
        <p:blipFill>
          <a:blip r:embed="rId2">
            <a:extLst>
              <a:ext uri="{28A0092B-C50C-407E-A947-70E740481C1C}">
                <a14:useLocalDpi/>
              </a:ext>
            </a:extLst>
          </a:blip>
          <a:stretch>
            <a:fillRect/>
          </a:stretch>
        </p:blipFill>
        <p:spPr>
          <a:xfrm>
            <a:off x="0" y="0"/>
            <a:ext cx="10281859" cy="6858000"/>
          </a:xfrm>
          <a:prstGeom prst="rect">
            <a:avLst/>
          </a:prstGeom>
        </p:spPr>
      </p:pic>
      <p:sp>
        <p:nvSpPr>
          <p:cNvPr id="17" name="任意多边形 16"/>
          <p:cNvSpPr/>
          <p:nvPr/>
        </p:nvSpPr>
        <p:spPr>
          <a:xfrm>
            <a:off x="6025860" y="-29415"/>
            <a:ext cx="6196120" cy="6908647"/>
          </a:xfrm>
          <a:custGeom>
            <a:gdLst>
              <a:gd fmla="*/ 3855757 w 6196120" name="connsiteX0"/>
              <a:gd fmla="*/ 0 h 6908647" name="connsiteY0"/>
              <a:gd fmla="*/ 6181130 w 6196120" name="connsiteX1"/>
              <a:gd fmla="*/ 0 h 6908647" name="connsiteY1"/>
              <a:gd fmla="*/ 6196120 w 6196120" name="connsiteX2"/>
              <a:gd fmla="*/ 3026569 h 6908647" name="connsiteY2"/>
              <a:gd fmla="*/ 4201562 w 6196120" name="connsiteX3"/>
              <a:gd fmla="*/ 6898842 h 6908647" name="connsiteY3"/>
              <a:gd fmla="*/ 0 w 6196120" name="connsiteX4"/>
              <a:gd fmla="*/ 6908647 h 6908647" name="connsiteY4"/>
              <a:gd fmla="*/ 3855757 w 6196120" name="connsiteX5"/>
              <a:gd fmla="*/ 0 h 6908647"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6908647" w="6196120">
                <a:moveTo>
                  <a:pt x="3855757" y="0"/>
                </a:moveTo>
                <a:lnTo>
                  <a:pt x="6181130" y="0"/>
                </a:lnTo>
                <a:cubicBezTo>
                  <a:pt x="6186127" y="1008856"/>
                  <a:pt x="6191123" y="2017713"/>
                  <a:pt x="6196120" y="3026569"/>
                </a:cubicBezTo>
                <a:lnTo>
                  <a:pt x="4201562" y="6898842"/>
                </a:lnTo>
                <a:lnTo>
                  <a:pt x="0" y="6908647"/>
                </a:lnTo>
                <a:lnTo>
                  <a:pt x="3855757"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8" name="平行四边形 17"/>
          <p:cNvSpPr/>
          <p:nvPr/>
        </p:nvSpPr>
        <p:spPr>
          <a:xfrm>
            <a:off x="1179735" y="2895078"/>
            <a:ext cx="8979109" cy="1538372"/>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mtClean="0" sz="4400">
                <a:solidFill>
                  <a:schemeClr val="tx1">
                    <a:lumMod val="65000"/>
                    <a:lumOff val="35000"/>
                  </a:schemeClr>
                </a:solidFill>
                <a:latin charset="-122" panose="020b0503020204020204" pitchFamily="34" typeface="微软雅黑"/>
                <a:ea charset="-122" panose="020b0503020204020204" pitchFamily="34" typeface="微软雅黑"/>
              </a:rPr>
              <a:t>请在此处输入文字标题</a:t>
            </a:r>
          </a:p>
        </p:txBody>
      </p:sp>
      <p:sp>
        <p:nvSpPr>
          <p:cNvPr id="20" name="平行四边形 19"/>
          <p:cNvSpPr/>
          <p:nvPr/>
        </p:nvSpPr>
        <p:spPr>
          <a:xfrm>
            <a:off x="1191927" y="4521926"/>
            <a:ext cx="5445918" cy="769185"/>
          </a:xfrm>
          <a:custGeom>
            <a:gdLst>
              <a:gd fmla="*/ 326106 w 2762012" name="connsiteX0"/>
              <a:gd fmla="*/ 896365 h 896365" name="connsiteY0"/>
              <a:gd fmla="*/ 0 w 2762012" name="connsiteX1"/>
              <a:gd fmla="*/ 1 h 896365" name="connsiteY1"/>
              <a:gd fmla="*/ 2442525 w 2762012" name="connsiteX2"/>
              <a:gd fmla="*/ 0 h 896365" name="connsiteY2"/>
              <a:gd fmla="*/ 2762012 w 2762012" name="connsiteX3"/>
              <a:gd fmla="*/ 880674 h 896365" name="connsiteY3"/>
              <a:gd fmla="*/ 326106 w 2762012" name="connsiteX4"/>
              <a:gd fmla="*/ 896365 h 896365"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896365" w="2762012">
                <a:moveTo>
                  <a:pt x="326106" y="896365"/>
                </a:moveTo>
                <a:lnTo>
                  <a:pt x="0" y="1"/>
                </a:lnTo>
                <a:lnTo>
                  <a:pt x="2442525" y="0"/>
                </a:lnTo>
                <a:lnTo>
                  <a:pt x="2762012" y="880674"/>
                </a:lnTo>
                <a:lnTo>
                  <a:pt x="326106" y="896365"/>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2400">
                <a:solidFill>
                  <a:schemeClr val="tx1">
                    <a:lumMod val="65000"/>
                    <a:lumOff val="35000"/>
                  </a:schemeClr>
                </a:solidFill>
                <a:latin charset="-122" panose="020b0503020204020204" pitchFamily="34" typeface="微软雅黑"/>
                <a:ea charset="-122" panose="020b0503020204020204" pitchFamily="34" typeface="微软雅黑"/>
              </a:rPr>
              <a:t>汇报人：洛天</a:t>
            </a:r>
          </a:p>
        </p:txBody>
      </p:sp>
      <p:sp>
        <p:nvSpPr>
          <p:cNvPr id="23" name="椭圆 22"/>
          <p:cNvSpPr/>
          <p:nvPr/>
        </p:nvSpPr>
        <p:spPr>
          <a:xfrm>
            <a:off x="10447247" y="1604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1" name="直角三角形 20"/>
          <p:cNvSpPr/>
          <p:nvPr/>
        </p:nvSpPr>
        <p:spPr>
          <a:xfrm flipV="1">
            <a:off x="0" y="0"/>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4" name="椭圆 23"/>
          <p:cNvSpPr/>
          <p:nvPr/>
        </p:nvSpPr>
        <p:spPr>
          <a:xfrm>
            <a:off x="10562372" y="2755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2000">
                <a:solidFill>
                  <a:srgbClr val="C00000"/>
                </a:solidFill>
                <a:latin charset="-122" panose="020b0503020204020204" pitchFamily="34" typeface="微软雅黑"/>
                <a:ea charset="-122" panose="020b0503020204020204" pitchFamily="34" typeface="微软雅黑"/>
              </a:rPr>
              <a:t>公司LOGO</a:t>
            </a:r>
          </a:p>
        </p:txBody>
      </p:sp>
    </p:spTree>
    <p:extLst>
      <p:ext uri="{BB962C8B-B14F-4D97-AF65-F5344CB8AC3E}">
        <p14:creationId val="2951110394"/>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60DB1256-20BC-48BE-B10C-663029AE0EF7}" type="slidenum">
              <a:rPr altLang="en-US" lang="zh-CN" smtClean="0"/>
              <a:t>10</a:t>
            </a:fld>
          </a:p>
        </p:txBody>
      </p:sp>
      <p:sp>
        <p:nvSpPr>
          <p:cNvPr id="5" name="Oval 14"/>
          <p:cNvSpPr>
            <a:spLocks noChangeArrowheads="1"/>
          </p:cNvSpPr>
          <p:nvPr/>
        </p:nvSpPr>
        <p:spPr bwMode="auto">
          <a:xfrm>
            <a:off x="4097961" y="1813230"/>
            <a:ext cx="2329072" cy="2329072"/>
          </a:xfrm>
          <a:prstGeom prst="ellipse">
            <a:avLst/>
          </a:prstGeom>
          <a:solidFill>
            <a:schemeClr val="bg1">
              <a:lumMod val="50000"/>
            </a:schemeClr>
          </a:solidFill>
          <a:ln>
            <a:noFill/>
          </a:ln>
          <a:extLst/>
        </p:spPr>
        <p:txBody>
          <a:bodyPr anchor="t" anchorCtr="0" bIns="45720" compatLnSpc="1" lIns="91440" numCol="1" rIns="91440" tIns="45720" vert="horz" wrap="square">
            <a:prstTxWarp prst="textNoShape">
              <a:avLst/>
            </a:prstTxWarp>
          </a:bodyPr>
          <a:lstStyle/>
          <a:p>
            <a:endParaRPr altLang="en-US" lang="zh-CN"/>
          </a:p>
        </p:txBody>
      </p:sp>
      <p:sp>
        <p:nvSpPr>
          <p:cNvPr id="6" name="Oval 15"/>
          <p:cNvSpPr>
            <a:spLocks noChangeArrowheads="1"/>
          </p:cNvSpPr>
          <p:nvPr/>
        </p:nvSpPr>
        <p:spPr bwMode="auto">
          <a:xfrm>
            <a:off x="4818048" y="3240215"/>
            <a:ext cx="2438536" cy="2438536"/>
          </a:xfrm>
          <a:prstGeom prst="ellipse">
            <a:avLst/>
          </a:prstGeom>
          <a:solidFill>
            <a:srgbClr val="FCB814"/>
          </a:solidFill>
          <a:ln>
            <a:noFill/>
          </a:ln>
          <a:extLst/>
        </p:spPr>
        <p:txBody>
          <a:bodyPr anchor="t" anchorCtr="0" bIns="45720" compatLnSpc="1" lIns="91440" numCol="1" rIns="91440" tIns="45720" vert="horz" wrap="square">
            <a:prstTxWarp prst="textNoShape">
              <a:avLst/>
            </a:prstTxWarp>
          </a:bodyPr>
          <a:lstStyle/>
          <a:p>
            <a:endParaRPr altLang="en-US" lang="zh-CN"/>
          </a:p>
        </p:txBody>
      </p:sp>
      <p:sp>
        <p:nvSpPr>
          <p:cNvPr id="7" name="Oval 17"/>
          <p:cNvSpPr>
            <a:spLocks noChangeArrowheads="1"/>
          </p:cNvSpPr>
          <p:nvPr/>
        </p:nvSpPr>
        <p:spPr bwMode="auto">
          <a:xfrm>
            <a:off x="5833555" y="1690577"/>
            <a:ext cx="2896173" cy="2901449"/>
          </a:xfrm>
          <a:prstGeom prst="ellipse">
            <a:avLst/>
          </a:prstGeom>
          <a:solidFill>
            <a:srgbClr val="E00024"/>
          </a:solidFill>
          <a:ln>
            <a:noFill/>
          </a:ln>
          <a:extLst/>
        </p:spPr>
        <p:txBody>
          <a:bodyPr anchor="t" anchorCtr="0" bIns="45720" compatLnSpc="1" lIns="91440" numCol="1" rIns="91440" tIns="45720" vert="horz" wrap="square">
            <a:prstTxWarp prst="textNoShape">
              <a:avLst/>
            </a:prstTxWarp>
          </a:bodyPr>
          <a:lstStyle/>
          <a:p>
            <a:endParaRPr altLang="en-US" lang="zh-CN"/>
          </a:p>
        </p:txBody>
      </p:sp>
      <p:sp>
        <p:nvSpPr>
          <p:cNvPr id="8" name="Freeform 31"/>
          <p:cNvSpPr/>
          <p:nvPr/>
        </p:nvSpPr>
        <p:spPr bwMode="auto">
          <a:xfrm>
            <a:off x="8469409" y="1125690"/>
            <a:ext cx="1584325" cy="657225"/>
          </a:xfrm>
          <a:custGeom>
            <a:gdLst>
              <a:gd fmla="*/ 229 w 229" name="T0"/>
              <a:gd fmla="*/ 89 h 95" name="T1"/>
              <a:gd fmla="*/ 223 w 229" name="T2"/>
              <a:gd fmla="*/ 95 h 95" name="T3"/>
              <a:gd fmla="*/ 6 w 229" name="T4"/>
              <a:gd fmla="*/ 95 h 95" name="T5"/>
              <a:gd fmla="*/ 0 w 229" name="T6"/>
              <a:gd fmla="*/ 89 h 95" name="T7"/>
              <a:gd fmla="*/ 0 w 229" name="T8"/>
              <a:gd fmla="*/ 6 h 95" name="T9"/>
              <a:gd fmla="*/ 6 w 229" name="T10"/>
              <a:gd fmla="*/ 0 h 95" name="T11"/>
              <a:gd fmla="*/ 223 w 229" name="T12"/>
              <a:gd fmla="*/ 0 h 95" name="T13"/>
              <a:gd fmla="*/ 229 w 229" name="T14"/>
              <a:gd fmla="*/ 6 h 95" name="T15"/>
              <a:gd fmla="*/ 229 w 229" name="T16"/>
              <a:gd fmla="*/ 89 h 9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95" w="229">
                <a:moveTo>
                  <a:pt x="229" y="89"/>
                </a:moveTo>
                <a:cubicBezTo>
                  <a:pt x="229" y="92"/>
                  <a:pt x="226" y="95"/>
                  <a:pt x="223" y="95"/>
                </a:cubicBezTo>
                <a:cubicBezTo>
                  <a:pt x="6" y="95"/>
                  <a:pt x="6" y="95"/>
                  <a:pt x="6" y="95"/>
                </a:cubicBezTo>
                <a:cubicBezTo>
                  <a:pt x="3" y="95"/>
                  <a:pt x="0" y="92"/>
                  <a:pt x="0" y="89"/>
                </a:cubicBezTo>
                <a:cubicBezTo>
                  <a:pt x="0" y="6"/>
                  <a:pt x="0" y="6"/>
                  <a:pt x="0" y="6"/>
                </a:cubicBezTo>
                <a:cubicBezTo>
                  <a:pt x="0" y="2"/>
                  <a:pt x="3" y="0"/>
                  <a:pt x="6" y="0"/>
                </a:cubicBezTo>
                <a:cubicBezTo>
                  <a:pt x="223" y="0"/>
                  <a:pt x="223" y="0"/>
                  <a:pt x="223" y="0"/>
                </a:cubicBezTo>
                <a:cubicBezTo>
                  <a:pt x="226" y="0"/>
                  <a:pt x="229" y="2"/>
                  <a:pt x="229" y="6"/>
                </a:cubicBezTo>
                <a:lnTo>
                  <a:pt x="229" y="89"/>
                </a:lnTo>
                <a:close/>
              </a:path>
            </a:pathLst>
          </a:custGeom>
          <a:solidFill>
            <a:srgbClr val="E00024"/>
          </a:solidFill>
          <a:ln cap="flat" w="14288">
            <a:noFill/>
            <a:prstDash val="solid"/>
            <a:miter lim="800000"/>
          </a:ln>
          <a:extLst/>
        </p:spPr>
        <p:txBody>
          <a:bodyPr anchor="t" anchorCtr="0" bIns="45720" compatLnSpc="1" lIns="91440" numCol="1" rIns="91440" tIns="45720" vert="horz" wrap="square">
            <a:prstTxWarp prst="textNoShape">
              <a:avLst/>
            </a:prstTxWarp>
          </a:bodyPr>
          <a:lstStyle/>
          <a:p>
            <a:endParaRPr altLang="en-US" lang="zh-CN"/>
          </a:p>
        </p:txBody>
      </p:sp>
      <p:sp>
        <p:nvSpPr>
          <p:cNvPr id="9" name="文本框 8"/>
          <p:cNvSpPr txBox="1"/>
          <p:nvPr/>
        </p:nvSpPr>
        <p:spPr>
          <a:xfrm>
            <a:off x="8707574" y="1223470"/>
            <a:ext cx="1097280" cy="457200"/>
          </a:xfrm>
          <a:prstGeom prst="rect">
            <a:avLst/>
          </a:prstGeom>
          <a:noFill/>
        </p:spPr>
        <p:txBody>
          <a:bodyPr rtlCol="0" wrap="none">
            <a:spAutoFit/>
          </a:bodyPr>
          <a:lstStyle/>
          <a:p>
            <a:r>
              <a:rPr altLang="en-US" lang="zh-CN" sz="2400">
                <a:solidFill>
                  <a:schemeClr val="bg1"/>
                </a:solidFill>
                <a:latin charset="-122" panose="020b0503020204020204" pitchFamily="34" typeface="微软雅黑"/>
                <a:ea charset="-122" panose="020b0503020204020204" pitchFamily="34" typeface="微软雅黑"/>
              </a:rPr>
              <a:t>小标题</a:t>
            </a:r>
          </a:p>
        </p:txBody>
      </p:sp>
      <p:sp>
        <p:nvSpPr>
          <p:cNvPr id="10" name="Freeform 31"/>
          <p:cNvSpPr/>
          <p:nvPr/>
        </p:nvSpPr>
        <p:spPr bwMode="auto">
          <a:xfrm>
            <a:off x="2335229" y="2729602"/>
            <a:ext cx="1584325" cy="657225"/>
          </a:xfrm>
          <a:custGeom>
            <a:gdLst>
              <a:gd fmla="*/ 229 w 229" name="T0"/>
              <a:gd fmla="*/ 89 h 95" name="T1"/>
              <a:gd fmla="*/ 223 w 229" name="T2"/>
              <a:gd fmla="*/ 95 h 95" name="T3"/>
              <a:gd fmla="*/ 6 w 229" name="T4"/>
              <a:gd fmla="*/ 95 h 95" name="T5"/>
              <a:gd fmla="*/ 0 w 229" name="T6"/>
              <a:gd fmla="*/ 89 h 95" name="T7"/>
              <a:gd fmla="*/ 0 w 229" name="T8"/>
              <a:gd fmla="*/ 6 h 95" name="T9"/>
              <a:gd fmla="*/ 6 w 229" name="T10"/>
              <a:gd fmla="*/ 0 h 95" name="T11"/>
              <a:gd fmla="*/ 223 w 229" name="T12"/>
              <a:gd fmla="*/ 0 h 95" name="T13"/>
              <a:gd fmla="*/ 229 w 229" name="T14"/>
              <a:gd fmla="*/ 6 h 95" name="T15"/>
              <a:gd fmla="*/ 229 w 229" name="T16"/>
              <a:gd fmla="*/ 89 h 9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95" w="229">
                <a:moveTo>
                  <a:pt x="229" y="89"/>
                </a:moveTo>
                <a:cubicBezTo>
                  <a:pt x="229" y="92"/>
                  <a:pt x="226" y="95"/>
                  <a:pt x="223" y="95"/>
                </a:cubicBezTo>
                <a:cubicBezTo>
                  <a:pt x="6" y="95"/>
                  <a:pt x="6" y="95"/>
                  <a:pt x="6" y="95"/>
                </a:cubicBezTo>
                <a:cubicBezTo>
                  <a:pt x="3" y="95"/>
                  <a:pt x="0" y="92"/>
                  <a:pt x="0" y="89"/>
                </a:cubicBezTo>
                <a:cubicBezTo>
                  <a:pt x="0" y="6"/>
                  <a:pt x="0" y="6"/>
                  <a:pt x="0" y="6"/>
                </a:cubicBezTo>
                <a:cubicBezTo>
                  <a:pt x="0" y="2"/>
                  <a:pt x="3" y="0"/>
                  <a:pt x="6" y="0"/>
                </a:cubicBezTo>
                <a:cubicBezTo>
                  <a:pt x="223" y="0"/>
                  <a:pt x="223" y="0"/>
                  <a:pt x="223" y="0"/>
                </a:cubicBezTo>
                <a:cubicBezTo>
                  <a:pt x="226" y="0"/>
                  <a:pt x="229" y="2"/>
                  <a:pt x="229" y="6"/>
                </a:cubicBezTo>
                <a:lnTo>
                  <a:pt x="229" y="89"/>
                </a:lnTo>
                <a:close/>
              </a:path>
            </a:pathLst>
          </a:custGeom>
          <a:solidFill>
            <a:schemeClr val="bg1">
              <a:lumMod val="50000"/>
            </a:schemeClr>
          </a:solidFill>
          <a:ln cap="flat" w="14288">
            <a:noFill/>
            <a:prstDash val="solid"/>
            <a:miter lim="800000"/>
          </a:ln>
          <a:extLst/>
        </p:spPr>
        <p:txBody>
          <a:bodyPr anchor="t" anchorCtr="0" bIns="45720" compatLnSpc="1" lIns="91440" numCol="1" rIns="91440" tIns="45720" vert="horz" wrap="square">
            <a:prstTxWarp prst="textNoShape">
              <a:avLst/>
            </a:prstTxWarp>
          </a:bodyPr>
          <a:lstStyle/>
          <a:p>
            <a:endParaRPr altLang="en-US" lang="zh-CN"/>
          </a:p>
        </p:txBody>
      </p:sp>
      <p:sp>
        <p:nvSpPr>
          <p:cNvPr id="11" name="文本框 10"/>
          <p:cNvSpPr txBox="1"/>
          <p:nvPr/>
        </p:nvSpPr>
        <p:spPr>
          <a:xfrm>
            <a:off x="2573393" y="2827382"/>
            <a:ext cx="1097280" cy="457200"/>
          </a:xfrm>
          <a:prstGeom prst="rect">
            <a:avLst/>
          </a:prstGeom>
          <a:noFill/>
        </p:spPr>
        <p:txBody>
          <a:bodyPr rtlCol="0" wrap="none">
            <a:spAutoFit/>
          </a:bodyPr>
          <a:lstStyle/>
          <a:p>
            <a:r>
              <a:rPr altLang="en-US" lang="zh-CN" sz="2400">
                <a:solidFill>
                  <a:schemeClr val="bg1"/>
                </a:solidFill>
                <a:latin charset="-122" panose="020b0503020204020204" pitchFamily="34" typeface="微软雅黑"/>
                <a:ea charset="-122" panose="020b0503020204020204" pitchFamily="34" typeface="微软雅黑"/>
              </a:rPr>
              <a:t>小标题</a:t>
            </a:r>
          </a:p>
        </p:txBody>
      </p:sp>
      <p:sp>
        <p:nvSpPr>
          <p:cNvPr id="12" name="Freeform 31"/>
          <p:cNvSpPr/>
          <p:nvPr/>
        </p:nvSpPr>
        <p:spPr bwMode="auto">
          <a:xfrm>
            <a:off x="7104063" y="5484439"/>
            <a:ext cx="1584325" cy="657225"/>
          </a:xfrm>
          <a:custGeom>
            <a:gdLst>
              <a:gd fmla="*/ 229 w 229" name="T0"/>
              <a:gd fmla="*/ 89 h 95" name="T1"/>
              <a:gd fmla="*/ 223 w 229" name="T2"/>
              <a:gd fmla="*/ 95 h 95" name="T3"/>
              <a:gd fmla="*/ 6 w 229" name="T4"/>
              <a:gd fmla="*/ 95 h 95" name="T5"/>
              <a:gd fmla="*/ 0 w 229" name="T6"/>
              <a:gd fmla="*/ 89 h 95" name="T7"/>
              <a:gd fmla="*/ 0 w 229" name="T8"/>
              <a:gd fmla="*/ 6 h 95" name="T9"/>
              <a:gd fmla="*/ 6 w 229" name="T10"/>
              <a:gd fmla="*/ 0 h 95" name="T11"/>
              <a:gd fmla="*/ 223 w 229" name="T12"/>
              <a:gd fmla="*/ 0 h 95" name="T13"/>
              <a:gd fmla="*/ 229 w 229" name="T14"/>
              <a:gd fmla="*/ 6 h 95" name="T15"/>
              <a:gd fmla="*/ 229 w 229" name="T16"/>
              <a:gd fmla="*/ 89 h 9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95" w="229">
                <a:moveTo>
                  <a:pt x="229" y="89"/>
                </a:moveTo>
                <a:cubicBezTo>
                  <a:pt x="229" y="92"/>
                  <a:pt x="226" y="95"/>
                  <a:pt x="223" y="95"/>
                </a:cubicBezTo>
                <a:cubicBezTo>
                  <a:pt x="6" y="95"/>
                  <a:pt x="6" y="95"/>
                  <a:pt x="6" y="95"/>
                </a:cubicBezTo>
                <a:cubicBezTo>
                  <a:pt x="3" y="95"/>
                  <a:pt x="0" y="92"/>
                  <a:pt x="0" y="89"/>
                </a:cubicBezTo>
                <a:cubicBezTo>
                  <a:pt x="0" y="6"/>
                  <a:pt x="0" y="6"/>
                  <a:pt x="0" y="6"/>
                </a:cubicBezTo>
                <a:cubicBezTo>
                  <a:pt x="0" y="2"/>
                  <a:pt x="3" y="0"/>
                  <a:pt x="6" y="0"/>
                </a:cubicBezTo>
                <a:cubicBezTo>
                  <a:pt x="223" y="0"/>
                  <a:pt x="223" y="0"/>
                  <a:pt x="223" y="0"/>
                </a:cubicBezTo>
                <a:cubicBezTo>
                  <a:pt x="226" y="0"/>
                  <a:pt x="229" y="2"/>
                  <a:pt x="229" y="6"/>
                </a:cubicBezTo>
                <a:lnTo>
                  <a:pt x="229" y="89"/>
                </a:lnTo>
                <a:close/>
              </a:path>
            </a:pathLst>
          </a:custGeom>
          <a:solidFill>
            <a:srgbClr val="FCB814"/>
          </a:solidFill>
          <a:ln cap="flat" w="14288">
            <a:noFill/>
            <a:prstDash val="solid"/>
            <a:miter lim="800000"/>
          </a:ln>
          <a:extLst/>
        </p:spPr>
        <p:txBody>
          <a:bodyPr anchor="t" anchorCtr="0" bIns="45720" compatLnSpc="1" lIns="91440" numCol="1" rIns="91440" tIns="45720" vert="horz" wrap="square">
            <a:prstTxWarp prst="textNoShape">
              <a:avLst/>
            </a:prstTxWarp>
          </a:bodyPr>
          <a:lstStyle/>
          <a:p>
            <a:endParaRPr altLang="en-US" lang="zh-CN"/>
          </a:p>
        </p:txBody>
      </p:sp>
      <p:sp>
        <p:nvSpPr>
          <p:cNvPr id="13" name="文本框 12"/>
          <p:cNvSpPr txBox="1"/>
          <p:nvPr/>
        </p:nvSpPr>
        <p:spPr>
          <a:xfrm>
            <a:off x="7342228" y="5582219"/>
            <a:ext cx="1097280" cy="457200"/>
          </a:xfrm>
          <a:prstGeom prst="rect">
            <a:avLst/>
          </a:prstGeom>
          <a:noFill/>
        </p:spPr>
        <p:txBody>
          <a:bodyPr rtlCol="0" wrap="none">
            <a:spAutoFit/>
          </a:bodyPr>
          <a:lstStyle/>
          <a:p>
            <a:r>
              <a:rPr altLang="en-US" lang="zh-CN" sz="2400">
                <a:solidFill>
                  <a:schemeClr val="bg1"/>
                </a:solidFill>
                <a:latin charset="-122" panose="020b0503020204020204" pitchFamily="34" typeface="微软雅黑"/>
                <a:ea charset="-122" panose="020b0503020204020204" pitchFamily="34" typeface="微软雅黑"/>
              </a:rPr>
              <a:t>小标题</a:t>
            </a:r>
          </a:p>
        </p:txBody>
      </p:sp>
      <p:sp>
        <p:nvSpPr>
          <p:cNvPr id="14" name="Freeform 13"/>
          <p:cNvSpPr>
            <a:spLocks noEditPoints="1"/>
          </p:cNvSpPr>
          <p:nvPr/>
        </p:nvSpPr>
        <p:spPr bwMode="auto">
          <a:xfrm>
            <a:off x="6917177" y="2614459"/>
            <a:ext cx="1245450" cy="857582"/>
          </a:xfrm>
          <a:custGeom>
            <a:gdLst>
              <a:gd fmla="*/ 247 w 256" name="T0"/>
              <a:gd fmla="*/ 45 h 182" name="T1"/>
              <a:gd fmla="*/ 230 w 256" name="T2"/>
              <a:gd fmla="*/ 35 h 182" name="T3"/>
              <a:gd fmla="*/ 212 w 256" name="T4"/>
              <a:gd fmla="*/ 48 h 182" name="T5"/>
              <a:gd fmla="*/ 220 w 256" name="T6"/>
              <a:gd fmla="*/ 61 h 182" name="T7"/>
              <a:gd fmla="*/ 120 w 256" name="T8"/>
              <a:gd fmla="*/ 16 h 182" name="T9"/>
              <a:gd fmla="*/ 40 w 256" name="T10"/>
              <a:gd fmla="*/ 1 h 182" name="T11"/>
              <a:gd fmla="*/ 26 w 256" name="T12"/>
              <a:gd fmla="*/ 66 h 182" name="T13"/>
              <a:gd fmla="*/ 0 w 256" name="T14"/>
              <a:gd fmla="*/ 79 h 182" name="T15"/>
              <a:gd fmla="*/ 31 w 256" name="T16"/>
              <a:gd fmla="*/ 120 h 182" name="T17"/>
              <a:gd fmla="*/ 50 w 256" name="T18"/>
              <a:gd fmla="*/ 174 h 182" name="T19"/>
              <a:gd fmla="*/ 83 w 256" name="T20"/>
              <a:gd fmla="*/ 182 h 182" name="T21"/>
              <a:gd fmla="*/ 95 w 256" name="T22"/>
              <a:gd fmla="*/ 160 h 182" name="T23"/>
              <a:gd fmla="*/ 149 w 256" name="T24"/>
              <a:gd fmla="*/ 159 h 182" name="T25"/>
              <a:gd fmla="*/ 151 w 256" name="T26"/>
              <a:gd fmla="*/ 182 h 182" name="T27"/>
              <a:gd fmla="*/ 184 w 256" name="T28"/>
              <a:gd fmla="*/ 178 h 182" name="T29"/>
              <a:gd fmla="*/ 217 w 256" name="T30"/>
              <a:gd fmla="*/ 89 h 182" name="T31"/>
              <a:gd fmla="*/ 224 w 256" name="T32"/>
              <a:gd fmla="*/ 69 h 182" name="T33"/>
              <a:gd fmla="*/ 255 w 256" name="T34"/>
              <a:gd fmla="*/ 50 h 182" name="T35"/>
              <a:gd fmla="*/ 62 w 256" name="T36"/>
              <a:gd fmla="*/ 67 h 182" name="T37"/>
              <a:gd fmla="*/ 62 w 256" name="T38"/>
              <a:gd fmla="*/ 51 h 182" name="T39"/>
              <a:gd fmla="*/ 62 w 256" name="T40"/>
              <a:gd fmla="*/ 67 h 182" name="T41"/>
              <a:gd fmla="*/ 138 w 256" name="T42"/>
              <a:gd fmla="*/ 72 h 182" name="T43"/>
              <a:gd fmla="*/ 120 w 256" name="T44"/>
              <a:gd fmla="*/ 73 h 182" name="T45"/>
              <a:gd fmla="*/ 148 w 256" name="T46"/>
              <a:gd fmla="*/ 102 h 182" name="T47"/>
              <a:gd fmla="*/ 134 w 256" name="T48"/>
              <a:gd fmla="*/ 123 h 182" name="T49"/>
              <a:gd fmla="*/ 122 w 256" name="T50"/>
              <a:gd fmla="*/ 123 h 182" name="T51"/>
              <a:gd fmla="*/ 106 w 256" name="T52"/>
              <a:gd fmla="*/ 106 h 182" name="T53"/>
              <a:gd fmla="*/ 118 w 256" name="T54"/>
              <a:gd fmla="*/ 102 h 182" name="T55"/>
              <a:gd fmla="*/ 136 w 256" name="T56"/>
              <a:gd fmla="*/ 101 h 182" name="T57"/>
              <a:gd fmla="*/ 108 w 256" name="T58"/>
              <a:gd fmla="*/ 71 h 182" name="T59"/>
              <a:gd fmla="*/ 122 w 256" name="T60"/>
              <a:gd fmla="*/ 51 h 182" name="T61"/>
              <a:gd fmla="*/ 134 w 256" name="T62"/>
              <a:gd fmla="*/ 51 h 182" name="T63"/>
              <a:gd fmla="*/ 150 w 256" name="T64"/>
              <a:gd fmla="*/ 68 h 182" name="T65"/>
              <a:gd fmla="*/ 220 w 256" name="T66"/>
              <a:gd fmla="*/ 44 h 182" name="T67"/>
              <a:gd fmla="*/ 221 w 256" name="T68"/>
              <a:gd fmla="*/ 40 h 182" name="T69"/>
              <a:gd fmla="*/ 228 w 256" name="T70"/>
              <a:gd fmla="*/ 50 h 182"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182" w="256">
                <a:moveTo>
                  <a:pt x="254" y="44"/>
                </a:moveTo>
                <a:cubicBezTo>
                  <a:pt x="251" y="42"/>
                  <a:pt x="248" y="43"/>
                  <a:pt x="247" y="45"/>
                </a:cubicBezTo>
                <a:cubicBezTo>
                  <a:pt x="244" y="49"/>
                  <a:pt x="241" y="50"/>
                  <a:pt x="238" y="51"/>
                </a:cubicBezTo>
                <a:cubicBezTo>
                  <a:pt x="238" y="45"/>
                  <a:pt x="235" y="40"/>
                  <a:pt x="230" y="35"/>
                </a:cubicBezTo>
                <a:cubicBezTo>
                  <a:pt x="226" y="30"/>
                  <a:pt x="219" y="29"/>
                  <a:pt x="214" y="32"/>
                </a:cubicBezTo>
                <a:cubicBezTo>
                  <a:pt x="211" y="35"/>
                  <a:pt x="208" y="41"/>
                  <a:pt x="212" y="48"/>
                </a:cubicBezTo>
                <a:cubicBezTo>
                  <a:pt x="214" y="53"/>
                  <a:pt x="218" y="57"/>
                  <a:pt x="224" y="59"/>
                </a:cubicBezTo>
                <a:cubicBezTo>
                  <a:pt x="223" y="60"/>
                  <a:pt x="221" y="60"/>
                  <a:pt x="220" y="61"/>
                </a:cubicBezTo>
                <a:cubicBezTo>
                  <a:pt x="217" y="62"/>
                  <a:pt x="214" y="63"/>
                  <a:pt x="211" y="64"/>
                </a:cubicBezTo>
                <a:cubicBezTo>
                  <a:pt x="198" y="36"/>
                  <a:pt x="162" y="16"/>
                  <a:pt x="120" y="16"/>
                </a:cubicBezTo>
                <a:cubicBezTo>
                  <a:pt x="111" y="16"/>
                  <a:pt x="104" y="16"/>
                  <a:pt x="96" y="17"/>
                </a:cubicBezTo>
                <a:cubicBezTo>
                  <a:pt x="84" y="9"/>
                  <a:pt x="62" y="0"/>
                  <a:pt x="40" y="1"/>
                </a:cubicBezTo>
                <a:cubicBezTo>
                  <a:pt x="41" y="10"/>
                  <a:pt x="47" y="22"/>
                  <a:pt x="54" y="31"/>
                </a:cubicBezTo>
                <a:cubicBezTo>
                  <a:pt x="40" y="40"/>
                  <a:pt x="30" y="52"/>
                  <a:pt x="26" y="66"/>
                </a:cubicBezTo>
                <a:cubicBezTo>
                  <a:pt x="20" y="68"/>
                  <a:pt x="15" y="69"/>
                  <a:pt x="8" y="70"/>
                </a:cubicBezTo>
                <a:cubicBezTo>
                  <a:pt x="3" y="70"/>
                  <a:pt x="0" y="74"/>
                  <a:pt x="0" y="79"/>
                </a:cubicBezTo>
                <a:cubicBezTo>
                  <a:pt x="1" y="91"/>
                  <a:pt x="5" y="112"/>
                  <a:pt x="19" y="118"/>
                </a:cubicBezTo>
                <a:cubicBezTo>
                  <a:pt x="22" y="119"/>
                  <a:pt x="26" y="120"/>
                  <a:pt x="31" y="120"/>
                </a:cubicBezTo>
                <a:cubicBezTo>
                  <a:pt x="37" y="130"/>
                  <a:pt x="46" y="139"/>
                  <a:pt x="57" y="146"/>
                </a:cubicBezTo>
                <a:cubicBezTo>
                  <a:pt x="55" y="155"/>
                  <a:pt x="53" y="164"/>
                  <a:pt x="50" y="174"/>
                </a:cubicBezTo>
                <a:cubicBezTo>
                  <a:pt x="49" y="178"/>
                  <a:pt x="52" y="182"/>
                  <a:pt x="56" y="182"/>
                </a:cubicBezTo>
                <a:cubicBezTo>
                  <a:pt x="83" y="182"/>
                  <a:pt x="83" y="182"/>
                  <a:pt x="83" y="182"/>
                </a:cubicBezTo>
                <a:cubicBezTo>
                  <a:pt x="86" y="182"/>
                  <a:pt x="88" y="180"/>
                  <a:pt x="89" y="178"/>
                </a:cubicBezTo>
                <a:cubicBezTo>
                  <a:pt x="91" y="172"/>
                  <a:pt x="93" y="166"/>
                  <a:pt x="95" y="160"/>
                </a:cubicBezTo>
                <a:cubicBezTo>
                  <a:pt x="103" y="162"/>
                  <a:pt x="111" y="163"/>
                  <a:pt x="120" y="163"/>
                </a:cubicBezTo>
                <a:cubicBezTo>
                  <a:pt x="130" y="163"/>
                  <a:pt x="140" y="162"/>
                  <a:pt x="149" y="159"/>
                </a:cubicBezTo>
                <a:cubicBezTo>
                  <a:pt x="147" y="164"/>
                  <a:pt x="146" y="169"/>
                  <a:pt x="145" y="174"/>
                </a:cubicBezTo>
                <a:cubicBezTo>
                  <a:pt x="144" y="178"/>
                  <a:pt x="147" y="182"/>
                  <a:pt x="151" y="182"/>
                </a:cubicBezTo>
                <a:cubicBezTo>
                  <a:pt x="178" y="182"/>
                  <a:pt x="178" y="182"/>
                  <a:pt x="178" y="182"/>
                </a:cubicBezTo>
                <a:cubicBezTo>
                  <a:pt x="180" y="182"/>
                  <a:pt x="183" y="180"/>
                  <a:pt x="184" y="178"/>
                </a:cubicBezTo>
                <a:cubicBezTo>
                  <a:pt x="189" y="165"/>
                  <a:pt x="192" y="151"/>
                  <a:pt x="194" y="137"/>
                </a:cubicBezTo>
                <a:cubicBezTo>
                  <a:pt x="208" y="124"/>
                  <a:pt x="217" y="108"/>
                  <a:pt x="217" y="89"/>
                </a:cubicBezTo>
                <a:cubicBezTo>
                  <a:pt x="217" y="84"/>
                  <a:pt x="217" y="78"/>
                  <a:pt x="215" y="73"/>
                </a:cubicBezTo>
                <a:cubicBezTo>
                  <a:pt x="218" y="72"/>
                  <a:pt x="221" y="71"/>
                  <a:pt x="224" y="69"/>
                </a:cubicBezTo>
                <a:cubicBezTo>
                  <a:pt x="230" y="67"/>
                  <a:pt x="233" y="64"/>
                  <a:pt x="235" y="61"/>
                </a:cubicBezTo>
                <a:cubicBezTo>
                  <a:pt x="243" y="61"/>
                  <a:pt x="251" y="57"/>
                  <a:pt x="255" y="50"/>
                </a:cubicBezTo>
                <a:cubicBezTo>
                  <a:pt x="256" y="48"/>
                  <a:pt x="256" y="45"/>
                  <a:pt x="254" y="44"/>
                </a:cubicBezTo>
                <a:close/>
                <a:moveTo>
                  <a:pt x="62" y="67"/>
                </a:moveTo>
                <a:cubicBezTo>
                  <a:pt x="58" y="67"/>
                  <a:pt x="54" y="63"/>
                  <a:pt x="54" y="59"/>
                </a:cubicBezTo>
                <a:cubicBezTo>
                  <a:pt x="54" y="54"/>
                  <a:pt x="58" y="51"/>
                  <a:pt x="62" y="51"/>
                </a:cubicBezTo>
                <a:cubicBezTo>
                  <a:pt x="67" y="51"/>
                  <a:pt x="70" y="54"/>
                  <a:pt x="70" y="59"/>
                </a:cubicBezTo>
                <a:cubicBezTo>
                  <a:pt x="70" y="63"/>
                  <a:pt x="67" y="67"/>
                  <a:pt x="62" y="67"/>
                </a:cubicBezTo>
                <a:close/>
                <a:moveTo>
                  <a:pt x="146" y="76"/>
                </a:moveTo>
                <a:cubicBezTo>
                  <a:pt x="143" y="77"/>
                  <a:pt x="139" y="75"/>
                  <a:pt x="138" y="72"/>
                </a:cubicBezTo>
                <a:cubicBezTo>
                  <a:pt x="137" y="69"/>
                  <a:pt x="134" y="66"/>
                  <a:pt x="128" y="66"/>
                </a:cubicBezTo>
                <a:cubicBezTo>
                  <a:pt x="123" y="66"/>
                  <a:pt x="121" y="70"/>
                  <a:pt x="120" y="73"/>
                </a:cubicBezTo>
                <a:cubicBezTo>
                  <a:pt x="120" y="76"/>
                  <a:pt x="123" y="79"/>
                  <a:pt x="129" y="80"/>
                </a:cubicBezTo>
                <a:cubicBezTo>
                  <a:pt x="144" y="84"/>
                  <a:pt x="149" y="94"/>
                  <a:pt x="148" y="102"/>
                </a:cubicBezTo>
                <a:cubicBezTo>
                  <a:pt x="148" y="110"/>
                  <a:pt x="142" y="117"/>
                  <a:pt x="134" y="119"/>
                </a:cubicBezTo>
                <a:cubicBezTo>
                  <a:pt x="134" y="123"/>
                  <a:pt x="134" y="123"/>
                  <a:pt x="134" y="123"/>
                </a:cubicBezTo>
                <a:cubicBezTo>
                  <a:pt x="134" y="126"/>
                  <a:pt x="132" y="129"/>
                  <a:pt x="128" y="129"/>
                </a:cubicBezTo>
                <a:cubicBezTo>
                  <a:pt x="124" y="129"/>
                  <a:pt x="122" y="126"/>
                  <a:pt x="122" y="123"/>
                </a:cubicBezTo>
                <a:cubicBezTo>
                  <a:pt x="122" y="119"/>
                  <a:pt x="122" y="119"/>
                  <a:pt x="122" y="119"/>
                </a:cubicBezTo>
                <a:cubicBezTo>
                  <a:pt x="113" y="117"/>
                  <a:pt x="108" y="111"/>
                  <a:pt x="106" y="106"/>
                </a:cubicBezTo>
                <a:cubicBezTo>
                  <a:pt x="105" y="102"/>
                  <a:pt x="107" y="99"/>
                  <a:pt x="110" y="98"/>
                </a:cubicBezTo>
                <a:cubicBezTo>
                  <a:pt x="113" y="97"/>
                  <a:pt x="117" y="98"/>
                  <a:pt x="118" y="102"/>
                </a:cubicBezTo>
                <a:cubicBezTo>
                  <a:pt x="119" y="104"/>
                  <a:pt x="122" y="107"/>
                  <a:pt x="128" y="107"/>
                </a:cubicBezTo>
                <a:cubicBezTo>
                  <a:pt x="133" y="107"/>
                  <a:pt x="135" y="104"/>
                  <a:pt x="136" y="101"/>
                </a:cubicBezTo>
                <a:cubicBezTo>
                  <a:pt x="136" y="97"/>
                  <a:pt x="133" y="94"/>
                  <a:pt x="127" y="93"/>
                </a:cubicBezTo>
                <a:cubicBezTo>
                  <a:pt x="112" y="90"/>
                  <a:pt x="107" y="80"/>
                  <a:pt x="108" y="71"/>
                </a:cubicBezTo>
                <a:cubicBezTo>
                  <a:pt x="108" y="63"/>
                  <a:pt x="114" y="57"/>
                  <a:pt x="122" y="55"/>
                </a:cubicBezTo>
                <a:cubicBezTo>
                  <a:pt x="122" y="51"/>
                  <a:pt x="122" y="51"/>
                  <a:pt x="122" y="51"/>
                </a:cubicBezTo>
                <a:cubicBezTo>
                  <a:pt x="122" y="47"/>
                  <a:pt x="124" y="44"/>
                  <a:pt x="128" y="44"/>
                </a:cubicBezTo>
                <a:cubicBezTo>
                  <a:pt x="132" y="44"/>
                  <a:pt x="134" y="47"/>
                  <a:pt x="134" y="51"/>
                </a:cubicBezTo>
                <a:cubicBezTo>
                  <a:pt x="134" y="54"/>
                  <a:pt x="134" y="54"/>
                  <a:pt x="134" y="54"/>
                </a:cubicBezTo>
                <a:cubicBezTo>
                  <a:pt x="143" y="56"/>
                  <a:pt x="148" y="62"/>
                  <a:pt x="150" y="68"/>
                </a:cubicBezTo>
                <a:cubicBezTo>
                  <a:pt x="151" y="71"/>
                  <a:pt x="149" y="75"/>
                  <a:pt x="146" y="76"/>
                </a:cubicBezTo>
                <a:close/>
                <a:moveTo>
                  <a:pt x="220" y="44"/>
                </a:moveTo>
                <a:cubicBezTo>
                  <a:pt x="219" y="42"/>
                  <a:pt x="219" y="40"/>
                  <a:pt x="220" y="40"/>
                </a:cubicBezTo>
                <a:cubicBezTo>
                  <a:pt x="220" y="40"/>
                  <a:pt x="220" y="40"/>
                  <a:pt x="221" y="40"/>
                </a:cubicBezTo>
                <a:cubicBezTo>
                  <a:pt x="221" y="40"/>
                  <a:pt x="222" y="40"/>
                  <a:pt x="224" y="41"/>
                </a:cubicBezTo>
                <a:cubicBezTo>
                  <a:pt x="227" y="44"/>
                  <a:pt x="228" y="48"/>
                  <a:pt x="228" y="50"/>
                </a:cubicBezTo>
                <a:cubicBezTo>
                  <a:pt x="225" y="49"/>
                  <a:pt x="222" y="47"/>
                  <a:pt x="220" y="44"/>
                </a:cubicBezTo>
                <a:close/>
              </a:path>
            </a:pathLst>
          </a:custGeom>
          <a:solidFill>
            <a:schemeClr val="bg1"/>
          </a:solidFill>
          <a:ln>
            <a:noFill/>
          </a:ln>
        </p:spPr>
        <p:txBody>
          <a:bodyPr anchor="t" anchorCtr="0" bIns="45720" compatLnSpc="1" lIns="91440" numCol="1" rIns="91440" tIns="45720" vert="horz" wrap="square">
            <a:prstTxWarp prst="textNoShape">
              <a:avLst/>
            </a:prstTxWarp>
          </a:bodyPr>
          <a:lstStyle/>
          <a:p>
            <a:endParaRPr altLang="en-US" lang="zh-CN"/>
          </a:p>
        </p:txBody>
      </p:sp>
      <p:sp>
        <p:nvSpPr>
          <p:cNvPr id="15" name="Freeform 61"/>
          <p:cNvSpPr>
            <a:spLocks noEditPoints="1"/>
          </p:cNvSpPr>
          <p:nvPr/>
        </p:nvSpPr>
        <p:spPr bwMode="auto">
          <a:xfrm>
            <a:off x="5659585" y="4457922"/>
            <a:ext cx="568937" cy="513513"/>
          </a:xfrm>
          <a:custGeom>
            <a:gdLst>
              <a:gd fmla="*/ 205 w 210" name="T0"/>
              <a:gd fmla="*/ 35 h 189" name="T1"/>
              <a:gd fmla="*/ 192 w 210" name="T2"/>
              <a:gd fmla="*/ 29 h 189" name="T3"/>
              <a:gd fmla="*/ 55 w 210" name="T4"/>
              <a:gd fmla="*/ 29 h 189" name="T5"/>
              <a:gd fmla="*/ 45 w 210" name="T6"/>
              <a:gd fmla="*/ 32 h 189" name="T7"/>
              <a:gd fmla="*/ 43 w 210" name="T8"/>
              <a:gd fmla="*/ 23 h 189" name="T9"/>
              <a:gd fmla="*/ 5 w 210" name="T10"/>
              <a:gd fmla="*/ 0 h 189" name="T11"/>
              <a:gd fmla="*/ 0 w 210" name="T12"/>
              <a:gd fmla="*/ 5 h 189" name="T13"/>
              <a:gd fmla="*/ 5 w 210" name="T14"/>
              <a:gd fmla="*/ 10 h 189" name="T15"/>
              <a:gd fmla="*/ 34 w 210" name="T16"/>
              <a:gd fmla="*/ 25 h 189" name="T17"/>
              <a:gd fmla="*/ 37 w 210" name="T18"/>
              <a:gd fmla="*/ 49 h 189" name="T19"/>
              <a:gd fmla="*/ 37 w 210" name="T20"/>
              <a:gd fmla="*/ 49 h 189" name="T21"/>
              <a:gd fmla="*/ 37 w 210" name="T22"/>
              <a:gd fmla="*/ 49 h 189" name="T23"/>
              <a:gd fmla="*/ 50 w 210" name="T24"/>
              <a:gd fmla="*/ 129 h 189" name="T25"/>
              <a:gd fmla="*/ 59 w 210" name="T26"/>
              <a:gd fmla="*/ 142 h 189" name="T27"/>
              <a:gd fmla="*/ 56 w 210" name="T28"/>
              <a:gd fmla="*/ 152 h 189" name="T29"/>
              <a:gd fmla="*/ 66 w 210" name="T30"/>
              <a:gd fmla="*/ 168 h 189" name="T31"/>
              <a:gd fmla="*/ 66 w 210" name="T32"/>
              <a:gd fmla="*/ 171 h 189" name="T33"/>
              <a:gd fmla="*/ 83 w 210" name="T34"/>
              <a:gd fmla="*/ 189 h 189" name="T35"/>
              <a:gd fmla="*/ 100 w 210" name="T36"/>
              <a:gd fmla="*/ 176 h 189" name="T37"/>
              <a:gd fmla="*/ 156 w 210" name="T38"/>
              <a:gd fmla="*/ 176 h 189" name="T39"/>
              <a:gd fmla="*/ 173 w 210" name="T40"/>
              <a:gd fmla="*/ 189 h 189" name="T41"/>
              <a:gd fmla="*/ 190 w 210" name="T42"/>
              <a:gd fmla="*/ 171 h 189" name="T43"/>
              <a:gd fmla="*/ 173 w 210" name="T44"/>
              <a:gd fmla="*/ 154 h 189" name="T45"/>
              <a:gd fmla="*/ 156 w 210" name="T46"/>
              <a:gd fmla="*/ 166 h 189" name="T47"/>
              <a:gd fmla="*/ 100 w 210" name="T48"/>
              <a:gd fmla="*/ 166 h 189" name="T49"/>
              <a:gd fmla="*/ 83 w 210" name="T50"/>
              <a:gd fmla="*/ 154 h 189" name="T51"/>
              <a:gd fmla="*/ 70 w 210" name="T52"/>
              <a:gd fmla="*/ 159 h 189" name="T53"/>
              <a:gd fmla="*/ 66 w 210" name="T54"/>
              <a:gd fmla="*/ 152 h 189" name="T55"/>
              <a:gd fmla="*/ 74 w 210" name="T56"/>
              <a:gd fmla="*/ 144 h 189" name="T57"/>
              <a:gd fmla="*/ 182 w 210" name="T58"/>
              <a:gd fmla="*/ 144 h 189" name="T59"/>
              <a:gd fmla="*/ 200 w 210" name="T60"/>
              <a:gd fmla="*/ 128 h 189" name="T61"/>
              <a:gd fmla="*/ 209 w 210" name="T62"/>
              <a:gd fmla="*/ 48 h 189" name="T63"/>
              <a:gd fmla="*/ 205 w 210" name="T64"/>
              <a:gd fmla="*/ 35 h 189" name="T65"/>
              <a:gd fmla="*/ 173 w 210" name="T66"/>
              <a:gd fmla="*/ 163 h 189" name="T67"/>
              <a:gd fmla="*/ 181 w 210" name="T68"/>
              <a:gd fmla="*/ 171 h 189" name="T69"/>
              <a:gd fmla="*/ 173 w 210" name="T70"/>
              <a:gd fmla="*/ 179 h 189" name="T71"/>
              <a:gd fmla="*/ 165 w 210" name="T72"/>
              <a:gd fmla="*/ 171 h 189" name="T73"/>
              <a:gd fmla="*/ 173 w 210" name="T74"/>
              <a:gd fmla="*/ 163 h 189" name="T75"/>
              <a:gd fmla="*/ 83 w 210" name="T76"/>
              <a:gd fmla="*/ 163 h 189" name="T77"/>
              <a:gd fmla="*/ 91 w 210" name="T78"/>
              <a:gd fmla="*/ 171 h 189" name="T79"/>
              <a:gd fmla="*/ 83 w 210" name="T80"/>
              <a:gd fmla="*/ 179 h 189" name="T81"/>
              <a:gd fmla="*/ 75 w 210" name="T82"/>
              <a:gd fmla="*/ 171 h 189" name="T83"/>
              <a:gd fmla="*/ 83 w 210" name="T84"/>
              <a:gd fmla="*/ 163 h 189"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189" w="210">
                <a:moveTo>
                  <a:pt x="205" y="35"/>
                </a:moveTo>
                <a:cubicBezTo>
                  <a:pt x="202" y="31"/>
                  <a:pt x="197" y="29"/>
                  <a:pt x="192" y="29"/>
                </a:cubicBezTo>
                <a:cubicBezTo>
                  <a:pt x="55" y="29"/>
                  <a:pt x="55" y="29"/>
                  <a:pt x="55" y="29"/>
                </a:cubicBezTo>
                <a:cubicBezTo>
                  <a:pt x="51" y="29"/>
                  <a:pt x="47" y="30"/>
                  <a:pt x="45" y="32"/>
                </a:cubicBezTo>
                <a:cubicBezTo>
                  <a:pt x="44" y="29"/>
                  <a:pt x="44" y="25"/>
                  <a:pt x="43" y="23"/>
                </a:cubicBezTo>
                <a:cubicBezTo>
                  <a:pt x="39" y="0"/>
                  <a:pt x="18" y="0"/>
                  <a:pt x="5" y="0"/>
                </a:cubicBezTo>
                <a:cubicBezTo>
                  <a:pt x="2" y="0"/>
                  <a:pt x="0" y="2"/>
                  <a:pt x="0" y="5"/>
                </a:cubicBezTo>
                <a:cubicBezTo>
                  <a:pt x="0" y="7"/>
                  <a:pt x="2" y="10"/>
                  <a:pt x="5" y="10"/>
                </a:cubicBezTo>
                <a:cubicBezTo>
                  <a:pt x="20" y="10"/>
                  <a:pt x="31" y="11"/>
                  <a:pt x="34" y="25"/>
                </a:cubicBezTo>
                <a:cubicBezTo>
                  <a:pt x="35" y="31"/>
                  <a:pt x="37" y="47"/>
                  <a:pt x="37" y="49"/>
                </a:cubicBezTo>
                <a:cubicBezTo>
                  <a:pt x="37" y="49"/>
                  <a:pt x="37" y="49"/>
                  <a:pt x="37" y="49"/>
                </a:cubicBezTo>
                <a:cubicBezTo>
                  <a:pt x="37" y="49"/>
                  <a:pt x="37" y="49"/>
                  <a:pt x="37" y="49"/>
                </a:cubicBezTo>
                <a:cubicBezTo>
                  <a:pt x="50" y="129"/>
                  <a:pt x="50" y="129"/>
                  <a:pt x="50" y="129"/>
                </a:cubicBezTo>
                <a:cubicBezTo>
                  <a:pt x="50" y="135"/>
                  <a:pt x="54" y="139"/>
                  <a:pt x="59" y="142"/>
                </a:cubicBezTo>
                <a:cubicBezTo>
                  <a:pt x="57" y="145"/>
                  <a:pt x="56" y="148"/>
                  <a:pt x="56" y="152"/>
                </a:cubicBezTo>
                <a:cubicBezTo>
                  <a:pt x="56" y="159"/>
                  <a:pt x="60" y="165"/>
                  <a:pt x="66" y="168"/>
                </a:cubicBezTo>
                <a:cubicBezTo>
                  <a:pt x="66" y="169"/>
                  <a:pt x="66" y="170"/>
                  <a:pt x="66" y="171"/>
                </a:cubicBezTo>
                <a:cubicBezTo>
                  <a:pt x="66" y="181"/>
                  <a:pt x="73" y="189"/>
                  <a:pt x="83" y="189"/>
                </a:cubicBezTo>
                <a:cubicBezTo>
                  <a:pt x="91" y="189"/>
                  <a:pt x="98" y="183"/>
                  <a:pt x="100" y="176"/>
                </a:cubicBezTo>
                <a:cubicBezTo>
                  <a:pt x="156" y="176"/>
                  <a:pt x="156" y="176"/>
                  <a:pt x="156" y="176"/>
                </a:cubicBezTo>
                <a:cubicBezTo>
                  <a:pt x="158" y="183"/>
                  <a:pt x="165" y="189"/>
                  <a:pt x="173" y="189"/>
                </a:cubicBezTo>
                <a:cubicBezTo>
                  <a:pt x="182" y="189"/>
                  <a:pt x="190" y="181"/>
                  <a:pt x="190" y="171"/>
                </a:cubicBezTo>
                <a:cubicBezTo>
                  <a:pt x="190" y="161"/>
                  <a:pt x="182" y="154"/>
                  <a:pt x="173" y="154"/>
                </a:cubicBezTo>
                <a:cubicBezTo>
                  <a:pt x="165" y="154"/>
                  <a:pt x="158" y="159"/>
                  <a:pt x="156" y="166"/>
                </a:cubicBezTo>
                <a:cubicBezTo>
                  <a:pt x="100" y="166"/>
                  <a:pt x="100" y="166"/>
                  <a:pt x="100" y="166"/>
                </a:cubicBezTo>
                <a:cubicBezTo>
                  <a:pt x="98" y="159"/>
                  <a:pt x="91" y="154"/>
                  <a:pt x="83" y="154"/>
                </a:cubicBezTo>
                <a:cubicBezTo>
                  <a:pt x="78" y="154"/>
                  <a:pt x="73" y="156"/>
                  <a:pt x="70" y="159"/>
                </a:cubicBezTo>
                <a:cubicBezTo>
                  <a:pt x="68" y="158"/>
                  <a:pt x="66" y="155"/>
                  <a:pt x="66" y="152"/>
                </a:cubicBezTo>
                <a:cubicBezTo>
                  <a:pt x="66" y="148"/>
                  <a:pt x="69" y="144"/>
                  <a:pt x="74" y="144"/>
                </a:cubicBezTo>
                <a:cubicBezTo>
                  <a:pt x="182" y="144"/>
                  <a:pt x="182" y="144"/>
                  <a:pt x="182" y="144"/>
                </a:cubicBezTo>
                <a:cubicBezTo>
                  <a:pt x="191" y="144"/>
                  <a:pt x="199" y="137"/>
                  <a:pt x="200" y="128"/>
                </a:cubicBezTo>
                <a:cubicBezTo>
                  <a:pt x="209" y="48"/>
                  <a:pt x="209" y="48"/>
                  <a:pt x="209" y="48"/>
                </a:cubicBezTo>
                <a:cubicBezTo>
                  <a:pt x="210" y="43"/>
                  <a:pt x="208" y="38"/>
                  <a:pt x="205" y="35"/>
                </a:cubicBezTo>
                <a:close/>
                <a:moveTo>
                  <a:pt x="173" y="163"/>
                </a:moveTo>
                <a:cubicBezTo>
                  <a:pt x="177" y="163"/>
                  <a:pt x="181" y="167"/>
                  <a:pt x="181" y="171"/>
                </a:cubicBezTo>
                <a:cubicBezTo>
                  <a:pt x="181" y="176"/>
                  <a:pt x="177" y="179"/>
                  <a:pt x="173" y="179"/>
                </a:cubicBezTo>
                <a:cubicBezTo>
                  <a:pt x="168" y="179"/>
                  <a:pt x="165" y="176"/>
                  <a:pt x="165" y="171"/>
                </a:cubicBezTo>
                <a:cubicBezTo>
                  <a:pt x="165" y="167"/>
                  <a:pt x="168" y="163"/>
                  <a:pt x="173" y="163"/>
                </a:cubicBezTo>
                <a:close/>
                <a:moveTo>
                  <a:pt x="83" y="163"/>
                </a:moveTo>
                <a:cubicBezTo>
                  <a:pt x="88" y="163"/>
                  <a:pt x="91" y="167"/>
                  <a:pt x="91" y="171"/>
                </a:cubicBezTo>
                <a:cubicBezTo>
                  <a:pt x="91" y="176"/>
                  <a:pt x="88" y="179"/>
                  <a:pt x="83" y="179"/>
                </a:cubicBezTo>
                <a:cubicBezTo>
                  <a:pt x="79" y="179"/>
                  <a:pt x="75" y="176"/>
                  <a:pt x="75" y="171"/>
                </a:cubicBezTo>
                <a:cubicBezTo>
                  <a:pt x="75" y="167"/>
                  <a:pt x="79" y="163"/>
                  <a:pt x="83" y="163"/>
                </a:cubicBezTo>
                <a:close/>
              </a:path>
            </a:pathLst>
          </a:custGeom>
          <a:solidFill>
            <a:schemeClr val="bg1"/>
          </a:solidFill>
          <a:ln>
            <a:noFill/>
          </a:ln>
        </p:spPr>
        <p:txBody>
          <a:bodyPr anchor="t" anchorCtr="0" bIns="45720" compatLnSpc="1" lIns="91440" numCol="1" rIns="91440" tIns="45720" vert="horz" wrap="square">
            <a:prstTxWarp prst="textNoShape">
              <a:avLst/>
            </a:prstTxWarp>
          </a:bodyPr>
          <a:lstStyle/>
          <a:p>
            <a:endParaRPr altLang="en-US" lang="zh-CN"/>
          </a:p>
        </p:txBody>
      </p:sp>
      <p:sp>
        <p:nvSpPr>
          <p:cNvPr id="16" name="Freeform 21"/>
          <p:cNvSpPr>
            <a:spLocks noEditPoints="1"/>
          </p:cNvSpPr>
          <p:nvPr/>
        </p:nvSpPr>
        <p:spPr bwMode="auto">
          <a:xfrm>
            <a:off x="4744999" y="2508423"/>
            <a:ext cx="651804" cy="670466"/>
          </a:xfrm>
          <a:custGeom>
            <a:gdLst>
              <a:gd fmla="*/ 45 w 204" name="T0"/>
              <a:gd fmla="*/ 210 h 210" name="T1"/>
              <a:gd fmla="*/ 3 w 204" name="T2"/>
              <a:gd fmla="*/ 210 h 210" name="T3"/>
              <a:gd fmla="*/ 0 w 204" name="T4"/>
              <a:gd fmla="*/ 207 h 210" name="T5"/>
              <a:gd fmla="*/ 0 w 204" name="T6"/>
              <a:gd fmla="*/ 149 h 210" name="T7"/>
              <a:gd fmla="*/ 3 w 204" name="T8"/>
              <a:gd fmla="*/ 146 h 210" name="T9"/>
              <a:gd fmla="*/ 45 w 204" name="T10"/>
              <a:gd fmla="*/ 146 h 210" name="T11"/>
              <a:gd fmla="*/ 48 w 204" name="T12"/>
              <a:gd fmla="*/ 149 h 210" name="T13"/>
              <a:gd fmla="*/ 48 w 204" name="T14"/>
              <a:gd fmla="*/ 207 h 210" name="T15"/>
              <a:gd fmla="*/ 45 w 204" name="T16"/>
              <a:gd fmla="*/ 210 h 210" name="T17"/>
              <a:gd fmla="*/ 122 w 204" name="T18"/>
              <a:gd fmla="*/ 207 h 210" name="T19"/>
              <a:gd fmla="*/ 122 w 204" name="T20"/>
              <a:gd fmla="*/ 104 h 210" name="T21"/>
              <a:gd fmla="*/ 118 w 204" name="T22"/>
              <a:gd fmla="*/ 101 h 210" name="T23"/>
              <a:gd fmla="*/ 77 w 204" name="T24"/>
              <a:gd fmla="*/ 101 h 210" name="T25"/>
              <a:gd fmla="*/ 74 w 204" name="T26"/>
              <a:gd fmla="*/ 104 h 210" name="T27"/>
              <a:gd fmla="*/ 74 w 204" name="T28"/>
              <a:gd fmla="*/ 207 h 210" name="T29"/>
              <a:gd fmla="*/ 77 w 204" name="T30"/>
              <a:gd fmla="*/ 210 h 210" name="T31"/>
              <a:gd fmla="*/ 118 w 204" name="T32"/>
              <a:gd fmla="*/ 210 h 210" name="T33"/>
              <a:gd fmla="*/ 122 w 204" name="T34"/>
              <a:gd fmla="*/ 207 h 210" name="T35"/>
              <a:gd fmla="*/ 203 w 204" name="T36"/>
              <a:gd fmla="*/ 58 h 210" name="T37"/>
              <a:gd fmla="*/ 171 w 204" name="T38"/>
              <a:gd fmla="*/ 3 h 210" name="T39"/>
              <a:gd fmla="*/ 165 w 204" name="T40"/>
              <a:gd fmla="*/ 3 h 210" name="T41"/>
              <a:gd fmla="*/ 133 w 204" name="T42"/>
              <a:gd fmla="*/ 58 h 210" name="T43"/>
              <a:gd fmla="*/ 136 w 204" name="T44"/>
              <a:gd fmla="*/ 63 h 210" name="T45"/>
              <a:gd fmla="*/ 147 w 204" name="T46"/>
              <a:gd fmla="*/ 63 h 210" name="T47"/>
              <a:gd fmla="*/ 147 w 204" name="T48"/>
              <a:gd fmla="*/ 207 h 210" name="T49"/>
              <a:gd fmla="*/ 150 w 204" name="T50"/>
              <a:gd fmla="*/ 210 h 210" name="T51"/>
              <a:gd fmla="*/ 186 w 204" name="T52"/>
              <a:gd fmla="*/ 210 h 210" name="T53"/>
              <a:gd fmla="*/ 189 w 204" name="T54"/>
              <a:gd fmla="*/ 207 h 210" name="T55"/>
              <a:gd fmla="*/ 189 w 204" name="T56"/>
              <a:gd fmla="*/ 63 h 210" name="T57"/>
              <a:gd fmla="*/ 200 w 204" name="T58"/>
              <a:gd fmla="*/ 63 h 210" name="T59"/>
              <a:gd fmla="*/ 203 w 204" name="T60"/>
              <a:gd fmla="*/ 58 h 210" name="T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b="b" l="0" r="r" t="0"/>
            <a:pathLst>
              <a:path h="210" w="204">
                <a:moveTo>
                  <a:pt x="45" y="210"/>
                </a:moveTo>
                <a:cubicBezTo>
                  <a:pt x="3" y="210"/>
                  <a:pt x="3" y="210"/>
                  <a:pt x="3" y="210"/>
                </a:cubicBezTo>
                <a:cubicBezTo>
                  <a:pt x="1" y="210"/>
                  <a:pt x="0" y="209"/>
                  <a:pt x="0" y="207"/>
                </a:cubicBezTo>
                <a:cubicBezTo>
                  <a:pt x="0" y="149"/>
                  <a:pt x="0" y="149"/>
                  <a:pt x="0" y="149"/>
                </a:cubicBezTo>
                <a:cubicBezTo>
                  <a:pt x="0" y="147"/>
                  <a:pt x="1" y="146"/>
                  <a:pt x="3" y="146"/>
                </a:cubicBezTo>
                <a:cubicBezTo>
                  <a:pt x="45" y="146"/>
                  <a:pt x="45" y="146"/>
                  <a:pt x="45" y="146"/>
                </a:cubicBezTo>
                <a:cubicBezTo>
                  <a:pt x="47" y="146"/>
                  <a:pt x="48" y="147"/>
                  <a:pt x="48" y="149"/>
                </a:cubicBezTo>
                <a:cubicBezTo>
                  <a:pt x="48" y="207"/>
                  <a:pt x="48" y="207"/>
                  <a:pt x="48" y="207"/>
                </a:cubicBezTo>
                <a:cubicBezTo>
                  <a:pt x="48" y="209"/>
                  <a:pt x="47" y="210"/>
                  <a:pt x="45" y="210"/>
                </a:cubicBezTo>
                <a:close/>
                <a:moveTo>
                  <a:pt x="122" y="207"/>
                </a:moveTo>
                <a:cubicBezTo>
                  <a:pt x="122" y="104"/>
                  <a:pt x="122" y="104"/>
                  <a:pt x="122" y="104"/>
                </a:cubicBezTo>
                <a:cubicBezTo>
                  <a:pt x="122" y="103"/>
                  <a:pt x="120" y="101"/>
                  <a:pt x="118" y="101"/>
                </a:cubicBezTo>
                <a:cubicBezTo>
                  <a:pt x="77" y="101"/>
                  <a:pt x="77" y="101"/>
                  <a:pt x="77" y="101"/>
                </a:cubicBezTo>
                <a:cubicBezTo>
                  <a:pt x="75" y="101"/>
                  <a:pt x="74" y="103"/>
                  <a:pt x="74" y="104"/>
                </a:cubicBezTo>
                <a:cubicBezTo>
                  <a:pt x="74" y="207"/>
                  <a:pt x="74" y="207"/>
                  <a:pt x="74" y="207"/>
                </a:cubicBezTo>
                <a:cubicBezTo>
                  <a:pt x="74" y="209"/>
                  <a:pt x="75" y="210"/>
                  <a:pt x="77" y="210"/>
                </a:cubicBezTo>
                <a:cubicBezTo>
                  <a:pt x="118" y="210"/>
                  <a:pt x="118" y="210"/>
                  <a:pt x="118" y="210"/>
                </a:cubicBezTo>
                <a:cubicBezTo>
                  <a:pt x="120" y="210"/>
                  <a:pt x="122" y="209"/>
                  <a:pt x="122" y="207"/>
                </a:cubicBezTo>
                <a:close/>
                <a:moveTo>
                  <a:pt x="203" y="58"/>
                </a:moveTo>
                <a:cubicBezTo>
                  <a:pt x="171" y="3"/>
                  <a:pt x="171" y="3"/>
                  <a:pt x="171" y="3"/>
                </a:cubicBezTo>
                <a:cubicBezTo>
                  <a:pt x="169" y="0"/>
                  <a:pt x="167" y="0"/>
                  <a:pt x="165" y="3"/>
                </a:cubicBezTo>
                <a:cubicBezTo>
                  <a:pt x="133" y="58"/>
                  <a:pt x="133" y="58"/>
                  <a:pt x="133" y="58"/>
                </a:cubicBezTo>
                <a:cubicBezTo>
                  <a:pt x="132" y="61"/>
                  <a:pt x="133" y="63"/>
                  <a:pt x="136" y="63"/>
                </a:cubicBezTo>
                <a:cubicBezTo>
                  <a:pt x="147" y="63"/>
                  <a:pt x="147" y="63"/>
                  <a:pt x="147" y="63"/>
                </a:cubicBezTo>
                <a:cubicBezTo>
                  <a:pt x="147" y="207"/>
                  <a:pt x="147" y="207"/>
                  <a:pt x="147" y="207"/>
                </a:cubicBezTo>
                <a:cubicBezTo>
                  <a:pt x="147" y="209"/>
                  <a:pt x="149" y="210"/>
                  <a:pt x="150" y="210"/>
                </a:cubicBezTo>
                <a:cubicBezTo>
                  <a:pt x="186" y="210"/>
                  <a:pt x="186" y="210"/>
                  <a:pt x="186" y="210"/>
                </a:cubicBezTo>
                <a:cubicBezTo>
                  <a:pt x="187" y="210"/>
                  <a:pt x="189" y="209"/>
                  <a:pt x="189" y="207"/>
                </a:cubicBezTo>
                <a:cubicBezTo>
                  <a:pt x="189" y="63"/>
                  <a:pt x="189" y="63"/>
                  <a:pt x="189" y="63"/>
                </a:cubicBezTo>
                <a:cubicBezTo>
                  <a:pt x="200" y="63"/>
                  <a:pt x="200" y="63"/>
                  <a:pt x="200" y="63"/>
                </a:cubicBezTo>
                <a:cubicBezTo>
                  <a:pt x="203" y="63"/>
                  <a:pt x="204" y="61"/>
                  <a:pt x="203" y="58"/>
                </a:cubicBezTo>
                <a:close/>
              </a:path>
            </a:pathLst>
          </a:custGeom>
          <a:solidFill>
            <a:schemeClr val="bg1"/>
          </a:solidFill>
          <a:ln>
            <a:noFill/>
          </a:ln>
        </p:spPr>
        <p:txBody>
          <a:bodyPr anchor="t" anchorCtr="0" bIns="45720" compatLnSpc="1" lIns="91440" numCol="1" rIns="91440" tIns="45720" vert="horz" wrap="square">
            <a:prstTxWarp prst="textNoShape">
              <a:avLst/>
            </a:prstTxWarp>
          </a:bodyPr>
          <a:lstStyle/>
          <a:p>
            <a:endParaRPr altLang="en-US" lang="zh-CN"/>
          </a:p>
        </p:txBody>
      </p:sp>
      <p:sp>
        <p:nvSpPr>
          <p:cNvPr id="18" name="文本框 17"/>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Tree>
    <p:extLst>
      <p:ext uri="{BB962C8B-B14F-4D97-AF65-F5344CB8AC3E}">
        <p14:creationId val="2695996069"/>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8B0FBDD0-A8EB-4E1C-8280-E8FDDF61C41B}" type="slidenum">
              <a:rPr altLang="en-US" lang="zh-CN" smtClean="0"/>
              <a:t>11</a:t>
            </a:fld>
          </a:p>
        </p:txBody>
      </p:sp>
      <p:sp>
        <p:nvSpPr>
          <p:cNvPr id="5" name="矩形 4"/>
          <p:cNvSpPr/>
          <p:nvPr/>
        </p:nvSpPr>
        <p:spPr>
          <a:xfrm>
            <a:off x="0" y="2397299"/>
            <a:ext cx="12192000" cy="2893157"/>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6" name="图片 5"/>
          <p:cNvPicPr>
            <a:picLocks noChangeAspect="1"/>
          </p:cNvPicPr>
          <p:nvPr/>
        </p:nvPicPr>
        <p:blipFill>
          <a:blip r:embed="rId2">
            <a:extLst>
              <a:ext uri="{28A0092B-C50C-407E-A947-70E740481C1C}">
                <a14:useLocalDpi/>
              </a:ext>
            </a:extLst>
          </a:blip>
          <a:stretch>
            <a:fillRect/>
          </a:stretch>
        </p:blipFill>
        <p:spPr>
          <a:xfrm>
            <a:off x="816665" y="1600200"/>
            <a:ext cx="3097668" cy="5257800"/>
          </a:xfrm>
          <a:prstGeom prst="rect">
            <a:avLst/>
          </a:prstGeom>
        </p:spPr>
      </p:pic>
      <p:sp>
        <p:nvSpPr>
          <p:cNvPr id="7" name="文本框 6"/>
          <p:cNvSpPr txBox="1"/>
          <p:nvPr/>
        </p:nvSpPr>
        <p:spPr>
          <a:xfrm>
            <a:off x="4219369" y="1633520"/>
            <a:ext cx="5669280" cy="457200"/>
          </a:xfrm>
          <a:prstGeom prst="rect">
            <a:avLst/>
          </a:prstGeom>
          <a:noFill/>
        </p:spPr>
        <p:txBody>
          <a:bodyPr rtlCol="0" wrap="none">
            <a:spAutoFit/>
          </a:bodyPr>
          <a:lstStyle/>
          <a:p>
            <a:r>
              <a:rPr altLang="en-US" lang="zh-CN" smtClean="0" sz="2400">
                <a:solidFill>
                  <a:schemeClr val="tx1">
                    <a:lumMod val="65000"/>
                    <a:lumOff val="35000"/>
                  </a:schemeClr>
                </a:solidFill>
                <a:latin charset="-122" panose="020b0503020204020204" pitchFamily="34" typeface="微软雅黑"/>
                <a:ea charset="-122" panose="020b0503020204020204" pitchFamily="34" typeface="微软雅黑"/>
              </a:rPr>
              <a:t>请在此处输入小标题请在此处输入小标题</a:t>
            </a:r>
          </a:p>
        </p:txBody>
      </p:sp>
      <p:sp>
        <p:nvSpPr>
          <p:cNvPr id="9" name="文本框 8"/>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11" name="TextBox 48"/>
          <p:cNvSpPr txBox="1"/>
          <p:nvPr/>
        </p:nvSpPr>
        <p:spPr>
          <a:xfrm>
            <a:off x="5079345" y="2564851"/>
            <a:ext cx="6837672" cy="1554480"/>
          </a:xfrm>
          <a:prstGeom prst="rect">
            <a:avLst/>
          </a:prstGeom>
          <a:noFill/>
        </p:spPr>
        <p:txBody>
          <a:bodyPr rtlCol="0" wrap="square">
            <a:spAutoFit/>
          </a:bodyPr>
          <a:lstStyle/>
          <a:p>
            <a:pPr>
              <a:lnSpc>
                <a:spcPct val="150000"/>
              </a:lnSpc>
            </a:pPr>
            <a:r>
              <a:rPr altLang="en-US" b="1" lang="zh-CN" sz="1600">
                <a:solidFill>
                  <a:schemeClr val="bg1"/>
                </a:solidFill>
                <a:latin charset="-122" panose="020b0503020204020204" pitchFamily="34" typeface="微软雅黑"/>
                <a:ea charset="-122" panose="020b0503020204020204" pitchFamily="34" typeface="微软雅黑"/>
                <a:cs charset="0" panose="02040503050203030202" pitchFamily="18" typeface="Mangal"/>
              </a:rPr>
              <a:t>输入小标题</a:t>
            </a:r>
          </a:p>
          <a:p>
            <a:pPr>
              <a:lnSpc>
                <a:spcPct val="150000"/>
              </a:lnSpc>
            </a:pPr>
            <a:r>
              <a:rPr altLang="en-US" b="1" lang="zh-CN" sz="1600">
                <a:solidFill>
                  <a:schemeClr val="bg1"/>
                </a:solidFill>
                <a:latin charset="-122" panose="020b0503020204020204" pitchFamily="34" typeface="微软雅黑"/>
                <a:ea charset="-122" panose="020b0503020204020204" pitchFamily="34" typeface="微软雅黑"/>
                <a:cs charset="0" panose="02040503050203030202" pitchFamily="18" typeface="Mangal"/>
              </a:rPr>
              <a:t>此处输入文本此处输入文本此处输入文本此处输入文本此处输入文本此处输入文本此处输入文本此处输入文本此处输入文本此处输入文本此处输入文本此处输入文本</a:t>
            </a:r>
          </a:p>
        </p:txBody>
      </p:sp>
      <p:sp>
        <p:nvSpPr>
          <p:cNvPr id="13" name="TextBox 48"/>
          <p:cNvSpPr txBox="1"/>
          <p:nvPr/>
        </p:nvSpPr>
        <p:spPr>
          <a:xfrm>
            <a:off x="5079345" y="3762191"/>
            <a:ext cx="6837672" cy="1554480"/>
          </a:xfrm>
          <a:prstGeom prst="rect">
            <a:avLst/>
          </a:prstGeom>
          <a:noFill/>
        </p:spPr>
        <p:txBody>
          <a:bodyPr rtlCol="0" wrap="square">
            <a:spAutoFit/>
          </a:bodyPr>
          <a:lstStyle/>
          <a:p>
            <a:pPr>
              <a:lnSpc>
                <a:spcPct val="150000"/>
              </a:lnSpc>
            </a:pPr>
            <a:r>
              <a:rPr altLang="en-US" b="1" lang="zh-CN" sz="1600">
                <a:solidFill>
                  <a:schemeClr val="bg1"/>
                </a:solidFill>
                <a:latin charset="-122" panose="020b0503020204020204" pitchFamily="34" typeface="微软雅黑"/>
                <a:ea charset="-122" panose="020b0503020204020204" pitchFamily="34" typeface="微软雅黑"/>
                <a:cs charset="0" panose="02040503050203030202" pitchFamily="18" typeface="Mangal"/>
              </a:rPr>
              <a:t>输入小标题</a:t>
            </a:r>
          </a:p>
          <a:p>
            <a:pPr>
              <a:lnSpc>
                <a:spcPct val="150000"/>
              </a:lnSpc>
            </a:pPr>
            <a:r>
              <a:rPr altLang="en-US" b="1" lang="zh-CN" sz="1600">
                <a:solidFill>
                  <a:schemeClr val="bg1"/>
                </a:solidFill>
                <a:latin charset="-122" panose="020b0503020204020204" pitchFamily="34" typeface="微软雅黑"/>
                <a:ea charset="-122" panose="020b0503020204020204" pitchFamily="34" typeface="微软雅黑"/>
                <a:cs charset="0" panose="02040503050203030202" pitchFamily="18" typeface="Mangal"/>
              </a:rPr>
              <a:t>此处输入文本此处输入文本此处输入文本此处输入文本此处输入文本此处输入文本此处输入文本此处输入文本此处输入文本此处输入文本此处输入文本此处输入文本</a:t>
            </a:r>
          </a:p>
        </p:txBody>
      </p:sp>
      <p:sp>
        <p:nvSpPr>
          <p:cNvPr id="14" name="椭圆 13"/>
          <p:cNvSpPr/>
          <p:nvPr/>
        </p:nvSpPr>
        <p:spPr>
          <a:xfrm>
            <a:off x="4319607" y="2907250"/>
            <a:ext cx="622507" cy="622507"/>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6" name="椭圆 15"/>
          <p:cNvSpPr/>
          <p:nvPr/>
        </p:nvSpPr>
        <p:spPr>
          <a:xfrm>
            <a:off x="4308717" y="4126454"/>
            <a:ext cx="622507" cy="622507"/>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17" name="组合 16"/>
          <p:cNvGrpSpPr/>
          <p:nvPr/>
        </p:nvGrpSpPr>
        <p:grpSpPr>
          <a:xfrm rot="5400000">
            <a:off x="4459760" y="3076055"/>
            <a:ext cx="320420" cy="324034"/>
            <a:chOff x="4608524" y="5652464"/>
            <a:chExt cx="369438" cy="373605"/>
          </a:xfrm>
        </p:grpSpPr>
        <p:sp>
          <p:nvSpPr>
            <p:cNvPr id="18" name="Freeform 232"/>
            <p:cNvSpPr/>
            <p:nvPr/>
          </p:nvSpPr>
          <p:spPr bwMode="auto">
            <a:xfrm>
              <a:off x="4846020" y="5889960"/>
              <a:ext cx="131942" cy="136109"/>
            </a:xfrm>
            <a:custGeom>
              <a:gdLst>
                <a:gd fmla="*/ 0 w 53" name="T0"/>
                <a:gd fmla="*/ 9 h 54" name="T1"/>
                <a:gd fmla="*/ 6 w 53" name="T2"/>
                <a:gd fmla="*/ 19 h 54" name="T3"/>
                <a:gd fmla="*/ 39 w 53" name="T4"/>
                <a:gd fmla="*/ 51 h 54" name="T5"/>
                <a:gd fmla="*/ 50 w 53" name="T6"/>
                <a:gd fmla="*/ 51 h 54" name="T7"/>
                <a:gd fmla="*/ 50 w 53" name="T8"/>
                <a:gd fmla="*/ 39 h 54" name="T9"/>
                <a:gd fmla="*/ 19 w 53" name="T10"/>
                <a:gd fmla="*/ 6 h 54" name="T11"/>
                <a:gd fmla="*/ 8 w 53" name="T12"/>
                <a:gd fmla="*/ 0 h 54" name="T13"/>
                <a:gd fmla="*/ 1 w 53" name="T14"/>
                <a:gd fmla="*/ 2 h 54" name="T15"/>
                <a:gd fmla="*/ 0 w 53" name="T16"/>
                <a:gd fmla="*/ 9 h 54"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54" w="52">
                  <a:moveTo>
                    <a:pt x="0" y="9"/>
                  </a:moveTo>
                  <a:cubicBezTo>
                    <a:pt x="0" y="11"/>
                    <a:pt x="3" y="16"/>
                    <a:pt x="6" y="19"/>
                  </a:cubicBezTo>
                  <a:cubicBezTo>
                    <a:pt x="39" y="51"/>
                    <a:pt x="39" y="51"/>
                    <a:pt x="39" y="51"/>
                  </a:cubicBezTo>
                  <a:cubicBezTo>
                    <a:pt x="42" y="54"/>
                    <a:pt x="47" y="54"/>
                    <a:pt x="50" y="51"/>
                  </a:cubicBezTo>
                  <a:cubicBezTo>
                    <a:pt x="53" y="47"/>
                    <a:pt x="53" y="42"/>
                    <a:pt x="50" y="39"/>
                  </a:cubicBezTo>
                  <a:cubicBezTo>
                    <a:pt x="19" y="6"/>
                    <a:pt x="19" y="6"/>
                    <a:pt x="19" y="6"/>
                  </a:cubicBezTo>
                  <a:cubicBezTo>
                    <a:pt x="16" y="3"/>
                    <a:pt x="11" y="0"/>
                    <a:pt x="8" y="0"/>
                  </a:cubicBezTo>
                  <a:cubicBezTo>
                    <a:pt x="6" y="0"/>
                    <a:pt x="3" y="1"/>
                    <a:pt x="1" y="2"/>
                  </a:cubicBezTo>
                  <a:cubicBezTo>
                    <a:pt x="0" y="3"/>
                    <a:pt x="0" y="6"/>
                    <a:pt x="0" y="9"/>
                  </a:cubicBezTo>
                  <a:close/>
                </a:path>
              </a:pathLst>
            </a:custGeom>
            <a:noFill/>
            <a:ln cap="rnd" w="12700">
              <a:solidFill>
                <a:schemeClr val="bg1"/>
              </a:solidFill>
              <a:prstDash val="solid"/>
              <a:round/>
            </a:ln>
            <a:extLst>
              <a:ext uri="{909E8E84-426E-40DD-AFC4-6F175D3DCCD1}">
                <a14:hiddenFill>
                  <a:solidFill>
                    <a:srgbClr val="FFFFFF"/>
                  </a:solid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19" name="Oval 233"/>
            <p:cNvSpPr>
              <a:spLocks noChangeArrowheads="1"/>
            </p:cNvSpPr>
            <p:nvPr/>
          </p:nvSpPr>
          <p:spPr bwMode="auto">
            <a:xfrm>
              <a:off x="4608524" y="5652464"/>
              <a:ext cx="244441" cy="245829"/>
            </a:xfrm>
            <a:prstGeom prst="ellipse">
              <a:avLst/>
            </a:prstGeom>
            <a:noFill/>
            <a:ln cap="rnd" w="12700">
              <a:solidFill>
                <a:schemeClr val="bg1"/>
              </a:solidFill>
              <a:prstDash val="solid"/>
              <a:round/>
            </a:ln>
            <a:extLst>
              <a:ext uri="{909E8E84-426E-40DD-AFC4-6F175D3DCCD1}">
                <a14:hiddenFill>
                  <a:solidFill>
                    <a:srgbClr val="FFFFFF"/>
                  </a:solid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20" name="Freeform 234"/>
            <p:cNvSpPr/>
            <p:nvPr/>
          </p:nvSpPr>
          <p:spPr bwMode="auto">
            <a:xfrm>
              <a:off x="4837687" y="5883016"/>
              <a:ext cx="9722" cy="12500"/>
            </a:xfrm>
            <a:custGeom>
              <a:gdLst>
                <a:gd fmla="*/ 7 w 7" name="T0"/>
                <a:gd fmla="*/ 9 h 9" name="T1"/>
                <a:gd fmla="*/ 0 w 7" name="T2"/>
                <a:gd fmla="*/ 0 h 9" name="T3"/>
                <a:gd fmla="*/ 7 w 7" name="T4"/>
                <a:gd fmla="*/ 9 h 9" name="T5"/>
              </a:gdLst>
              <a:cxnLst>
                <a:cxn ang="0">
                  <a:pos x="T0" y="T1"/>
                </a:cxn>
                <a:cxn ang="0">
                  <a:pos x="T2" y="T3"/>
                </a:cxn>
                <a:cxn ang="0">
                  <a:pos x="T4" y="T5"/>
                </a:cxn>
              </a:cxnLst>
              <a:rect b="b" l="0" r="r" t="0"/>
              <a:pathLst>
                <a:path h="9" w="7">
                  <a:moveTo>
                    <a:pt x="7" y="9"/>
                  </a:moveTo>
                  <a:lnTo>
                    <a:pt x="0" y="0"/>
                  </a:lnTo>
                  <a:lnTo>
                    <a:pt x="7" y="9"/>
                  </a:lnTo>
                  <a:close/>
                </a:path>
              </a:pathLst>
            </a:custGeom>
            <a:solidFill>
              <a:srgbClr val="000000"/>
            </a:solidFill>
            <a:ln w="12700">
              <a:solidFill>
                <a:srgbClr val="000000"/>
              </a:solidFill>
              <a:round/>
            </a:ln>
            <a:extLst/>
          </p:spPr>
          <p:txBody>
            <a:bodyPr anchor="t" anchorCtr="0" bIns="45720" compatLnSpc="1" lIns="91440" numCol="1" rIns="91440" tIns="45720" vert="horz" wrap="square">
              <a:prstTxWarp prst="textNoShape">
                <a:avLst/>
              </a:prstTxWarp>
            </a:bodyPr>
            <a:lstStyle/>
            <a:p>
              <a:endParaRPr altLang="en-US" lang="zh-CN"/>
            </a:p>
          </p:txBody>
        </p:sp>
        <p:sp>
          <p:nvSpPr>
            <p:cNvPr id="21" name="Line 235"/>
            <p:cNvSpPr>
              <a:spLocks noChangeShapeType="1"/>
            </p:cNvSpPr>
            <p:nvPr/>
          </p:nvSpPr>
          <p:spPr bwMode="auto">
            <a:xfrm flipH="1" flipV="1">
              <a:off x="4837687" y="5883016"/>
              <a:ext cx="9722" cy="12500"/>
            </a:xfrm>
            <a:prstGeom prst="line">
              <a:avLst/>
            </a:prstGeom>
            <a:noFill/>
            <a:ln w="12700">
              <a:solidFill>
                <a:srgbClr val="000000"/>
              </a:solidFill>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22" name="Line 236"/>
            <p:cNvSpPr>
              <a:spLocks noChangeShapeType="1"/>
            </p:cNvSpPr>
            <p:nvPr/>
          </p:nvSpPr>
          <p:spPr bwMode="auto">
            <a:xfrm flipH="1" flipV="1">
              <a:off x="4837687" y="5883016"/>
              <a:ext cx="9722" cy="12500"/>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23" name="Line 237"/>
            <p:cNvSpPr>
              <a:spLocks noChangeShapeType="1"/>
            </p:cNvSpPr>
            <p:nvPr/>
          </p:nvSpPr>
          <p:spPr bwMode="auto">
            <a:xfrm flipH="1">
              <a:off x="4730744" y="5730240"/>
              <a:ext cx="0" cy="95832"/>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24" name="Line 238"/>
            <p:cNvSpPr>
              <a:spLocks noChangeShapeType="1"/>
            </p:cNvSpPr>
            <p:nvPr/>
          </p:nvSpPr>
          <p:spPr bwMode="auto">
            <a:xfrm>
              <a:off x="4683523" y="5777462"/>
              <a:ext cx="94443" cy="0"/>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grpSp>
      <p:sp>
        <p:nvSpPr>
          <p:cNvPr id="36" name="Freeform 16"/>
          <p:cNvSpPr/>
          <p:nvPr/>
        </p:nvSpPr>
        <p:spPr bwMode="auto">
          <a:xfrm>
            <a:off x="4454744" y="4440010"/>
            <a:ext cx="164278" cy="130071"/>
          </a:xfrm>
          <a:custGeom>
            <a:gdLst>
              <a:gd fmla="*/ 118 w 156" name="T0"/>
              <a:gd fmla="*/ 157 h 157" name="T1"/>
              <a:gd fmla="*/ 0 w 156" name="T2"/>
              <a:gd fmla="*/ 38 h 157" name="T3"/>
              <a:gd fmla="*/ 37 w 156" name="T4"/>
              <a:gd fmla="*/ 0 h 157" name="T5"/>
              <a:gd fmla="*/ 156 w 156" name="T6"/>
              <a:gd fmla="*/ 119 h 157" name="T7"/>
              <a:gd fmla="*/ 118 w 156" name="T8"/>
              <a:gd fmla="*/ 157 h 157" name="T9"/>
            </a:gdLst>
            <a:cxnLst>
              <a:cxn ang="0">
                <a:pos x="T0" y="T1"/>
              </a:cxn>
              <a:cxn ang="0">
                <a:pos x="T2" y="T3"/>
              </a:cxn>
              <a:cxn ang="0">
                <a:pos x="T4" y="T5"/>
              </a:cxn>
              <a:cxn ang="0">
                <a:pos x="T6" y="T7"/>
              </a:cxn>
              <a:cxn ang="0">
                <a:pos x="T8" y="T9"/>
              </a:cxn>
            </a:cxnLst>
            <a:rect b="b" l="0" r="r" t="0"/>
            <a:pathLst>
              <a:path h="157" w="156">
                <a:moveTo>
                  <a:pt x="118" y="157"/>
                </a:moveTo>
                <a:lnTo>
                  <a:pt x="0" y="38"/>
                </a:lnTo>
                <a:lnTo>
                  <a:pt x="37" y="0"/>
                </a:lnTo>
                <a:lnTo>
                  <a:pt x="156" y="119"/>
                </a:lnTo>
                <a:lnTo>
                  <a:pt x="118" y="157"/>
                </a:lnTo>
                <a:close/>
              </a:path>
            </a:pathLst>
          </a:custGeom>
          <a:noFill/>
          <a:ln cap="rnd" w="12700">
            <a:solidFill>
              <a:schemeClr val="bg1"/>
            </a:solidFill>
            <a:prstDash val="solid"/>
            <a:round/>
          </a:ln>
          <a:extLst>
            <a:ext uri="{909E8E84-426E-40DD-AFC4-6F175D3DCCD1}">
              <a14:hiddenFill>
                <a:solidFill>
                  <a:srgbClr val="FFFFFF"/>
                </a:solid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37" name="Freeform 17"/>
          <p:cNvSpPr/>
          <p:nvPr/>
        </p:nvSpPr>
        <p:spPr bwMode="auto">
          <a:xfrm>
            <a:off x="4493707" y="4294198"/>
            <a:ext cx="310655" cy="244401"/>
          </a:xfrm>
          <a:custGeom>
            <a:gdLst>
              <a:gd fmla="*/ 0 w 164" name="T0"/>
              <a:gd fmla="*/ 97 h 164" name="T1"/>
              <a:gd fmla="*/ 30 w 164" name="T2"/>
              <a:gd fmla="*/ 90 h 164" name="T3"/>
              <a:gd fmla="*/ 92 w 164" name="T4"/>
              <a:gd fmla="*/ 52 h 164" name="T5"/>
              <a:gd fmla="*/ 154 w 164" name="T6"/>
              <a:gd fmla="*/ 10 h 164" name="T7"/>
              <a:gd fmla="*/ 113 w 164" name="T8"/>
              <a:gd fmla="*/ 72 h 164" name="T9"/>
              <a:gd fmla="*/ 74 w 164" name="T10"/>
              <a:gd fmla="*/ 134 h 164" name="T11"/>
              <a:gd fmla="*/ 67 w 164" name="T12"/>
              <a:gd fmla="*/ 164 h 164" name="T13"/>
            </a:gdLst>
            <a:cxnLst>
              <a:cxn ang="0">
                <a:pos x="T0" y="T1"/>
              </a:cxn>
              <a:cxn ang="0">
                <a:pos x="T2" y="T3"/>
              </a:cxn>
              <a:cxn ang="0">
                <a:pos x="T4" y="T5"/>
              </a:cxn>
              <a:cxn ang="0">
                <a:pos x="T6" y="T7"/>
              </a:cxn>
              <a:cxn ang="0">
                <a:pos x="T8" y="T9"/>
              </a:cxn>
              <a:cxn ang="0">
                <a:pos x="T10" y="T11"/>
              </a:cxn>
              <a:cxn ang="0">
                <a:pos x="T12" y="T13"/>
              </a:cxn>
            </a:cxnLst>
            <a:rect b="b" l="0" r="r" t="0"/>
            <a:pathLst>
              <a:path h="164" w="164">
                <a:moveTo>
                  <a:pt x="0" y="97"/>
                </a:moveTo>
                <a:cubicBezTo>
                  <a:pt x="7" y="90"/>
                  <a:pt x="10" y="87"/>
                  <a:pt x="30" y="90"/>
                </a:cubicBezTo>
                <a:cubicBezTo>
                  <a:pt x="57" y="94"/>
                  <a:pt x="60" y="102"/>
                  <a:pt x="92" y="52"/>
                </a:cubicBezTo>
                <a:cubicBezTo>
                  <a:pt x="124" y="1"/>
                  <a:pt x="144" y="0"/>
                  <a:pt x="154" y="10"/>
                </a:cubicBezTo>
                <a:cubicBezTo>
                  <a:pt x="164" y="21"/>
                  <a:pt x="163" y="40"/>
                  <a:pt x="113" y="72"/>
                </a:cubicBezTo>
                <a:cubicBezTo>
                  <a:pt x="63" y="104"/>
                  <a:pt x="70" y="107"/>
                  <a:pt x="74" y="134"/>
                </a:cubicBezTo>
                <a:cubicBezTo>
                  <a:pt x="77" y="154"/>
                  <a:pt x="74" y="157"/>
                  <a:pt x="67" y="164"/>
                </a:cubicBezTo>
              </a:path>
            </a:pathLst>
          </a:custGeom>
          <a:noFill/>
          <a:ln cap="rnd" w="12700">
            <a:solidFill>
              <a:schemeClr val="bg1"/>
            </a:solidFill>
            <a:prstDash val="solid"/>
            <a:round/>
          </a:ln>
          <a:extLst>
            <a:ext uri="{909E8E84-426E-40DD-AFC4-6F175D3DCCD1}">
              <a14:hiddenFill>
                <a:solidFill>
                  <a:srgbClr val="FFFFFF"/>
                </a:solid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38" name="Line 18"/>
          <p:cNvSpPr>
            <a:spLocks noChangeShapeType="1"/>
          </p:cNvSpPr>
          <p:nvPr/>
        </p:nvSpPr>
        <p:spPr bwMode="auto">
          <a:xfrm flipV="1">
            <a:off x="4429470" y="4476463"/>
            <a:ext cx="30539" cy="23197"/>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39" name="Line 19"/>
          <p:cNvSpPr>
            <a:spLocks noChangeShapeType="1"/>
          </p:cNvSpPr>
          <p:nvPr/>
        </p:nvSpPr>
        <p:spPr bwMode="auto">
          <a:xfrm flipV="1">
            <a:off x="4443160" y="4486405"/>
            <a:ext cx="30539" cy="24026"/>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40" name="Line 20"/>
          <p:cNvSpPr>
            <a:spLocks noChangeShapeType="1"/>
          </p:cNvSpPr>
          <p:nvPr/>
        </p:nvSpPr>
        <p:spPr bwMode="auto">
          <a:xfrm flipV="1">
            <a:off x="4457902" y="4498832"/>
            <a:ext cx="30539" cy="23197"/>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41" name="Line 21"/>
          <p:cNvSpPr>
            <a:spLocks noChangeShapeType="1"/>
          </p:cNvSpPr>
          <p:nvPr/>
        </p:nvSpPr>
        <p:spPr bwMode="auto">
          <a:xfrm flipV="1">
            <a:off x="4473698" y="4510431"/>
            <a:ext cx="28432" cy="22369"/>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42" name="Line 22"/>
          <p:cNvSpPr>
            <a:spLocks noChangeShapeType="1"/>
          </p:cNvSpPr>
          <p:nvPr/>
        </p:nvSpPr>
        <p:spPr bwMode="auto">
          <a:xfrm flipV="1">
            <a:off x="4486335" y="4521201"/>
            <a:ext cx="30539" cy="23197"/>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43" name="Line 23"/>
          <p:cNvSpPr>
            <a:spLocks noChangeShapeType="1"/>
          </p:cNvSpPr>
          <p:nvPr/>
        </p:nvSpPr>
        <p:spPr bwMode="auto">
          <a:xfrm flipV="1">
            <a:off x="4502131" y="4532800"/>
            <a:ext cx="29486" cy="24026"/>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44" name="Line 24"/>
          <p:cNvSpPr>
            <a:spLocks noChangeShapeType="1"/>
          </p:cNvSpPr>
          <p:nvPr/>
        </p:nvSpPr>
        <p:spPr bwMode="auto">
          <a:xfrm flipV="1">
            <a:off x="4514768" y="4543570"/>
            <a:ext cx="30539" cy="23197"/>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45" name="Line 25"/>
          <p:cNvSpPr>
            <a:spLocks noChangeShapeType="1"/>
          </p:cNvSpPr>
          <p:nvPr/>
        </p:nvSpPr>
        <p:spPr bwMode="auto">
          <a:xfrm flipV="1">
            <a:off x="4529511" y="4555168"/>
            <a:ext cx="30539" cy="24026"/>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46" name="Line 26"/>
          <p:cNvSpPr>
            <a:spLocks noChangeShapeType="1"/>
          </p:cNvSpPr>
          <p:nvPr/>
        </p:nvSpPr>
        <p:spPr bwMode="auto">
          <a:xfrm flipV="1">
            <a:off x="4545307" y="4566767"/>
            <a:ext cx="28432" cy="22369"/>
          </a:xfrm>
          <a:prstGeom prst="line">
            <a:avLst/>
          </a:prstGeom>
          <a:noFill/>
          <a:ln cap="rnd" w="12700">
            <a:solidFill>
              <a:schemeClr val="bg1"/>
            </a:solidFill>
            <a:prstDash val="solid"/>
            <a:round/>
          </a:ln>
          <a:extLst>
            <a:ext uri="{909E8E84-426E-40DD-AFC4-6F175D3DCCD1}">
              <a14:hiddenFill>
                <a:noFill/>
              </a14:hiddenFill>
            </a:ext>
          </a:extLst>
        </p:spPr>
        <p:txBody>
          <a:bodyPr anchor="t" anchorCtr="0" bIns="45720" compatLnSpc="1" lIns="91440" numCol="1" rIns="91440" tIns="45720" vert="horz" wrap="square">
            <a:prstTxWarp prst="textNoShape">
              <a:avLst/>
            </a:prstTxWarp>
          </a:bodyPr>
          <a:lstStyle/>
          <a:p>
            <a:endParaRPr altLang="en-US" lang="zh-CN"/>
          </a:p>
        </p:txBody>
      </p:sp>
      <p:sp>
        <p:nvSpPr>
          <p:cNvPr id="47" name="Freeform 27"/>
          <p:cNvSpPr/>
          <p:nvPr/>
        </p:nvSpPr>
        <p:spPr bwMode="auto">
          <a:xfrm>
            <a:off x="4755920" y="4318224"/>
            <a:ext cx="18955" cy="16569"/>
          </a:xfrm>
          <a:custGeom>
            <a:gdLst>
              <a:gd fmla="*/ 8 w 10" name="T0"/>
              <a:gd fmla="*/ 9 h 11" name="T1"/>
              <a:gd fmla="*/ 1 w 10" name="T2"/>
              <a:gd fmla="*/ 9 h 11" name="T3"/>
              <a:gd fmla="*/ 1 w 10" name="T4"/>
              <a:gd fmla="*/ 2 h 11" name="T5"/>
              <a:gd fmla="*/ 8 w 10" name="T6"/>
              <a:gd fmla="*/ 2 h 11" name="T7"/>
              <a:gd fmla="*/ 8 w 10" name="T8"/>
              <a:gd fmla="*/ 9 h 11" name="T9"/>
            </a:gdLst>
            <a:cxnLst>
              <a:cxn ang="0">
                <a:pos x="T0" y="T1"/>
              </a:cxn>
              <a:cxn ang="0">
                <a:pos x="T2" y="T3"/>
              </a:cxn>
              <a:cxn ang="0">
                <a:pos x="T4" y="T5"/>
              </a:cxn>
              <a:cxn ang="0">
                <a:pos x="T6" y="T7"/>
              </a:cxn>
              <a:cxn ang="0">
                <a:pos x="T8" y="T9"/>
              </a:cxn>
            </a:cxnLst>
            <a:rect b="b" l="0" r="r" t="0"/>
            <a:pathLst>
              <a:path h="11" w="10">
                <a:moveTo>
                  <a:pt x="8" y="9"/>
                </a:moveTo>
                <a:cubicBezTo>
                  <a:pt x="6" y="11"/>
                  <a:pt x="3" y="11"/>
                  <a:pt x="1" y="9"/>
                </a:cubicBezTo>
                <a:cubicBezTo>
                  <a:pt x="0" y="7"/>
                  <a:pt x="0" y="4"/>
                  <a:pt x="1" y="2"/>
                </a:cubicBezTo>
                <a:cubicBezTo>
                  <a:pt x="3" y="0"/>
                  <a:pt x="6" y="0"/>
                  <a:pt x="8" y="2"/>
                </a:cubicBezTo>
                <a:cubicBezTo>
                  <a:pt x="10" y="4"/>
                  <a:pt x="10" y="7"/>
                  <a:pt x="8" y="9"/>
                </a:cubicBezTo>
              </a:path>
            </a:pathLst>
          </a:custGeom>
          <a:solidFill>
            <a:srgbClr val="000000"/>
          </a:solidFill>
          <a:ln w="12700">
            <a:solidFill>
              <a:schemeClr val="bg1"/>
            </a:solidFill>
            <a:round/>
          </a:ln>
          <a:extLst/>
        </p:spPr>
        <p:txBody>
          <a:bodyPr anchor="t" anchorCtr="0" bIns="45720" compatLnSpc="1" lIns="91440" numCol="1" rIns="91440" tIns="45720" vert="horz" wrap="square">
            <a:prstTxWarp prst="textNoShape">
              <a:avLst/>
            </a:prstTxWarp>
          </a:bodyPr>
          <a:lstStyle/>
          <a:p>
            <a:endParaRPr altLang="en-US" lang="zh-CN"/>
          </a:p>
        </p:txBody>
      </p:sp>
    </p:spTree>
    <p:extLst>
      <p:ext uri="{BB962C8B-B14F-4D97-AF65-F5344CB8AC3E}">
        <p14:creationId val="1687642887"/>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3" name="图片 2"/>
          <p:cNvPicPr>
            <a:picLocks noChangeAspect="1"/>
          </p:cNvPicPr>
          <p:nvPr/>
        </p:nvPicPr>
        <p:blipFill>
          <a:blip r:embed="rId3">
            <a:extLst>
              <a:ext uri="{BEBA8EAE-BF5A-486C-A8C5-ECC9F3942E4B}">
                <a14:imgProps>
                  <a14:imgLayer xmlns:d3p1="http://schemas.openxmlformats.org/officeDocument/2006/relationships" d3p1:embed="">
                    <a14:imgEffect>
                      <a14:artisticBlur/>
                    </a14:imgEffect>
                  </a14:imgLayer>
                </a14:imgProps>
              </a:ext>
              <a:ext uri="{28A0092B-C50C-407E-A947-70E740481C1C}">
                <a14:useLocalDpi/>
              </a:ext>
            </a:extLst>
          </a:blip>
          <a:stretch>
            <a:fillRect/>
          </a:stretch>
        </p:blipFill>
        <p:spPr>
          <a:xfrm>
            <a:off x="1867755" y="153"/>
            <a:ext cx="10359517" cy="6882231"/>
          </a:xfrm>
          <a:prstGeom prst="rect">
            <a:avLst/>
          </a:prstGeom>
        </p:spPr>
      </p:pic>
      <p:sp>
        <p:nvSpPr>
          <p:cNvPr id="7" name="任意多边形 6"/>
          <p:cNvSpPr/>
          <p:nvPr/>
        </p:nvSpPr>
        <p:spPr>
          <a:xfrm flipV="1">
            <a:off x="-12192" y="-12191"/>
            <a:ext cx="5987384" cy="6894575"/>
          </a:xfrm>
          <a:custGeom>
            <a:gdLst>
              <a:gd fmla="*/ 1612630 w 5987384" name="connsiteX0"/>
              <a:gd fmla="*/ 10885 h 6894575" name="connsiteY0"/>
              <a:gd fmla="*/ 5987384 w 5987384" name="connsiteX1"/>
              <a:gd fmla="*/ 0 h 6894575" name="connsiteY1"/>
              <a:gd fmla="*/ 2252280 w 5987384" name="connsiteX2"/>
              <a:gd fmla="*/ 6894575 h 6894575" name="connsiteY2"/>
              <a:gd fmla="*/ 0 w 5987384" name="connsiteX3"/>
              <a:gd fmla="*/ 6881077 h 6894575" name="connsiteY3"/>
              <a:gd fmla="*/ 0 w 5987384" name="connsiteX4"/>
              <a:gd fmla="*/ 2891132 h 6894575" name="connsiteY4"/>
              <a:gd fmla="*/ 1612630 w 5987384" name="connsiteX5"/>
              <a:gd fmla="*/ 10885 h 6894575"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6894575" w="5987384">
                <a:moveTo>
                  <a:pt x="1612630" y="10885"/>
                </a:moveTo>
                <a:lnTo>
                  <a:pt x="5987384" y="0"/>
                </a:lnTo>
                <a:lnTo>
                  <a:pt x="2252280" y="6894575"/>
                </a:lnTo>
                <a:lnTo>
                  <a:pt x="0" y="6881077"/>
                </a:lnTo>
                <a:lnTo>
                  <a:pt x="0" y="2891132"/>
                </a:lnTo>
                <a:lnTo>
                  <a:pt x="1612630" y="10885"/>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椭圆 9"/>
          <p:cNvSpPr/>
          <p:nvPr/>
        </p:nvSpPr>
        <p:spPr>
          <a:xfrm>
            <a:off x="519476" y="2366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椭圆 10"/>
          <p:cNvSpPr/>
          <p:nvPr/>
        </p:nvSpPr>
        <p:spPr>
          <a:xfrm>
            <a:off x="634601" y="3517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2000">
                <a:solidFill>
                  <a:srgbClr val="C00000"/>
                </a:solidFill>
                <a:latin charset="-122" panose="020b0503020204020204" pitchFamily="34" typeface="微软雅黑"/>
                <a:ea charset="-122" panose="020b0503020204020204" pitchFamily="34" typeface="微软雅黑"/>
              </a:rPr>
              <a:t>过渡页</a:t>
            </a:r>
          </a:p>
        </p:txBody>
      </p:sp>
      <p:sp>
        <p:nvSpPr>
          <p:cNvPr id="12" name="平行四边形 11"/>
          <p:cNvSpPr/>
          <p:nvPr/>
        </p:nvSpPr>
        <p:spPr>
          <a:xfrm flipV="1">
            <a:off x="2767165" y="2162300"/>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3" name="文本框 12"/>
          <p:cNvSpPr txBox="1"/>
          <p:nvPr/>
        </p:nvSpPr>
        <p:spPr>
          <a:xfrm>
            <a:off x="5421055" y="972044"/>
            <a:ext cx="2418080" cy="762000"/>
          </a:xfrm>
          <a:prstGeom prst="rect">
            <a:avLst/>
          </a:prstGeom>
          <a:noFill/>
        </p:spPr>
        <p:txBody>
          <a:bodyPr rtlCol="0" wrap="none">
            <a:spAutoFit/>
          </a:bodyPr>
          <a:lstStyle/>
          <a:p>
            <a:r>
              <a:rPr altLang="en-US" b="1" lang="zh-CN" smtClean="0" sz="4400">
                <a:solidFill>
                  <a:schemeClr val="tx1">
                    <a:lumMod val="65000"/>
                    <a:lumOff val="35000"/>
                  </a:schemeClr>
                </a:solidFill>
                <a:latin charset="-122" panose="020b0503020204020204" pitchFamily="34" typeface="微软雅黑"/>
                <a:ea charset="-122" panose="020b0503020204020204" pitchFamily="34" typeface="微软雅黑"/>
              </a:rPr>
              <a:t>第二部分</a:t>
            </a:r>
          </a:p>
        </p:txBody>
      </p:sp>
      <p:sp>
        <p:nvSpPr>
          <p:cNvPr id="14" name="矩形 13"/>
          <p:cNvSpPr/>
          <p:nvPr/>
        </p:nvSpPr>
        <p:spPr>
          <a:xfrm>
            <a:off x="4276217" y="2302952"/>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5" name="平行四边形 14"/>
          <p:cNvSpPr/>
          <p:nvPr/>
        </p:nvSpPr>
        <p:spPr>
          <a:xfrm flipV="1">
            <a:off x="3329985" y="3322714"/>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6" name="矩形 15"/>
          <p:cNvSpPr/>
          <p:nvPr/>
        </p:nvSpPr>
        <p:spPr>
          <a:xfrm>
            <a:off x="4839037" y="3463366"/>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7" name="平行四边形 16"/>
          <p:cNvSpPr/>
          <p:nvPr/>
        </p:nvSpPr>
        <p:spPr>
          <a:xfrm flipV="1">
            <a:off x="3950671" y="4483128"/>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8" name="矩形 17"/>
          <p:cNvSpPr/>
          <p:nvPr/>
        </p:nvSpPr>
        <p:spPr>
          <a:xfrm>
            <a:off x="5459723" y="4623781"/>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9" name="直角三角形 18"/>
          <p:cNvSpPr/>
          <p:nvPr/>
        </p:nvSpPr>
        <p:spPr>
          <a:xfrm rot="10800000">
            <a:off x="11466342" y="153"/>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0" name="椭圆 19"/>
          <p:cNvSpPr/>
          <p:nvPr/>
        </p:nvSpPr>
        <p:spPr>
          <a:xfrm>
            <a:off x="1531909" y="2107952"/>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2" name="椭圆 21"/>
          <p:cNvSpPr/>
          <p:nvPr/>
        </p:nvSpPr>
        <p:spPr>
          <a:xfrm>
            <a:off x="2130205" y="33089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3" name="椭圆 22"/>
          <p:cNvSpPr/>
          <p:nvPr/>
        </p:nvSpPr>
        <p:spPr>
          <a:xfrm>
            <a:off x="2654029" y="4488238"/>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4" name="Freeform 144"/>
          <p:cNvSpPr>
            <a:spLocks noChangeAspect="1" noEditPoints="1"/>
          </p:cNvSpPr>
          <p:nvPr/>
        </p:nvSpPr>
        <p:spPr bwMode="auto">
          <a:xfrm>
            <a:off x="1707439" y="2405743"/>
            <a:ext cx="531319" cy="420429"/>
          </a:xfrm>
          <a:custGeom>
            <a:gdLst>
              <a:gd fmla="*/ 846 w 849" name="T0"/>
              <a:gd fmla="*/ 548 h 830" name="T1"/>
              <a:gd fmla="*/ 845 w 849" name="T2"/>
              <a:gd fmla="*/ 564 h 830" name="T3"/>
              <a:gd fmla="*/ 841 w 849" name="T4"/>
              <a:gd fmla="*/ 654 h 830" name="T5"/>
              <a:gd fmla="*/ 836 w 849" name="T6"/>
              <a:gd fmla="*/ 689 h 830" name="T7"/>
              <a:gd fmla="*/ 824 w 849" name="T8"/>
              <a:gd fmla="*/ 730 h 830" name="T9"/>
              <a:gd fmla="*/ 825 w 849" name="T10"/>
              <a:gd fmla="*/ 732 h 830" name="T11"/>
              <a:gd fmla="*/ 837 w 849" name="T12"/>
              <a:gd fmla="*/ 786 h 830" name="T13"/>
              <a:gd fmla="*/ 581 w 849" name="T14"/>
              <a:gd fmla="*/ 830 h 830" name="T15"/>
              <a:gd fmla="*/ 569 w 849" name="T16"/>
              <a:gd fmla="*/ 766 h 830" name="T17"/>
              <a:gd fmla="*/ 539 w 849" name="T18"/>
              <a:gd fmla="*/ 736 h 830" name="T19"/>
              <a:gd fmla="*/ 452 w 849" name="T20"/>
              <a:gd fmla="*/ 658 h 830" name="T21"/>
              <a:gd fmla="*/ 406 w 849" name="T22"/>
              <a:gd fmla="*/ 572 h 830" name="T23"/>
              <a:gd fmla="*/ 378 w 849" name="T24"/>
              <a:gd fmla="*/ 525 h 830" name="T25"/>
              <a:gd fmla="*/ 363 w 849" name="T26"/>
              <a:gd fmla="*/ 503 h 830" name="T27"/>
              <a:gd fmla="*/ 354 w 849" name="T28"/>
              <a:gd fmla="*/ 473 h 830" name="T29"/>
              <a:gd fmla="*/ 342 w 849" name="T30"/>
              <a:gd fmla="*/ 443 h 830" name="T31"/>
              <a:gd fmla="*/ 318 w 849" name="T32"/>
              <a:gd fmla="*/ 408 h 830" name="T33"/>
              <a:gd fmla="*/ 324 w 849" name="T34"/>
              <a:gd fmla="*/ 383 h 830" name="T35"/>
              <a:gd fmla="*/ 392 w 849" name="T36"/>
              <a:gd fmla="*/ 396 h 830" name="T37"/>
              <a:gd fmla="*/ 412 w 849" name="T38"/>
              <a:gd fmla="*/ 428 h 830" name="T39"/>
              <a:gd fmla="*/ 453 w 849" name="T40"/>
              <a:gd fmla="*/ 487 h 830" name="T41"/>
              <a:gd fmla="*/ 501 w 849" name="T42"/>
              <a:gd fmla="*/ 499 h 830" name="T43"/>
              <a:gd fmla="*/ 511 w 849" name="T44"/>
              <a:gd fmla="*/ 492 h 830" name="T45"/>
              <a:gd fmla="*/ 525 w 849" name="T46"/>
              <a:gd fmla="*/ 455 h 830" name="T47"/>
              <a:gd fmla="*/ 524 w 849" name="T48"/>
              <a:gd fmla="*/ 444 h 830" name="T49"/>
              <a:gd fmla="*/ 467 w 849" name="T50"/>
              <a:gd fmla="*/ 136 h 830" name="T51"/>
              <a:gd fmla="*/ 491 w 849" name="T52"/>
              <a:gd fmla="*/ 99 h 830" name="T53"/>
              <a:gd fmla="*/ 528 w 849" name="T54"/>
              <a:gd fmla="*/ 124 h 830" name="T55"/>
              <a:gd fmla="*/ 587 w 849" name="T56"/>
              <a:gd fmla="*/ 344 h 830" name="T57"/>
              <a:gd fmla="*/ 587 w 849" name="T58"/>
              <a:gd fmla="*/ 345 h 830" name="T59"/>
              <a:gd fmla="*/ 587 w 849" name="T60"/>
              <a:gd fmla="*/ 347 h 830" name="T61"/>
              <a:gd fmla="*/ 605 w 849" name="T62"/>
              <a:gd fmla="*/ 343 h 830" name="T63"/>
              <a:gd fmla="*/ 661 w 849" name="T64"/>
              <a:gd fmla="*/ 364 h 830" name="T65"/>
              <a:gd fmla="*/ 668 w 849" name="T66"/>
              <a:gd fmla="*/ 372 h 830" name="T67"/>
              <a:gd fmla="*/ 678 w 849" name="T68"/>
              <a:gd fmla="*/ 391 h 830" name="T69"/>
              <a:gd fmla="*/ 697 w 849" name="T70"/>
              <a:gd fmla="*/ 392 h 830" name="T71"/>
              <a:gd fmla="*/ 698 w 849" name="T72"/>
              <a:gd fmla="*/ 392 h 830" name="T73"/>
              <a:gd fmla="*/ 765 w 849" name="T74"/>
              <a:gd fmla="*/ 428 h 830" name="T75"/>
              <a:gd fmla="*/ 801 w 849" name="T76"/>
              <a:gd fmla="*/ 480 h 830" name="T77"/>
              <a:gd fmla="*/ 802 w 849" name="T78"/>
              <a:gd fmla="*/ 481 h 830" name="T79"/>
              <a:gd fmla="*/ 846 w 849" name="T80"/>
              <a:gd fmla="*/ 548 h 830" name="T81"/>
              <a:gd fmla="*/ 98 w 849" name="T82"/>
              <a:gd fmla="*/ 0 h 830" name="T83"/>
              <a:gd fmla="*/ 0 w 849" name="T84"/>
              <a:gd fmla="*/ 98 h 830" name="T85"/>
              <a:gd fmla="*/ 98 w 849" name="T86"/>
              <a:gd fmla="*/ 196 h 830" name="T87"/>
              <a:gd fmla="*/ 196 w 849" name="T88"/>
              <a:gd fmla="*/ 98 h 830" name="T89"/>
              <a:gd fmla="*/ 98 w 849" name="T90"/>
              <a:gd fmla="*/ 0 h 830" name="T91"/>
              <a:gd fmla="*/ 729 w 849" name="T92"/>
              <a:gd fmla="*/ 0 h 830" name="T93"/>
              <a:gd fmla="*/ 631 w 849" name="T94"/>
              <a:gd fmla="*/ 98 h 830" name="T95"/>
              <a:gd fmla="*/ 729 w 849" name="T96"/>
              <a:gd fmla="*/ 196 h 830" name="T97"/>
              <a:gd fmla="*/ 827 w 849" name="T98"/>
              <a:gd fmla="*/ 98 h 830" name="T99"/>
              <a:gd fmla="*/ 729 w 849" name="T100"/>
              <a:gd fmla="*/ 0 h 830" name="T101"/>
              <a:gd fmla="*/ 414 w 849" name="T102"/>
              <a:gd fmla="*/ 196 h 830" name="T103"/>
              <a:gd fmla="*/ 436 w 849" name="T104"/>
              <a:gd fmla="*/ 193 h 830" name="T105"/>
              <a:gd fmla="*/ 427 w 849" name="T106"/>
              <a:gd fmla="*/ 144 h 830" name="T107"/>
              <a:gd fmla="*/ 438 w 849" name="T108"/>
              <a:gd fmla="*/ 87 h 830" name="T109"/>
              <a:gd fmla="*/ 484 w 849" name="T110"/>
              <a:gd fmla="*/ 59 h 830" name="T111"/>
              <a:gd fmla="*/ 502 w 849" name="T112"/>
              <a:gd fmla="*/ 57 h 830" name="T113"/>
              <a:gd fmla="*/ 503 w 849" name="T114"/>
              <a:gd fmla="*/ 57 h 830" name="T115"/>
              <a:gd fmla="*/ 414 w 849" name="T116"/>
              <a:gd fmla="*/ 0 h 830" name="T117"/>
              <a:gd fmla="*/ 316 w 849" name="T118"/>
              <a:gd fmla="*/ 98 h 830" name="T119"/>
              <a:gd fmla="*/ 414 w 849" name="T120"/>
              <a:gd fmla="*/ 196 h 830"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830" w="849">
                <a:moveTo>
                  <a:pt x="846" y="548"/>
                </a:moveTo>
                <a:cubicBezTo>
                  <a:pt x="845" y="553"/>
                  <a:pt x="845" y="559"/>
                  <a:pt x="845" y="564"/>
                </a:cubicBezTo>
                <a:cubicBezTo>
                  <a:pt x="844" y="594"/>
                  <a:pt x="842" y="625"/>
                  <a:pt x="841" y="654"/>
                </a:cubicBezTo>
                <a:cubicBezTo>
                  <a:pt x="841" y="666"/>
                  <a:pt x="838" y="677"/>
                  <a:pt x="836" y="689"/>
                </a:cubicBezTo>
                <a:cubicBezTo>
                  <a:pt x="832" y="702"/>
                  <a:pt x="829" y="717"/>
                  <a:pt x="824" y="730"/>
                </a:cubicBezTo>
                <a:cubicBezTo>
                  <a:pt x="824" y="730"/>
                  <a:pt x="824" y="730"/>
                  <a:pt x="825" y="732"/>
                </a:cubicBezTo>
                <a:cubicBezTo>
                  <a:pt x="825" y="732"/>
                  <a:pt x="825" y="732"/>
                  <a:pt x="837" y="786"/>
                </a:cubicBezTo>
                <a:cubicBezTo>
                  <a:pt x="817" y="790"/>
                  <a:pt x="628" y="822"/>
                  <a:pt x="581" y="830"/>
                </a:cubicBezTo>
                <a:cubicBezTo>
                  <a:pt x="581" y="830"/>
                  <a:pt x="581" y="830"/>
                  <a:pt x="569" y="766"/>
                </a:cubicBezTo>
                <a:cubicBezTo>
                  <a:pt x="561" y="754"/>
                  <a:pt x="552" y="744"/>
                  <a:pt x="539" y="736"/>
                </a:cubicBezTo>
                <a:cubicBezTo>
                  <a:pt x="501" y="718"/>
                  <a:pt x="477" y="689"/>
                  <a:pt x="452" y="658"/>
                </a:cubicBezTo>
                <a:cubicBezTo>
                  <a:pt x="432" y="633"/>
                  <a:pt x="424" y="598"/>
                  <a:pt x="406" y="572"/>
                </a:cubicBezTo>
                <a:cubicBezTo>
                  <a:pt x="400" y="556"/>
                  <a:pt x="387" y="540"/>
                  <a:pt x="378" y="525"/>
                </a:cubicBezTo>
                <a:cubicBezTo>
                  <a:pt x="374" y="519"/>
                  <a:pt x="368" y="508"/>
                  <a:pt x="363" y="503"/>
                </a:cubicBezTo>
                <a:cubicBezTo>
                  <a:pt x="358" y="497"/>
                  <a:pt x="356" y="480"/>
                  <a:pt x="354" y="473"/>
                </a:cubicBezTo>
                <a:cubicBezTo>
                  <a:pt x="350" y="463"/>
                  <a:pt x="347" y="452"/>
                  <a:pt x="342" y="443"/>
                </a:cubicBezTo>
                <a:cubicBezTo>
                  <a:pt x="336" y="431"/>
                  <a:pt x="326" y="419"/>
                  <a:pt x="318" y="408"/>
                </a:cubicBezTo>
                <a:cubicBezTo>
                  <a:pt x="312" y="401"/>
                  <a:pt x="319" y="388"/>
                  <a:pt x="324" y="383"/>
                </a:cubicBezTo>
                <a:cubicBezTo>
                  <a:pt x="344" y="367"/>
                  <a:pt x="376" y="380"/>
                  <a:pt x="392" y="396"/>
                </a:cubicBezTo>
                <a:cubicBezTo>
                  <a:pt x="400" y="405"/>
                  <a:pt x="406" y="417"/>
                  <a:pt x="412" y="428"/>
                </a:cubicBezTo>
                <a:cubicBezTo>
                  <a:pt x="424" y="445"/>
                  <a:pt x="436" y="473"/>
                  <a:pt x="453" y="487"/>
                </a:cubicBezTo>
                <a:cubicBezTo>
                  <a:pt x="468" y="497"/>
                  <a:pt x="484" y="501"/>
                  <a:pt x="501" y="499"/>
                </a:cubicBezTo>
                <a:cubicBezTo>
                  <a:pt x="504" y="499"/>
                  <a:pt x="508" y="496"/>
                  <a:pt x="511" y="492"/>
                </a:cubicBezTo>
                <a:cubicBezTo>
                  <a:pt x="520" y="481"/>
                  <a:pt x="525" y="468"/>
                  <a:pt x="525" y="455"/>
                </a:cubicBezTo>
                <a:cubicBezTo>
                  <a:pt x="525" y="451"/>
                  <a:pt x="524" y="448"/>
                  <a:pt x="524" y="444"/>
                </a:cubicBezTo>
                <a:cubicBezTo>
                  <a:pt x="524" y="444"/>
                  <a:pt x="524" y="444"/>
                  <a:pt x="467" y="136"/>
                </a:cubicBezTo>
                <a:cubicBezTo>
                  <a:pt x="460" y="103"/>
                  <a:pt x="491" y="99"/>
                  <a:pt x="491" y="99"/>
                </a:cubicBezTo>
                <a:cubicBezTo>
                  <a:pt x="507" y="96"/>
                  <a:pt x="520" y="96"/>
                  <a:pt x="528" y="124"/>
                </a:cubicBezTo>
                <a:cubicBezTo>
                  <a:pt x="528" y="124"/>
                  <a:pt x="528" y="124"/>
                  <a:pt x="587" y="344"/>
                </a:cubicBezTo>
                <a:cubicBezTo>
                  <a:pt x="587" y="344"/>
                  <a:pt x="587" y="344"/>
                  <a:pt x="587" y="345"/>
                </a:cubicBezTo>
                <a:cubicBezTo>
                  <a:pt x="587" y="345"/>
                  <a:pt x="587" y="345"/>
                  <a:pt x="587" y="347"/>
                </a:cubicBezTo>
                <a:cubicBezTo>
                  <a:pt x="587" y="347"/>
                  <a:pt x="587" y="347"/>
                  <a:pt x="605" y="343"/>
                </a:cubicBezTo>
                <a:cubicBezTo>
                  <a:pt x="627" y="343"/>
                  <a:pt x="645" y="351"/>
                  <a:pt x="661" y="364"/>
                </a:cubicBezTo>
                <a:cubicBezTo>
                  <a:pt x="664" y="367"/>
                  <a:pt x="665" y="369"/>
                  <a:pt x="668" y="372"/>
                </a:cubicBezTo>
                <a:cubicBezTo>
                  <a:pt x="668" y="372"/>
                  <a:pt x="668" y="372"/>
                  <a:pt x="678" y="391"/>
                </a:cubicBezTo>
                <a:cubicBezTo>
                  <a:pt x="678" y="391"/>
                  <a:pt x="678" y="391"/>
                  <a:pt x="697" y="392"/>
                </a:cubicBezTo>
                <a:cubicBezTo>
                  <a:pt x="697" y="392"/>
                  <a:pt x="697" y="392"/>
                  <a:pt x="698" y="392"/>
                </a:cubicBezTo>
                <a:cubicBezTo>
                  <a:pt x="724" y="396"/>
                  <a:pt x="748" y="409"/>
                  <a:pt x="765" y="428"/>
                </a:cubicBezTo>
                <a:cubicBezTo>
                  <a:pt x="780" y="444"/>
                  <a:pt x="792" y="461"/>
                  <a:pt x="801" y="480"/>
                </a:cubicBezTo>
                <a:cubicBezTo>
                  <a:pt x="801" y="481"/>
                  <a:pt x="801" y="481"/>
                  <a:pt x="802" y="481"/>
                </a:cubicBezTo>
                <a:cubicBezTo>
                  <a:pt x="838" y="484"/>
                  <a:pt x="849" y="531"/>
                  <a:pt x="846" y="548"/>
                </a:cubicBezTo>
                <a:close/>
                <a:moveTo>
                  <a:pt x="98" y="0"/>
                </a:moveTo>
                <a:cubicBezTo>
                  <a:pt x="44" y="0"/>
                  <a:pt x="0" y="44"/>
                  <a:pt x="0" y="98"/>
                </a:cubicBezTo>
                <a:cubicBezTo>
                  <a:pt x="0" y="152"/>
                  <a:pt x="44" y="196"/>
                  <a:pt x="98" y="196"/>
                </a:cubicBezTo>
                <a:cubicBezTo>
                  <a:pt x="152" y="196"/>
                  <a:pt x="196" y="152"/>
                  <a:pt x="196" y="98"/>
                </a:cubicBezTo>
                <a:cubicBezTo>
                  <a:pt x="196" y="44"/>
                  <a:pt x="152" y="0"/>
                  <a:pt x="98" y="0"/>
                </a:cubicBezTo>
                <a:close/>
                <a:moveTo>
                  <a:pt x="729" y="0"/>
                </a:moveTo>
                <a:cubicBezTo>
                  <a:pt x="675" y="0"/>
                  <a:pt x="631" y="44"/>
                  <a:pt x="631" y="98"/>
                </a:cubicBezTo>
                <a:cubicBezTo>
                  <a:pt x="631" y="152"/>
                  <a:pt x="675" y="196"/>
                  <a:pt x="729" y="196"/>
                </a:cubicBezTo>
                <a:cubicBezTo>
                  <a:pt x="784" y="196"/>
                  <a:pt x="827" y="152"/>
                  <a:pt x="827" y="98"/>
                </a:cubicBezTo>
                <a:cubicBezTo>
                  <a:pt x="827" y="44"/>
                  <a:pt x="784" y="0"/>
                  <a:pt x="729" y="0"/>
                </a:cubicBezTo>
                <a:close/>
                <a:moveTo>
                  <a:pt x="414" y="196"/>
                </a:moveTo>
                <a:cubicBezTo>
                  <a:pt x="421" y="196"/>
                  <a:pt x="429" y="195"/>
                  <a:pt x="436" y="193"/>
                </a:cubicBezTo>
                <a:cubicBezTo>
                  <a:pt x="427" y="144"/>
                  <a:pt x="427" y="144"/>
                  <a:pt x="427" y="144"/>
                </a:cubicBezTo>
                <a:cubicBezTo>
                  <a:pt x="421" y="117"/>
                  <a:pt x="430" y="98"/>
                  <a:pt x="438" y="87"/>
                </a:cubicBezTo>
                <a:cubicBezTo>
                  <a:pt x="453" y="65"/>
                  <a:pt x="477" y="60"/>
                  <a:pt x="484" y="59"/>
                </a:cubicBezTo>
                <a:cubicBezTo>
                  <a:pt x="489" y="58"/>
                  <a:pt x="495" y="57"/>
                  <a:pt x="502" y="57"/>
                </a:cubicBezTo>
                <a:cubicBezTo>
                  <a:pt x="502" y="57"/>
                  <a:pt x="502" y="57"/>
                  <a:pt x="503" y="57"/>
                </a:cubicBezTo>
                <a:cubicBezTo>
                  <a:pt x="487" y="23"/>
                  <a:pt x="453" y="0"/>
                  <a:pt x="414" y="0"/>
                </a:cubicBezTo>
                <a:cubicBezTo>
                  <a:pt x="360" y="0"/>
                  <a:pt x="316" y="44"/>
                  <a:pt x="316" y="98"/>
                </a:cubicBezTo>
                <a:cubicBezTo>
                  <a:pt x="316" y="152"/>
                  <a:pt x="360" y="196"/>
                  <a:pt x="414" y="196"/>
                </a:cubicBezTo>
                <a:close/>
              </a:path>
            </a:pathLst>
          </a:custGeom>
          <a:solidFill>
            <a:srgbClr val="FFFFFF"/>
          </a:solidFill>
          <a:ln>
            <a:noFill/>
          </a:ln>
        </p:spPr>
        <p:txBody>
          <a:bodyPr anchor="t" anchorCtr="0" bIns="45720" compatLnSpc="1" lIns="91440" numCol="1" rIns="91440" tIns="45720" vert="horz" wrap="square">
            <a:prstTxWarp prst="textNoShape">
              <a:avLst/>
            </a:prstTxWarp>
          </a:bodyPr>
          <a:lstStyle/>
          <a:p>
            <a:pPr defTabSz="932391"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800" u="none">
              <a:ln>
                <a:noFill/>
              </a:ln>
              <a:solidFill>
                <a:srgbClr val="FFFFFF"/>
              </a:solidFill>
              <a:effectLst/>
              <a:uLnTx/>
              <a:uFillTx/>
              <a:latin typeface="Segoe UI"/>
            </a:endParaRPr>
          </a:p>
        </p:txBody>
      </p:sp>
      <p:sp>
        <p:nvSpPr>
          <p:cNvPr id="25" name="Freeform 17"/>
          <p:cNvSpPr>
            <a:spLocks noEditPoints="1"/>
          </p:cNvSpPr>
          <p:nvPr/>
        </p:nvSpPr>
        <p:spPr bwMode="auto">
          <a:xfrm>
            <a:off x="2378336" y="3545117"/>
            <a:ext cx="461681" cy="467317"/>
          </a:xfrm>
          <a:custGeom>
            <a:gdLst>
              <a:gd fmla="*/ 112 w 268" name="T0"/>
              <a:gd fmla="*/ 130 h 241" name="T1"/>
              <a:gd fmla="*/ 112 w 268" name="T2"/>
              <a:gd fmla="*/ 78 h 241" name="T3"/>
              <a:gd fmla="*/ 134 w 268" name="T4"/>
              <a:gd fmla="*/ 78 h 241" name="T5"/>
              <a:gd fmla="*/ 134 w 268" name="T6"/>
              <a:gd fmla="*/ 130 h 241" name="T7"/>
              <a:gd fmla="*/ 112 w 268" name="T8"/>
              <a:gd fmla="*/ 130 h 241" name="T9"/>
              <a:gd fmla="*/ 103 w 268" name="T10"/>
              <a:gd fmla="*/ 102 h 241" name="T11"/>
              <a:gd fmla="*/ 0 w 268" name="T12"/>
              <a:gd fmla="*/ 102 h 241" name="T13"/>
              <a:gd fmla="*/ 0 w 268" name="T14"/>
              <a:gd fmla="*/ 38 h 241" name="T15"/>
              <a:gd fmla="*/ 63 w 268" name="T16"/>
              <a:gd fmla="*/ 38 h 241" name="T17"/>
              <a:gd fmla="*/ 63 w 268" name="T18"/>
              <a:gd fmla="*/ 22 h 241" name="T19"/>
              <a:gd fmla="*/ 86 w 268" name="T20"/>
              <a:gd fmla="*/ 0 h 241" name="T21"/>
              <a:gd fmla="*/ 170 w 268" name="T22"/>
              <a:gd fmla="*/ 0 h 241" name="T23"/>
              <a:gd fmla="*/ 192 w 268" name="T24"/>
              <a:gd fmla="*/ 22 h 241" name="T25"/>
              <a:gd fmla="*/ 192 w 268" name="T26"/>
              <a:gd fmla="*/ 38 h 241" name="T27"/>
              <a:gd fmla="*/ 255 w 268" name="T28"/>
              <a:gd fmla="*/ 38 h 241" name="T29"/>
              <a:gd fmla="*/ 255 w 268" name="T30"/>
              <a:gd fmla="*/ 102 h 241" name="T31"/>
              <a:gd fmla="*/ 234 w 268" name="T32"/>
              <a:gd fmla="*/ 102 h 241" name="T33"/>
              <a:gd fmla="*/ 233 w 268" name="T34"/>
              <a:gd fmla="*/ 76 h 241" name="T35"/>
              <a:gd fmla="*/ 210 w 268" name="T36"/>
              <a:gd fmla="*/ 54 h 241" name="T37"/>
              <a:gd fmla="*/ 192 w 268" name="T38"/>
              <a:gd fmla="*/ 48 h 241" name="T39"/>
              <a:gd fmla="*/ 206 w 268" name="T40"/>
              <a:gd fmla="*/ 83 h 241" name="T41"/>
              <a:gd fmla="*/ 186 w 268" name="T42"/>
              <a:gd fmla="*/ 91 h 241" name="T43"/>
              <a:gd fmla="*/ 172 w 268" name="T44"/>
              <a:gd fmla="*/ 56 h 241" name="T45"/>
              <a:gd fmla="*/ 163 w 268" name="T46"/>
              <a:gd fmla="*/ 73 h 241" name="T47"/>
              <a:gd fmla="*/ 160 w 268" name="T48"/>
              <a:gd fmla="*/ 102 h 241" name="T49"/>
              <a:gd fmla="*/ 142 w 268" name="T50"/>
              <a:gd fmla="*/ 102 h 241" name="T51"/>
              <a:gd fmla="*/ 142 w 268" name="T52"/>
              <a:gd fmla="*/ 70 h 241" name="T53"/>
              <a:gd fmla="*/ 103 w 268" name="T54"/>
              <a:gd fmla="*/ 70 h 241" name="T55"/>
              <a:gd fmla="*/ 103 w 268" name="T56"/>
              <a:gd fmla="*/ 102 h 241" name="T57"/>
              <a:gd fmla="*/ 79 w 268" name="T58"/>
              <a:gd fmla="*/ 38 h 241" name="T59"/>
              <a:gd fmla="*/ 176 w 268" name="T60"/>
              <a:gd fmla="*/ 38 h 241" name="T61"/>
              <a:gd fmla="*/ 176 w 268" name="T62"/>
              <a:gd fmla="*/ 22 h 241" name="T63"/>
              <a:gd fmla="*/ 170 w 268" name="T64"/>
              <a:gd fmla="*/ 16 h 241" name="T65"/>
              <a:gd fmla="*/ 86 w 268" name="T66"/>
              <a:gd fmla="*/ 16 h 241" name="T67"/>
              <a:gd fmla="*/ 79 w 268" name="T68"/>
              <a:gd fmla="*/ 22 h 241" name="T69"/>
              <a:gd fmla="*/ 79 w 268" name="T70"/>
              <a:gd fmla="*/ 38 h 241" name="T71"/>
              <a:gd fmla="*/ 255 w 268" name="T72"/>
              <a:gd fmla="*/ 172 h 241" name="T73"/>
              <a:gd fmla="*/ 255 w 268" name="T74"/>
              <a:gd fmla="*/ 112 h 241" name="T75"/>
              <a:gd fmla="*/ 232 w 268" name="T76"/>
              <a:gd fmla="*/ 112 h 241" name="T77"/>
              <a:gd fmla="*/ 255 w 268" name="T78"/>
              <a:gd fmla="*/ 172 h 241" name="T79"/>
              <a:gd fmla="*/ 166 w 268" name="T80"/>
              <a:gd fmla="*/ 112 h 241" name="T81"/>
              <a:gd fmla="*/ 142 w 268" name="T82"/>
              <a:gd fmla="*/ 112 h 241" name="T83"/>
              <a:gd fmla="*/ 142 w 268" name="T84"/>
              <a:gd fmla="*/ 139 h 241" name="T85"/>
              <a:gd fmla="*/ 103 w 268" name="T86"/>
              <a:gd fmla="*/ 139 h 241" name="T87"/>
              <a:gd fmla="*/ 103 w 268" name="T88"/>
              <a:gd fmla="*/ 112 h 241" name="T89"/>
              <a:gd fmla="*/ 0 w 268" name="T90"/>
              <a:gd fmla="*/ 112 h 241" name="T91"/>
              <a:gd fmla="*/ 0 w 268" name="T92"/>
              <a:gd fmla="*/ 203 h 241" name="T93"/>
              <a:gd fmla="*/ 216 w 268" name="T94"/>
              <a:gd fmla="*/ 203 h 241" name="T95"/>
              <a:gd fmla="*/ 186 w 268" name="T96"/>
              <a:gd fmla="*/ 127 h 241" name="T97"/>
              <a:gd fmla="*/ 166 w 268" name="T98"/>
              <a:gd fmla="*/ 112 h 241" name="T99"/>
              <a:gd fmla="*/ 266 w 268" name="T100"/>
              <a:gd fmla="*/ 222 h 241" name="T101"/>
              <a:gd fmla="*/ 221 w 268" name="T102"/>
              <a:gd fmla="*/ 108 h 241" name="T103"/>
              <a:gd fmla="*/ 225 w 268" name="T104"/>
              <a:gd fmla="*/ 79 h 241" name="T105"/>
              <a:gd fmla="*/ 207 w 268" name="T106"/>
              <a:gd fmla="*/ 62 h 241" name="T107"/>
              <a:gd fmla="*/ 217 w 268" name="T108"/>
              <a:gd fmla="*/ 88 h 241" name="T109"/>
              <a:gd fmla="*/ 181 w 268" name="T110"/>
              <a:gd fmla="*/ 103 h 241" name="T111"/>
              <a:gd fmla="*/ 171 w 268" name="T112"/>
              <a:gd fmla="*/ 77 h 241" name="T113"/>
              <a:gd fmla="*/ 170 w 268" name="T114"/>
              <a:gd fmla="*/ 101 h 241" name="T115"/>
              <a:gd fmla="*/ 192 w 268" name="T116"/>
              <a:gd fmla="*/ 120 h 241" name="T117"/>
              <a:gd fmla="*/ 238 w 268" name="T118"/>
              <a:gd fmla="*/ 233 h 241" name="T119"/>
              <a:gd fmla="*/ 250 w 268" name="T120"/>
              <a:gd fmla="*/ 239 h 241" name="T121"/>
              <a:gd fmla="*/ 261 w 268" name="T122"/>
              <a:gd fmla="*/ 235 h 241" name="T123"/>
              <a:gd fmla="*/ 266 w 268" name="T124"/>
              <a:gd fmla="*/ 222 h 241"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241" w="268">
                <a:moveTo>
                  <a:pt x="112" y="130"/>
                </a:moveTo>
                <a:cubicBezTo>
                  <a:pt x="112" y="78"/>
                  <a:pt x="112" y="78"/>
                  <a:pt x="112" y="78"/>
                </a:cubicBezTo>
                <a:cubicBezTo>
                  <a:pt x="134" y="78"/>
                  <a:pt x="134" y="78"/>
                  <a:pt x="134" y="78"/>
                </a:cubicBezTo>
                <a:cubicBezTo>
                  <a:pt x="134" y="130"/>
                  <a:pt x="134" y="130"/>
                  <a:pt x="134" y="130"/>
                </a:cubicBezTo>
                <a:lnTo>
                  <a:pt x="112" y="130"/>
                </a:lnTo>
                <a:close/>
                <a:moveTo>
                  <a:pt x="103" y="102"/>
                </a:moveTo>
                <a:cubicBezTo>
                  <a:pt x="0" y="102"/>
                  <a:pt x="0" y="102"/>
                  <a:pt x="0" y="102"/>
                </a:cubicBezTo>
                <a:cubicBezTo>
                  <a:pt x="0" y="38"/>
                  <a:pt x="0" y="38"/>
                  <a:pt x="0" y="38"/>
                </a:cubicBezTo>
                <a:cubicBezTo>
                  <a:pt x="63" y="38"/>
                  <a:pt x="63" y="38"/>
                  <a:pt x="63" y="38"/>
                </a:cubicBezTo>
                <a:cubicBezTo>
                  <a:pt x="63" y="22"/>
                  <a:pt x="63" y="22"/>
                  <a:pt x="63" y="22"/>
                </a:cubicBezTo>
                <a:cubicBezTo>
                  <a:pt x="63" y="10"/>
                  <a:pt x="73" y="0"/>
                  <a:pt x="86" y="0"/>
                </a:cubicBezTo>
                <a:cubicBezTo>
                  <a:pt x="170" y="0"/>
                  <a:pt x="170" y="0"/>
                  <a:pt x="170" y="0"/>
                </a:cubicBezTo>
                <a:cubicBezTo>
                  <a:pt x="182" y="0"/>
                  <a:pt x="192" y="10"/>
                  <a:pt x="192" y="22"/>
                </a:cubicBezTo>
                <a:cubicBezTo>
                  <a:pt x="192" y="38"/>
                  <a:pt x="192" y="38"/>
                  <a:pt x="192" y="38"/>
                </a:cubicBezTo>
                <a:cubicBezTo>
                  <a:pt x="255" y="38"/>
                  <a:pt x="255" y="38"/>
                  <a:pt x="255" y="38"/>
                </a:cubicBezTo>
                <a:cubicBezTo>
                  <a:pt x="255" y="102"/>
                  <a:pt x="255" y="102"/>
                  <a:pt x="255" y="102"/>
                </a:cubicBezTo>
                <a:cubicBezTo>
                  <a:pt x="234" y="102"/>
                  <a:pt x="234" y="102"/>
                  <a:pt x="234" y="102"/>
                </a:cubicBezTo>
                <a:cubicBezTo>
                  <a:pt x="236" y="93"/>
                  <a:pt x="236" y="84"/>
                  <a:pt x="233" y="76"/>
                </a:cubicBezTo>
                <a:cubicBezTo>
                  <a:pt x="229" y="66"/>
                  <a:pt x="220" y="58"/>
                  <a:pt x="210" y="54"/>
                </a:cubicBezTo>
                <a:cubicBezTo>
                  <a:pt x="192" y="48"/>
                  <a:pt x="192" y="48"/>
                  <a:pt x="192" y="48"/>
                </a:cubicBezTo>
                <a:cubicBezTo>
                  <a:pt x="206" y="83"/>
                  <a:pt x="206" y="83"/>
                  <a:pt x="206" y="83"/>
                </a:cubicBezTo>
                <a:cubicBezTo>
                  <a:pt x="186" y="91"/>
                  <a:pt x="186" y="91"/>
                  <a:pt x="186" y="91"/>
                </a:cubicBezTo>
                <a:cubicBezTo>
                  <a:pt x="172" y="56"/>
                  <a:pt x="172" y="56"/>
                  <a:pt x="172" y="56"/>
                </a:cubicBezTo>
                <a:cubicBezTo>
                  <a:pt x="163" y="73"/>
                  <a:pt x="163" y="73"/>
                  <a:pt x="163" y="73"/>
                </a:cubicBezTo>
                <a:cubicBezTo>
                  <a:pt x="158" y="82"/>
                  <a:pt x="158" y="92"/>
                  <a:pt x="160" y="102"/>
                </a:cubicBezTo>
                <a:cubicBezTo>
                  <a:pt x="142" y="102"/>
                  <a:pt x="142" y="102"/>
                  <a:pt x="142" y="102"/>
                </a:cubicBezTo>
                <a:cubicBezTo>
                  <a:pt x="142" y="70"/>
                  <a:pt x="142" y="70"/>
                  <a:pt x="142" y="70"/>
                </a:cubicBezTo>
                <a:cubicBezTo>
                  <a:pt x="103" y="70"/>
                  <a:pt x="103" y="70"/>
                  <a:pt x="103" y="70"/>
                </a:cubicBezTo>
                <a:lnTo>
                  <a:pt x="103" y="102"/>
                </a:lnTo>
                <a:close/>
                <a:moveTo>
                  <a:pt x="79" y="38"/>
                </a:moveTo>
                <a:cubicBezTo>
                  <a:pt x="176" y="38"/>
                  <a:pt x="176" y="38"/>
                  <a:pt x="176" y="38"/>
                </a:cubicBezTo>
                <a:cubicBezTo>
                  <a:pt x="176" y="22"/>
                  <a:pt x="176" y="22"/>
                  <a:pt x="176" y="22"/>
                </a:cubicBezTo>
                <a:cubicBezTo>
                  <a:pt x="176" y="19"/>
                  <a:pt x="173" y="16"/>
                  <a:pt x="170" y="16"/>
                </a:cubicBezTo>
                <a:cubicBezTo>
                  <a:pt x="86" y="16"/>
                  <a:pt x="86" y="16"/>
                  <a:pt x="86" y="16"/>
                </a:cubicBezTo>
                <a:cubicBezTo>
                  <a:pt x="82" y="16"/>
                  <a:pt x="79" y="19"/>
                  <a:pt x="79" y="22"/>
                </a:cubicBezTo>
                <a:lnTo>
                  <a:pt x="79" y="38"/>
                </a:lnTo>
                <a:close/>
                <a:moveTo>
                  <a:pt x="255" y="172"/>
                </a:moveTo>
                <a:cubicBezTo>
                  <a:pt x="255" y="112"/>
                  <a:pt x="255" y="112"/>
                  <a:pt x="255" y="112"/>
                </a:cubicBezTo>
                <a:cubicBezTo>
                  <a:pt x="232" y="112"/>
                  <a:pt x="232" y="112"/>
                  <a:pt x="232" y="112"/>
                </a:cubicBezTo>
                <a:lnTo>
                  <a:pt x="255" y="172"/>
                </a:lnTo>
                <a:close/>
                <a:moveTo>
                  <a:pt x="166" y="112"/>
                </a:moveTo>
                <a:cubicBezTo>
                  <a:pt x="142" y="112"/>
                  <a:pt x="142" y="112"/>
                  <a:pt x="142" y="112"/>
                </a:cubicBezTo>
                <a:cubicBezTo>
                  <a:pt x="142" y="139"/>
                  <a:pt x="142" y="139"/>
                  <a:pt x="142" y="139"/>
                </a:cubicBezTo>
                <a:cubicBezTo>
                  <a:pt x="103" y="139"/>
                  <a:pt x="103" y="139"/>
                  <a:pt x="103" y="139"/>
                </a:cubicBezTo>
                <a:cubicBezTo>
                  <a:pt x="103" y="112"/>
                  <a:pt x="103" y="112"/>
                  <a:pt x="103" y="112"/>
                </a:cubicBezTo>
                <a:cubicBezTo>
                  <a:pt x="0" y="112"/>
                  <a:pt x="0" y="112"/>
                  <a:pt x="0" y="112"/>
                </a:cubicBezTo>
                <a:cubicBezTo>
                  <a:pt x="0" y="203"/>
                  <a:pt x="0" y="203"/>
                  <a:pt x="0" y="203"/>
                </a:cubicBezTo>
                <a:cubicBezTo>
                  <a:pt x="216" y="203"/>
                  <a:pt x="216" y="203"/>
                  <a:pt x="216" y="203"/>
                </a:cubicBezTo>
                <a:cubicBezTo>
                  <a:pt x="186" y="127"/>
                  <a:pt x="186" y="127"/>
                  <a:pt x="186" y="127"/>
                </a:cubicBezTo>
                <a:cubicBezTo>
                  <a:pt x="178" y="124"/>
                  <a:pt x="171" y="119"/>
                  <a:pt x="166" y="112"/>
                </a:cubicBezTo>
                <a:close/>
                <a:moveTo>
                  <a:pt x="266" y="222"/>
                </a:moveTo>
                <a:cubicBezTo>
                  <a:pt x="221" y="108"/>
                  <a:pt x="221" y="108"/>
                  <a:pt x="221" y="108"/>
                </a:cubicBezTo>
                <a:cubicBezTo>
                  <a:pt x="227" y="100"/>
                  <a:pt x="229" y="89"/>
                  <a:pt x="225" y="79"/>
                </a:cubicBezTo>
                <a:cubicBezTo>
                  <a:pt x="221" y="71"/>
                  <a:pt x="215" y="65"/>
                  <a:pt x="207" y="62"/>
                </a:cubicBezTo>
                <a:cubicBezTo>
                  <a:pt x="217" y="88"/>
                  <a:pt x="217" y="88"/>
                  <a:pt x="217" y="88"/>
                </a:cubicBezTo>
                <a:cubicBezTo>
                  <a:pt x="181" y="103"/>
                  <a:pt x="181" y="103"/>
                  <a:pt x="181" y="103"/>
                </a:cubicBezTo>
                <a:cubicBezTo>
                  <a:pt x="171" y="77"/>
                  <a:pt x="171" y="77"/>
                  <a:pt x="171" y="77"/>
                </a:cubicBezTo>
                <a:cubicBezTo>
                  <a:pt x="167" y="84"/>
                  <a:pt x="166" y="93"/>
                  <a:pt x="170" y="101"/>
                </a:cubicBezTo>
                <a:cubicBezTo>
                  <a:pt x="174" y="111"/>
                  <a:pt x="182" y="118"/>
                  <a:pt x="192" y="120"/>
                </a:cubicBezTo>
                <a:cubicBezTo>
                  <a:pt x="238" y="233"/>
                  <a:pt x="238" y="233"/>
                  <a:pt x="238" y="233"/>
                </a:cubicBezTo>
                <a:cubicBezTo>
                  <a:pt x="240" y="238"/>
                  <a:pt x="245" y="241"/>
                  <a:pt x="250" y="239"/>
                </a:cubicBezTo>
                <a:cubicBezTo>
                  <a:pt x="261" y="235"/>
                  <a:pt x="261" y="235"/>
                  <a:pt x="261" y="235"/>
                </a:cubicBezTo>
                <a:cubicBezTo>
                  <a:pt x="266" y="233"/>
                  <a:pt x="268" y="227"/>
                  <a:pt x="266" y="222"/>
                </a:cubicBezTo>
                <a:close/>
              </a:path>
            </a:pathLst>
          </a:custGeom>
          <a:solidFill>
            <a:srgbClr val="FFFFFF"/>
          </a:solidFill>
          <a:ln>
            <a:noFill/>
          </a:ln>
          <a:extLst/>
        </p:spPr>
        <p:txBody>
          <a:bodyPr anchor="t" anchorCtr="0" bIns="45702" compatLnSpc="1" lIns="91406" numCol="1" rIns="91406" tIns="45702" vert="horz" wrap="square">
            <a:prstTxWarp prst="textNoShape">
              <a:avLst/>
            </a:prstTxWarp>
          </a:bodyPr>
          <a:lstStyle/>
          <a:p>
            <a:pPr defTabSz="932391"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800" u="none">
              <a:ln>
                <a:noFill/>
              </a:ln>
              <a:solidFill>
                <a:srgbClr val="FFFFFF"/>
              </a:solidFill>
              <a:effectLst/>
              <a:uLnTx/>
              <a:uFillTx/>
              <a:latin typeface="Segoe UI"/>
            </a:endParaRPr>
          </a:p>
        </p:txBody>
      </p:sp>
      <p:pic>
        <p:nvPicPr>
          <p:cNvPr id="26" name="Picture 2"/>
          <p:cNvPicPr>
            <a:picLocks noChangeArrowheads="1" noChangeAspect="1"/>
          </p:cNvPicPr>
          <p:nvPr/>
        </p:nvPicPr>
        <p:blipFill>
          <a:blip r:embed="rId4">
            <a:extLst>
              <a:ext uri="{28A0092B-C50C-407E-A947-70E740481C1C}">
                <a14:useLocalDpi/>
              </a:ext>
            </a:extLst>
          </a:blip>
          <a:stretch>
            <a:fillRect/>
          </a:stretch>
        </p:blipFill>
        <p:spPr bwMode="auto">
          <a:xfrm>
            <a:off x="2870537" y="4734829"/>
            <a:ext cx="456721" cy="456721"/>
          </a:xfrm>
          <a:prstGeom prst="rect">
            <a:avLst/>
          </a:prstGeom>
          <a:noFill/>
          <a:extLst>
            <a:ext uri="{909E8E84-426E-40DD-AFC4-6F175D3DCCD1}">
              <a14:hiddenFill>
                <a:solidFill>
                  <a:srgbClr val="FFFFFF"/>
                </a:solidFill>
              </a14:hiddenFill>
            </a:ext>
          </a:extLst>
        </p:spPr>
      </p:pic>
    </p:spTree>
    <p:extLst>
      <p:ext uri="{BB962C8B-B14F-4D97-AF65-F5344CB8AC3E}">
        <p14:creationId val="3340276339"/>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34E0452A-F6E8-4D9F-B24E-FA697EF69005}" type="slidenum">
              <a:rPr altLang="en-US" lang="zh-CN" smtClean="0"/>
              <a:t>13</a:t>
            </a:fld>
          </a:p>
        </p:txBody>
      </p:sp>
      <p:sp>
        <p:nvSpPr>
          <p:cNvPr id="5" name="任意多边形 4"/>
          <p:cNvSpPr/>
          <p:nvPr/>
        </p:nvSpPr>
        <p:spPr>
          <a:xfrm>
            <a:off x="0" y="2391896"/>
            <a:ext cx="12192000" cy="1475084"/>
          </a:xfrm>
          <a:custGeom>
            <a:gdLst>
              <a:gd fmla="*/ 8112619 w 8112619" name="connsiteX0"/>
              <a:gd fmla="*/ 1070818 h 1070818" name="connsiteY0"/>
              <a:gd fmla="*/ 7528956 w 8112619" name="connsiteX1"/>
              <a:gd fmla="*/ 0 h 1070818" name="connsiteY1"/>
              <a:gd fmla="*/ 7018317 w 8112619" name="connsiteX2"/>
              <a:gd fmla="*/ 1021278 h 1070818" name="connsiteY2"/>
              <a:gd fmla="*/ 0 w 8112619" name="connsiteX3"/>
              <a:gd fmla="*/ 1009403 h 1070818" name="connsiteY3"/>
            </a:gdLst>
            <a:cxnLst>
              <a:cxn ang="0">
                <a:pos x="connsiteX0" y="connsiteY0"/>
              </a:cxn>
              <a:cxn ang="0">
                <a:pos x="connsiteX1" y="connsiteY1"/>
              </a:cxn>
              <a:cxn ang="0">
                <a:pos x="connsiteX2" y="connsiteY2"/>
              </a:cxn>
              <a:cxn ang="0">
                <a:pos x="connsiteX3" y="connsiteY3"/>
              </a:cxn>
            </a:cxnLst>
            <a:rect b="b" l="l" r="r" t="t"/>
            <a:pathLst>
              <a:path h="1070818" w="8112618">
                <a:moveTo>
                  <a:pt x="8112619" y="1070818"/>
                </a:moveTo>
                <a:lnTo>
                  <a:pt x="7528956" y="0"/>
                </a:lnTo>
                <a:lnTo>
                  <a:pt x="7018317" y="1021278"/>
                </a:lnTo>
                <a:lnTo>
                  <a:pt x="0" y="1009403"/>
                </a:lnTo>
              </a:path>
            </a:pathLst>
          </a:custGeom>
          <a:noFill/>
          <a:ln w="9525">
            <a:solidFill>
              <a:srgbClr val="E00024"/>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6" name="组合 5"/>
          <p:cNvGrpSpPr/>
          <p:nvPr/>
        </p:nvGrpSpPr>
        <p:grpSpPr>
          <a:xfrm>
            <a:off x="1134983" y="3026962"/>
            <a:ext cx="1353751" cy="1353751"/>
            <a:chOff x="438734" y="2689497"/>
            <a:chExt cx="736270" cy="736270"/>
          </a:xfrm>
        </p:grpSpPr>
        <p:sp useBgFill="1">
          <p:nvSpPr>
            <p:cNvPr id="7" name="椭圆 6"/>
            <p:cNvSpPr/>
            <p:nvPr/>
          </p:nvSpPr>
          <p:spPr>
            <a:xfrm>
              <a:off x="438734" y="2689497"/>
              <a:ext cx="736270" cy="736270"/>
            </a:xfrm>
            <a:prstGeom prst="ellipse">
              <a:avLst/>
            </a:prstGeom>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8" name="组合 7"/>
            <p:cNvGrpSpPr/>
            <p:nvPr/>
          </p:nvGrpSpPr>
          <p:grpSpPr>
            <a:xfrm>
              <a:off x="667973" y="2839739"/>
              <a:ext cx="285148" cy="438484"/>
              <a:chOff x="579081" y="1287047"/>
              <a:chExt cx="384441" cy="591172"/>
            </a:xfrm>
          </p:grpSpPr>
          <p:sp>
            <p:nvSpPr>
              <p:cNvPr id="9" name="Freeform 117"/>
              <p:cNvSpPr>
                <a:spLocks noEditPoints="1"/>
              </p:cNvSpPr>
              <p:nvPr/>
            </p:nvSpPr>
            <p:spPr bwMode="auto">
              <a:xfrm>
                <a:off x="579081" y="1294301"/>
                <a:ext cx="377187" cy="583918"/>
              </a:xfrm>
              <a:custGeom>
                <a:gdLst>
                  <a:gd fmla="*/ 35 w 44" name="T0"/>
                  <a:gd fmla="*/ 0 h 68" name="T1"/>
                  <a:gd fmla="*/ 9 w 44" name="T2"/>
                  <a:gd fmla="*/ 0 h 68" name="T3"/>
                  <a:gd fmla="*/ 0 w 44" name="T4"/>
                  <a:gd fmla="*/ 9 h 68" name="T5"/>
                  <a:gd fmla="*/ 0 w 44" name="T6"/>
                  <a:gd fmla="*/ 59 h 68" name="T7"/>
                  <a:gd fmla="*/ 9 w 44" name="T8"/>
                  <a:gd fmla="*/ 68 h 68" name="T9"/>
                  <a:gd fmla="*/ 35 w 44" name="T10"/>
                  <a:gd fmla="*/ 68 h 68" name="T11"/>
                  <a:gd fmla="*/ 44 w 44" name="T12"/>
                  <a:gd fmla="*/ 59 h 68" name="T13"/>
                  <a:gd fmla="*/ 44 w 44" name="T14"/>
                  <a:gd fmla="*/ 9 h 68" name="T15"/>
                  <a:gd fmla="*/ 35 w 44" name="T16"/>
                  <a:gd fmla="*/ 0 h 68" name="T17"/>
                  <a:gd fmla="*/ 22 w 44" name="T18"/>
                  <a:gd fmla="*/ 65 h 68" name="T19"/>
                  <a:gd fmla="*/ 18 w 44" name="T20"/>
                  <a:gd fmla="*/ 61 h 68" name="T21"/>
                  <a:gd fmla="*/ 22 w 44" name="T22"/>
                  <a:gd fmla="*/ 57 h 68" name="T23"/>
                  <a:gd fmla="*/ 26 w 44" name="T24"/>
                  <a:gd fmla="*/ 61 h 68" name="T25"/>
                  <a:gd fmla="*/ 22 w 44" name="T26"/>
                  <a:gd fmla="*/ 65 h 68" name="T27"/>
                  <a:gd fmla="*/ 40 w 44" name="T28"/>
                  <a:gd fmla="*/ 48 h 68" name="T29"/>
                  <a:gd fmla="*/ 32 w 44" name="T30"/>
                  <a:gd fmla="*/ 55 h 68" name="T31"/>
                  <a:gd fmla="*/ 12 w 44" name="T32"/>
                  <a:gd fmla="*/ 55 h 68" name="T33"/>
                  <a:gd fmla="*/ 5 w 44" name="T34"/>
                  <a:gd fmla="*/ 48 h 68" name="T35"/>
                  <a:gd fmla="*/ 5 w 44" name="T36"/>
                  <a:gd fmla="*/ 13 h 68" name="T37"/>
                  <a:gd fmla="*/ 12 w 44" name="T38"/>
                  <a:gd fmla="*/ 6 h 68" name="T39"/>
                  <a:gd fmla="*/ 32 w 44" name="T40"/>
                  <a:gd fmla="*/ 6 h 68" name="T41"/>
                  <a:gd fmla="*/ 40 w 44" name="T42"/>
                  <a:gd fmla="*/ 13 h 68" name="T43"/>
                  <a:gd fmla="*/ 40 w 44" name="T44"/>
                  <a:gd fmla="*/ 48 h 68" name="T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68" w="44">
                    <a:moveTo>
                      <a:pt x="35" y="0"/>
                    </a:moveTo>
                    <a:cubicBezTo>
                      <a:pt x="9" y="0"/>
                      <a:pt x="9" y="0"/>
                      <a:pt x="9" y="0"/>
                    </a:cubicBezTo>
                    <a:cubicBezTo>
                      <a:pt x="4" y="0"/>
                      <a:pt x="0" y="4"/>
                      <a:pt x="0" y="9"/>
                    </a:cubicBezTo>
                    <a:cubicBezTo>
                      <a:pt x="0" y="59"/>
                      <a:pt x="0" y="59"/>
                      <a:pt x="0" y="59"/>
                    </a:cubicBezTo>
                    <a:cubicBezTo>
                      <a:pt x="0" y="64"/>
                      <a:pt x="4" y="68"/>
                      <a:pt x="9" y="68"/>
                    </a:cubicBezTo>
                    <a:cubicBezTo>
                      <a:pt x="35" y="68"/>
                      <a:pt x="35" y="68"/>
                      <a:pt x="35" y="68"/>
                    </a:cubicBezTo>
                    <a:cubicBezTo>
                      <a:pt x="40" y="68"/>
                      <a:pt x="44" y="64"/>
                      <a:pt x="44" y="59"/>
                    </a:cubicBezTo>
                    <a:cubicBezTo>
                      <a:pt x="44" y="9"/>
                      <a:pt x="44" y="9"/>
                      <a:pt x="44" y="9"/>
                    </a:cubicBezTo>
                    <a:cubicBezTo>
                      <a:pt x="44" y="4"/>
                      <a:pt x="40" y="0"/>
                      <a:pt x="35" y="0"/>
                    </a:cubicBezTo>
                    <a:close/>
                    <a:moveTo>
                      <a:pt x="22" y="65"/>
                    </a:moveTo>
                    <a:cubicBezTo>
                      <a:pt x="20" y="65"/>
                      <a:pt x="18" y="64"/>
                      <a:pt x="18" y="61"/>
                    </a:cubicBezTo>
                    <a:cubicBezTo>
                      <a:pt x="18" y="59"/>
                      <a:pt x="20" y="57"/>
                      <a:pt x="22" y="57"/>
                    </a:cubicBezTo>
                    <a:cubicBezTo>
                      <a:pt x="24" y="57"/>
                      <a:pt x="26" y="59"/>
                      <a:pt x="26" y="61"/>
                    </a:cubicBezTo>
                    <a:cubicBezTo>
                      <a:pt x="26" y="64"/>
                      <a:pt x="24" y="65"/>
                      <a:pt x="22" y="65"/>
                    </a:cubicBezTo>
                    <a:close/>
                    <a:moveTo>
                      <a:pt x="40" y="48"/>
                    </a:moveTo>
                    <a:cubicBezTo>
                      <a:pt x="40" y="52"/>
                      <a:pt x="36" y="55"/>
                      <a:pt x="32" y="55"/>
                    </a:cubicBezTo>
                    <a:cubicBezTo>
                      <a:pt x="12" y="55"/>
                      <a:pt x="12" y="55"/>
                      <a:pt x="12" y="55"/>
                    </a:cubicBezTo>
                    <a:cubicBezTo>
                      <a:pt x="8" y="55"/>
                      <a:pt x="5" y="52"/>
                      <a:pt x="5" y="48"/>
                    </a:cubicBezTo>
                    <a:cubicBezTo>
                      <a:pt x="5" y="13"/>
                      <a:pt x="5" y="13"/>
                      <a:pt x="5" y="13"/>
                    </a:cubicBezTo>
                    <a:cubicBezTo>
                      <a:pt x="5" y="9"/>
                      <a:pt x="8" y="6"/>
                      <a:pt x="12" y="6"/>
                    </a:cubicBezTo>
                    <a:cubicBezTo>
                      <a:pt x="32" y="6"/>
                      <a:pt x="32" y="6"/>
                      <a:pt x="32" y="6"/>
                    </a:cubicBezTo>
                    <a:cubicBezTo>
                      <a:pt x="36" y="6"/>
                      <a:pt x="40" y="9"/>
                      <a:pt x="40" y="13"/>
                    </a:cubicBezTo>
                    <a:lnTo>
                      <a:pt x="40" y="48"/>
                    </a:lnTo>
                    <a:close/>
                  </a:path>
                </a:pathLst>
              </a:custGeom>
              <a:solidFill>
                <a:srgbClr val="DA1F28">
                  <a:alpha val="20000"/>
                </a:srgbClr>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10" name="Freeform 118"/>
              <p:cNvSpPr>
                <a:spLocks noEditPoints="1"/>
              </p:cNvSpPr>
              <p:nvPr/>
            </p:nvSpPr>
            <p:spPr bwMode="auto">
              <a:xfrm>
                <a:off x="586335" y="1287047"/>
                <a:ext cx="377187" cy="580291"/>
              </a:xfrm>
              <a:custGeom>
                <a:gdLst>
                  <a:gd fmla="*/ 35 w 44" name="T0"/>
                  <a:gd fmla="*/ 0 h 68" name="T1"/>
                  <a:gd fmla="*/ 10 w 44" name="T2"/>
                  <a:gd fmla="*/ 0 h 68" name="T3"/>
                  <a:gd fmla="*/ 0 w 44" name="T4"/>
                  <a:gd fmla="*/ 9 h 68" name="T5"/>
                  <a:gd fmla="*/ 0 w 44" name="T6"/>
                  <a:gd fmla="*/ 59 h 68" name="T7"/>
                  <a:gd fmla="*/ 10 w 44" name="T8"/>
                  <a:gd fmla="*/ 68 h 68" name="T9"/>
                  <a:gd fmla="*/ 35 w 44" name="T10"/>
                  <a:gd fmla="*/ 68 h 68" name="T11"/>
                  <a:gd fmla="*/ 44 w 44" name="T12"/>
                  <a:gd fmla="*/ 59 h 68" name="T13"/>
                  <a:gd fmla="*/ 44 w 44" name="T14"/>
                  <a:gd fmla="*/ 9 h 68" name="T15"/>
                  <a:gd fmla="*/ 35 w 44" name="T16"/>
                  <a:gd fmla="*/ 0 h 68" name="T17"/>
                  <a:gd fmla="*/ 22 w 44" name="T18"/>
                  <a:gd fmla="*/ 65 h 68" name="T19"/>
                  <a:gd fmla="*/ 18 w 44" name="T20"/>
                  <a:gd fmla="*/ 61 h 68" name="T21"/>
                  <a:gd fmla="*/ 22 w 44" name="T22"/>
                  <a:gd fmla="*/ 57 h 68" name="T23"/>
                  <a:gd fmla="*/ 26 w 44" name="T24"/>
                  <a:gd fmla="*/ 61 h 68" name="T25"/>
                  <a:gd fmla="*/ 22 w 44" name="T26"/>
                  <a:gd fmla="*/ 65 h 68" name="T27"/>
                  <a:gd fmla="*/ 40 w 44" name="T28"/>
                  <a:gd fmla="*/ 48 h 68" name="T29"/>
                  <a:gd fmla="*/ 33 w 44" name="T30"/>
                  <a:gd fmla="*/ 55 h 68" name="T31"/>
                  <a:gd fmla="*/ 12 w 44" name="T32"/>
                  <a:gd fmla="*/ 55 h 68" name="T33"/>
                  <a:gd fmla="*/ 5 w 44" name="T34"/>
                  <a:gd fmla="*/ 48 h 68" name="T35"/>
                  <a:gd fmla="*/ 5 w 44" name="T36"/>
                  <a:gd fmla="*/ 13 h 68" name="T37"/>
                  <a:gd fmla="*/ 12 w 44" name="T38"/>
                  <a:gd fmla="*/ 6 h 68" name="T39"/>
                  <a:gd fmla="*/ 33 w 44" name="T40"/>
                  <a:gd fmla="*/ 6 h 68" name="T41"/>
                  <a:gd fmla="*/ 40 w 44" name="T42"/>
                  <a:gd fmla="*/ 13 h 68" name="T43"/>
                  <a:gd fmla="*/ 40 w 44" name="T44"/>
                  <a:gd fmla="*/ 48 h 68" name="T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68" w="44">
                    <a:moveTo>
                      <a:pt x="35" y="0"/>
                    </a:moveTo>
                    <a:cubicBezTo>
                      <a:pt x="10" y="0"/>
                      <a:pt x="10" y="0"/>
                      <a:pt x="10" y="0"/>
                    </a:cubicBezTo>
                    <a:cubicBezTo>
                      <a:pt x="5" y="0"/>
                      <a:pt x="0" y="4"/>
                      <a:pt x="0" y="9"/>
                    </a:cubicBezTo>
                    <a:cubicBezTo>
                      <a:pt x="0" y="59"/>
                      <a:pt x="0" y="59"/>
                      <a:pt x="0" y="59"/>
                    </a:cubicBezTo>
                    <a:cubicBezTo>
                      <a:pt x="0" y="64"/>
                      <a:pt x="5" y="68"/>
                      <a:pt x="10" y="68"/>
                    </a:cubicBezTo>
                    <a:cubicBezTo>
                      <a:pt x="35" y="68"/>
                      <a:pt x="35" y="68"/>
                      <a:pt x="35" y="68"/>
                    </a:cubicBezTo>
                    <a:cubicBezTo>
                      <a:pt x="40" y="68"/>
                      <a:pt x="44" y="64"/>
                      <a:pt x="44" y="59"/>
                    </a:cubicBezTo>
                    <a:cubicBezTo>
                      <a:pt x="44" y="9"/>
                      <a:pt x="44" y="9"/>
                      <a:pt x="44" y="9"/>
                    </a:cubicBezTo>
                    <a:cubicBezTo>
                      <a:pt x="44" y="4"/>
                      <a:pt x="40" y="0"/>
                      <a:pt x="35" y="0"/>
                    </a:cubicBezTo>
                    <a:close/>
                    <a:moveTo>
                      <a:pt x="22" y="65"/>
                    </a:moveTo>
                    <a:cubicBezTo>
                      <a:pt x="20" y="65"/>
                      <a:pt x="18" y="63"/>
                      <a:pt x="18" y="61"/>
                    </a:cubicBezTo>
                    <a:cubicBezTo>
                      <a:pt x="18" y="59"/>
                      <a:pt x="20" y="57"/>
                      <a:pt x="22" y="57"/>
                    </a:cubicBezTo>
                    <a:cubicBezTo>
                      <a:pt x="25" y="57"/>
                      <a:pt x="26" y="59"/>
                      <a:pt x="26" y="61"/>
                    </a:cubicBezTo>
                    <a:cubicBezTo>
                      <a:pt x="26" y="63"/>
                      <a:pt x="25" y="65"/>
                      <a:pt x="22" y="65"/>
                    </a:cubicBezTo>
                    <a:close/>
                    <a:moveTo>
                      <a:pt x="40" y="48"/>
                    </a:moveTo>
                    <a:cubicBezTo>
                      <a:pt x="40" y="51"/>
                      <a:pt x="37" y="55"/>
                      <a:pt x="33" y="55"/>
                    </a:cubicBezTo>
                    <a:cubicBezTo>
                      <a:pt x="12" y="55"/>
                      <a:pt x="12" y="55"/>
                      <a:pt x="12" y="55"/>
                    </a:cubicBezTo>
                    <a:cubicBezTo>
                      <a:pt x="8" y="55"/>
                      <a:pt x="5" y="51"/>
                      <a:pt x="5" y="48"/>
                    </a:cubicBezTo>
                    <a:cubicBezTo>
                      <a:pt x="5" y="13"/>
                      <a:pt x="5" y="13"/>
                      <a:pt x="5" y="13"/>
                    </a:cubicBezTo>
                    <a:cubicBezTo>
                      <a:pt x="5" y="9"/>
                      <a:pt x="8" y="6"/>
                      <a:pt x="12" y="6"/>
                    </a:cubicBezTo>
                    <a:cubicBezTo>
                      <a:pt x="33" y="6"/>
                      <a:pt x="33" y="6"/>
                      <a:pt x="33" y="6"/>
                    </a:cubicBezTo>
                    <a:cubicBezTo>
                      <a:pt x="37" y="6"/>
                      <a:pt x="40" y="9"/>
                      <a:pt x="40" y="13"/>
                    </a:cubicBezTo>
                    <a:lnTo>
                      <a:pt x="40" y="48"/>
                    </a:lnTo>
                    <a:close/>
                  </a:path>
                </a:pathLst>
              </a:custGeom>
              <a:solidFill>
                <a:srgbClr val="DA1F28"/>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grpSp>
      <p:grpSp>
        <p:nvGrpSpPr>
          <p:cNvPr id="11" name="组合 10"/>
          <p:cNvGrpSpPr/>
          <p:nvPr/>
        </p:nvGrpSpPr>
        <p:grpSpPr>
          <a:xfrm>
            <a:off x="3421627" y="3033164"/>
            <a:ext cx="1353751" cy="1353751"/>
            <a:chOff x="2056124" y="2695699"/>
            <a:chExt cx="736270" cy="736270"/>
          </a:xfrm>
        </p:grpSpPr>
        <p:sp useBgFill="1">
          <p:nvSpPr>
            <p:cNvPr id="12" name="椭圆 11"/>
            <p:cNvSpPr/>
            <p:nvPr/>
          </p:nvSpPr>
          <p:spPr>
            <a:xfrm>
              <a:off x="2056124" y="2695699"/>
              <a:ext cx="736270" cy="736270"/>
            </a:xfrm>
            <a:prstGeom prst="ellipse">
              <a:avLst/>
            </a:prstGeom>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13" name="组合 12"/>
            <p:cNvGrpSpPr/>
            <p:nvPr/>
          </p:nvGrpSpPr>
          <p:grpSpPr>
            <a:xfrm>
              <a:off x="2255771" y="2816366"/>
              <a:ext cx="331572" cy="485230"/>
              <a:chOff x="-656704" y="2825656"/>
              <a:chExt cx="446097" cy="652828"/>
            </a:xfrm>
          </p:grpSpPr>
          <p:sp>
            <p:nvSpPr>
              <p:cNvPr id="14" name="Freeform 150"/>
              <p:cNvSpPr>
                <a:spLocks noEditPoints="1"/>
              </p:cNvSpPr>
              <p:nvPr/>
            </p:nvSpPr>
            <p:spPr bwMode="auto">
              <a:xfrm>
                <a:off x="-562407" y="2832910"/>
                <a:ext cx="246622" cy="413458"/>
              </a:xfrm>
              <a:custGeom>
                <a:gdLst>
                  <a:gd fmla="*/ 13 w 29" name="T0"/>
                  <a:gd fmla="*/ 48 h 48" name="T1"/>
                  <a:gd fmla="*/ 16 w 29" name="T2"/>
                  <a:gd fmla="*/ 48 h 48" name="T3"/>
                  <a:gd fmla="*/ 29 w 29" name="T4"/>
                  <a:gd fmla="*/ 37 h 48" name="T5"/>
                  <a:gd fmla="*/ 29 w 29" name="T6"/>
                  <a:gd fmla="*/ 24 h 48" name="T7"/>
                  <a:gd fmla="*/ 29 w 29" name="T8"/>
                  <a:gd fmla="*/ 22 h 48" name="T9"/>
                  <a:gd fmla="*/ 29 w 29" name="T10"/>
                  <a:gd fmla="*/ 12 h 48" name="T11"/>
                  <a:gd fmla="*/ 16 w 29" name="T12"/>
                  <a:gd fmla="*/ 0 h 48" name="T13"/>
                  <a:gd fmla="*/ 13 w 29" name="T14"/>
                  <a:gd fmla="*/ 0 h 48" name="T15"/>
                  <a:gd fmla="*/ 0 w 29" name="T16"/>
                  <a:gd fmla="*/ 12 h 48" name="T17"/>
                  <a:gd fmla="*/ 0 w 29" name="T18"/>
                  <a:gd fmla="*/ 22 h 48" name="T19"/>
                  <a:gd fmla="*/ 0 w 29" name="T20"/>
                  <a:gd fmla="*/ 24 h 48" name="T21"/>
                  <a:gd fmla="*/ 0 w 29" name="T22"/>
                  <a:gd fmla="*/ 37 h 48" name="T23"/>
                  <a:gd fmla="*/ 13 w 29" name="T24"/>
                  <a:gd fmla="*/ 48 h 48" name="T25"/>
                  <a:gd fmla="*/ 27 w 29" name="T26"/>
                  <a:gd fmla="*/ 37 h 48" name="T27"/>
                  <a:gd fmla="*/ 16 w 29" name="T28"/>
                  <a:gd fmla="*/ 46 h 48" name="T29"/>
                  <a:gd fmla="*/ 13 w 29" name="T30"/>
                  <a:gd fmla="*/ 46 h 48" name="T31"/>
                  <a:gd fmla="*/ 2 w 29" name="T32"/>
                  <a:gd fmla="*/ 37 h 48" name="T33"/>
                  <a:gd fmla="*/ 2 w 29" name="T34"/>
                  <a:gd fmla="*/ 25 h 48" name="T35"/>
                  <a:gd fmla="*/ 27 w 29" name="T36"/>
                  <a:gd fmla="*/ 25 h 48" name="T37"/>
                  <a:gd fmla="*/ 27 w 29" name="T38"/>
                  <a:gd fmla="*/ 37 h 48"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48" w="28">
                    <a:moveTo>
                      <a:pt x="13" y="48"/>
                    </a:moveTo>
                    <a:cubicBezTo>
                      <a:pt x="16" y="48"/>
                      <a:pt x="16" y="48"/>
                      <a:pt x="16" y="48"/>
                    </a:cubicBezTo>
                    <a:cubicBezTo>
                      <a:pt x="23" y="48"/>
                      <a:pt x="29" y="43"/>
                      <a:pt x="29" y="37"/>
                    </a:cubicBezTo>
                    <a:cubicBezTo>
                      <a:pt x="29" y="24"/>
                      <a:pt x="29" y="24"/>
                      <a:pt x="29" y="24"/>
                    </a:cubicBezTo>
                    <a:cubicBezTo>
                      <a:pt x="29" y="24"/>
                      <a:pt x="29" y="23"/>
                      <a:pt x="29" y="22"/>
                    </a:cubicBezTo>
                    <a:cubicBezTo>
                      <a:pt x="29" y="12"/>
                      <a:pt x="29" y="12"/>
                      <a:pt x="29" y="12"/>
                    </a:cubicBezTo>
                    <a:cubicBezTo>
                      <a:pt x="29" y="5"/>
                      <a:pt x="23" y="0"/>
                      <a:pt x="16" y="0"/>
                    </a:cubicBezTo>
                    <a:cubicBezTo>
                      <a:pt x="13" y="0"/>
                      <a:pt x="13" y="0"/>
                      <a:pt x="13" y="0"/>
                    </a:cubicBezTo>
                    <a:cubicBezTo>
                      <a:pt x="5" y="0"/>
                      <a:pt x="0" y="5"/>
                      <a:pt x="0" y="12"/>
                    </a:cubicBezTo>
                    <a:cubicBezTo>
                      <a:pt x="0" y="22"/>
                      <a:pt x="0" y="22"/>
                      <a:pt x="0" y="22"/>
                    </a:cubicBezTo>
                    <a:cubicBezTo>
                      <a:pt x="0" y="23"/>
                      <a:pt x="0" y="24"/>
                      <a:pt x="0" y="24"/>
                    </a:cubicBezTo>
                    <a:cubicBezTo>
                      <a:pt x="0" y="37"/>
                      <a:pt x="0" y="37"/>
                      <a:pt x="0" y="37"/>
                    </a:cubicBezTo>
                    <a:cubicBezTo>
                      <a:pt x="0" y="43"/>
                      <a:pt x="5" y="48"/>
                      <a:pt x="13" y="48"/>
                    </a:cubicBezTo>
                    <a:close/>
                    <a:moveTo>
                      <a:pt x="27" y="37"/>
                    </a:moveTo>
                    <a:cubicBezTo>
                      <a:pt x="27" y="42"/>
                      <a:pt x="22" y="46"/>
                      <a:pt x="16" y="46"/>
                    </a:cubicBezTo>
                    <a:cubicBezTo>
                      <a:pt x="13" y="46"/>
                      <a:pt x="13" y="46"/>
                      <a:pt x="13" y="46"/>
                    </a:cubicBezTo>
                    <a:cubicBezTo>
                      <a:pt x="7" y="46"/>
                      <a:pt x="2" y="42"/>
                      <a:pt x="2" y="37"/>
                    </a:cubicBezTo>
                    <a:cubicBezTo>
                      <a:pt x="2" y="25"/>
                      <a:pt x="2" y="25"/>
                      <a:pt x="2" y="25"/>
                    </a:cubicBezTo>
                    <a:cubicBezTo>
                      <a:pt x="27" y="25"/>
                      <a:pt x="27" y="25"/>
                      <a:pt x="27" y="25"/>
                    </a:cubicBezTo>
                    <a:lnTo>
                      <a:pt x="27" y="37"/>
                    </a:lnTo>
                    <a:close/>
                  </a:path>
                </a:pathLst>
              </a:custGeom>
              <a:solidFill>
                <a:srgbClr val="DA1F28">
                  <a:alpha val="20000"/>
                </a:srgbClr>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15" name="Freeform 151"/>
              <p:cNvSpPr/>
              <p:nvPr/>
            </p:nvSpPr>
            <p:spPr bwMode="auto">
              <a:xfrm>
                <a:off x="-656704" y="3133936"/>
                <a:ext cx="435216" cy="344548"/>
              </a:xfrm>
              <a:custGeom>
                <a:gdLst>
                  <a:gd fmla="*/ 51 w 51" name="T0"/>
                  <a:gd fmla="*/ 2 h 40" name="T1"/>
                  <a:gd fmla="*/ 48 w 51" name="T2"/>
                  <a:gd fmla="*/ 0 h 40" name="T3"/>
                  <a:gd fmla="*/ 45 w 51" name="T4"/>
                  <a:gd fmla="*/ 2 h 40" name="T5"/>
                  <a:gd fmla="*/ 25 w 51" name="T6"/>
                  <a:gd fmla="*/ 22 h 40" name="T7"/>
                  <a:gd fmla="*/ 5 w 51" name="T8"/>
                  <a:gd fmla="*/ 2 h 40" name="T9"/>
                  <a:gd fmla="*/ 3 w 51" name="T10"/>
                  <a:gd fmla="*/ 0 h 40" name="T11"/>
                  <a:gd fmla="*/ 0 w 51" name="T12"/>
                  <a:gd fmla="*/ 2 h 40" name="T13"/>
                  <a:gd fmla="*/ 23 w 51" name="T14"/>
                  <a:gd fmla="*/ 27 h 40" name="T15"/>
                  <a:gd fmla="*/ 23 w 51" name="T16"/>
                  <a:gd fmla="*/ 35 h 40" name="T17"/>
                  <a:gd fmla="*/ 10 w 51" name="T18"/>
                  <a:gd fmla="*/ 35 h 40" name="T19"/>
                  <a:gd fmla="*/ 7 w 51" name="T20"/>
                  <a:gd fmla="*/ 38 h 40" name="T21"/>
                  <a:gd fmla="*/ 10 w 51" name="T22"/>
                  <a:gd fmla="*/ 40 h 40" name="T23"/>
                  <a:gd fmla="*/ 41 w 51" name="T24"/>
                  <a:gd fmla="*/ 40 h 40" name="T25"/>
                  <a:gd fmla="*/ 43 w 51" name="T26"/>
                  <a:gd fmla="*/ 38 h 40" name="T27"/>
                  <a:gd fmla="*/ 41 w 51" name="T28"/>
                  <a:gd fmla="*/ 35 h 40" name="T29"/>
                  <a:gd fmla="*/ 28 w 51" name="T30"/>
                  <a:gd fmla="*/ 35 h 40" name="T31"/>
                  <a:gd fmla="*/ 28 w 51" name="T32"/>
                  <a:gd fmla="*/ 27 h 40" name="T33"/>
                  <a:gd fmla="*/ 51 w 51" name="T34"/>
                  <a:gd fmla="*/ 2 h 40"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40" w="51">
                    <a:moveTo>
                      <a:pt x="51" y="2"/>
                    </a:moveTo>
                    <a:cubicBezTo>
                      <a:pt x="51" y="1"/>
                      <a:pt x="49" y="0"/>
                      <a:pt x="48" y="0"/>
                    </a:cubicBezTo>
                    <a:cubicBezTo>
                      <a:pt x="47" y="0"/>
                      <a:pt x="45" y="1"/>
                      <a:pt x="45" y="2"/>
                    </a:cubicBezTo>
                    <a:cubicBezTo>
                      <a:pt x="45" y="13"/>
                      <a:pt x="36" y="22"/>
                      <a:pt x="25" y="22"/>
                    </a:cubicBezTo>
                    <a:cubicBezTo>
                      <a:pt x="14" y="22"/>
                      <a:pt x="5" y="13"/>
                      <a:pt x="5" y="2"/>
                    </a:cubicBezTo>
                    <a:cubicBezTo>
                      <a:pt x="5" y="1"/>
                      <a:pt x="4" y="0"/>
                      <a:pt x="3" y="0"/>
                    </a:cubicBezTo>
                    <a:cubicBezTo>
                      <a:pt x="1" y="0"/>
                      <a:pt x="0" y="1"/>
                      <a:pt x="0" y="2"/>
                    </a:cubicBezTo>
                    <a:cubicBezTo>
                      <a:pt x="0" y="15"/>
                      <a:pt x="10" y="26"/>
                      <a:pt x="23" y="27"/>
                    </a:cubicBezTo>
                    <a:cubicBezTo>
                      <a:pt x="23" y="35"/>
                      <a:pt x="23" y="35"/>
                      <a:pt x="23" y="35"/>
                    </a:cubicBezTo>
                    <a:cubicBezTo>
                      <a:pt x="10" y="35"/>
                      <a:pt x="10" y="35"/>
                      <a:pt x="10" y="35"/>
                    </a:cubicBezTo>
                    <a:cubicBezTo>
                      <a:pt x="9" y="35"/>
                      <a:pt x="7" y="36"/>
                      <a:pt x="7" y="38"/>
                    </a:cubicBezTo>
                    <a:cubicBezTo>
                      <a:pt x="7" y="39"/>
                      <a:pt x="9" y="40"/>
                      <a:pt x="10" y="40"/>
                    </a:cubicBezTo>
                    <a:cubicBezTo>
                      <a:pt x="41" y="40"/>
                      <a:pt x="41" y="40"/>
                      <a:pt x="41" y="40"/>
                    </a:cubicBezTo>
                    <a:cubicBezTo>
                      <a:pt x="42" y="40"/>
                      <a:pt x="43" y="39"/>
                      <a:pt x="43" y="38"/>
                    </a:cubicBezTo>
                    <a:cubicBezTo>
                      <a:pt x="43" y="36"/>
                      <a:pt x="42" y="35"/>
                      <a:pt x="41" y="35"/>
                    </a:cubicBezTo>
                    <a:cubicBezTo>
                      <a:pt x="28" y="35"/>
                      <a:pt x="28" y="35"/>
                      <a:pt x="28" y="35"/>
                    </a:cubicBezTo>
                    <a:cubicBezTo>
                      <a:pt x="28" y="27"/>
                      <a:pt x="28" y="27"/>
                      <a:pt x="28" y="27"/>
                    </a:cubicBezTo>
                    <a:cubicBezTo>
                      <a:pt x="41" y="26"/>
                      <a:pt x="51" y="15"/>
                      <a:pt x="51" y="2"/>
                    </a:cubicBezTo>
                    <a:close/>
                  </a:path>
                </a:pathLst>
              </a:custGeom>
              <a:solidFill>
                <a:srgbClr val="DA1F28">
                  <a:alpha val="20000"/>
                </a:srgbClr>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16" name="Freeform 152"/>
              <p:cNvSpPr>
                <a:spLocks noEditPoints="1"/>
              </p:cNvSpPr>
              <p:nvPr/>
            </p:nvSpPr>
            <p:spPr bwMode="auto">
              <a:xfrm>
                <a:off x="-555153" y="2825656"/>
                <a:ext cx="250249" cy="409831"/>
              </a:xfrm>
              <a:custGeom>
                <a:gdLst>
                  <a:gd fmla="*/ 13 w 29" name="T0"/>
                  <a:gd fmla="*/ 48 h 48" name="T1"/>
                  <a:gd fmla="*/ 16 w 29" name="T2"/>
                  <a:gd fmla="*/ 48 h 48" name="T3"/>
                  <a:gd fmla="*/ 29 w 29" name="T4"/>
                  <a:gd fmla="*/ 36 h 48" name="T5"/>
                  <a:gd fmla="*/ 29 w 29" name="T6"/>
                  <a:gd fmla="*/ 24 h 48" name="T7"/>
                  <a:gd fmla="*/ 29 w 29" name="T8"/>
                  <a:gd fmla="*/ 22 h 48" name="T9"/>
                  <a:gd fmla="*/ 29 w 29" name="T10"/>
                  <a:gd fmla="*/ 12 h 48" name="T11"/>
                  <a:gd fmla="*/ 16 w 29" name="T12"/>
                  <a:gd fmla="*/ 0 h 48" name="T13"/>
                  <a:gd fmla="*/ 13 w 29" name="T14"/>
                  <a:gd fmla="*/ 0 h 48" name="T15"/>
                  <a:gd fmla="*/ 0 w 29" name="T16"/>
                  <a:gd fmla="*/ 12 h 48" name="T17"/>
                  <a:gd fmla="*/ 0 w 29" name="T18"/>
                  <a:gd fmla="*/ 22 h 48" name="T19"/>
                  <a:gd fmla="*/ 0 w 29" name="T20"/>
                  <a:gd fmla="*/ 24 h 48" name="T21"/>
                  <a:gd fmla="*/ 0 w 29" name="T22"/>
                  <a:gd fmla="*/ 36 h 48" name="T23"/>
                  <a:gd fmla="*/ 13 w 29" name="T24"/>
                  <a:gd fmla="*/ 48 h 48" name="T25"/>
                  <a:gd fmla="*/ 27 w 29" name="T26"/>
                  <a:gd fmla="*/ 36 h 48" name="T27"/>
                  <a:gd fmla="*/ 16 w 29" name="T28"/>
                  <a:gd fmla="*/ 46 h 48" name="T29"/>
                  <a:gd fmla="*/ 13 w 29" name="T30"/>
                  <a:gd fmla="*/ 46 h 48" name="T31"/>
                  <a:gd fmla="*/ 2 w 29" name="T32"/>
                  <a:gd fmla="*/ 36 h 48" name="T33"/>
                  <a:gd fmla="*/ 2 w 29" name="T34"/>
                  <a:gd fmla="*/ 25 h 48" name="T35"/>
                  <a:gd fmla="*/ 27 w 29" name="T36"/>
                  <a:gd fmla="*/ 25 h 48" name="T37"/>
                  <a:gd fmla="*/ 27 w 29" name="T38"/>
                  <a:gd fmla="*/ 36 h 48"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48" w="28">
                    <a:moveTo>
                      <a:pt x="13" y="48"/>
                    </a:moveTo>
                    <a:cubicBezTo>
                      <a:pt x="16" y="48"/>
                      <a:pt x="16" y="48"/>
                      <a:pt x="16" y="48"/>
                    </a:cubicBezTo>
                    <a:cubicBezTo>
                      <a:pt x="23" y="48"/>
                      <a:pt x="29" y="43"/>
                      <a:pt x="29" y="36"/>
                    </a:cubicBezTo>
                    <a:cubicBezTo>
                      <a:pt x="29" y="24"/>
                      <a:pt x="29" y="24"/>
                      <a:pt x="29" y="24"/>
                    </a:cubicBezTo>
                    <a:cubicBezTo>
                      <a:pt x="29" y="24"/>
                      <a:pt x="29" y="23"/>
                      <a:pt x="29" y="22"/>
                    </a:cubicBezTo>
                    <a:cubicBezTo>
                      <a:pt x="29" y="12"/>
                      <a:pt x="29" y="12"/>
                      <a:pt x="29" y="12"/>
                    </a:cubicBezTo>
                    <a:cubicBezTo>
                      <a:pt x="29" y="5"/>
                      <a:pt x="23" y="0"/>
                      <a:pt x="16" y="0"/>
                    </a:cubicBezTo>
                    <a:cubicBezTo>
                      <a:pt x="13" y="0"/>
                      <a:pt x="13" y="0"/>
                      <a:pt x="13" y="0"/>
                    </a:cubicBezTo>
                    <a:cubicBezTo>
                      <a:pt x="6" y="0"/>
                      <a:pt x="0" y="5"/>
                      <a:pt x="0" y="12"/>
                    </a:cubicBezTo>
                    <a:cubicBezTo>
                      <a:pt x="0" y="22"/>
                      <a:pt x="0" y="22"/>
                      <a:pt x="0" y="22"/>
                    </a:cubicBezTo>
                    <a:cubicBezTo>
                      <a:pt x="0" y="23"/>
                      <a:pt x="0" y="24"/>
                      <a:pt x="0" y="24"/>
                    </a:cubicBezTo>
                    <a:cubicBezTo>
                      <a:pt x="0" y="36"/>
                      <a:pt x="0" y="36"/>
                      <a:pt x="0" y="36"/>
                    </a:cubicBezTo>
                    <a:cubicBezTo>
                      <a:pt x="0" y="43"/>
                      <a:pt x="6" y="48"/>
                      <a:pt x="13" y="48"/>
                    </a:cubicBezTo>
                    <a:close/>
                    <a:moveTo>
                      <a:pt x="27" y="36"/>
                    </a:moveTo>
                    <a:cubicBezTo>
                      <a:pt x="27" y="42"/>
                      <a:pt x="22" y="46"/>
                      <a:pt x="16" y="46"/>
                    </a:cubicBezTo>
                    <a:cubicBezTo>
                      <a:pt x="13" y="46"/>
                      <a:pt x="13" y="46"/>
                      <a:pt x="13" y="46"/>
                    </a:cubicBezTo>
                    <a:cubicBezTo>
                      <a:pt x="7" y="46"/>
                      <a:pt x="2" y="42"/>
                      <a:pt x="2" y="36"/>
                    </a:cubicBezTo>
                    <a:cubicBezTo>
                      <a:pt x="2" y="25"/>
                      <a:pt x="2" y="25"/>
                      <a:pt x="2" y="25"/>
                    </a:cubicBezTo>
                    <a:cubicBezTo>
                      <a:pt x="27" y="25"/>
                      <a:pt x="27" y="25"/>
                      <a:pt x="27" y="25"/>
                    </a:cubicBezTo>
                    <a:lnTo>
                      <a:pt x="27" y="36"/>
                    </a:lnTo>
                    <a:close/>
                  </a:path>
                </a:pathLst>
              </a:custGeom>
              <a:solidFill>
                <a:srgbClr val="DA1F28"/>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17" name="Freeform 153"/>
              <p:cNvSpPr/>
              <p:nvPr/>
            </p:nvSpPr>
            <p:spPr bwMode="auto">
              <a:xfrm>
                <a:off x="-649450" y="3115802"/>
                <a:ext cx="438843" cy="351802"/>
              </a:xfrm>
              <a:custGeom>
                <a:gdLst>
                  <a:gd fmla="*/ 51 w 51" name="T0"/>
                  <a:gd fmla="*/ 3 h 41" name="T1"/>
                  <a:gd fmla="*/ 48 w 51" name="T2"/>
                  <a:gd fmla="*/ 0 h 41" name="T3"/>
                  <a:gd fmla="*/ 46 w 51" name="T4"/>
                  <a:gd fmla="*/ 3 h 41" name="T5"/>
                  <a:gd fmla="*/ 26 w 51" name="T6"/>
                  <a:gd fmla="*/ 23 h 41" name="T7"/>
                  <a:gd fmla="*/ 6 w 51" name="T8"/>
                  <a:gd fmla="*/ 3 h 41" name="T9"/>
                  <a:gd fmla="*/ 3 w 51" name="T10"/>
                  <a:gd fmla="*/ 0 h 41" name="T11"/>
                  <a:gd fmla="*/ 0 w 51" name="T12"/>
                  <a:gd fmla="*/ 3 h 41" name="T13"/>
                  <a:gd fmla="*/ 23 w 51" name="T14"/>
                  <a:gd fmla="*/ 28 h 41" name="T15"/>
                  <a:gd fmla="*/ 23 w 51" name="T16"/>
                  <a:gd fmla="*/ 36 h 41" name="T17"/>
                  <a:gd fmla="*/ 10 w 51" name="T18"/>
                  <a:gd fmla="*/ 36 h 41" name="T19"/>
                  <a:gd fmla="*/ 8 w 51" name="T20"/>
                  <a:gd fmla="*/ 39 h 41" name="T21"/>
                  <a:gd fmla="*/ 10 w 51" name="T22"/>
                  <a:gd fmla="*/ 41 h 41" name="T23"/>
                  <a:gd fmla="*/ 41 w 51" name="T24"/>
                  <a:gd fmla="*/ 41 h 41" name="T25"/>
                  <a:gd fmla="*/ 43 w 51" name="T26"/>
                  <a:gd fmla="*/ 39 h 41" name="T27"/>
                  <a:gd fmla="*/ 41 w 51" name="T28"/>
                  <a:gd fmla="*/ 36 h 41" name="T29"/>
                  <a:gd fmla="*/ 28 w 51" name="T30"/>
                  <a:gd fmla="*/ 36 h 41" name="T31"/>
                  <a:gd fmla="*/ 28 w 51" name="T32"/>
                  <a:gd fmla="*/ 28 h 41" name="T33"/>
                  <a:gd fmla="*/ 51 w 51" name="T34"/>
                  <a:gd fmla="*/ 3 h 41"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41" w="51">
                    <a:moveTo>
                      <a:pt x="51" y="3"/>
                    </a:moveTo>
                    <a:cubicBezTo>
                      <a:pt x="51" y="1"/>
                      <a:pt x="50" y="0"/>
                      <a:pt x="48" y="0"/>
                    </a:cubicBezTo>
                    <a:cubicBezTo>
                      <a:pt x="47" y="0"/>
                      <a:pt x="46" y="1"/>
                      <a:pt x="46" y="3"/>
                    </a:cubicBezTo>
                    <a:cubicBezTo>
                      <a:pt x="46" y="14"/>
                      <a:pt x="37" y="23"/>
                      <a:pt x="26" y="23"/>
                    </a:cubicBezTo>
                    <a:cubicBezTo>
                      <a:pt x="14" y="23"/>
                      <a:pt x="6" y="14"/>
                      <a:pt x="6" y="3"/>
                    </a:cubicBezTo>
                    <a:cubicBezTo>
                      <a:pt x="6" y="1"/>
                      <a:pt x="4" y="0"/>
                      <a:pt x="3" y="0"/>
                    </a:cubicBezTo>
                    <a:cubicBezTo>
                      <a:pt x="1" y="0"/>
                      <a:pt x="0" y="1"/>
                      <a:pt x="0" y="3"/>
                    </a:cubicBezTo>
                    <a:cubicBezTo>
                      <a:pt x="0" y="16"/>
                      <a:pt x="10" y="27"/>
                      <a:pt x="23" y="28"/>
                    </a:cubicBezTo>
                    <a:cubicBezTo>
                      <a:pt x="23" y="36"/>
                      <a:pt x="23" y="36"/>
                      <a:pt x="23" y="36"/>
                    </a:cubicBezTo>
                    <a:cubicBezTo>
                      <a:pt x="10" y="36"/>
                      <a:pt x="10" y="36"/>
                      <a:pt x="10" y="36"/>
                    </a:cubicBezTo>
                    <a:cubicBezTo>
                      <a:pt x="9" y="36"/>
                      <a:pt x="8" y="37"/>
                      <a:pt x="8" y="39"/>
                    </a:cubicBezTo>
                    <a:cubicBezTo>
                      <a:pt x="8" y="40"/>
                      <a:pt x="9" y="41"/>
                      <a:pt x="10" y="41"/>
                    </a:cubicBezTo>
                    <a:cubicBezTo>
                      <a:pt x="41" y="41"/>
                      <a:pt x="41" y="41"/>
                      <a:pt x="41" y="41"/>
                    </a:cubicBezTo>
                    <a:cubicBezTo>
                      <a:pt x="42" y="41"/>
                      <a:pt x="43" y="40"/>
                      <a:pt x="43" y="39"/>
                    </a:cubicBezTo>
                    <a:cubicBezTo>
                      <a:pt x="43" y="37"/>
                      <a:pt x="42" y="36"/>
                      <a:pt x="41" y="36"/>
                    </a:cubicBezTo>
                    <a:cubicBezTo>
                      <a:pt x="28" y="36"/>
                      <a:pt x="28" y="36"/>
                      <a:pt x="28" y="36"/>
                    </a:cubicBezTo>
                    <a:cubicBezTo>
                      <a:pt x="28" y="28"/>
                      <a:pt x="28" y="28"/>
                      <a:pt x="28" y="28"/>
                    </a:cubicBezTo>
                    <a:cubicBezTo>
                      <a:pt x="41" y="27"/>
                      <a:pt x="51" y="16"/>
                      <a:pt x="51" y="3"/>
                    </a:cubicBezTo>
                    <a:close/>
                  </a:path>
                </a:pathLst>
              </a:custGeom>
              <a:solidFill>
                <a:srgbClr val="DA1F28"/>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grpSp>
      <p:grpSp>
        <p:nvGrpSpPr>
          <p:cNvPr id="18" name="组合 17"/>
          <p:cNvGrpSpPr/>
          <p:nvPr/>
        </p:nvGrpSpPr>
        <p:grpSpPr>
          <a:xfrm>
            <a:off x="5758345" y="3033164"/>
            <a:ext cx="1353751" cy="1353751"/>
            <a:chOff x="3673514" y="2695699"/>
            <a:chExt cx="736270" cy="736270"/>
          </a:xfrm>
        </p:grpSpPr>
        <p:sp useBgFill="1">
          <p:nvSpPr>
            <p:cNvPr id="19" name="椭圆 18"/>
            <p:cNvSpPr/>
            <p:nvPr/>
          </p:nvSpPr>
          <p:spPr>
            <a:xfrm>
              <a:off x="3673514" y="2695699"/>
              <a:ext cx="736270" cy="736270"/>
            </a:xfrm>
            <a:prstGeom prst="ellipse">
              <a:avLst/>
            </a:prstGeom>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0" name="Freeform 128"/>
            <p:cNvSpPr>
              <a:spLocks noEditPoints="1"/>
            </p:cNvSpPr>
            <p:nvPr/>
          </p:nvSpPr>
          <p:spPr bwMode="auto">
            <a:xfrm>
              <a:off x="3889993" y="2826190"/>
              <a:ext cx="320350" cy="441833"/>
            </a:xfrm>
            <a:custGeom>
              <a:gdLst>
                <a:gd fmla="*/ 25 w 49" name="T0"/>
                <a:gd fmla="*/ 23 h 65" name="T1"/>
                <a:gd fmla="*/ 36 w 49" name="T2"/>
                <a:gd fmla="*/ 12 h 65" name="T3"/>
                <a:gd fmla="*/ 25 w 49" name="T4"/>
                <a:gd fmla="*/ 0 h 65" name="T5"/>
                <a:gd fmla="*/ 13 w 49" name="T6"/>
                <a:gd fmla="*/ 12 h 65" name="T7"/>
                <a:gd fmla="*/ 25 w 49" name="T8"/>
                <a:gd fmla="*/ 23 h 65" name="T9"/>
                <a:gd fmla="*/ 32 w 49" name="T10"/>
                <a:gd fmla="*/ 25 h 65" name="T11"/>
                <a:gd fmla="*/ 18 w 49" name="T12"/>
                <a:gd fmla="*/ 25 h 65" name="T13"/>
                <a:gd fmla="*/ 0 w 49" name="T14"/>
                <a:gd fmla="*/ 42 h 65" name="T15"/>
                <a:gd fmla="*/ 0 w 49" name="T16"/>
                <a:gd fmla="*/ 65 h 65" name="T17"/>
                <a:gd fmla="*/ 10 w 49" name="T18"/>
                <a:gd fmla="*/ 65 h 65" name="T19"/>
                <a:gd fmla="*/ 10 w 49" name="T20"/>
                <a:gd fmla="*/ 42 h 65" name="T21"/>
                <a:gd fmla="*/ 14 w 49" name="T22"/>
                <a:gd fmla="*/ 42 h 65" name="T23"/>
                <a:gd fmla="*/ 14 w 49" name="T24"/>
                <a:gd fmla="*/ 65 h 65" name="T25"/>
                <a:gd fmla="*/ 35 w 49" name="T26"/>
                <a:gd fmla="*/ 65 h 65" name="T27"/>
                <a:gd fmla="*/ 35 w 49" name="T28"/>
                <a:gd fmla="*/ 42 h 65" name="T29"/>
                <a:gd fmla="*/ 39 w 49" name="T30"/>
                <a:gd fmla="*/ 42 h 65" name="T31"/>
                <a:gd fmla="*/ 39 w 49" name="T32"/>
                <a:gd fmla="*/ 65 h 65" name="T33"/>
                <a:gd fmla="*/ 49 w 49" name="T34"/>
                <a:gd fmla="*/ 65 h 65" name="T35"/>
                <a:gd fmla="*/ 49 w 49" name="T36"/>
                <a:gd fmla="*/ 42 h 65" name="T37"/>
                <a:gd fmla="*/ 32 w 49" name="T38"/>
                <a:gd fmla="*/ 25 h 65"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65" w="49">
                  <a:moveTo>
                    <a:pt x="25" y="23"/>
                  </a:moveTo>
                  <a:cubicBezTo>
                    <a:pt x="31" y="23"/>
                    <a:pt x="36" y="18"/>
                    <a:pt x="36" y="12"/>
                  </a:cubicBezTo>
                  <a:cubicBezTo>
                    <a:pt x="36" y="5"/>
                    <a:pt x="31" y="0"/>
                    <a:pt x="25" y="0"/>
                  </a:cubicBezTo>
                  <a:cubicBezTo>
                    <a:pt x="19" y="0"/>
                    <a:pt x="13" y="5"/>
                    <a:pt x="13" y="12"/>
                  </a:cubicBezTo>
                  <a:cubicBezTo>
                    <a:pt x="13" y="18"/>
                    <a:pt x="19" y="23"/>
                    <a:pt x="25" y="23"/>
                  </a:cubicBezTo>
                  <a:close/>
                  <a:moveTo>
                    <a:pt x="32" y="25"/>
                  </a:moveTo>
                  <a:cubicBezTo>
                    <a:pt x="18" y="25"/>
                    <a:pt x="18" y="25"/>
                    <a:pt x="18" y="25"/>
                  </a:cubicBezTo>
                  <a:cubicBezTo>
                    <a:pt x="8" y="25"/>
                    <a:pt x="0" y="33"/>
                    <a:pt x="0" y="42"/>
                  </a:cubicBezTo>
                  <a:cubicBezTo>
                    <a:pt x="0" y="65"/>
                    <a:pt x="0" y="65"/>
                    <a:pt x="0" y="65"/>
                  </a:cubicBezTo>
                  <a:cubicBezTo>
                    <a:pt x="10" y="65"/>
                    <a:pt x="10" y="65"/>
                    <a:pt x="10" y="65"/>
                  </a:cubicBezTo>
                  <a:cubicBezTo>
                    <a:pt x="10" y="42"/>
                    <a:pt x="10" y="42"/>
                    <a:pt x="10" y="42"/>
                  </a:cubicBezTo>
                  <a:cubicBezTo>
                    <a:pt x="14" y="42"/>
                    <a:pt x="14" y="42"/>
                    <a:pt x="14" y="42"/>
                  </a:cubicBezTo>
                  <a:cubicBezTo>
                    <a:pt x="14" y="65"/>
                    <a:pt x="14" y="65"/>
                    <a:pt x="14" y="65"/>
                  </a:cubicBezTo>
                  <a:cubicBezTo>
                    <a:pt x="35" y="65"/>
                    <a:pt x="35" y="65"/>
                    <a:pt x="35" y="65"/>
                  </a:cubicBezTo>
                  <a:cubicBezTo>
                    <a:pt x="35" y="42"/>
                    <a:pt x="35" y="42"/>
                    <a:pt x="35" y="42"/>
                  </a:cubicBezTo>
                  <a:cubicBezTo>
                    <a:pt x="39" y="42"/>
                    <a:pt x="39" y="42"/>
                    <a:pt x="39" y="42"/>
                  </a:cubicBezTo>
                  <a:cubicBezTo>
                    <a:pt x="39" y="65"/>
                    <a:pt x="39" y="65"/>
                    <a:pt x="39" y="65"/>
                  </a:cubicBezTo>
                  <a:cubicBezTo>
                    <a:pt x="49" y="65"/>
                    <a:pt x="49" y="65"/>
                    <a:pt x="49" y="65"/>
                  </a:cubicBezTo>
                  <a:cubicBezTo>
                    <a:pt x="49" y="42"/>
                    <a:pt x="49" y="42"/>
                    <a:pt x="49" y="42"/>
                  </a:cubicBezTo>
                  <a:cubicBezTo>
                    <a:pt x="49" y="33"/>
                    <a:pt x="42" y="25"/>
                    <a:pt x="32" y="25"/>
                  </a:cubicBezTo>
                  <a:close/>
                </a:path>
              </a:pathLst>
            </a:custGeom>
            <a:solidFill>
              <a:srgbClr val="DA1F28"/>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grpSp>
        <p:nvGrpSpPr>
          <p:cNvPr id="21" name="组合 20"/>
          <p:cNvGrpSpPr/>
          <p:nvPr/>
        </p:nvGrpSpPr>
        <p:grpSpPr>
          <a:xfrm>
            <a:off x="8133490" y="3033164"/>
            <a:ext cx="1353751" cy="1353751"/>
            <a:chOff x="5290904" y="2695699"/>
            <a:chExt cx="736270" cy="736270"/>
          </a:xfrm>
        </p:grpSpPr>
        <p:sp useBgFill="1">
          <p:nvSpPr>
            <p:cNvPr id="22" name="椭圆 21"/>
            <p:cNvSpPr/>
            <p:nvPr/>
          </p:nvSpPr>
          <p:spPr>
            <a:xfrm>
              <a:off x="5290904" y="2695699"/>
              <a:ext cx="736270" cy="736270"/>
            </a:xfrm>
            <a:prstGeom prst="ellipse">
              <a:avLst/>
            </a:prstGeom>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3" name="Freeform 191"/>
            <p:cNvSpPr>
              <a:spLocks noEditPoints="1"/>
            </p:cNvSpPr>
            <p:nvPr/>
          </p:nvSpPr>
          <p:spPr bwMode="auto">
            <a:xfrm>
              <a:off x="5477367" y="2877308"/>
              <a:ext cx="387094" cy="387096"/>
            </a:xfrm>
            <a:custGeom>
              <a:gdLst>
                <a:gd fmla="*/ 67 w 67" name="T0"/>
                <a:gd fmla="*/ 31 h 67" name="T1"/>
                <a:gd fmla="*/ 52 w 67" name="T2"/>
                <a:gd fmla="*/ 14 h 67" name="T3"/>
                <a:gd fmla="*/ 35 w 67" name="T4"/>
                <a:gd fmla="*/ 50 h 67" name="T5"/>
                <a:gd fmla="*/ 53 w 67" name="T6"/>
                <a:gd fmla="*/ 35 h 67" name="T7"/>
                <a:gd fmla="*/ 35 w 67" name="T8"/>
                <a:gd fmla="*/ 50 h 67" name="T9"/>
                <a:gd fmla="*/ 35 w 67" name="T10"/>
                <a:gd fmla="*/ 0 h 67" name="T11"/>
                <a:gd fmla="*/ 47 w 67" name="T12"/>
                <a:gd fmla="*/ 12 h 67" name="T13"/>
                <a:gd fmla="*/ 47 w 67" name="T14"/>
                <a:gd fmla="*/ 55 h 67" name="T15"/>
                <a:gd fmla="*/ 35 w 67" name="T16"/>
                <a:gd fmla="*/ 67 h 67" name="T17"/>
                <a:gd fmla="*/ 47 w 67" name="T18"/>
                <a:gd fmla="*/ 55 h 67" name="T19"/>
                <a:gd fmla="*/ 52 w 67" name="T20"/>
                <a:gd fmla="*/ 53 h 67" name="T21"/>
                <a:gd fmla="*/ 67 w 67" name="T22"/>
                <a:gd fmla="*/ 35 h 67" name="T23"/>
                <a:gd fmla="*/ 46 w 67" name="T24"/>
                <a:gd fmla="*/ 62 h 67" name="T25"/>
                <a:gd fmla="*/ 42 w 67" name="T26"/>
                <a:gd fmla="*/ 66 h 67" name="T27"/>
                <a:gd fmla="*/ 51 w 67" name="T28"/>
                <a:gd fmla="*/ 56 h 67" name="T29"/>
                <a:gd fmla="*/ 46 w 67" name="T30"/>
                <a:gd fmla="*/ 5 h 67" name="T31"/>
                <a:gd fmla="*/ 51 w 67" name="T32"/>
                <a:gd fmla="*/ 11 h 67" name="T33"/>
                <a:gd fmla="*/ 42 w 67" name="T34"/>
                <a:gd fmla="*/ 1 h 67" name="T35"/>
                <a:gd fmla="*/ 49 w 67" name="T36"/>
                <a:gd fmla="*/ 15 h 67" name="T37"/>
                <a:gd fmla="*/ 35 w 67" name="T38"/>
                <a:gd fmla="*/ 31 h 67" name="T39"/>
                <a:gd fmla="*/ 49 w 67" name="T40"/>
                <a:gd fmla="*/ 15 h 67" name="T41"/>
                <a:gd fmla="*/ 20 w 67" name="T42"/>
                <a:gd fmla="*/ 12 h 67" name="T43"/>
                <a:gd fmla="*/ 32 w 67" name="T44"/>
                <a:gd fmla="*/ 0 h 67" name="T45"/>
                <a:gd fmla="*/ 14 w 67" name="T46"/>
                <a:gd fmla="*/ 31 h 67" name="T47"/>
                <a:gd fmla="*/ 32 w 67" name="T48"/>
                <a:gd fmla="*/ 17 h 67" name="T49"/>
                <a:gd fmla="*/ 14 w 67" name="T50"/>
                <a:gd fmla="*/ 31 h 67" name="T51"/>
                <a:gd fmla="*/ 8 w 67" name="T52"/>
                <a:gd fmla="*/ 12 h 67" name="T53"/>
                <a:gd fmla="*/ 11 w 67" name="T54"/>
                <a:gd fmla="*/ 31 h 67" name="T55"/>
                <a:gd fmla="*/ 21 w 67" name="T56"/>
                <a:gd fmla="*/ 5 h 67" name="T57"/>
                <a:gd fmla="*/ 10 w 67" name="T58"/>
                <a:gd fmla="*/ 9 h 67" name="T59"/>
                <a:gd fmla="*/ 21 w 67" name="T60"/>
                <a:gd fmla="*/ 5 h 67" name="T61"/>
                <a:gd fmla="*/ 0 w 67" name="T62"/>
                <a:gd fmla="*/ 35 h 67" name="T63"/>
                <a:gd fmla="*/ 15 w 67" name="T64"/>
                <a:gd fmla="*/ 53 h 67" name="T65"/>
                <a:gd fmla="*/ 21 w 67" name="T66"/>
                <a:gd fmla="*/ 62 h 67" name="T67"/>
                <a:gd fmla="*/ 10 w 67" name="T68"/>
                <a:gd fmla="*/ 58 h 67" name="T69"/>
                <a:gd fmla="*/ 21 w 67" name="T70"/>
                <a:gd fmla="*/ 62 h 67" name="T71"/>
                <a:gd fmla="*/ 32 w 67" name="T72"/>
                <a:gd fmla="*/ 50 h 67" name="T73"/>
                <a:gd fmla="*/ 14 w 67" name="T74"/>
                <a:gd fmla="*/ 35 h 67" name="T75"/>
                <a:gd fmla="*/ 23 w 67" name="T76"/>
                <a:gd fmla="*/ 60 h 67" name="T77"/>
                <a:gd fmla="*/ 32 w 67" name="T78"/>
                <a:gd fmla="*/ 53 h 67" name="T79"/>
                <a:gd fmla="*/ 23 w 67" name="T80"/>
                <a:gd fmla="*/ 60 h 67"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67" w="67">
                  <a:moveTo>
                    <a:pt x="57" y="31"/>
                  </a:moveTo>
                  <a:cubicBezTo>
                    <a:pt x="67" y="31"/>
                    <a:pt x="67" y="31"/>
                    <a:pt x="67" y="31"/>
                  </a:cubicBezTo>
                  <a:cubicBezTo>
                    <a:pt x="67" y="24"/>
                    <a:pt x="64" y="17"/>
                    <a:pt x="59" y="12"/>
                  </a:cubicBezTo>
                  <a:cubicBezTo>
                    <a:pt x="57" y="13"/>
                    <a:pt x="55" y="13"/>
                    <a:pt x="52" y="14"/>
                  </a:cubicBezTo>
                  <a:cubicBezTo>
                    <a:pt x="55" y="19"/>
                    <a:pt x="56" y="25"/>
                    <a:pt x="57" y="31"/>
                  </a:cubicBezTo>
                  <a:close/>
                  <a:moveTo>
                    <a:pt x="35" y="50"/>
                  </a:moveTo>
                  <a:cubicBezTo>
                    <a:pt x="40" y="50"/>
                    <a:pt x="45" y="51"/>
                    <a:pt x="49" y="52"/>
                  </a:cubicBezTo>
                  <a:cubicBezTo>
                    <a:pt x="52" y="47"/>
                    <a:pt x="53" y="41"/>
                    <a:pt x="53" y="35"/>
                  </a:cubicBezTo>
                  <a:cubicBezTo>
                    <a:pt x="35" y="35"/>
                    <a:pt x="35" y="35"/>
                    <a:pt x="35" y="35"/>
                  </a:cubicBezTo>
                  <a:lnTo>
                    <a:pt x="35" y="50"/>
                  </a:lnTo>
                  <a:close/>
                  <a:moveTo>
                    <a:pt x="44" y="7"/>
                  </a:moveTo>
                  <a:cubicBezTo>
                    <a:pt x="41" y="4"/>
                    <a:pt x="38" y="2"/>
                    <a:pt x="35" y="0"/>
                  </a:cubicBezTo>
                  <a:cubicBezTo>
                    <a:pt x="35" y="13"/>
                    <a:pt x="35" y="13"/>
                    <a:pt x="35" y="13"/>
                  </a:cubicBezTo>
                  <a:cubicBezTo>
                    <a:pt x="39" y="13"/>
                    <a:pt x="43" y="13"/>
                    <a:pt x="47" y="12"/>
                  </a:cubicBezTo>
                  <a:cubicBezTo>
                    <a:pt x="46" y="10"/>
                    <a:pt x="45" y="9"/>
                    <a:pt x="44" y="7"/>
                  </a:cubicBezTo>
                  <a:close/>
                  <a:moveTo>
                    <a:pt x="47" y="55"/>
                  </a:moveTo>
                  <a:cubicBezTo>
                    <a:pt x="43" y="54"/>
                    <a:pt x="39" y="53"/>
                    <a:pt x="35" y="53"/>
                  </a:cubicBezTo>
                  <a:cubicBezTo>
                    <a:pt x="35" y="67"/>
                    <a:pt x="35" y="67"/>
                    <a:pt x="35" y="67"/>
                  </a:cubicBezTo>
                  <a:cubicBezTo>
                    <a:pt x="38" y="65"/>
                    <a:pt x="41" y="63"/>
                    <a:pt x="44" y="60"/>
                  </a:cubicBezTo>
                  <a:cubicBezTo>
                    <a:pt x="45" y="58"/>
                    <a:pt x="46" y="57"/>
                    <a:pt x="47" y="55"/>
                  </a:cubicBezTo>
                  <a:close/>
                  <a:moveTo>
                    <a:pt x="57" y="35"/>
                  </a:moveTo>
                  <a:cubicBezTo>
                    <a:pt x="56" y="41"/>
                    <a:pt x="55" y="47"/>
                    <a:pt x="52" y="53"/>
                  </a:cubicBezTo>
                  <a:cubicBezTo>
                    <a:pt x="55" y="53"/>
                    <a:pt x="57" y="54"/>
                    <a:pt x="59" y="55"/>
                  </a:cubicBezTo>
                  <a:cubicBezTo>
                    <a:pt x="64" y="50"/>
                    <a:pt x="67" y="42"/>
                    <a:pt x="67" y="35"/>
                  </a:cubicBezTo>
                  <a:lnTo>
                    <a:pt x="57" y="35"/>
                  </a:lnTo>
                  <a:close/>
                  <a:moveTo>
                    <a:pt x="46" y="62"/>
                  </a:moveTo>
                  <a:cubicBezTo>
                    <a:pt x="46" y="62"/>
                    <a:pt x="46" y="62"/>
                    <a:pt x="46" y="62"/>
                  </a:cubicBezTo>
                  <a:cubicBezTo>
                    <a:pt x="45" y="63"/>
                    <a:pt x="44" y="65"/>
                    <a:pt x="42" y="66"/>
                  </a:cubicBezTo>
                  <a:cubicBezTo>
                    <a:pt x="48" y="64"/>
                    <a:pt x="53" y="62"/>
                    <a:pt x="57" y="58"/>
                  </a:cubicBezTo>
                  <a:cubicBezTo>
                    <a:pt x="55" y="57"/>
                    <a:pt x="53" y="56"/>
                    <a:pt x="51" y="56"/>
                  </a:cubicBezTo>
                  <a:cubicBezTo>
                    <a:pt x="49" y="58"/>
                    <a:pt x="48" y="60"/>
                    <a:pt x="46" y="62"/>
                  </a:cubicBezTo>
                  <a:close/>
                  <a:moveTo>
                    <a:pt x="46" y="5"/>
                  </a:moveTo>
                  <a:cubicBezTo>
                    <a:pt x="46" y="5"/>
                    <a:pt x="46" y="5"/>
                    <a:pt x="46" y="5"/>
                  </a:cubicBezTo>
                  <a:cubicBezTo>
                    <a:pt x="48" y="7"/>
                    <a:pt x="49" y="9"/>
                    <a:pt x="51" y="11"/>
                  </a:cubicBezTo>
                  <a:cubicBezTo>
                    <a:pt x="53" y="11"/>
                    <a:pt x="55" y="10"/>
                    <a:pt x="57" y="9"/>
                  </a:cubicBezTo>
                  <a:cubicBezTo>
                    <a:pt x="53" y="5"/>
                    <a:pt x="48" y="2"/>
                    <a:pt x="42" y="1"/>
                  </a:cubicBezTo>
                  <a:cubicBezTo>
                    <a:pt x="44" y="2"/>
                    <a:pt x="45" y="3"/>
                    <a:pt x="46" y="5"/>
                  </a:cubicBezTo>
                  <a:close/>
                  <a:moveTo>
                    <a:pt x="49" y="15"/>
                  </a:moveTo>
                  <a:cubicBezTo>
                    <a:pt x="45" y="16"/>
                    <a:pt x="40" y="17"/>
                    <a:pt x="35" y="17"/>
                  </a:cubicBezTo>
                  <a:cubicBezTo>
                    <a:pt x="35" y="31"/>
                    <a:pt x="35" y="31"/>
                    <a:pt x="35" y="31"/>
                  </a:cubicBezTo>
                  <a:cubicBezTo>
                    <a:pt x="53" y="31"/>
                    <a:pt x="53" y="31"/>
                    <a:pt x="53" y="31"/>
                  </a:cubicBezTo>
                  <a:cubicBezTo>
                    <a:pt x="53" y="25"/>
                    <a:pt x="51" y="20"/>
                    <a:pt x="49" y="15"/>
                  </a:cubicBezTo>
                  <a:close/>
                  <a:moveTo>
                    <a:pt x="23" y="7"/>
                  </a:moveTo>
                  <a:cubicBezTo>
                    <a:pt x="22" y="9"/>
                    <a:pt x="21" y="10"/>
                    <a:pt x="20" y="12"/>
                  </a:cubicBezTo>
                  <a:cubicBezTo>
                    <a:pt x="24" y="13"/>
                    <a:pt x="28" y="13"/>
                    <a:pt x="32" y="13"/>
                  </a:cubicBezTo>
                  <a:cubicBezTo>
                    <a:pt x="32" y="0"/>
                    <a:pt x="32" y="0"/>
                    <a:pt x="32" y="0"/>
                  </a:cubicBezTo>
                  <a:cubicBezTo>
                    <a:pt x="29" y="2"/>
                    <a:pt x="26" y="4"/>
                    <a:pt x="23" y="7"/>
                  </a:cubicBezTo>
                  <a:close/>
                  <a:moveTo>
                    <a:pt x="14" y="31"/>
                  </a:moveTo>
                  <a:cubicBezTo>
                    <a:pt x="32" y="31"/>
                    <a:pt x="32" y="31"/>
                    <a:pt x="32" y="31"/>
                  </a:cubicBezTo>
                  <a:cubicBezTo>
                    <a:pt x="32" y="17"/>
                    <a:pt x="32" y="17"/>
                    <a:pt x="32" y="17"/>
                  </a:cubicBezTo>
                  <a:cubicBezTo>
                    <a:pt x="27" y="17"/>
                    <a:pt x="23" y="16"/>
                    <a:pt x="18" y="15"/>
                  </a:cubicBezTo>
                  <a:cubicBezTo>
                    <a:pt x="16" y="20"/>
                    <a:pt x="14" y="25"/>
                    <a:pt x="14" y="31"/>
                  </a:cubicBezTo>
                  <a:close/>
                  <a:moveTo>
                    <a:pt x="15" y="14"/>
                  </a:moveTo>
                  <a:cubicBezTo>
                    <a:pt x="12" y="13"/>
                    <a:pt x="10" y="13"/>
                    <a:pt x="8" y="12"/>
                  </a:cubicBezTo>
                  <a:cubicBezTo>
                    <a:pt x="3" y="17"/>
                    <a:pt x="0" y="24"/>
                    <a:pt x="0" y="31"/>
                  </a:cubicBezTo>
                  <a:cubicBezTo>
                    <a:pt x="11" y="31"/>
                    <a:pt x="11" y="31"/>
                    <a:pt x="11" y="31"/>
                  </a:cubicBezTo>
                  <a:cubicBezTo>
                    <a:pt x="11" y="25"/>
                    <a:pt x="12" y="19"/>
                    <a:pt x="15" y="14"/>
                  </a:cubicBezTo>
                  <a:close/>
                  <a:moveTo>
                    <a:pt x="21" y="5"/>
                  </a:moveTo>
                  <a:cubicBezTo>
                    <a:pt x="22" y="3"/>
                    <a:pt x="24" y="2"/>
                    <a:pt x="25" y="1"/>
                  </a:cubicBezTo>
                  <a:cubicBezTo>
                    <a:pt x="19" y="2"/>
                    <a:pt x="14" y="5"/>
                    <a:pt x="10" y="9"/>
                  </a:cubicBezTo>
                  <a:cubicBezTo>
                    <a:pt x="12" y="10"/>
                    <a:pt x="14" y="11"/>
                    <a:pt x="16" y="11"/>
                  </a:cubicBezTo>
                  <a:cubicBezTo>
                    <a:pt x="18" y="9"/>
                    <a:pt x="19" y="7"/>
                    <a:pt x="21" y="5"/>
                  </a:cubicBezTo>
                  <a:close/>
                  <a:moveTo>
                    <a:pt x="10" y="35"/>
                  </a:moveTo>
                  <a:cubicBezTo>
                    <a:pt x="0" y="35"/>
                    <a:pt x="0" y="35"/>
                    <a:pt x="0" y="35"/>
                  </a:cubicBezTo>
                  <a:cubicBezTo>
                    <a:pt x="0" y="42"/>
                    <a:pt x="3" y="50"/>
                    <a:pt x="8" y="55"/>
                  </a:cubicBezTo>
                  <a:cubicBezTo>
                    <a:pt x="10" y="54"/>
                    <a:pt x="12" y="53"/>
                    <a:pt x="15" y="53"/>
                  </a:cubicBezTo>
                  <a:cubicBezTo>
                    <a:pt x="12" y="47"/>
                    <a:pt x="11" y="41"/>
                    <a:pt x="10" y="35"/>
                  </a:cubicBezTo>
                  <a:close/>
                  <a:moveTo>
                    <a:pt x="21" y="62"/>
                  </a:moveTo>
                  <a:cubicBezTo>
                    <a:pt x="19" y="60"/>
                    <a:pt x="18" y="58"/>
                    <a:pt x="16" y="56"/>
                  </a:cubicBezTo>
                  <a:cubicBezTo>
                    <a:pt x="14" y="56"/>
                    <a:pt x="12" y="57"/>
                    <a:pt x="10" y="58"/>
                  </a:cubicBezTo>
                  <a:cubicBezTo>
                    <a:pt x="14" y="62"/>
                    <a:pt x="19" y="64"/>
                    <a:pt x="25" y="66"/>
                  </a:cubicBezTo>
                  <a:cubicBezTo>
                    <a:pt x="24" y="65"/>
                    <a:pt x="22" y="63"/>
                    <a:pt x="21" y="62"/>
                  </a:cubicBezTo>
                  <a:close/>
                  <a:moveTo>
                    <a:pt x="18" y="52"/>
                  </a:moveTo>
                  <a:cubicBezTo>
                    <a:pt x="23" y="51"/>
                    <a:pt x="27" y="50"/>
                    <a:pt x="32" y="50"/>
                  </a:cubicBezTo>
                  <a:cubicBezTo>
                    <a:pt x="32" y="35"/>
                    <a:pt x="32" y="35"/>
                    <a:pt x="32" y="35"/>
                  </a:cubicBezTo>
                  <a:cubicBezTo>
                    <a:pt x="14" y="35"/>
                    <a:pt x="14" y="35"/>
                    <a:pt x="14" y="35"/>
                  </a:cubicBezTo>
                  <a:cubicBezTo>
                    <a:pt x="14" y="41"/>
                    <a:pt x="16" y="47"/>
                    <a:pt x="18" y="52"/>
                  </a:cubicBezTo>
                  <a:close/>
                  <a:moveTo>
                    <a:pt x="23" y="60"/>
                  </a:moveTo>
                  <a:cubicBezTo>
                    <a:pt x="26" y="63"/>
                    <a:pt x="29" y="65"/>
                    <a:pt x="32" y="67"/>
                  </a:cubicBezTo>
                  <a:cubicBezTo>
                    <a:pt x="32" y="53"/>
                    <a:pt x="32" y="53"/>
                    <a:pt x="32" y="53"/>
                  </a:cubicBezTo>
                  <a:cubicBezTo>
                    <a:pt x="28" y="53"/>
                    <a:pt x="24" y="54"/>
                    <a:pt x="20" y="55"/>
                  </a:cubicBezTo>
                  <a:cubicBezTo>
                    <a:pt x="21" y="57"/>
                    <a:pt x="22" y="58"/>
                    <a:pt x="23" y="60"/>
                  </a:cubicBezTo>
                  <a:close/>
                </a:path>
              </a:pathLst>
            </a:custGeom>
            <a:solidFill>
              <a:srgbClr val="DA1F28"/>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sp>
        <p:nvSpPr>
          <p:cNvPr id="25" name="TextBox 48"/>
          <p:cNvSpPr txBox="1"/>
          <p:nvPr/>
        </p:nvSpPr>
        <p:spPr>
          <a:xfrm>
            <a:off x="503611" y="4549842"/>
            <a:ext cx="2548439" cy="1920240"/>
          </a:xfrm>
          <a:prstGeom prst="rect">
            <a:avLst/>
          </a:prstGeom>
          <a:noFill/>
        </p:spPr>
        <p:txBody>
          <a:bodyPr rtlCol="0" wrap="square">
            <a:spAutoFit/>
          </a:bodyPr>
          <a:lstStyle/>
          <a:p>
            <a:pPr algn="ctr">
              <a:lnSpc>
                <a:spcPct val="150000"/>
              </a:lnSpc>
            </a:pPr>
            <a:r>
              <a:rPr altLang="en-US" b="1" lang="zh-CN" sz="1600">
                <a:solidFill>
                  <a:schemeClr val="tx1">
                    <a:lumMod val="65000"/>
                    <a:lumOff val="35000"/>
                  </a:schemeClr>
                </a:solidFill>
                <a:latin charset="-122" panose="020b0503020204020204" pitchFamily="34" typeface="微软雅黑"/>
                <a:ea charset="-122" panose="020b0503020204020204" pitchFamily="34" typeface="微软雅黑"/>
                <a:cs charset="0" panose="02040503050203030202" pitchFamily="18" typeface="Mangal"/>
              </a:rPr>
              <a:t>输入小标题</a:t>
            </a:r>
          </a:p>
          <a:p>
            <a:pPr algn="ctr">
              <a:lnSpc>
                <a:spcPct val="150000"/>
              </a:lnSpc>
            </a:pPr>
            <a:r>
              <a:rPr altLang="en-US" b="1" lang="zh-CN" sz="1600">
                <a:solidFill>
                  <a:schemeClr val="tx1">
                    <a:lumMod val="65000"/>
                    <a:lumOff val="35000"/>
                  </a:schemeClr>
                </a:solidFill>
                <a:latin charset="-122" panose="020b0503020204020204" pitchFamily="34" typeface="微软雅黑"/>
                <a:ea charset="-122" panose="020b0503020204020204" pitchFamily="34" typeface="微软雅黑"/>
                <a:cs charset="0" panose="02040503050203030202" pitchFamily="18" typeface="Mangal"/>
              </a:rPr>
              <a:t>此处输入文本此处输入文本此处输入文本此处输入文本此处输入文本此处输入文本</a:t>
            </a:r>
          </a:p>
        </p:txBody>
      </p:sp>
      <p:sp>
        <p:nvSpPr>
          <p:cNvPr id="31" name="文本框 30"/>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38" name="TextBox 48"/>
          <p:cNvSpPr txBox="1"/>
          <p:nvPr/>
        </p:nvSpPr>
        <p:spPr>
          <a:xfrm>
            <a:off x="5182772" y="4540445"/>
            <a:ext cx="2548439" cy="1920240"/>
          </a:xfrm>
          <a:prstGeom prst="rect">
            <a:avLst/>
          </a:prstGeom>
          <a:noFill/>
        </p:spPr>
        <p:txBody>
          <a:bodyPr rtlCol="0" wrap="square">
            <a:spAutoFit/>
          </a:bodyPr>
          <a:lstStyle/>
          <a:p>
            <a:pPr algn="ctr">
              <a:lnSpc>
                <a:spcPct val="150000"/>
              </a:lnSpc>
            </a:pPr>
            <a:r>
              <a:rPr altLang="en-US" b="1" lang="zh-CN" sz="1600">
                <a:solidFill>
                  <a:schemeClr val="tx1">
                    <a:lumMod val="65000"/>
                    <a:lumOff val="35000"/>
                  </a:schemeClr>
                </a:solidFill>
                <a:latin charset="-122" panose="020b0503020204020204" pitchFamily="34" typeface="微软雅黑"/>
                <a:ea charset="-122" panose="020b0503020204020204" pitchFamily="34" typeface="微软雅黑"/>
                <a:cs charset="0" panose="02040503050203030202" pitchFamily="18" typeface="Mangal"/>
              </a:rPr>
              <a:t>输入小标题</a:t>
            </a:r>
          </a:p>
          <a:p>
            <a:pPr algn="ctr">
              <a:lnSpc>
                <a:spcPct val="150000"/>
              </a:lnSpc>
            </a:pPr>
            <a:r>
              <a:rPr altLang="en-US" b="1" lang="zh-CN" sz="1600">
                <a:solidFill>
                  <a:schemeClr val="tx1">
                    <a:lumMod val="65000"/>
                    <a:lumOff val="35000"/>
                  </a:schemeClr>
                </a:solidFill>
                <a:latin charset="-122" panose="020b0503020204020204" pitchFamily="34" typeface="微软雅黑"/>
                <a:ea charset="-122" panose="020b0503020204020204" pitchFamily="34" typeface="微软雅黑"/>
                <a:cs charset="0" panose="02040503050203030202" pitchFamily="18" typeface="Mangal"/>
              </a:rPr>
              <a:t>此处输入文本此处输入文本此处输入文本此处输入文本此处输入文本此处输入文本</a:t>
            </a:r>
          </a:p>
        </p:txBody>
      </p:sp>
      <p:sp>
        <p:nvSpPr>
          <p:cNvPr id="39" name="TextBox 48"/>
          <p:cNvSpPr txBox="1"/>
          <p:nvPr/>
        </p:nvSpPr>
        <p:spPr>
          <a:xfrm>
            <a:off x="2851977" y="1361527"/>
            <a:ext cx="2548439" cy="1920240"/>
          </a:xfrm>
          <a:prstGeom prst="rect">
            <a:avLst/>
          </a:prstGeom>
          <a:noFill/>
        </p:spPr>
        <p:txBody>
          <a:bodyPr rtlCol="0" wrap="square">
            <a:spAutoFit/>
          </a:bodyPr>
          <a:lstStyle/>
          <a:p>
            <a:pPr algn="ctr">
              <a:lnSpc>
                <a:spcPct val="150000"/>
              </a:lnSpc>
            </a:pPr>
            <a:r>
              <a:rPr altLang="en-US" b="1" lang="zh-CN" sz="1600">
                <a:solidFill>
                  <a:schemeClr val="tx1">
                    <a:lumMod val="65000"/>
                    <a:lumOff val="35000"/>
                  </a:schemeClr>
                </a:solidFill>
                <a:latin charset="-122" panose="020b0503020204020204" pitchFamily="34" typeface="微软雅黑"/>
                <a:ea charset="-122" panose="020b0503020204020204" pitchFamily="34" typeface="微软雅黑"/>
                <a:cs charset="0" panose="02040503050203030202" pitchFamily="18" typeface="Mangal"/>
              </a:rPr>
              <a:t>输入小标题</a:t>
            </a:r>
          </a:p>
          <a:p>
            <a:pPr algn="ctr">
              <a:lnSpc>
                <a:spcPct val="150000"/>
              </a:lnSpc>
            </a:pPr>
            <a:r>
              <a:rPr altLang="en-US" b="1" lang="zh-CN" sz="1600">
                <a:solidFill>
                  <a:schemeClr val="tx1">
                    <a:lumMod val="65000"/>
                    <a:lumOff val="35000"/>
                  </a:schemeClr>
                </a:solidFill>
                <a:latin charset="-122" panose="020b0503020204020204" pitchFamily="34" typeface="微软雅黑"/>
                <a:ea charset="-122" panose="020b0503020204020204" pitchFamily="34" typeface="微软雅黑"/>
                <a:cs charset="0" panose="02040503050203030202" pitchFamily="18" typeface="Mangal"/>
              </a:rPr>
              <a:t>此处输入文本此处输入文本此处输入文本此处输入文本此处输入文本此处输入文本</a:t>
            </a:r>
          </a:p>
        </p:txBody>
      </p:sp>
      <p:sp>
        <p:nvSpPr>
          <p:cNvPr id="40" name="TextBox 48"/>
          <p:cNvSpPr txBox="1"/>
          <p:nvPr/>
        </p:nvSpPr>
        <p:spPr>
          <a:xfrm>
            <a:off x="7568803" y="1346685"/>
            <a:ext cx="2548439" cy="1920240"/>
          </a:xfrm>
          <a:prstGeom prst="rect">
            <a:avLst/>
          </a:prstGeom>
          <a:noFill/>
        </p:spPr>
        <p:txBody>
          <a:bodyPr rtlCol="0" wrap="square">
            <a:spAutoFit/>
          </a:bodyPr>
          <a:lstStyle/>
          <a:p>
            <a:pPr algn="ctr">
              <a:lnSpc>
                <a:spcPct val="150000"/>
              </a:lnSpc>
            </a:pPr>
            <a:r>
              <a:rPr altLang="en-US" b="1" lang="zh-CN" sz="1600">
                <a:solidFill>
                  <a:schemeClr val="tx1">
                    <a:lumMod val="65000"/>
                    <a:lumOff val="35000"/>
                  </a:schemeClr>
                </a:solidFill>
                <a:latin charset="-122" panose="020b0503020204020204" pitchFamily="34" typeface="微软雅黑"/>
                <a:ea charset="-122" panose="020b0503020204020204" pitchFamily="34" typeface="微软雅黑"/>
                <a:cs charset="0" panose="02040503050203030202" pitchFamily="18" typeface="Mangal"/>
              </a:rPr>
              <a:t>输入小标题</a:t>
            </a:r>
          </a:p>
          <a:p>
            <a:pPr algn="ctr">
              <a:lnSpc>
                <a:spcPct val="150000"/>
              </a:lnSpc>
            </a:pPr>
            <a:r>
              <a:rPr altLang="en-US" b="1" lang="zh-CN" sz="1600">
                <a:solidFill>
                  <a:schemeClr val="tx1">
                    <a:lumMod val="65000"/>
                    <a:lumOff val="35000"/>
                  </a:schemeClr>
                </a:solidFill>
                <a:latin charset="-122" panose="020b0503020204020204" pitchFamily="34" typeface="微软雅黑"/>
                <a:ea charset="-122" panose="020b0503020204020204" pitchFamily="34" typeface="微软雅黑"/>
                <a:cs charset="0" panose="02040503050203030202" pitchFamily="18" typeface="Mangal"/>
              </a:rPr>
              <a:t>此处输入文本此处输入文本此处输入文本此处输入文本此处输入文本此处输入文本</a:t>
            </a:r>
          </a:p>
        </p:txBody>
      </p:sp>
    </p:spTree>
    <p:extLst>
      <p:ext uri="{BB962C8B-B14F-4D97-AF65-F5344CB8AC3E}">
        <p14:creationId val="2001100858"/>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586B6A51-15D2-47B9-9352-A1224E0B6E07}" type="slidenum">
              <a:rPr altLang="en-US" lang="zh-CN" smtClean="0"/>
              <a:t>14</a:t>
            </a:fld>
          </a:p>
        </p:txBody>
      </p:sp>
      <p:sp>
        <p:nvSpPr>
          <p:cNvPr id="5" name="任意多边形 4"/>
          <p:cNvSpPr/>
          <p:nvPr/>
        </p:nvSpPr>
        <p:spPr>
          <a:xfrm flipH="1">
            <a:off x="7602899" y="2810629"/>
            <a:ext cx="1356803" cy="2180469"/>
          </a:xfrm>
          <a:custGeom>
            <a:gdLst>
              <a:gd fmla="*/ 0 w 885371" name="connsiteX0"/>
              <a:gd fmla="*/ 0 h 1422400" name="connsiteY0"/>
              <a:gd fmla="*/ 885371 w 885371" name="connsiteX1"/>
              <a:gd fmla="*/ 203200 h 1422400" name="connsiteY1"/>
              <a:gd fmla="*/ 885371 w 885371" name="connsiteX2"/>
              <a:gd fmla="*/ 1219200 h 1422400" name="connsiteY2"/>
              <a:gd fmla="*/ 14514 w 885371" name="connsiteX3"/>
              <a:gd fmla="*/ 1422400 h 1422400" name="connsiteY3"/>
              <a:gd fmla="*/ 0 w 885371" name="connsiteX4"/>
              <a:gd fmla="*/ 0 h 142240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422400" w="885370">
                <a:moveTo>
                  <a:pt x="0" y="0"/>
                </a:moveTo>
                <a:lnTo>
                  <a:pt x="885371" y="203200"/>
                </a:lnTo>
                <a:lnTo>
                  <a:pt x="885371" y="1219200"/>
                </a:lnTo>
                <a:lnTo>
                  <a:pt x="14514" y="1422400"/>
                </a:lnTo>
                <a:lnTo>
                  <a:pt x="0" y="0"/>
                </a:lnTo>
                <a:close/>
              </a:path>
            </a:pathLst>
          </a:custGeom>
          <a:solidFill>
            <a:srgbClr val="E000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altLang="en-US" lang="zh-CN" sz="3600">
                <a:latin charset="-122" panose="020b0503020204020204" pitchFamily="34" typeface="微软雅黑"/>
                <a:ea charset="-122" panose="020b0503020204020204" pitchFamily="34" typeface="微软雅黑"/>
                <a:cs typeface="+mn-ea"/>
                <a:sym typeface="+mn-lt"/>
              </a:rPr>
              <a:t>标题</a:t>
            </a:r>
          </a:p>
        </p:txBody>
      </p:sp>
      <p:sp>
        <p:nvSpPr>
          <p:cNvPr id="6" name="任意多边形 5"/>
          <p:cNvSpPr/>
          <p:nvPr/>
        </p:nvSpPr>
        <p:spPr>
          <a:xfrm flipH="1">
            <a:off x="6482712" y="3167052"/>
            <a:ext cx="915018" cy="1469121"/>
          </a:xfrm>
          <a:custGeom>
            <a:gdLst>
              <a:gd fmla="*/ 0 w 885371" name="connsiteX0"/>
              <a:gd fmla="*/ 0 h 1422400" name="connsiteY0"/>
              <a:gd fmla="*/ 885371 w 885371" name="connsiteX1"/>
              <a:gd fmla="*/ 203200 h 1422400" name="connsiteY1"/>
              <a:gd fmla="*/ 885371 w 885371" name="connsiteX2"/>
              <a:gd fmla="*/ 1219200 h 1422400" name="connsiteY2"/>
              <a:gd fmla="*/ 14514 w 885371" name="connsiteX3"/>
              <a:gd fmla="*/ 1422400 h 1422400" name="connsiteY3"/>
              <a:gd fmla="*/ 0 w 885371" name="connsiteX4"/>
              <a:gd fmla="*/ 0 h 142240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422400" w="885370">
                <a:moveTo>
                  <a:pt x="0" y="0"/>
                </a:moveTo>
                <a:lnTo>
                  <a:pt x="885371" y="203200"/>
                </a:lnTo>
                <a:lnTo>
                  <a:pt x="885371" y="1219200"/>
                </a:lnTo>
                <a:lnTo>
                  <a:pt x="14514" y="1422400"/>
                </a:lnTo>
                <a:lnTo>
                  <a:pt x="0" y="0"/>
                </a:lnTo>
                <a:close/>
              </a:path>
            </a:pathLst>
          </a:custGeom>
          <a:solidFill>
            <a:srgbClr val="E00024">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altLang="en-US" lang="zh-CN" smtClean="0" sz="2400">
                <a:latin charset="-122" panose="020b0503020204020204" pitchFamily="34" typeface="微软雅黑"/>
                <a:ea charset="-122" panose="020b0503020204020204" pitchFamily="34" typeface="微软雅黑"/>
                <a:cs typeface="+mn-ea"/>
                <a:sym typeface="+mn-lt"/>
              </a:rPr>
              <a:t>标题</a:t>
            </a:r>
          </a:p>
        </p:txBody>
      </p:sp>
      <p:sp>
        <p:nvSpPr>
          <p:cNvPr id="7" name="任意多边形 6"/>
          <p:cNvSpPr/>
          <p:nvPr/>
        </p:nvSpPr>
        <p:spPr>
          <a:xfrm flipH="1">
            <a:off x="5683008" y="3423138"/>
            <a:ext cx="594537" cy="956950"/>
          </a:xfrm>
          <a:custGeom>
            <a:gdLst>
              <a:gd fmla="*/ 0 w 885371" name="connsiteX0"/>
              <a:gd fmla="*/ 0 h 1422400" name="connsiteY0"/>
              <a:gd fmla="*/ 885371 w 885371" name="connsiteX1"/>
              <a:gd fmla="*/ 203200 h 1422400" name="connsiteY1"/>
              <a:gd fmla="*/ 885371 w 885371" name="connsiteX2"/>
              <a:gd fmla="*/ 1219200 h 1422400" name="connsiteY2"/>
              <a:gd fmla="*/ 14514 w 885371" name="connsiteX3"/>
              <a:gd fmla="*/ 1422400 h 1422400" name="connsiteY3"/>
              <a:gd fmla="*/ 0 w 885371" name="connsiteX4"/>
              <a:gd fmla="*/ 0 h 142240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422400" w="885370">
                <a:moveTo>
                  <a:pt x="0" y="0"/>
                </a:moveTo>
                <a:lnTo>
                  <a:pt x="885371" y="203200"/>
                </a:lnTo>
                <a:lnTo>
                  <a:pt x="885371" y="1219200"/>
                </a:lnTo>
                <a:lnTo>
                  <a:pt x="14514" y="1422400"/>
                </a:lnTo>
                <a:lnTo>
                  <a:pt x="0" y="0"/>
                </a:lnTo>
                <a:close/>
              </a:path>
            </a:pathLst>
          </a:custGeom>
          <a:solidFill>
            <a:srgbClr val="E0002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altLang="en-US" lang="zh-CN" smtClean="0" sz="1600">
                <a:latin charset="-122" panose="020b0503020204020204" pitchFamily="34" typeface="微软雅黑"/>
                <a:ea charset="-122" panose="020b0503020204020204" pitchFamily="34" typeface="微软雅黑"/>
                <a:cs typeface="+mn-ea"/>
                <a:sym typeface="+mn-lt"/>
              </a:rPr>
              <a:t>标题</a:t>
            </a:r>
          </a:p>
        </p:txBody>
      </p:sp>
      <p:sp>
        <p:nvSpPr>
          <p:cNvPr id="8" name="任意多边形 7"/>
          <p:cNvSpPr/>
          <p:nvPr/>
        </p:nvSpPr>
        <p:spPr>
          <a:xfrm flipH="1">
            <a:off x="9164870" y="2349376"/>
            <a:ext cx="1933370" cy="3104473"/>
          </a:xfrm>
          <a:custGeom>
            <a:gdLst>
              <a:gd fmla="*/ 0 w 885371" name="connsiteX0"/>
              <a:gd fmla="*/ 0 h 1422400" name="connsiteY0"/>
              <a:gd fmla="*/ 885371 w 885371" name="connsiteX1"/>
              <a:gd fmla="*/ 203200 h 1422400" name="connsiteY1"/>
              <a:gd fmla="*/ 885371 w 885371" name="connsiteX2"/>
              <a:gd fmla="*/ 1219200 h 1422400" name="connsiteY2"/>
              <a:gd fmla="*/ 14514 w 885371" name="connsiteX3"/>
              <a:gd fmla="*/ 1422400 h 1422400" name="connsiteY3"/>
              <a:gd fmla="*/ 0 w 885371" name="connsiteX4"/>
              <a:gd fmla="*/ 0 h 1422400"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1422400" w="885370">
                <a:moveTo>
                  <a:pt x="0" y="0"/>
                </a:moveTo>
                <a:lnTo>
                  <a:pt x="885371" y="203200"/>
                </a:lnTo>
                <a:lnTo>
                  <a:pt x="885371" y="1219200"/>
                </a:lnTo>
                <a:lnTo>
                  <a:pt x="14514" y="1422400"/>
                </a:lnTo>
                <a:lnTo>
                  <a:pt x="0"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altLang="en-US" lang="zh-CN" smtClean="0" sz="4800">
                <a:latin charset="-122" panose="020b0503020204020204" pitchFamily="34" typeface="微软雅黑"/>
                <a:ea charset="-122" panose="020b0503020204020204" pitchFamily="34" typeface="微软雅黑"/>
                <a:cs typeface="+mn-ea"/>
                <a:sym typeface="+mn-lt"/>
              </a:rPr>
              <a:t>标题</a:t>
            </a:r>
          </a:p>
        </p:txBody>
      </p:sp>
      <p:cxnSp>
        <p:nvCxnSpPr>
          <p:cNvPr id="9" name="直接连接符 8"/>
          <p:cNvCxnSpPr/>
          <p:nvPr/>
        </p:nvCxnSpPr>
        <p:spPr>
          <a:xfrm flipV="1">
            <a:off x="5683007" y="2028896"/>
            <a:ext cx="5415232" cy="138226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a:off x="5683007" y="4380089"/>
            <a:ext cx="5415232" cy="141071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文本框 10"/>
          <p:cNvSpPr txBox="1"/>
          <p:nvPr/>
        </p:nvSpPr>
        <p:spPr>
          <a:xfrm>
            <a:off x="944453" y="2638960"/>
            <a:ext cx="2765872" cy="640080"/>
          </a:xfrm>
          <a:prstGeom prst="rect">
            <a:avLst/>
          </a:prstGeom>
          <a:noFill/>
        </p:spPr>
        <p:txBody>
          <a:bodyPr rtlCol="0" wrap="square">
            <a:spAutoFit/>
          </a:bodyPr>
          <a:lstStyle/>
          <a:p>
            <a:r>
              <a:rPr altLang="en-US" lang="zh-CN">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此处输入文本此处输入文本此处输入文本</a:t>
            </a:r>
          </a:p>
        </p:txBody>
      </p:sp>
      <p:sp>
        <p:nvSpPr>
          <p:cNvPr id="12" name="文本框 11"/>
          <p:cNvSpPr txBox="1"/>
          <p:nvPr/>
        </p:nvSpPr>
        <p:spPr>
          <a:xfrm>
            <a:off x="1989612" y="4658037"/>
            <a:ext cx="2765872" cy="640080"/>
          </a:xfrm>
          <a:prstGeom prst="rect">
            <a:avLst/>
          </a:prstGeom>
          <a:noFill/>
        </p:spPr>
        <p:txBody>
          <a:bodyPr rtlCol="0" wrap="square">
            <a:spAutoFit/>
          </a:bodyPr>
          <a:lstStyle/>
          <a:p>
            <a:r>
              <a:rPr altLang="en-US" lang="zh-CN">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此处输入文本此处输入文本此处输入文本</a:t>
            </a:r>
          </a:p>
        </p:txBody>
      </p:sp>
      <p:cxnSp>
        <p:nvCxnSpPr>
          <p:cNvPr id="14" name="肘形连接符 13"/>
          <p:cNvCxnSpPr/>
          <p:nvPr/>
        </p:nvCxnSpPr>
        <p:spPr>
          <a:xfrm rot="10800000">
            <a:off x="3716840" y="2991837"/>
            <a:ext cx="2263436" cy="254307"/>
          </a:xfrm>
          <a:prstGeom prst="bentConnector3">
            <a:avLst>
              <a:gd fmla="val -179" name="adj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肘形连接符 14"/>
          <p:cNvCxnSpPr/>
          <p:nvPr/>
        </p:nvCxnSpPr>
        <p:spPr>
          <a:xfrm>
            <a:off x="6603588" y="1841698"/>
            <a:ext cx="3527967" cy="303728"/>
          </a:xfrm>
          <a:prstGeom prst="bentConnector3">
            <a:avLst>
              <a:gd fmla="val 99968" name="adj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 name="肘形连接符 15"/>
          <p:cNvCxnSpPr/>
          <p:nvPr/>
        </p:nvCxnSpPr>
        <p:spPr>
          <a:xfrm flipV="1">
            <a:off x="4848558" y="4814385"/>
            <a:ext cx="1923111" cy="257302"/>
          </a:xfrm>
          <a:prstGeom prst="bentConnector3">
            <a:avLst>
              <a:gd fmla="val 100150" name="adj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 name="肘形连接符 16"/>
          <p:cNvCxnSpPr/>
          <p:nvPr/>
        </p:nvCxnSpPr>
        <p:spPr>
          <a:xfrm flipV="1" rot="10800000">
            <a:off x="8123008" y="5790804"/>
            <a:ext cx="2008550" cy="328248"/>
          </a:xfrm>
          <a:prstGeom prst="bentConnector3">
            <a:avLst>
              <a:gd fmla="val -104" name="adj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文本框 17"/>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19" name="文本框 18"/>
          <p:cNvSpPr txBox="1"/>
          <p:nvPr/>
        </p:nvSpPr>
        <p:spPr>
          <a:xfrm>
            <a:off x="5314079" y="5790804"/>
            <a:ext cx="2765872" cy="640080"/>
          </a:xfrm>
          <a:prstGeom prst="rect">
            <a:avLst/>
          </a:prstGeom>
          <a:solidFill>
            <a:schemeClr val="bg1"/>
          </a:solidFill>
        </p:spPr>
        <p:txBody>
          <a:bodyPr rtlCol="0" wrap="square">
            <a:spAutoFit/>
          </a:bodyPr>
          <a:lstStyle/>
          <a:p>
            <a:r>
              <a:rPr altLang="en-US" lang="zh-CN">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此处输入文本此处输入文本此处输入文本</a:t>
            </a:r>
          </a:p>
        </p:txBody>
      </p:sp>
      <p:sp>
        <p:nvSpPr>
          <p:cNvPr id="20" name="文本框 19"/>
          <p:cNvSpPr txBox="1"/>
          <p:nvPr/>
        </p:nvSpPr>
        <p:spPr>
          <a:xfrm>
            <a:off x="3763050" y="1531897"/>
            <a:ext cx="2765872" cy="640080"/>
          </a:xfrm>
          <a:prstGeom prst="rect">
            <a:avLst/>
          </a:prstGeom>
          <a:noFill/>
        </p:spPr>
        <p:txBody>
          <a:bodyPr rtlCol="0" wrap="square">
            <a:spAutoFit/>
          </a:bodyPr>
          <a:lstStyle/>
          <a:p>
            <a:r>
              <a:rPr altLang="en-US" lang="zh-CN" smtClean="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此处输入文本此处输入文本此处输入文本</a:t>
            </a:r>
          </a:p>
        </p:txBody>
      </p:sp>
    </p:spTree>
    <p:extLst>
      <p:ext uri="{BB962C8B-B14F-4D97-AF65-F5344CB8AC3E}">
        <p14:creationId val="3471881633"/>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55D24883-AD5C-4EA6-9A5E-28FCD7243CED}" type="slidenum">
              <a:rPr altLang="en-US" lang="zh-CN" smtClean="0"/>
              <a:t>15</a:t>
            </a:fld>
          </a:p>
        </p:txBody>
      </p:sp>
      <p:sp>
        <p:nvSpPr>
          <p:cNvPr id="5" name="文本框 4"/>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9" name="矩形 8"/>
          <p:cNvSpPr/>
          <p:nvPr/>
        </p:nvSpPr>
        <p:spPr>
          <a:xfrm>
            <a:off x="1037082" y="4602511"/>
            <a:ext cx="3230880" cy="1005840"/>
          </a:xfrm>
          <a:prstGeom prst="rect">
            <a:avLst/>
          </a:prstGeom>
        </p:spPr>
        <p:txBody>
          <a:bodyPr wrap="none">
            <a:spAutoFit/>
          </a:bodyPr>
          <a:lstStyle/>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10" name="矩形 9"/>
          <p:cNvSpPr/>
          <p:nvPr/>
        </p:nvSpPr>
        <p:spPr>
          <a:xfrm>
            <a:off x="7982628" y="4602511"/>
            <a:ext cx="3230880" cy="1005840"/>
          </a:xfrm>
          <a:prstGeom prst="rect">
            <a:avLst/>
          </a:prstGeom>
        </p:spPr>
        <p:txBody>
          <a:bodyPr wrap="none">
            <a:spAutoFit/>
          </a:bodyPr>
          <a:lstStyle/>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11" name="矩形 10"/>
          <p:cNvSpPr/>
          <p:nvPr/>
        </p:nvSpPr>
        <p:spPr>
          <a:xfrm>
            <a:off x="4516127" y="4602511"/>
            <a:ext cx="3230880" cy="1005840"/>
          </a:xfrm>
          <a:prstGeom prst="rect">
            <a:avLst/>
          </a:prstGeom>
        </p:spPr>
        <p:txBody>
          <a:bodyPr wrap="none">
            <a:spAutoFit/>
          </a:bodyPr>
          <a:lstStyle/>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pic>
        <p:nvPicPr>
          <p:cNvPr id="7" name="图片 6"/>
          <p:cNvPicPr>
            <a:picLocks noChangeAspect="1"/>
          </p:cNvPicPr>
          <p:nvPr/>
        </p:nvPicPr>
        <p:blipFill>
          <a:blip r:embed="rId3">
            <a:extLst>
              <a:ext uri="{BEBA8EAE-BF5A-486C-A8C5-ECC9F3942E4B}">
                <a14:imgProps>
                  <a14:imgLayer xmlns:d3p1="http://schemas.openxmlformats.org/officeDocument/2006/relationships" d3p1:embed="">
                    <a14:imgEffect>
                      <a14:saturation sat="66000"/>
                    </a14:imgEffect>
                  </a14:imgLayer>
                </a14:imgProps>
              </a:ext>
              <a:ext uri="{28A0092B-C50C-407E-A947-70E740481C1C}">
                <a14:useLocalDpi/>
              </a:ext>
            </a:extLst>
          </a:blip>
          <a:srcRect b="14976" r="5281" t="46167"/>
          <a:stretch>
            <a:fillRect/>
          </a:stretch>
        </p:blipFill>
        <p:spPr>
          <a:xfrm>
            <a:off x="1106940" y="1558791"/>
            <a:ext cx="9738904" cy="2664826"/>
          </a:xfrm>
          <a:prstGeom prst="rect">
            <a:avLst/>
          </a:prstGeom>
        </p:spPr>
      </p:pic>
      <p:sp>
        <p:nvSpPr>
          <p:cNvPr id="8" name="矩形 7"/>
          <p:cNvSpPr/>
          <p:nvPr/>
        </p:nvSpPr>
        <p:spPr>
          <a:xfrm>
            <a:off x="1106940" y="3429000"/>
            <a:ext cx="9738904" cy="794617"/>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2" name="直角三角形 11"/>
          <p:cNvSpPr/>
          <p:nvPr/>
        </p:nvSpPr>
        <p:spPr>
          <a:xfrm rot="5400000">
            <a:off x="877701" y="1729602"/>
            <a:ext cx="834390" cy="492768"/>
          </a:xfrm>
          <a:custGeom>
            <a:gdLst>
              <a:gd fmla="*/ 0 w 834390" name="connsiteX0"/>
              <a:gd fmla="*/ 434340 h 445770" name="connsiteY0"/>
              <a:gd fmla="*/ 0 w 834390" name="connsiteX1"/>
              <a:gd fmla="*/ 0 h 445770" name="connsiteY1"/>
              <a:gd fmla="*/ 834390 w 834390" name="connsiteX2"/>
              <a:gd fmla="*/ 445770 h 445770" name="connsiteY2"/>
              <a:gd fmla="*/ 0 w 834390" name="connsiteX3"/>
              <a:gd fmla="*/ 434340 h 445770" name="connsiteY3"/>
            </a:gdLst>
            <a:cxnLst>
              <a:cxn ang="0">
                <a:pos x="connsiteX0" y="connsiteY0"/>
              </a:cxn>
              <a:cxn ang="0">
                <a:pos x="connsiteX1" y="connsiteY1"/>
              </a:cxn>
              <a:cxn ang="0">
                <a:pos x="connsiteX2" y="connsiteY2"/>
              </a:cxn>
              <a:cxn ang="0">
                <a:pos x="connsiteX3" y="connsiteY3"/>
              </a:cxn>
            </a:cxnLst>
            <a:rect b="b" l="l" r="r" t="t"/>
            <a:pathLst>
              <a:path h="445770" w="83439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3" name="直角三角形 11"/>
          <p:cNvSpPr/>
          <p:nvPr/>
        </p:nvSpPr>
        <p:spPr>
          <a:xfrm rot="16200000">
            <a:off x="10217194" y="3583537"/>
            <a:ext cx="834390" cy="445770"/>
          </a:xfrm>
          <a:custGeom>
            <a:gdLst>
              <a:gd fmla="*/ 0 w 834390" name="connsiteX0"/>
              <a:gd fmla="*/ 434340 h 445770" name="connsiteY0"/>
              <a:gd fmla="*/ 0 w 834390" name="connsiteX1"/>
              <a:gd fmla="*/ 0 h 445770" name="connsiteY1"/>
              <a:gd fmla="*/ 834390 w 834390" name="connsiteX2"/>
              <a:gd fmla="*/ 445770 h 445770" name="connsiteY2"/>
              <a:gd fmla="*/ 0 w 834390" name="connsiteX3"/>
              <a:gd fmla="*/ 434340 h 445770" name="connsiteY3"/>
            </a:gdLst>
            <a:cxnLst>
              <a:cxn ang="0">
                <a:pos x="connsiteX0" y="connsiteY0"/>
              </a:cxn>
              <a:cxn ang="0">
                <a:pos x="connsiteX1" y="connsiteY1"/>
              </a:cxn>
              <a:cxn ang="0">
                <a:pos x="connsiteX2" y="connsiteY2"/>
              </a:cxn>
              <a:cxn ang="0">
                <a:pos x="connsiteX3" y="connsiteY3"/>
              </a:cxn>
            </a:cxnLst>
            <a:rect b="b" l="l" r="r" t="t"/>
            <a:pathLst>
              <a:path h="445770" w="83439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Tree>
    <p:extLst>
      <p:ext uri="{BB962C8B-B14F-4D97-AF65-F5344CB8AC3E}">
        <p14:creationId val="1854423394"/>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2D5218CB-77B4-4C3C-8538-3FB46DCF2E33}" type="slidenum">
              <a:rPr altLang="en-US" lang="zh-CN" smtClean="0"/>
              <a:t>16</a:t>
            </a:fld>
          </a:p>
        </p:txBody>
      </p:sp>
      <p:sp>
        <p:nvSpPr>
          <p:cNvPr id="5" name="同心圆"/>
          <p:cNvSpPr/>
          <p:nvPr/>
        </p:nvSpPr>
        <p:spPr bwMode="auto">
          <a:xfrm rot="2700000">
            <a:off x="2522367" y="2971979"/>
            <a:ext cx="3194304" cy="2704918"/>
          </a:xfrm>
          <a:custGeom>
            <a:rect b="b" l="l" r="r" t="t"/>
            <a:pathLst>
              <a:path h="2743507" w="3240000">
                <a:moveTo>
                  <a:pt x="454487" y="0"/>
                </a:moveTo>
                <a:lnTo>
                  <a:pt x="837501" y="383013"/>
                </a:lnTo>
                <a:cubicBezTo>
                  <a:pt x="653847" y="575548"/>
                  <a:pt x="541663" y="836427"/>
                  <a:pt x="541663" y="1123507"/>
                </a:cubicBezTo>
                <a:cubicBezTo>
                  <a:pt x="541663" y="1719056"/>
                  <a:pt x="1024451" y="2201844"/>
                  <a:pt x="1620000" y="2201844"/>
                </a:cubicBezTo>
                <a:cubicBezTo>
                  <a:pt x="2215549" y="2201844"/>
                  <a:pt x="2698337" y="1719056"/>
                  <a:pt x="2698337" y="1123507"/>
                </a:cubicBezTo>
                <a:cubicBezTo>
                  <a:pt x="2698337" y="837130"/>
                  <a:pt x="2586703" y="576826"/>
                  <a:pt x="2403813" y="384459"/>
                </a:cubicBezTo>
                <a:lnTo>
                  <a:pt x="2786827" y="1445"/>
                </a:lnTo>
                <a:cubicBezTo>
                  <a:pt x="3067794" y="291814"/>
                  <a:pt x="3240000" y="687550"/>
                  <a:pt x="3240000" y="1123507"/>
                </a:cubicBezTo>
                <a:cubicBezTo>
                  <a:pt x="3240000" y="2018208"/>
                  <a:pt x="2514701" y="2743507"/>
                  <a:pt x="1620000" y="2743507"/>
                </a:cubicBezTo>
                <a:cubicBezTo>
                  <a:pt x="725299" y="2743507"/>
                  <a:pt x="0" y="2018208"/>
                  <a:pt x="0" y="1123507"/>
                </a:cubicBezTo>
                <a:cubicBezTo>
                  <a:pt x="0" y="686848"/>
                  <a:pt x="172762" y="290539"/>
                  <a:pt x="454487" y="0"/>
                </a:cubicBezTo>
                <a:close/>
              </a:path>
            </a:pathLst>
          </a:custGeom>
          <a:solidFill>
            <a:schemeClr val="bg1">
              <a:lumMod val="6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lIns="0" rIns="0"/>
          <a:lstStyle/>
          <a:p>
            <a:pPr indent="-136922" marL="136922">
              <a:lnSpc>
                <a:spcPct val="120000"/>
              </a:lnSpc>
              <a:spcBef>
                <a:spcPts val="450"/>
              </a:spcBef>
              <a:spcAft>
                <a:spcPts val="450"/>
              </a:spcAft>
              <a:buFont charset="0" panose="020b0604020202020204" pitchFamily="34" typeface="Arial"/>
              <a:buChar char="•"/>
            </a:pPr>
            <a:endParaRPr altLang="en-US" lang="zh-CN">
              <a:solidFill>
                <a:schemeClr val="bg1"/>
              </a:solidFill>
              <a:cs typeface="+mn-ea"/>
              <a:sym typeface="+mn-lt"/>
            </a:endParaRPr>
          </a:p>
        </p:txBody>
      </p:sp>
      <p:sp>
        <p:nvSpPr>
          <p:cNvPr id="6" name="KSO_GT2"/>
          <p:cNvSpPr/>
          <p:nvPr/>
        </p:nvSpPr>
        <p:spPr bwMode="auto">
          <a:xfrm rot="2700000">
            <a:off x="2992129" y="2867372"/>
            <a:ext cx="2631450" cy="26313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spcFirstLastPara="1">
            <a:prstTxWarp prst="textArchDown">
              <a:avLst/>
            </a:prstTxWarp>
          </a:bodyPr>
          <a:lstStyle/>
          <a:p>
            <a:pPr algn="ctr">
              <a:defRPr/>
            </a:pPr>
            <a:r>
              <a:rPr altLang="en-US" lang="zh-CN">
                <a:solidFill>
                  <a:schemeClr val="bg1"/>
                </a:solidFill>
                <a:latin charset="-122" panose="020b0503020204020204" pitchFamily="34" typeface="微软雅黑"/>
                <a:ea charset="-122" panose="020b0503020204020204" pitchFamily="34" typeface="微软雅黑"/>
                <a:cs typeface="+mn-ea"/>
                <a:sym typeface="+mn-lt"/>
              </a:rPr>
              <a:t>此处输入小标题</a:t>
            </a:r>
          </a:p>
        </p:txBody>
      </p:sp>
      <p:sp>
        <p:nvSpPr>
          <p:cNvPr id="7" name="KSO_GT1"/>
          <p:cNvSpPr/>
          <p:nvPr/>
        </p:nvSpPr>
        <p:spPr bwMode="auto">
          <a:xfrm>
            <a:off x="3417493" y="3282345"/>
            <a:ext cx="1773050" cy="1773050"/>
          </a:xfrm>
          <a:prstGeom prst="ellipse">
            <a:avLst/>
          </a:prstGeom>
          <a:solidFill>
            <a:srgbClr val="E00024"/>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lIns="0" rIns="0"/>
          <a:lstStyle/>
          <a:p>
            <a:pPr algn="ctr">
              <a:lnSpc>
                <a:spcPct val="120000"/>
              </a:lnSpc>
              <a:spcBef>
                <a:spcPts val="450"/>
              </a:spcBef>
              <a:spcAft>
                <a:spcPts val="450"/>
              </a:spcAft>
            </a:pPr>
            <a:r>
              <a:rPr altLang="en-US" lang="zh-CN">
                <a:solidFill>
                  <a:schemeClr val="bg1"/>
                </a:solidFill>
                <a:latin charset="-122" panose="020b0503020204020204" pitchFamily="34" typeface="微软雅黑"/>
                <a:ea charset="-122" panose="020b0503020204020204" pitchFamily="34" typeface="微软雅黑"/>
                <a:cs typeface="+mn-ea"/>
                <a:sym typeface="+mn-lt"/>
              </a:rPr>
              <a:t>标题</a:t>
            </a:r>
          </a:p>
        </p:txBody>
      </p:sp>
      <p:cxnSp>
        <p:nvCxnSpPr>
          <p:cNvPr id="8" name="直接箭头连接符 7"/>
          <p:cNvCxnSpPr/>
          <p:nvPr/>
        </p:nvCxnSpPr>
        <p:spPr>
          <a:xfrm flipV="1">
            <a:off x="4265381" y="2104641"/>
            <a:ext cx="2923599" cy="22146"/>
          </a:xfrm>
          <a:prstGeom prst="straightConnector1">
            <a:avLst/>
          </a:prstGeom>
          <a:ln w="19050">
            <a:solidFill>
              <a:schemeClr val="bg1">
                <a:lumMod val="6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9" name="KSO_GT1.1"/>
          <p:cNvSpPr>
            <a:spLocks noChangeArrowheads="1"/>
          </p:cNvSpPr>
          <p:nvPr/>
        </p:nvSpPr>
        <p:spPr bwMode="auto">
          <a:xfrm>
            <a:off x="7258431" y="1931090"/>
            <a:ext cx="2955507" cy="347105"/>
          </a:xfrm>
          <a:prstGeom prst="rect">
            <a:avLst/>
          </a:prstGeom>
          <a:noFill/>
          <a:ln>
            <a:noFill/>
          </a:ln>
          <a:effectLst/>
          <a:extLst>
            <a:ext uri="{909E8E84-426E-40DD-AFC4-6F175D3DCCD1}">
              <a14:hiddenFill>
                <a:solidFill>
                  <a:schemeClr val="accent1"/>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a:lstStyle/>
          <a:p>
            <a:pPr>
              <a:lnSpc>
                <a:spcPct val="150000"/>
              </a:lnSpc>
              <a:defRPr/>
            </a:pPr>
            <a:r>
              <a:rPr altLang="en-US" kern="0" lang="zh-CN" sz="20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请在此处输入文本</a:t>
            </a:r>
          </a:p>
        </p:txBody>
      </p:sp>
      <p:cxnSp>
        <p:nvCxnSpPr>
          <p:cNvPr id="10" name="直接箭头连接符 9"/>
          <p:cNvCxnSpPr/>
          <p:nvPr/>
        </p:nvCxnSpPr>
        <p:spPr>
          <a:xfrm>
            <a:off x="4253806" y="2869638"/>
            <a:ext cx="2923599" cy="1557"/>
          </a:xfrm>
          <a:prstGeom prst="straightConnector1">
            <a:avLst/>
          </a:prstGeom>
          <a:ln w="19050">
            <a:solidFill>
              <a:schemeClr val="bg1">
                <a:lumMod val="6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1" name="KSO_GT1.1"/>
          <p:cNvSpPr>
            <a:spLocks noChangeArrowheads="1"/>
          </p:cNvSpPr>
          <p:nvPr/>
        </p:nvSpPr>
        <p:spPr bwMode="auto">
          <a:xfrm>
            <a:off x="7258431" y="2697645"/>
            <a:ext cx="2955507" cy="347105"/>
          </a:xfrm>
          <a:prstGeom prst="rect">
            <a:avLst/>
          </a:prstGeom>
          <a:noFill/>
          <a:ln>
            <a:noFill/>
          </a:ln>
          <a:effectLst/>
          <a:extLst>
            <a:ext uri="{909E8E84-426E-40DD-AFC4-6F175D3DCCD1}">
              <a14:hiddenFill>
                <a:solidFill>
                  <a:schemeClr val="accent1"/>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a:lstStyle/>
          <a:p>
            <a:pPr>
              <a:lnSpc>
                <a:spcPct val="150000"/>
              </a:lnSpc>
              <a:defRPr/>
            </a:pPr>
            <a:r>
              <a:rPr altLang="en-US" kern="0" lang="zh-CN" sz="20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请在此处输入文本</a:t>
            </a:r>
          </a:p>
        </p:txBody>
      </p:sp>
      <p:cxnSp>
        <p:nvCxnSpPr>
          <p:cNvPr id="12" name="直接箭头连接符 11"/>
          <p:cNvCxnSpPr/>
          <p:nvPr/>
        </p:nvCxnSpPr>
        <p:spPr>
          <a:xfrm>
            <a:off x="5025522" y="3631911"/>
            <a:ext cx="2140308" cy="0"/>
          </a:xfrm>
          <a:prstGeom prst="straightConnector1">
            <a:avLst/>
          </a:prstGeom>
          <a:ln w="19050">
            <a:solidFill>
              <a:schemeClr val="bg1">
                <a:lumMod val="65000"/>
              </a:schemeClr>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3" name="KSO_GT1.1"/>
          <p:cNvSpPr>
            <a:spLocks noChangeArrowheads="1"/>
          </p:cNvSpPr>
          <p:nvPr/>
        </p:nvSpPr>
        <p:spPr bwMode="auto">
          <a:xfrm>
            <a:off x="7258431" y="3458361"/>
            <a:ext cx="2955507" cy="347105"/>
          </a:xfrm>
          <a:prstGeom prst="rect">
            <a:avLst/>
          </a:prstGeom>
          <a:noFill/>
          <a:ln>
            <a:noFill/>
          </a:ln>
          <a:effectLst/>
          <a:extLst>
            <a:ext uri="{909E8E84-426E-40DD-AFC4-6F175D3DCCD1}">
              <a14:hiddenFill>
                <a:solidFill>
                  <a:schemeClr val="accent1"/>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a:lstStyle/>
          <a:p>
            <a:pPr>
              <a:lnSpc>
                <a:spcPct val="150000"/>
              </a:lnSpc>
              <a:defRPr/>
            </a:pPr>
            <a:r>
              <a:rPr altLang="en-US" kern="0" lang="zh-CN" sz="20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请在此处输入文本</a:t>
            </a:r>
          </a:p>
        </p:txBody>
      </p:sp>
      <p:sp>
        <p:nvSpPr>
          <p:cNvPr id="14" name="同心圆 26"/>
          <p:cNvSpPr/>
          <p:nvPr/>
        </p:nvSpPr>
        <p:spPr bwMode="auto">
          <a:xfrm rot="2700000">
            <a:off x="1742162" y="2435690"/>
            <a:ext cx="4609305" cy="3935420"/>
          </a:xfrm>
          <a:custGeom>
            <a:rect b="b" l="l" r="r" t="t"/>
            <a:pathLst>
              <a:path h="3995247" w="4680000">
                <a:moveTo>
                  <a:pt x="3993951" y="0"/>
                </a:moveTo>
                <a:cubicBezTo>
                  <a:pt x="4417819" y="423477"/>
                  <a:pt x="4680000" y="1008745"/>
                  <a:pt x="4680000" y="1655247"/>
                </a:cubicBezTo>
                <a:cubicBezTo>
                  <a:pt x="4680000" y="2947593"/>
                  <a:pt x="3632346" y="3995247"/>
                  <a:pt x="2340000" y="3995247"/>
                </a:cubicBezTo>
                <a:cubicBezTo>
                  <a:pt x="1047654" y="3995247"/>
                  <a:pt x="0" y="2947593"/>
                  <a:pt x="0" y="1655247"/>
                </a:cubicBezTo>
                <a:cubicBezTo>
                  <a:pt x="0" y="1009221"/>
                  <a:pt x="261794" y="424341"/>
                  <a:pt x="685095" y="920"/>
                </a:cubicBezTo>
                <a:lnTo>
                  <a:pt x="1072874" y="388699"/>
                </a:lnTo>
                <a:cubicBezTo>
                  <a:pt x="748814" y="712878"/>
                  <a:pt x="548402" y="1160658"/>
                  <a:pt x="548402" y="1655247"/>
                </a:cubicBezTo>
                <a:cubicBezTo>
                  <a:pt x="548402" y="2644719"/>
                  <a:pt x="1350528" y="3446845"/>
                  <a:pt x="2340000" y="3446845"/>
                </a:cubicBezTo>
                <a:cubicBezTo>
                  <a:pt x="3329472" y="3446845"/>
                  <a:pt x="4131598" y="2644719"/>
                  <a:pt x="4131598" y="1655247"/>
                </a:cubicBezTo>
                <a:cubicBezTo>
                  <a:pt x="4131598" y="1160182"/>
                  <a:pt x="3930799" y="712015"/>
                  <a:pt x="3606172" y="387779"/>
                </a:cubicBezTo>
                <a:close/>
              </a:path>
            </a:pathLst>
          </a:custGeom>
          <a:solidFill>
            <a:srgbClr val="E00024">
              <a:alpha val="40000"/>
            </a:srgb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120000"/>
              </a:lnSpc>
            </a:pPr>
            <a:endParaRPr altLang="en-US" lang="zh-CN">
              <a:solidFill>
                <a:schemeClr val="bg1"/>
              </a:solidFill>
              <a:cs typeface="+mn-ea"/>
              <a:sym typeface="+mn-lt"/>
            </a:endParaRPr>
          </a:p>
        </p:txBody>
      </p:sp>
      <p:sp>
        <p:nvSpPr>
          <p:cNvPr id="15" name="KSO_GT3"/>
          <p:cNvSpPr/>
          <p:nvPr/>
        </p:nvSpPr>
        <p:spPr bwMode="auto">
          <a:xfrm rot="2700000">
            <a:off x="2285356" y="2152766"/>
            <a:ext cx="4043182" cy="40429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spcFirstLastPara="1">
            <a:prstTxWarp prst="textArchDown">
              <a:avLst/>
            </a:prstTxWarp>
          </a:bodyPr>
          <a:lstStyle/>
          <a:p>
            <a:pPr algn="ctr">
              <a:defRPr/>
            </a:pPr>
            <a:r>
              <a:rPr altLang="en-US" lang="zh-CN">
                <a:solidFill>
                  <a:schemeClr val="bg1"/>
                </a:solidFill>
                <a:latin charset="-122" panose="020b0503020204020204" pitchFamily="34" typeface="微软雅黑"/>
                <a:ea charset="-122" panose="020b0503020204020204" pitchFamily="34" typeface="微软雅黑"/>
                <a:cs typeface="+mn-ea"/>
                <a:sym typeface="+mn-lt"/>
              </a:rPr>
              <a:t>此处输入小标题，此处输入小标题</a:t>
            </a:r>
          </a:p>
        </p:txBody>
      </p:sp>
      <p:sp>
        <p:nvSpPr>
          <p:cNvPr id="17" name="文本框 16"/>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Tree>
    <p:extLst>
      <p:ext uri="{BB962C8B-B14F-4D97-AF65-F5344CB8AC3E}">
        <p14:creationId val="3958237820"/>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7EB98E70-D25F-4F34-8D2B-80E22FD7B5A9}" type="slidenum">
              <a:rPr altLang="en-US" lang="zh-CN" smtClean="0"/>
              <a:t>17</a:t>
            </a:fld>
          </a:p>
        </p:txBody>
      </p:sp>
      <p:sp>
        <p:nvSpPr>
          <p:cNvPr id="5" name="MH_Text_3"/>
          <p:cNvSpPr txBox="1"/>
          <p:nvPr>
            <p:custDataLst>
              <p:tags r:id="rId2"/>
            </p:custDataLst>
          </p:nvPr>
        </p:nvSpPr>
        <p:spPr>
          <a:xfrm>
            <a:off x="7914839" y="4454073"/>
            <a:ext cx="2463601" cy="1165223"/>
          </a:xfrm>
          <a:prstGeom prst="rect">
            <a:avLst/>
          </a:prstGeom>
          <a:noFill/>
        </p:spPr>
        <p:txBody>
          <a:bodyPr bIns="0" lIns="0" rIns="0" tIns="0"/>
          <a:lstStyle/>
          <a:p>
            <a:pPr algn="r"/>
            <a:r>
              <a:rPr altLang="en-US" lang="zh-CN" sz="16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此处输入文本此处输入文本此处输入文本此处输入文本此处输入文本此处输入文本</a:t>
            </a:r>
          </a:p>
        </p:txBody>
      </p:sp>
      <p:sp>
        <p:nvSpPr>
          <p:cNvPr id="6" name="MH_Other_1"/>
          <p:cNvSpPr/>
          <p:nvPr>
            <p:custDataLst>
              <p:tags r:id="rId3"/>
            </p:custDataLst>
          </p:nvPr>
        </p:nvSpPr>
        <p:spPr>
          <a:xfrm>
            <a:off x="6771671" y="2221036"/>
            <a:ext cx="979595" cy="251791"/>
          </a:xfrm>
          <a:custGeom>
            <a:gdLst>
              <a:gd fmla="*/ 0 w 1190172" name="connsiteX0"/>
              <a:gd fmla="*/ 217715 h 217715" name="connsiteY0"/>
              <a:gd fmla="*/ 159657 w 1190172" name="connsiteX1"/>
              <a:gd fmla="*/ 0 h 217715" name="connsiteY1"/>
              <a:gd fmla="*/ 1190172 w 1190172" name="connsiteX2"/>
              <a:gd fmla="*/ 0 h 217715" name="connsiteY2"/>
            </a:gdLst>
            <a:cxnLst>
              <a:cxn ang="0">
                <a:pos x="connsiteX0" y="connsiteY0"/>
              </a:cxn>
              <a:cxn ang="0">
                <a:pos x="connsiteX1" y="connsiteY1"/>
              </a:cxn>
              <a:cxn ang="0">
                <a:pos x="connsiteX2" y="connsiteY2"/>
              </a:cxn>
            </a:cxnLst>
            <a:rect b="b" l="l" r="r" t="t"/>
            <a:pathLst>
              <a:path h="217715" w="1190172">
                <a:moveTo>
                  <a:pt x="0" y="217715"/>
                </a:moveTo>
                <a:lnTo>
                  <a:pt x="159657" y="0"/>
                </a:lnTo>
                <a:lnTo>
                  <a:pt x="1190172" y="0"/>
                </a:lnTo>
              </a:path>
            </a:pathLst>
          </a:custGeom>
          <a:noFill/>
          <a:ln>
            <a:solidFill>
              <a:srgbClr val="C0C0C0"/>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altLang="en-US" lang="zh-CN"/>
          </a:p>
        </p:txBody>
      </p:sp>
      <p:sp>
        <p:nvSpPr>
          <p:cNvPr id="7" name="MH_SubTitle_4"/>
          <p:cNvSpPr txBox="1">
            <a:spLocks noChangeArrowheads="1"/>
          </p:cNvSpPr>
          <p:nvPr>
            <p:custDataLst>
              <p:tags r:id="rId4"/>
            </p:custDataLst>
          </p:nvPr>
        </p:nvSpPr>
        <p:spPr bwMode="auto">
          <a:xfrm>
            <a:off x="7914839" y="1664153"/>
            <a:ext cx="2319419" cy="74434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b" bIns="0" lIns="0" rIns="0" tIns="0"/>
          <a:lstStyle>
            <a:lvl1pPr>
              <a:defRPr>
                <a:solidFill>
                  <a:schemeClr val="tx1"/>
                </a:solidFill>
                <a:latin charset="-122" panose="02010600030101010101" pitchFamily="2" typeface="等线"/>
                <a:ea charset="-122" panose="02010600030101010101" pitchFamily="2" typeface="等线"/>
              </a:defRPr>
            </a:lvl1pPr>
            <a:lvl2pPr indent="-285750" marL="742950">
              <a:defRPr>
                <a:solidFill>
                  <a:schemeClr val="tx1"/>
                </a:solidFill>
                <a:latin charset="-122" panose="02010600030101010101" pitchFamily="2" typeface="等线"/>
                <a:ea charset="-122" panose="02010600030101010101" pitchFamily="2" typeface="等线"/>
              </a:defRPr>
            </a:lvl2pPr>
            <a:lvl3pPr indent="-228600" marL="1143000">
              <a:defRPr>
                <a:solidFill>
                  <a:schemeClr val="tx1"/>
                </a:solidFill>
                <a:latin charset="-122" panose="02010600030101010101" pitchFamily="2" typeface="等线"/>
                <a:ea charset="-122" panose="02010600030101010101" pitchFamily="2" typeface="等线"/>
              </a:defRPr>
            </a:lvl3pPr>
            <a:lvl4pPr indent="-228600" marL="1600200">
              <a:defRPr>
                <a:solidFill>
                  <a:schemeClr val="tx1"/>
                </a:solidFill>
                <a:latin charset="-122" panose="02010600030101010101" pitchFamily="2" typeface="等线"/>
                <a:ea charset="-122" panose="02010600030101010101" pitchFamily="2" typeface="等线"/>
              </a:defRPr>
            </a:lvl4pPr>
            <a:lvl5pPr indent="-228600" marL="2057400">
              <a:defRPr>
                <a:solidFill>
                  <a:schemeClr val="tx1"/>
                </a:solidFill>
                <a:latin charset="-122" panose="02010600030101010101" pitchFamily="2" typeface="等线"/>
                <a:ea charset="-122" panose="02010600030101010101" pitchFamily="2" typeface="等线"/>
              </a:defRPr>
            </a:lvl5pPr>
            <a:lvl6pPr fontAlgn="base" indent="-228600" marL="2514600">
              <a:spcBef>
                <a:spcPct val="0"/>
              </a:spcBef>
              <a:spcAft>
                <a:spcPct val="0"/>
              </a:spcAft>
              <a:defRPr>
                <a:solidFill>
                  <a:schemeClr val="tx1"/>
                </a:solidFill>
                <a:latin charset="-122" panose="02010600030101010101" pitchFamily="2" typeface="等线"/>
                <a:ea charset="-122" panose="02010600030101010101" pitchFamily="2" typeface="等线"/>
              </a:defRPr>
            </a:lvl6pPr>
            <a:lvl7pPr fontAlgn="base" indent="-228600" marL="2971800">
              <a:spcBef>
                <a:spcPct val="0"/>
              </a:spcBef>
              <a:spcAft>
                <a:spcPct val="0"/>
              </a:spcAft>
              <a:defRPr>
                <a:solidFill>
                  <a:schemeClr val="tx1"/>
                </a:solidFill>
                <a:latin charset="-122" panose="02010600030101010101" pitchFamily="2" typeface="等线"/>
                <a:ea charset="-122" panose="02010600030101010101" pitchFamily="2" typeface="等线"/>
              </a:defRPr>
            </a:lvl7pPr>
            <a:lvl8pPr fontAlgn="base" indent="-228600" marL="3429000">
              <a:spcBef>
                <a:spcPct val="0"/>
              </a:spcBef>
              <a:spcAft>
                <a:spcPct val="0"/>
              </a:spcAft>
              <a:defRPr>
                <a:solidFill>
                  <a:schemeClr val="tx1"/>
                </a:solidFill>
                <a:latin charset="-122" panose="02010600030101010101" pitchFamily="2" typeface="等线"/>
                <a:ea charset="-122" panose="02010600030101010101" pitchFamily="2" typeface="等线"/>
              </a:defRPr>
            </a:lvl8pPr>
            <a:lvl9pPr fontAlgn="base" indent="-228600" marL="3886200">
              <a:spcBef>
                <a:spcPct val="0"/>
              </a:spcBef>
              <a:spcAft>
                <a:spcPct val="0"/>
              </a:spcAft>
              <a:defRPr>
                <a:solidFill>
                  <a:schemeClr val="tx1"/>
                </a:solidFill>
                <a:latin charset="-122" panose="02010600030101010101" pitchFamily="2" typeface="等线"/>
                <a:ea charset="-122" panose="02010600030101010101" pitchFamily="2" typeface="等线"/>
              </a:defRPr>
            </a:lvl9pPr>
          </a:lstStyle>
          <a:p>
            <a:pPr>
              <a:lnSpc>
                <a:spcPct val="120000"/>
              </a:lnSpc>
              <a:defRPr/>
            </a:pPr>
            <a:r>
              <a:rPr altLang="en-US" lang="zh-CN" smtClean="0" sz="2000">
                <a:solidFill>
                  <a:schemeClr val="tx1">
                    <a:lumMod val="65000"/>
                    <a:lumOff val="35000"/>
                  </a:schemeClr>
                </a:solidFill>
                <a:latin charset="-122" panose="020b0503020204020204" pitchFamily="34" typeface="微软雅黑"/>
                <a:ea charset="-122" panose="020b0503020204020204" pitchFamily="34" typeface="微软雅黑"/>
              </a:rPr>
              <a:t>小标题</a:t>
            </a:r>
          </a:p>
        </p:txBody>
      </p:sp>
      <p:sp>
        <p:nvSpPr>
          <p:cNvPr id="8" name="MH_Text_4"/>
          <p:cNvSpPr txBox="1"/>
          <p:nvPr>
            <p:custDataLst>
              <p:tags r:id="rId5"/>
            </p:custDataLst>
          </p:nvPr>
        </p:nvSpPr>
        <p:spPr>
          <a:xfrm>
            <a:off x="7914839" y="2463637"/>
            <a:ext cx="2463601" cy="1163385"/>
          </a:xfrm>
          <a:prstGeom prst="rect">
            <a:avLst/>
          </a:prstGeom>
          <a:noFill/>
        </p:spPr>
        <p:txBody>
          <a:bodyPr bIns="0" lIns="0" rIns="0" tIns="0"/>
          <a:lstStyle/>
          <a:p>
            <a:pPr algn="r"/>
            <a:r>
              <a:rPr altLang="en-US" lang="zh-CN" sz="16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此处输入文本此处输入文本此处输入文本此处输入文本此处输入文本此处输入文本</a:t>
            </a:r>
          </a:p>
        </p:txBody>
      </p:sp>
      <p:sp>
        <p:nvSpPr>
          <p:cNvPr id="9" name="MH_Other_2"/>
          <p:cNvSpPr/>
          <p:nvPr>
            <p:custDataLst>
              <p:tags r:id="rId6"/>
            </p:custDataLst>
          </p:nvPr>
        </p:nvSpPr>
        <p:spPr>
          <a:xfrm flipH="1">
            <a:off x="3933966" y="2221036"/>
            <a:ext cx="977758" cy="251791"/>
          </a:xfrm>
          <a:custGeom>
            <a:gdLst>
              <a:gd fmla="*/ 0 w 1190172" name="connsiteX0"/>
              <a:gd fmla="*/ 217715 h 217715" name="connsiteY0"/>
              <a:gd fmla="*/ 159657 w 1190172" name="connsiteX1"/>
              <a:gd fmla="*/ 0 h 217715" name="connsiteY1"/>
              <a:gd fmla="*/ 1190172 w 1190172" name="connsiteX2"/>
              <a:gd fmla="*/ 0 h 217715" name="connsiteY2"/>
            </a:gdLst>
            <a:cxnLst>
              <a:cxn ang="0">
                <a:pos x="connsiteX0" y="connsiteY0"/>
              </a:cxn>
              <a:cxn ang="0">
                <a:pos x="connsiteX1" y="connsiteY1"/>
              </a:cxn>
              <a:cxn ang="0">
                <a:pos x="connsiteX2" y="connsiteY2"/>
              </a:cxn>
            </a:cxnLst>
            <a:rect b="b" l="l" r="r" t="t"/>
            <a:pathLst>
              <a:path h="217715" w="1190172">
                <a:moveTo>
                  <a:pt x="0" y="217715"/>
                </a:moveTo>
                <a:lnTo>
                  <a:pt x="159657" y="0"/>
                </a:lnTo>
                <a:lnTo>
                  <a:pt x="1190172" y="0"/>
                </a:lnTo>
              </a:path>
            </a:pathLst>
          </a:custGeom>
          <a:noFill/>
          <a:ln>
            <a:solidFill>
              <a:srgbClr val="C0C0C0"/>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endParaRPr altLang="en-US" lang="zh-CN"/>
          </a:p>
        </p:txBody>
      </p:sp>
      <p:sp>
        <p:nvSpPr>
          <p:cNvPr id="10" name="MH_SubTitle_1"/>
          <p:cNvSpPr txBox="1">
            <a:spLocks noChangeArrowheads="1"/>
          </p:cNvSpPr>
          <p:nvPr>
            <p:custDataLst>
              <p:tags r:id="rId7"/>
            </p:custDataLst>
          </p:nvPr>
        </p:nvSpPr>
        <p:spPr bwMode="auto">
          <a:xfrm flipH="1">
            <a:off x="1450975" y="1664153"/>
            <a:ext cx="2319419" cy="74434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b" bIns="0" lIns="0" rIns="0" tIns="0"/>
          <a:lstStyle>
            <a:lvl1pPr>
              <a:defRPr>
                <a:solidFill>
                  <a:schemeClr val="tx1"/>
                </a:solidFill>
                <a:latin charset="-122" panose="02010600030101010101" pitchFamily="2" typeface="等线"/>
                <a:ea charset="-122" panose="02010600030101010101" pitchFamily="2" typeface="等线"/>
              </a:defRPr>
            </a:lvl1pPr>
            <a:lvl2pPr indent="-285750" marL="742950">
              <a:defRPr>
                <a:solidFill>
                  <a:schemeClr val="tx1"/>
                </a:solidFill>
                <a:latin charset="-122" panose="02010600030101010101" pitchFamily="2" typeface="等线"/>
                <a:ea charset="-122" panose="02010600030101010101" pitchFamily="2" typeface="等线"/>
              </a:defRPr>
            </a:lvl2pPr>
            <a:lvl3pPr indent="-228600" marL="1143000">
              <a:defRPr>
                <a:solidFill>
                  <a:schemeClr val="tx1"/>
                </a:solidFill>
                <a:latin charset="-122" panose="02010600030101010101" pitchFamily="2" typeface="等线"/>
                <a:ea charset="-122" panose="02010600030101010101" pitchFamily="2" typeface="等线"/>
              </a:defRPr>
            </a:lvl3pPr>
            <a:lvl4pPr indent="-228600" marL="1600200">
              <a:defRPr>
                <a:solidFill>
                  <a:schemeClr val="tx1"/>
                </a:solidFill>
                <a:latin charset="-122" panose="02010600030101010101" pitchFamily="2" typeface="等线"/>
                <a:ea charset="-122" panose="02010600030101010101" pitchFamily="2" typeface="等线"/>
              </a:defRPr>
            </a:lvl4pPr>
            <a:lvl5pPr indent="-228600" marL="2057400">
              <a:defRPr>
                <a:solidFill>
                  <a:schemeClr val="tx1"/>
                </a:solidFill>
                <a:latin charset="-122" panose="02010600030101010101" pitchFamily="2" typeface="等线"/>
                <a:ea charset="-122" panose="02010600030101010101" pitchFamily="2" typeface="等线"/>
              </a:defRPr>
            </a:lvl5pPr>
            <a:lvl6pPr fontAlgn="base" indent="-228600" marL="2514600">
              <a:spcBef>
                <a:spcPct val="0"/>
              </a:spcBef>
              <a:spcAft>
                <a:spcPct val="0"/>
              </a:spcAft>
              <a:defRPr>
                <a:solidFill>
                  <a:schemeClr val="tx1"/>
                </a:solidFill>
                <a:latin charset="-122" panose="02010600030101010101" pitchFamily="2" typeface="等线"/>
                <a:ea charset="-122" panose="02010600030101010101" pitchFamily="2" typeface="等线"/>
              </a:defRPr>
            </a:lvl6pPr>
            <a:lvl7pPr fontAlgn="base" indent="-228600" marL="2971800">
              <a:spcBef>
                <a:spcPct val="0"/>
              </a:spcBef>
              <a:spcAft>
                <a:spcPct val="0"/>
              </a:spcAft>
              <a:defRPr>
                <a:solidFill>
                  <a:schemeClr val="tx1"/>
                </a:solidFill>
                <a:latin charset="-122" panose="02010600030101010101" pitchFamily="2" typeface="等线"/>
                <a:ea charset="-122" panose="02010600030101010101" pitchFamily="2" typeface="等线"/>
              </a:defRPr>
            </a:lvl7pPr>
            <a:lvl8pPr fontAlgn="base" indent="-228600" marL="3429000">
              <a:spcBef>
                <a:spcPct val="0"/>
              </a:spcBef>
              <a:spcAft>
                <a:spcPct val="0"/>
              </a:spcAft>
              <a:defRPr>
                <a:solidFill>
                  <a:schemeClr val="tx1"/>
                </a:solidFill>
                <a:latin charset="-122" panose="02010600030101010101" pitchFamily="2" typeface="等线"/>
                <a:ea charset="-122" panose="02010600030101010101" pitchFamily="2" typeface="等线"/>
              </a:defRPr>
            </a:lvl8pPr>
            <a:lvl9pPr fontAlgn="base" indent="-228600" marL="3886200">
              <a:spcBef>
                <a:spcPct val="0"/>
              </a:spcBef>
              <a:spcAft>
                <a:spcPct val="0"/>
              </a:spcAft>
              <a:defRPr>
                <a:solidFill>
                  <a:schemeClr val="tx1"/>
                </a:solidFill>
                <a:latin charset="-122" panose="02010600030101010101" pitchFamily="2" typeface="等线"/>
                <a:ea charset="-122" panose="02010600030101010101" pitchFamily="2" typeface="等线"/>
              </a:defRPr>
            </a:lvl9pPr>
          </a:lstStyle>
          <a:p>
            <a:pPr algn="r">
              <a:lnSpc>
                <a:spcPct val="120000"/>
              </a:lnSpc>
              <a:defRPr/>
            </a:pPr>
            <a:r>
              <a:rPr altLang="en-US" lang="zh-CN" smtClean="0" sz="2000">
                <a:solidFill>
                  <a:schemeClr val="tx1">
                    <a:lumMod val="65000"/>
                    <a:lumOff val="35000"/>
                  </a:schemeClr>
                </a:solidFill>
                <a:latin charset="-122" panose="020b0503020204020204" pitchFamily="34" typeface="微软雅黑"/>
                <a:ea charset="-122" panose="020b0503020204020204" pitchFamily="34" typeface="微软雅黑"/>
              </a:rPr>
              <a:t>小标题</a:t>
            </a:r>
          </a:p>
        </p:txBody>
      </p:sp>
      <p:sp>
        <p:nvSpPr>
          <p:cNvPr id="11" name="MH_Text_1"/>
          <p:cNvSpPr txBox="1"/>
          <p:nvPr>
            <p:custDataLst>
              <p:tags r:id="rId8"/>
            </p:custDataLst>
          </p:nvPr>
        </p:nvSpPr>
        <p:spPr>
          <a:xfrm flipH="1">
            <a:off x="1234440" y="2463637"/>
            <a:ext cx="2535954" cy="1163385"/>
          </a:xfrm>
          <a:prstGeom prst="rect">
            <a:avLst/>
          </a:prstGeom>
          <a:noFill/>
        </p:spPr>
        <p:txBody>
          <a:bodyPr bIns="0" lIns="0" rIns="0" tIns="0"/>
          <a:lstStyle/>
          <a:p>
            <a:pPr algn="r"/>
            <a:r>
              <a:rPr altLang="en-US" lang="zh-CN" sz="16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此处输入文本此处输入文本此处输入文本此处输入文本此处输入文本此处输入文本</a:t>
            </a:r>
          </a:p>
        </p:txBody>
      </p:sp>
      <p:sp>
        <p:nvSpPr>
          <p:cNvPr id="12" name="MH_Other_3"/>
          <p:cNvSpPr/>
          <p:nvPr>
            <p:custDataLst>
              <p:tags r:id="rId9"/>
            </p:custDataLst>
          </p:nvPr>
        </p:nvSpPr>
        <p:spPr>
          <a:xfrm flipV="1">
            <a:off x="6771671" y="3933951"/>
            <a:ext cx="979595" cy="251791"/>
          </a:xfrm>
          <a:custGeom>
            <a:gdLst>
              <a:gd fmla="*/ 0 w 1190172" name="connsiteX0"/>
              <a:gd fmla="*/ 217715 h 217715" name="connsiteY0"/>
              <a:gd fmla="*/ 159657 w 1190172" name="connsiteX1"/>
              <a:gd fmla="*/ 0 h 217715" name="connsiteY1"/>
              <a:gd fmla="*/ 1190172 w 1190172" name="connsiteX2"/>
              <a:gd fmla="*/ 0 h 217715" name="connsiteY2"/>
            </a:gdLst>
            <a:cxnLst>
              <a:cxn ang="0">
                <a:pos x="connsiteX0" y="connsiteY0"/>
              </a:cxn>
              <a:cxn ang="0">
                <a:pos x="connsiteX1" y="connsiteY1"/>
              </a:cxn>
              <a:cxn ang="0">
                <a:pos x="connsiteX2" y="connsiteY2"/>
              </a:cxn>
            </a:cxnLst>
            <a:rect b="b" l="l" r="r" t="t"/>
            <a:pathLst>
              <a:path h="217715" w="1190172">
                <a:moveTo>
                  <a:pt x="0" y="217715"/>
                </a:moveTo>
                <a:lnTo>
                  <a:pt x="159657" y="0"/>
                </a:lnTo>
                <a:lnTo>
                  <a:pt x="1190172" y="0"/>
                </a:lnTo>
              </a:path>
            </a:pathLst>
          </a:custGeom>
          <a:noFill/>
          <a:ln>
            <a:solidFill>
              <a:srgbClr val="C0C0C0"/>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altLang="en-US" lang="zh-CN"/>
          </a:p>
        </p:txBody>
      </p:sp>
      <p:sp>
        <p:nvSpPr>
          <p:cNvPr id="13" name="MH_Other_4"/>
          <p:cNvSpPr/>
          <p:nvPr>
            <p:custDataLst>
              <p:tags r:id="rId10"/>
            </p:custDataLst>
          </p:nvPr>
        </p:nvSpPr>
        <p:spPr>
          <a:xfrm flipH="1" flipV="1">
            <a:off x="3933966" y="3933951"/>
            <a:ext cx="977758" cy="251791"/>
          </a:xfrm>
          <a:custGeom>
            <a:gdLst>
              <a:gd fmla="*/ 0 w 1190172" name="connsiteX0"/>
              <a:gd fmla="*/ 217715 h 217715" name="connsiteY0"/>
              <a:gd fmla="*/ 159657 w 1190172" name="connsiteX1"/>
              <a:gd fmla="*/ 0 h 217715" name="connsiteY1"/>
              <a:gd fmla="*/ 1190172 w 1190172" name="connsiteX2"/>
              <a:gd fmla="*/ 0 h 217715" name="connsiteY2"/>
            </a:gdLst>
            <a:cxnLst>
              <a:cxn ang="0">
                <a:pos x="connsiteX0" y="connsiteY0"/>
              </a:cxn>
              <a:cxn ang="0">
                <a:pos x="connsiteX1" y="connsiteY1"/>
              </a:cxn>
              <a:cxn ang="0">
                <a:pos x="connsiteX2" y="connsiteY2"/>
              </a:cxn>
            </a:cxnLst>
            <a:rect b="b" l="l" r="r" t="t"/>
            <a:pathLst>
              <a:path h="217715" w="1190172">
                <a:moveTo>
                  <a:pt x="0" y="217715"/>
                </a:moveTo>
                <a:lnTo>
                  <a:pt x="159657" y="0"/>
                </a:lnTo>
                <a:lnTo>
                  <a:pt x="1190172" y="0"/>
                </a:lnTo>
              </a:path>
            </a:pathLst>
          </a:custGeom>
          <a:noFill/>
          <a:ln>
            <a:solidFill>
              <a:srgbClr val="C0C0C0"/>
            </a:solidFill>
            <a:tailEnd type="ova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defRPr/>
            </a:pPr>
            <a:endParaRPr altLang="en-US" lang="zh-CN"/>
          </a:p>
        </p:txBody>
      </p:sp>
      <p:sp>
        <p:nvSpPr>
          <p:cNvPr id="14" name="MH_Other_5"/>
          <p:cNvSpPr/>
          <p:nvPr>
            <p:custDataLst>
              <p:tags r:id="rId11"/>
            </p:custDataLst>
          </p:nvPr>
        </p:nvSpPr>
        <p:spPr>
          <a:xfrm>
            <a:off x="4645426" y="2025432"/>
            <a:ext cx="1009223" cy="1009222"/>
          </a:xfrm>
          <a:custGeom>
            <a:gdLst>
              <a:gd fmla="*/ 1090749 w 1090749" name="connsiteX0"/>
              <a:gd fmla="*/ 0 h 1090749" name="connsiteY0"/>
              <a:gd fmla="*/ 1090749 w 1090749" name="connsiteX1"/>
              <a:gd fmla="*/ 520353 h 1090749" name="connsiteY1"/>
              <a:gd fmla="*/ 1054097 w 1090749" name="connsiteX2"/>
              <a:gd fmla="*/ 529777 h 1090749" name="connsiteY2"/>
              <a:gd fmla="*/ 529777 w 1090749" name="connsiteX3"/>
              <a:gd fmla="*/ 1054097 h 1090749" name="connsiteY3"/>
              <a:gd fmla="*/ 520353 w 1090749" name="connsiteX4"/>
              <a:gd fmla="*/ 1090749 h 1090749" name="connsiteY4"/>
              <a:gd fmla="*/ 0 w 1090749" name="connsiteX5"/>
              <a:gd fmla="*/ 1090749 h 1090749" name="connsiteY5"/>
              <a:gd fmla="*/ 9646 w 1090749" name="connsiteX6"/>
              <a:gd fmla="*/ 1027542 h 1090749" name="connsiteY6"/>
              <a:gd fmla="*/ 1027542 w 1090749" name="connsiteX7"/>
              <a:gd fmla="*/ 9646 h 1090749" name="connsiteY7"/>
              <a:gd fmla="*/ 1090749 w 1090749" name="connsiteX8"/>
              <a:gd fmla="*/ 0 h 1090749" name="connsiteY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090749" w="1090749">
                <a:moveTo>
                  <a:pt x="1090749" y="0"/>
                </a:moveTo>
                <a:lnTo>
                  <a:pt x="1090749" y="520353"/>
                </a:lnTo>
                <a:lnTo>
                  <a:pt x="1054097" y="529777"/>
                </a:lnTo>
                <a:cubicBezTo>
                  <a:pt x="804459" y="607423"/>
                  <a:pt x="607423" y="804459"/>
                  <a:pt x="529777" y="1054097"/>
                </a:cubicBezTo>
                <a:lnTo>
                  <a:pt x="520353" y="1090749"/>
                </a:lnTo>
                <a:lnTo>
                  <a:pt x="0" y="1090749"/>
                </a:lnTo>
                <a:lnTo>
                  <a:pt x="9646" y="1027542"/>
                </a:lnTo>
                <a:cubicBezTo>
                  <a:pt x="114196" y="516617"/>
                  <a:pt x="516617" y="114196"/>
                  <a:pt x="1027542" y="9646"/>
                </a:cubicBezTo>
                <a:lnTo>
                  <a:pt x="1090749" y="0"/>
                </a:lnTo>
                <a:close/>
              </a:path>
            </a:pathLst>
          </a:cu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altLang="en-US" lang="zh-CN">
              <a:solidFill>
                <a:srgbClr val="E00024"/>
              </a:solidFill>
            </a:endParaRPr>
          </a:p>
        </p:txBody>
      </p:sp>
      <p:sp>
        <p:nvSpPr>
          <p:cNvPr id="15" name="MH_Other_6"/>
          <p:cNvSpPr/>
          <p:nvPr>
            <p:custDataLst>
              <p:tags r:id="rId12"/>
            </p:custDataLst>
          </p:nvPr>
        </p:nvSpPr>
        <p:spPr>
          <a:xfrm>
            <a:off x="6025531" y="2025432"/>
            <a:ext cx="1009223" cy="1009222"/>
          </a:xfrm>
          <a:custGeom>
            <a:gdLst>
              <a:gd fmla="*/ 0 w 1090749" name="connsiteX0"/>
              <a:gd fmla="*/ 0 h 1090749" name="connsiteY0"/>
              <a:gd fmla="*/ 63206 w 1090749" name="connsiteX1"/>
              <a:gd fmla="*/ 9646 h 1090749" name="connsiteY1"/>
              <a:gd fmla="*/ 1081102 w 1090749" name="connsiteX2"/>
              <a:gd fmla="*/ 1027542 h 1090749" name="connsiteY2"/>
              <a:gd fmla="*/ 1090749 w 1090749" name="connsiteX3"/>
              <a:gd fmla="*/ 1090749 h 1090749" name="connsiteY3"/>
              <a:gd fmla="*/ 570395 w 1090749" name="connsiteX4"/>
              <a:gd fmla="*/ 1090749 h 1090749" name="connsiteY4"/>
              <a:gd fmla="*/ 560971 w 1090749" name="connsiteX5"/>
              <a:gd fmla="*/ 1054097 h 1090749" name="connsiteY5"/>
              <a:gd fmla="*/ 36651 w 1090749" name="connsiteX6"/>
              <a:gd fmla="*/ 529777 h 1090749" name="connsiteY6"/>
              <a:gd fmla="*/ 0 w 1090749" name="connsiteX7"/>
              <a:gd fmla="*/ 520353 h 1090749" name="connsiteY7"/>
              <a:gd fmla="*/ 0 w 1090749" name="connsiteX8"/>
              <a:gd fmla="*/ 0 h 1090749" name="connsiteY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090749" w="1090749">
                <a:moveTo>
                  <a:pt x="0" y="0"/>
                </a:moveTo>
                <a:lnTo>
                  <a:pt x="63206" y="9646"/>
                </a:lnTo>
                <a:cubicBezTo>
                  <a:pt x="574131" y="114196"/>
                  <a:pt x="976552" y="516617"/>
                  <a:pt x="1081102" y="1027542"/>
                </a:cubicBezTo>
                <a:lnTo>
                  <a:pt x="1090749" y="1090749"/>
                </a:lnTo>
                <a:lnTo>
                  <a:pt x="570395" y="1090749"/>
                </a:lnTo>
                <a:lnTo>
                  <a:pt x="560971" y="1054097"/>
                </a:lnTo>
                <a:cubicBezTo>
                  <a:pt x="483326" y="804459"/>
                  <a:pt x="286290" y="607423"/>
                  <a:pt x="36651" y="529777"/>
                </a:cubicBezTo>
                <a:lnTo>
                  <a:pt x="0" y="520353"/>
                </a:lnTo>
                <a:lnTo>
                  <a:pt x="0" y="0"/>
                </a:lnTo>
                <a:close/>
              </a:path>
            </a:pathLst>
          </a:custGeom>
          <a:solidFill>
            <a:srgbClr val="C00000">
              <a:alpha val="8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endParaRPr altLang="en-US" lang="zh-CN">
              <a:solidFill>
                <a:srgbClr val="E00024"/>
              </a:solidFill>
            </a:endParaRPr>
          </a:p>
        </p:txBody>
      </p:sp>
      <p:sp>
        <p:nvSpPr>
          <p:cNvPr id="16" name="MH_Other_7"/>
          <p:cNvSpPr/>
          <p:nvPr>
            <p:custDataLst>
              <p:tags r:id="rId13"/>
            </p:custDataLst>
          </p:nvPr>
        </p:nvSpPr>
        <p:spPr>
          <a:xfrm>
            <a:off x="4645426" y="3405536"/>
            <a:ext cx="1009223" cy="1009222"/>
          </a:xfrm>
          <a:custGeom>
            <a:gdLst>
              <a:gd fmla="*/ 0 w 1090749" name="connsiteX0"/>
              <a:gd fmla="*/ 0 h 1090749" name="connsiteY0"/>
              <a:gd fmla="*/ 520353 w 1090749" name="connsiteX1"/>
              <a:gd fmla="*/ 0 h 1090749" name="connsiteY1"/>
              <a:gd fmla="*/ 529777 w 1090749" name="connsiteX2"/>
              <a:gd fmla="*/ 36651 h 1090749" name="connsiteY2"/>
              <a:gd fmla="*/ 1054097 w 1090749" name="connsiteX3"/>
              <a:gd fmla="*/ 560971 h 1090749" name="connsiteY3"/>
              <a:gd fmla="*/ 1090749 w 1090749" name="connsiteX4"/>
              <a:gd fmla="*/ 570395 h 1090749" name="connsiteY4"/>
              <a:gd fmla="*/ 1090749 w 1090749" name="connsiteX5"/>
              <a:gd fmla="*/ 1090749 h 1090749" name="connsiteY5"/>
              <a:gd fmla="*/ 1027542 w 1090749" name="connsiteX6"/>
              <a:gd fmla="*/ 1081102 h 1090749" name="connsiteY6"/>
              <a:gd fmla="*/ 9646 w 1090749" name="connsiteX7"/>
              <a:gd fmla="*/ 63206 h 1090749" name="connsiteY7"/>
              <a:gd fmla="*/ 0 w 1090749" name="connsiteX8"/>
              <a:gd fmla="*/ 0 h 1090749" name="connsiteY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090749" w="1090749">
                <a:moveTo>
                  <a:pt x="0" y="0"/>
                </a:moveTo>
                <a:lnTo>
                  <a:pt x="520353" y="0"/>
                </a:lnTo>
                <a:lnTo>
                  <a:pt x="529777" y="36651"/>
                </a:lnTo>
                <a:cubicBezTo>
                  <a:pt x="607423" y="286290"/>
                  <a:pt x="804459" y="483326"/>
                  <a:pt x="1054097" y="560971"/>
                </a:cubicBezTo>
                <a:lnTo>
                  <a:pt x="1090749" y="570395"/>
                </a:lnTo>
                <a:lnTo>
                  <a:pt x="1090749" y="1090749"/>
                </a:lnTo>
                <a:lnTo>
                  <a:pt x="1027542" y="1081102"/>
                </a:lnTo>
                <a:cubicBezTo>
                  <a:pt x="516617" y="976552"/>
                  <a:pt x="114196" y="574131"/>
                  <a:pt x="9646" y="63206"/>
                </a:cubicBezTo>
                <a:lnTo>
                  <a:pt x="0" y="0"/>
                </a:lnTo>
                <a:close/>
              </a:path>
            </a:pathLst>
          </a:custGeom>
          <a:solidFill>
            <a:srgbClr val="595959">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7" name="MH_Other_8"/>
          <p:cNvSpPr/>
          <p:nvPr>
            <p:custDataLst>
              <p:tags r:id="rId14"/>
            </p:custDataLst>
          </p:nvPr>
        </p:nvSpPr>
        <p:spPr>
          <a:xfrm>
            <a:off x="6025531" y="3405534"/>
            <a:ext cx="1009222" cy="1009221"/>
          </a:xfrm>
          <a:custGeom>
            <a:gdLst>
              <a:gd fmla="*/ 570395 w 1090748" name="connsiteX0"/>
              <a:gd fmla="*/ 0 h 1090748" name="connsiteY0"/>
              <a:gd fmla="*/ 1090748 w 1090748" name="connsiteX1"/>
              <a:gd fmla="*/ 0 h 1090748" name="connsiteY1"/>
              <a:gd fmla="*/ 1081102 w 1090748" name="connsiteX2"/>
              <a:gd fmla="*/ 63206 h 1090748" name="connsiteY2"/>
              <a:gd fmla="*/ 63206 w 1090748" name="connsiteX3"/>
              <a:gd fmla="*/ 1081102 h 1090748" name="connsiteY3"/>
              <a:gd fmla="*/ 0 w 1090748" name="connsiteX4"/>
              <a:gd fmla="*/ 1090748 h 1090748" name="connsiteY4"/>
              <a:gd fmla="*/ 0 w 1090748" name="connsiteX5"/>
              <a:gd fmla="*/ 570395 h 1090748" name="connsiteY5"/>
              <a:gd fmla="*/ 36651 w 1090748" name="connsiteX6"/>
              <a:gd fmla="*/ 560971 h 1090748" name="connsiteY6"/>
              <a:gd fmla="*/ 560971 w 1090748" name="connsiteX7"/>
              <a:gd fmla="*/ 36651 h 1090748" name="connsiteY7"/>
              <a:gd fmla="*/ 570395 w 1090748" name="connsiteX8"/>
              <a:gd fmla="*/ 0 h 1090748" name="connsiteY8"/>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b="b" l="l" r="r" t="t"/>
            <a:pathLst>
              <a:path h="1090748" w="1090748">
                <a:moveTo>
                  <a:pt x="570395" y="0"/>
                </a:moveTo>
                <a:lnTo>
                  <a:pt x="1090748" y="0"/>
                </a:lnTo>
                <a:lnTo>
                  <a:pt x="1081102" y="63206"/>
                </a:lnTo>
                <a:cubicBezTo>
                  <a:pt x="976552" y="574131"/>
                  <a:pt x="574131" y="976552"/>
                  <a:pt x="63206" y="1081102"/>
                </a:cubicBezTo>
                <a:lnTo>
                  <a:pt x="0" y="1090748"/>
                </a:lnTo>
                <a:lnTo>
                  <a:pt x="0" y="570395"/>
                </a:lnTo>
                <a:lnTo>
                  <a:pt x="36651" y="560971"/>
                </a:lnTo>
                <a:cubicBezTo>
                  <a:pt x="286290" y="483326"/>
                  <a:pt x="483326" y="286290"/>
                  <a:pt x="560971" y="36651"/>
                </a:cubicBezTo>
                <a:lnTo>
                  <a:pt x="570395"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1"/>
              </a:solidFill>
            </a:endParaRPr>
          </a:p>
        </p:txBody>
      </p:sp>
      <p:sp>
        <p:nvSpPr>
          <p:cNvPr id="18" name="MH_SubTitle_3"/>
          <p:cNvSpPr txBox="1">
            <a:spLocks noChangeArrowheads="1"/>
          </p:cNvSpPr>
          <p:nvPr>
            <p:custDataLst>
              <p:tags r:id="rId15"/>
            </p:custDataLst>
          </p:nvPr>
        </p:nvSpPr>
        <p:spPr bwMode="auto">
          <a:xfrm>
            <a:off x="7914839" y="3656427"/>
            <a:ext cx="2319419" cy="74434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b" bIns="0" lIns="0" rIns="0" tIns="0"/>
          <a:lstStyle>
            <a:lvl1pPr>
              <a:defRPr>
                <a:solidFill>
                  <a:schemeClr val="tx1"/>
                </a:solidFill>
                <a:latin charset="-122" panose="02010600030101010101" pitchFamily="2" typeface="等线"/>
                <a:ea charset="-122" panose="02010600030101010101" pitchFamily="2" typeface="等线"/>
              </a:defRPr>
            </a:lvl1pPr>
            <a:lvl2pPr indent="-285750" marL="742950">
              <a:defRPr>
                <a:solidFill>
                  <a:schemeClr val="tx1"/>
                </a:solidFill>
                <a:latin charset="-122" panose="02010600030101010101" pitchFamily="2" typeface="等线"/>
                <a:ea charset="-122" panose="02010600030101010101" pitchFamily="2" typeface="等线"/>
              </a:defRPr>
            </a:lvl2pPr>
            <a:lvl3pPr indent="-228600" marL="1143000">
              <a:defRPr>
                <a:solidFill>
                  <a:schemeClr val="tx1"/>
                </a:solidFill>
                <a:latin charset="-122" panose="02010600030101010101" pitchFamily="2" typeface="等线"/>
                <a:ea charset="-122" panose="02010600030101010101" pitchFamily="2" typeface="等线"/>
              </a:defRPr>
            </a:lvl3pPr>
            <a:lvl4pPr indent="-228600" marL="1600200">
              <a:defRPr>
                <a:solidFill>
                  <a:schemeClr val="tx1"/>
                </a:solidFill>
                <a:latin charset="-122" panose="02010600030101010101" pitchFamily="2" typeface="等线"/>
                <a:ea charset="-122" panose="02010600030101010101" pitchFamily="2" typeface="等线"/>
              </a:defRPr>
            </a:lvl4pPr>
            <a:lvl5pPr indent="-228600" marL="2057400">
              <a:defRPr>
                <a:solidFill>
                  <a:schemeClr val="tx1"/>
                </a:solidFill>
                <a:latin charset="-122" panose="02010600030101010101" pitchFamily="2" typeface="等线"/>
                <a:ea charset="-122" panose="02010600030101010101" pitchFamily="2" typeface="等线"/>
              </a:defRPr>
            </a:lvl5pPr>
            <a:lvl6pPr fontAlgn="base" indent="-228600" marL="2514600">
              <a:spcBef>
                <a:spcPct val="0"/>
              </a:spcBef>
              <a:spcAft>
                <a:spcPct val="0"/>
              </a:spcAft>
              <a:defRPr>
                <a:solidFill>
                  <a:schemeClr val="tx1"/>
                </a:solidFill>
                <a:latin charset="-122" panose="02010600030101010101" pitchFamily="2" typeface="等线"/>
                <a:ea charset="-122" panose="02010600030101010101" pitchFamily="2" typeface="等线"/>
              </a:defRPr>
            </a:lvl6pPr>
            <a:lvl7pPr fontAlgn="base" indent="-228600" marL="2971800">
              <a:spcBef>
                <a:spcPct val="0"/>
              </a:spcBef>
              <a:spcAft>
                <a:spcPct val="0"/>
              </a:spcAft>
              <a:defRPr>
                <a:solidFill>
                  <a:schemeClr val="tx1"/>
                </a:solidFill>
                <a:latin charset="-122" panose="02010600030101010101" pitchFamily="2" typeface="等线"/>
                <a:ea charset="-122" panose="02010600030101010101" pitchFamily="2" typeface="等线"/>
              </a:defRPr>
            </a:lvl7pPr>
            <a:lvl8pPr fontAlgn="base" indent="-228600" marL="3429000">
              <a:spcBef>
                <a:spcPct val="0"/>
              </a:spcBef>
              <a:spcAft>
                <a:spcPct val="0"/>
              </a:spcAft>
              <a:defRPr>
                <a:solidFill>
                  <a:schemeClr val="tx1"/>
                </a:solidFill>
                <a:latin charset="-122" panose="02010600030101010101" pitchFamily="2" typeface="等线"/>
                <a:ea charset="-122" panose="02010600030101010101" pitchFamily="2" typeface="等线"/>
              </a:defRPr>
            </a:lvl8pPr>
            <a:lvl9pPr fontAlgn="base" indent="-228600" marL="3886200">
              <a:spcBef>
                <a:spcPct val="0"/>
              </a:spcBef>
              <a:spcAft>
                <a:spcPct val="0"/>
              </a:spcAft>
              <a:defRPr>
                <a:solidFill>
                  <a:schemeClr val="tx1"/>
                </a:solidFill>
                <a:latin charset="-122" panose="02010600030101010101" pitchFamily="2" typeface="等线"/>
                <a:ea charset="-122" panose="02010600030101010101" pitchFamily="2" typeface="等线"/>
              </a:defRPr>
            </a:lvl9pPr>
          </a:lstStyle>
          <a:p>
            <a:pPr>
              <a:lnSpc>
                <a:spcPct val="120000"/>
              </a:lnSpc>
              <a:defRPr/>
            </a:pPr>
            <a:r>
              <a:rPr altLang="en-US" lang="zh-CN" smtClean="0" sz="2000">
                <a:solidFill>
                  <a:schemeClr val="tx1">
                    <a:lumMod val="65000"/>
                    <a:lumOff val="35000"/>
                  </a:schemeClr>
                </a:solidFill>
                <a:latin charset="-122" panose="020b0503020204020204" pitchFamily="34" typeface="微软雅黑"/>
                <a:ea charset="-122" panose="020b0503020204020204" pitchFamily="34" typeface="微软雅黑"/>
              </a:rPr>
              <a:t>小标题</a:t>
            </a:r>
          </a:p>
        </p:txBody>
      </p:sp>
      <p:sp>
        <p:nvSpPr>
          <p:cNvPr id="19" name="MH_SubTitle_2"/>
          <p:cNvSpPr txBox="1">
            <a:spLocks noChangeArrowheads="1"/>
          </p:cNvSpPr>
          <p:nvPr>
            <p:custDataLst>
              <p:tags r:id="rId16"/>
            </p:custDataLst>
          </p:nvPr>
        </p:nvSpPr>
        <p:spPr bwMode="auto">
          <a:xfrm flipH="1">
            <a:off x="1450975" y="3656427"/>
            <a:ext cx="2319419" cy="74434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b" bIns="0" lIns="0" rIns="0" tIns="0"/>
          <a:lstStyle>
            <a:lvl1pPr>
              <a:defRPr>
                <a:solidFill>
                  <a:schemeClr val="tx1"/>
                </a:solidFill>
                <a:latin charset="-122" panose="02010600030101010101" pitchFamily="2" typeface="等线"/>
                <a:ea charset="-122" panose="02010600030101010101" pitchFamily="2" typeface="等线"/>
              </a:defRPr>
            </a:lvl1pPr>
            <a:lvl2pPr indent="-285750" marL="742950">
              <a:defRPr>
                <a:solidFill>
                  <a:schemeClr val="tx1"/>
                </a:solidFill>
                <a:latin charset="-122" panose="02010600030101010101" pitchFamily="2" typeface="等线"/>
                <a:ea charset="-122" panose="02010600030101010101" pitchFamily="2" typeface="等线"/>
              </a:defRPr>
            </a:lvl2pPr>
            <a:lvl3pPr indent="-228600" marL="1143000">
              <a:defRPr>
                <a:solidFill>
                  <a:schemeClr val="tx1"/>
                </a:solidFill>
                <a:latin charset="-122" panose="02010600030101010101" pitchFamily="2" typeface="等线"/>
                <a:ea charset="-122" panose="02010600030101010101" pitchFamily="2" typeface="等线"/>
              </a:defRPr>
            </a:lvl3pPr>
            <a:lvl4pPr indent="-228600" marL="1600200">
              <a:defRPr>
                <a:solidFill>
                  <a:schemeClr val="tx1"/>
                </a:solidFill>
                <a:latin charset="-122" panose="02010600030101010101" pitchFamily="2" typeface="等线"/>
                <a:ea charset="-122" panose="02010600030101010101" pitchFamily="2" typeface="等线"/>
              </a:defRPr>
            </a:lvl4pPr>
            <a:lvl5pPr indent="-228600" marL="2057400">
              <a:defRPr>
                <a:solidFill>
                  <a:schemeClr val="tx1"/>
                </a:solidFill>
                <a:latin charset="-122" panose="02010600030101010101" pitchFamily="2" typeface="等线"/>
                <a:ea charset="-122" panose="02010600030101010101" pitchFamily="2" typeface="等线"/>
              </a:defRPr>
            </a:lvl5pPr>
            <a:lvl6pPr fontAlgn="base" indent="-228600" marL="2514600">
              <a:spcBef>
                <a:spcPct val="0"/>
              </a:spcBef>
              <a:spcAft>
                <a:spcPct val="0"/>
              </a:spcAft>
              <a:defRPr>
                <a:solidFill>
                  <a:schemeClr val="tx1"/>
                </a:solidFill>
                <a:latin charset="-122" panose="02010600030101010101" pitchFamily="2" typeface="等线"/>
                <a:ea charset="-122" panose="02010600030101010101" pitchFamily="2" typeface="等线"/>
              </a:defRPr>
            </a:lvl6pPr>
            <a:lvl7pPr fontAlgn="base" indent="-228600" marL="2971800">
              <a:spcBef>
                <a:spcPct val="0"/>
              </a:spcBef>
              <a:spcAft>
                <a:spcPct val="0"/>
              </a:spcAft>
              <a:defRPr>
                <a:solidFill>
                  <a:schemeClr val="tx1"/>
                </a:solidFill>
                <a:latin charset="-122" panose="02010600030101010101" pitchFamily="2" typeface="等线"/>
                <a:ea charset="-122" panose="02010600030101010101" pitchFamily="2" typeface="等线"/>
              </a:defRPr>
            </a:lvl7pPr>
            <a:lvl8pPr fontAlgn="base" indent="-228600" marL="3429000">
              <a:spcBef>
                <a:spcPct val="0"/>
              </a:spcBef>
              <a:spcAft>
                <a:spcPct val="0"/>
              </a:spcAft>
              <a:defRPr>
                <a:solidFill>
                  <a:schemeClr val="tx1"/>
                </a:solidFill>
                <a:latin charset="-122" panose="02010600030101010101" pitchFamily="2" typeface="等线"/>
                <a:ea charset="-122" panose="02010600030101010101" pitchFamily="2" typeface="等线"/>
              </a:defRPr>
            </a:lvl8pPr>
            <a:lvl9pPr fontAlgn="base" indent="-228600" marL="3886200">
              <a:spcBef>
                <a:spcPct val="0"/>
              </a:spcBef>
              <a:spcAft>
                <a:spcPct val="0"/>
              </a:spcAft>
              <a:defRPr>
                <a:solidFill>
                  <a:schemeClr val="tx1"/>
                </a:solidFill>
                <a:latin charset="-122" panose="02010600030101010101" pitchFamily="2" typeface="等线"/>
                <a:ea charset="-122" panose="02010600030101010101" pitchFamily="2" typeface="等线"/>
              </a:defRPr>
            </a:lvl9pPr>
          </a:lstStyle>
          <a:p>
            <a:pPr algn="r">
              <a:lnSpc>
                <a:spcPct val="120000"/>
              </a:lnSpc>
              <a:defRPr/>
            </a:pPr>
            <a:r>
              <a:rPr altLang="en-US" lang="zh-CN" smtClean="0" sz="2000">
                <a:solidFill>
                  <a:schemeClr val="tx1">
                    <a:lumMod val="65000"/>
                    <a:lumOff val="35000"/>
                  </a:schemeClr>
                </a:solidFill>
                <a:latin charset="-122" panose="020b0503020204020204" pitchFamily="34" typeface="微软雅黑"/>
                <a:ea charset="-122" panose="020b0503020204020204" pitchFamily="34" typeface="微软雅黑"/>
              </a:rPr>
              <a:t>小标题</a:t>
            </a:r>
          </a:p>
        </p:txBody>
      </p:sp>
      <p:sp>
        <p:nvSpPr>
          <p:cNvPr id="20" name="MH_Text_2"/>
          <p:cNvSpPr txBox="1"/>
          <p:nvPr>
            <p:custDataLst>
              <p:tags r:id="rId17"/>
            </p:custDataLst>
          </p:nvPr>
        </p:nvSpPr>
        <p:spPr>
          <a:xfrm flipH="1">
            <a:off x="1325880" y="4454073"/>
            <a:ext cx="2444514" cy="1165223"/>
          </a:xfrm>
          <a:prstGeom prst="rect">
            <a:avLst/>
          </a:prstGeom>
          <a:noFill/>
        </p:spPr>
        <p:txBody>
          <a:bodyPr bIns="0" lIns="0" rIns="0" tIns="0"/>
          <a:lstStyle/>
          <a:p>
            <a:pPr algn="r"/>
            <a:r>
              <a:rPr altLang="en-US" lang="zh-CN" sz="16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此处输入文本此处输入文本此处输入文本此处输入文本此处输入文本此处输入文本</a:t>
            </a:r>
          </a:p>
        </p:txBody>
      </p:sp>
      <p:sp>
        <p:nvSpPr>
          <p:cNvPr id="21" name="文本框 20"/>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Tree>
    <p:extLst>
      <p:ext uri="{BB962C8B-B14F-4D97-AF65-F5344CB8AC3E}">
        <p14:creationId val="1227398399"/>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56F67D6C-8EE8-43F2-863A-EF058935622E}" type="slidenum">
              <a:rPr altLang="en-US" lang="zh-CN" smtClean="0"/>
              <a:t>18</a:t>
            </a:fld>
          </a:p>
        </p:txBody>
      </p:sp>
      <p:sp>
        <p:nvSpPr>
          <p:cNvPr id="5" name="Freeform 195"/>
          <p:cNvSpPr/>
          <p:nvPr/>
        </p:nvSpPr>
        <p:spPr bwMode="auto">
          <a:xfrm flipH="1">
            <a:off x="1907606" y="2266406"/>
            <a:ext cx="2505956" cy="400635"/>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rgbClr val="7A7A7A"/>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grpSp>
        <p:nvGrpSpPr>
          <p:cNvPr id="6" name="组合 5"/>
          <p:cNvGrpSpPr/>
          <p:nvPr/>
        </p:nvGrpSpPr>
        <p:grpSpPr>
          <a:xfrm>
            <a:off x="4429022" y="2502598"/>
            <a:ext cx="2407180" cy="1591671"/>
            <a:chOff x="3286022" y="2159698"/>
            <a:chExt cx="2407180" cy="1591671"/>
          </a:xfrm>
        </p:grpSpPr>
        <p:grpSp>
          <p:nvGrpSpPr>
            <p:cNvPr id="7" name="组合 6"/>
            <p:cNvGrpSpPr/>
            <p:nvPr/>
          </p:nvGrpSpPr>
          <p:grpSpPr>
            <a:xfrm>
              <a:off x="3472842" y="2159698"/>
              <a:ext cx="2220360" cy="1591671"/>
              <a:chOff x="3472842" y="2159698"/>
              <a:chExt cx="2220360" cy="1591671"/>
            </a:xfrm>
          </p:grpSpPr>
          <p:sp>
            <p:nvSpPr>
              <p:cNvPr id="9" name="Freeform 15"/>
              <p:cNvSpPr/>
              <p:nvPr/>
            </p:nvSpPr>
            <p:spPr bwMode="auto">
              <a:xfrm>
                <a:off x="3472842" y="2159698"/>
                <a:ext cx="2220360" cy="1591671"/>
              </a:xfrm>
              <a:custGeom>
                <a:gdLst>
                  <a:gd fmla="*/ 779 w 779" name="T0"/>
                  <a:gd fmla="*/ 314 h 558" name="T1"/>
                  <a:gd fmla="*/ 700 w 779" name="T2"/>
                  <a:gd fmla="*/ 401 h 558" name="T3"/>
                  <a:gd fmla="*/ 528 w 779" name="T4"/>
                  <a:gd fmla="*/ 513 h 558" name="T5"/>
                  <a:gd fmla="*/ 299 w 779" name="T6"/>
                  <a:gd fmla="*/ 548 h 558" name="T7"/>
                  <a:gd fmla="*/ 97 w 779" name="T8"/>
                  <a:gd fmla="*/ 449 h 558" name="T9"/>
                  <a:gd fmla="*/ 89 w 779" name="T10"/>
                  <a:gd fmla="*/ 441 h 558" name="T11"/>
                  <a:gd fmla="*/ 18 w 779" name="T12"/>
                  <a:gd fmla="*/ 313 h 558" name="T13"/>
                  <a:gd fmla="*/ 4 w 779" name="T14"/>
                  <a:gd fmla="*/ 176 h 558" name="T15"/>
                  <a:gd fmla="*/ 36 w 779" name="T16"/>
                  <a:gd fmla="*/ 67 h 558" name="T17"/>
                  <a:gd fmla="*/ 95 w 779" name="T18"/>
                  <a:gd fmla="*/ 10 h 558" name="T19"/>
                  <a:gd fmla="*/ 163 w 779" name="T20"/>
                  <a:gd fmla="*/ 5 h 558" name="T21"/>
                  <a:gd fmla="*/ 227 w 779" name="T22"/>
                  <a:gd fmla="*/ 31 h 558" name="T23"/>
                  <a:gd fmla="*/ 287 w 779" name="T24"/>
                  <a:gd fmla="*/ 72 h 558" name="T25"/>
                  <a:gd fmla="*/ 341 w 779" name="T26"/>
                  <a:gd fmla="*/ 121 h 558" name="T27"/>
                  <a:gd fmla="*/ 344 w 779" name="T28"/>
                  <a:gd fmla="*/ 126 h 558" name="T29"/>
                  <a:gd fmla="*/ 431 w 779" name="T30"/>
                  <a:gd fmla="*/ 219 h 558" name="T31"/>
                  <a:gd fmla="*/ 551 w 779" name="T32"/>
                  <a:gd fmla="*/ 296 h 558" name="T33"/>
                  <a:gd fmla="*/ 687 w 779" name="T34"/>
                  <a:gd fmla="*/ 323 h 558" name="T35"/>
                  <a:gd fmla="*/ 779 w 779" name="T36"/>
                  <a:gd fmla="*/ 314 h 558"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558" w="779">
                    <a:moveTo>
                      <a:pt x="779" y="314"/>
                    </a:moveTo>
                    <a:cubicBezTo>
                      <a:pt x="768" y="328"/>
                      <a:pt x="742" y="362"/>
                      <a:pt x="700" y="401"/>
                    </a:cubicBezTo>
                    <a:cubicBezTo>
                      <a:pt x="658" y="440"/>
                      <a:pt x="599" y="484"/>
                      <a:pt x="528" y="513"/>
                    </a:cubicBezTo>
                    <a:cubicBezTo>
                      <a:pt x="458" y="543"/>
                      <a:pt x="376" y="558"/>
                      <a:pt x="299" y="548"/>
                    </a:cubicBezTo>
                    <a:cubicBezTo>
                      <a:pt x="221" y="538"/>
                      <a:pt x="148" y="502"/>
                      <a:pt x="97" y="449"/>
                    </a:cubicBezTo>
                    <a:cubicBezTo>
                      <a:pt x="94" y="446"/>
                      <a:pt x="91" y="444"/>
                      <a:pt x="89" y="441"/>
                    </a:cubicBezTo>
                    <a:cubicBezTo>
                      <a:pt x="56" y="404"/>
                      <a:pt x="32" y="359"/>
                      <a:pt x="18" y="313"/>
                    </a:cubicBezTo>
                    <a:cubicBezTo>
                      <a:pt x="4" y="266"/>
                      <a:pt x="0" y="218"/>
                      <a:pt x="4" y="176"/>
                    </a:cubicBezTo>
                    <a:cubicBezTo>
                      <a:pt x="8" y="133"/>
                      <a:pt x="20" y="95"/>
                      <a:pt x="36" y="67"/>
                    </a:cubicBezTo>
                    <a:cubicBezTo>
                      <a:pt x="52" y="39"/>
                      <a:pt x="72" y="20"/>
                      <a:pt x="95" y="10"/>
                    </a:cubicBezTo>
                    <a:cubicBezTo>
                      <a:pt x="118" y="0"/>
                      <a:pt x="141" y="0"/>
                      <a:pt x="163" y="5"/>
                    </a:cubicBezTo>
                    <a:cubicBezTo>
                      <a:pt x="185" y="10"/>
                      <a:pt x="207" y="20"/>
                      <a:pt x="227" y="31"/>
                    </a:cubicBezTo>
                    <a:cubicBezTo>
                      <a:pt x="248" y="43"/>
                      <a:pt x="268" y="57"/>
                      <a:pt x="287" y="72"/>
                    </a:cubicBezTo>
                    <a:cubicBezTo>
                      <a:pt x="306" y="86"/>
                      <a:pt x="324" y="103"/>
                      <a:pt x="341" y="121"/>
                    </a:cubicBezTo>
                    <a:cubicBezTo>
                      <a:pt x="342" y="123"/>
                      <a:pt x="343" y="124"/>
                      <a:pt x="344" y="126"/>
                    </a:cubicBezTo>
                    <a:cubicBezTo>
                      <a:pt x="370" y="153"/>
                      <a:pt x="397" y="188"/>
                      <a:pt x="431" y="219"/>
                    </a:cubicBezTo>
                    <a:cubicBezTo>
                      <a:pt x="464" y="250"/>
                      <a:pt x="505" y="278"/>
                      <a:pt x="551" y="296"/>
                    </a:cubicBezTo>
                    <a:cubicBezTo>
                      <a:pt x="596" y="315"/>
                      <a:pt x="645" y="323"/>
                      <a:pt x="687" y="323"/>
                    </a:cubicBezTo>
                    <a:cubicBezTo>
                      <a:pt x="730" y="324"/>
                      <a:pt x="765" y="316"/>
                      <a:pt x="779" y="314"/>
                    </a:cubicBezTo>
                    <a:close/>
                  </a:path>
                </a:pathLst>
              </a:custGeom>
              <a:solidFill>
                <a:srgbClr val="7A7A7A"/>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sp>
            <p:nvSpPr>
              <p:cNvPr id="10" name="Freeform 26"/>
              <p:cNvSpPr>
                <a:spLocks noEditPoints="1"/>
              </p:cNvSpPr>
              <p:nvPr/>
            </p:nvSpPr>
            <p:spPr bwMode="auto">
              <a:xfrm>
                <a:off x="4085024" y="2495366"/>
                <a:ext cx="103177" cy="111431"/>
              </a:xfrm>
              <a:custGeom>
                <a:gdLst>
                  <a:gd fmla="*/ 25 w 36" name="T0"/>
                  <a:gd fmla="*/ 0 h 39" name="T1"/>
                  <a:gd fmla="*/ 11 w 36" name="T2"/>
                  <a:gd fmla="*/ 0 h 39" name="T3"/>
                  <a:gd fmla="*/ 0 w 36" name="T4"/>
                  <a:gd fmla="*/ 11 h 39" name="T5"/>
                  <a:gd fmla="*/ 0 w 36" name="T6"/>
                  <a:gd fmla="*/ 28 h 39" name="T7"/>
                  <a:gd fmla="*/ 11 w 36" name="T8"/>
                  <a:gd fmla="*/ 39 h 39" name="T9"/>
                  <a:gd fmla="*/ 25 w 36" name="T10"/>
                  <a:gd fmla="*/ 39 h 39" name="T11"/>
                  <a:gd fmla="*/ 36 w 36" name="T12"/>
                  <a:gd fmla="*/ 28 h 39" name="T13"/>
                  <a:gd fmla="*/ 36 w 36" name="T14"/>
                  <a:gd fmla="*/ 11 h 39" name="T15"/>
                  <a:gd fmla="*/ 25 w 36" name="T16"/>
                  <a:gd fmla="*/ 0 h 39" name="T17"/>
                  <a:gd fmla="*/ 35 w 36" name="T18"/>
                  <a:gd fmla="*/ 27 h 39" name="T19"/>
                  <a:gd fmla="*/ 24 w 36" name="T20"/>
                  <a:gd fmla="*/ 37 h 39" name="T21"/>
                  <a:gd fmla="*/ 12 w 36" name="T22"/>
                  <a:gd fmla="*/ 37 h 39" name="T23"/>
                  <a:gd fmla="*/ 2 w 36" name="T24"/>
                  <a:gd fmla="*/ 27 h 39" name="T25"/>
                  <a:gd fmla="*/ 2 w 36" name="T26"/>
                  <a:gd fmla="*/ 12 h 39" name="T27"/>
                  <a:gd fmla="*/ 12 w 36" name="T28"/>
                  <a:gd fmla="*/ 2 h 39" name="T29"/>
                  <a:gd fmla="*/ 24 w 36" name="T30"/>
                  <a:gd fmla="*/ 2 h 39" name="T31"/>
                  <a:gd fmla="*/ 35 w 36" name="T32"/>
                  <a:gd fmla="*/ 12 h 39" name="T33"/>
                  <a:gd fmla="*/ 35 w 36" name="T34"/>
                  <a:gd fmla="*/ 27 h 39"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39" w="36">
                    <a:moveTo>
                      <a:pt x="25" y="0"/>
                    </a:moveTo>
                    <a:cubicBezTo>
                      <a:pt x="11" y="0"/>
                      <a:pt x="11" y="0"/>
                      <a:pt x="11" y="0"/>
                    </a:cubicBezTo>
                    <a:cubicBezTo>
                      <a:pt x="5" y="0"/>
                      <a:pt x="0" y="5"/>
                      <a:pt x="0" y="11"/>
                    </a:cubicBezTo>
                    <a:cubicBezTo>
                      <a:pt x="0" y="28"/>
                      <a:pt x="0" y="28"/>
                      <a:pt x="0" y="28"/>
                    </a:cubicBezTo>
                    <a:cubicBezTo>
                      <a:pt x="0" y="34"/>
                      <a:pt x="5" y="39"/>
                      <a:pt x="11" y="39"/>
                    </a:cubicBezTo>
                    <a:cubicBezTo>
                      <a:pt x="25" y="39"/>
                      <a:pt x="25" y="39"/>
                      <a:pt x="25" y="39"/>
                    </a:cubicBezTo>
                    <a:cubicBezTo>
                      <a:pt x="31" y="39"/>
                      <a:pt x="36" y="34"/>
                      <a:pt x="36" y="28"/>
                    </a:cubicBezTo>
                    <a:cubicBezTo>
                      <a:pt x="36" y="11"/>
                      <a:pt x="36" y="11"/>
                      <a:pt x="36" y="11"/>
                    </a:cubicBezTo>
                    <a:cubicBezTo>
                      <a:pt x="36" y="5"/>
                      <a:pt x="31" y="0"/>
                      <a:pt x="25" y="0"/>
                    </a:cubicBezTo>
                    <a:close/>
                    <a:moveTo>
                      <a:pt x="35" y="27"/>
                    </a:moveTo>
                    <a:cubicBezTo>
                      <a:pt x="35" y="33"/>
                      <a:pt x="30" y="37"/>
                      <a:pt x="24" y="37"/>
                    </a:cubicBezTo>
                    <a:cubicBezTo>
                      <a:pt x="12" y="37"/>
                      <a:pt x="12" y="37"/>
                      <a:pt x="12" y="37"/>
                    </a:cubicBezTo>
                    <a:cubicBezTo>
                      <a:pt x="6" y="37"/>
                      <a:pt x="2" y="33"/>
                      <a:pt x="2" y="27"/>
                    </a:cubicBezTo>
                    <a:cubicBezTo>
                      <a:pt x="2" y="12"/>
                      <a:pt x="2" y="12"/>
                      <a:pt x="2" y="12"/>
                    </a:cubicBezTo>
                    <a:cubicBezTo>
                      <a:pt x="2" y="6"/>
                      <a:pt x="6" y="2"/>
                      <a:pt x="12" y="2"/>
                    </a:cubicBezTo>
                    <a:cubicBezTo>
                      <a:pt x="24" y="2"/>
                      <a:pt x="24" y="2"/>
                      <a:pt x="24" y="2"/>
                    </a:cubicBezTo>
                    <a:cubicBezTo>
                      <a:pt x="30" y="2"/>
                      <a:pt x="35" y="6"/>
                      <a:pt x="35" y="12"/>
                    </a:cubicBezTo>
                    <a:lnTo>
                      <a:pt x="35" y="27"/>
                    </a:ln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sp>
            <p:nvSpPr>
              <p:cNvPr id="11" name="Freeform 27"/>
              <p:cNvSpPr>
                <a:spLocks noEditPoints="1"/>
              </p:cNvSpPr>
              <p:nvPr/>
            </p:nvSpPr>
            <p:spPr bwMode="auto">
              <a:xfrm>
                <a:off x="3743853" y="2532510"/>
                <a:ext cx="470485" cy="310905"/>
              </a:xfrm>
              <a:custGeom>
                <a:gdLst>
                  <a:gd fmla="*/ 154 w 165" name="T0"/>
                  <a:gd fmla="*/ 0 h 109" name="T1"/>
                  <a:gd fmla="*/ 11 w 165" name="T2"/>
                  <a:gd fmla="*/ 0 h 109" name="T3"/>
                  <a:gd fmla="*/ 0 w 165" name="T4"/>
                  <a:gd fmla="*/ 11 h 109" name="T5"/>
                  <a:gd fmla="*/ 0 w 165" name="T6"/>
                  <a:gd fmla="*/ 97 h 109" name="T7"/>
                  <a:gd fmla="*/ 11 w 165" name="T8"/>
                  <a:gd fmla="*/ 109 h 109" name="T9"/>
                  <a:gd fmla="*/ 154 w 165" name="T10"/>
                  <a:gd fmla="*/ 109 h 109" name="T11"/>
                  <a:gd fmla="*/ 165 w 165" name="T12"/>
                  <a:gd fmla="*/ 97 h 109" name="T13"/>
                  <a:gd fmla="*/ 165 w 165" name="T14"/>
                  <a:gd fmla="*/ 11 h 109" name="T15"/>
                  <a:gd fmla="*/ 154 w 165" name="T16"/>
                  <a:gd fmla="*/ 0 h 109" name="T17"/>
                  <a:gd fmla="*/ 50 w 165" name="T18"/>
                  <a:gd fmla="*/ 93 h 109" name="T19"/>
                  <a:gd fmla="*/ 10 w 165" name="T20"/>
                  <a:gd fmla="*/ 53 h 109" name="T21"/>
                  <a:gd fmla="*/ 50 w 165" name="T22"/>
                  <a:gd fmla="*/ 12 h 109" name="T23"/>
                  <a:gd fmla="*/ 90 w 165" name="T24"/>
                  <a:gd fmla="*/ 53 h 109" name="T25"/>
                  <a:gd fmla="*/ 50 w 165" name="T26"/>
                  <a:gd fmla="*/ 93 h 109"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109" w="165">
                    <a:moveTo>
                      <a:pt x="154" y="0"/>
                    </a:moveTo>
                    <a:cubicBezTo>
                      <a:pt x="11" y="0"/>
                      <a:pt x="11" y="0"/>
                      <a:pt x="11" y="0"/>
                    </a:cubicBezTo>
                    <a:cubicBezTo>
                      <a:pt x="5" y="0"/>
                      <a:pt x="0" y="5"/>
                      <a:pt x="0" y="11"/>
                    </a:cubicBezTo>
                    <a:cubicBezTo>
                      <a:pt x="0" y="97"/>
                      <a:pt x="0" y="97"/>
                      <a:pt x="0" y="97"/>
                    </a:cubicBezTo>
                    <a:cubicBezTo>
                      <a:pt x="0" y="104"/>
                      <a:pt x="5" y="109"/>
                      <a:pt x="11" y="109"/>
                    </a:cubicBezTo>
                    <a:cubicBezTo>
                      <a:pt x="154" y="109"/>
                      <a:pt x="154" y="109"/>
                      <a:pt x="154" y="109"/>
                    </a:cubicBezTo>
                    <a:cubicBezTo>
                      <a:pt x="160" y="109"/>
                      <a:pt x="165" y="104"/>
                      <a:pt x="165" y="97"/>
                    </a:cubicBezTo>
                    <a:cubicBezTo>
                      <a:pt x="165" y="11"/>
                      <a:pt x="165" y="11"/>
                      <a:pt x="165" y="11"/>
                    </a:cubicBezTo>
                    <a:cubicBezTo>
                      <a:pt x="165" y="5"/>
                      <a:pt x="160" y="0"/>
                      <a:pt x="154" y="0"/>
                    </a:cubicBezTo>
                    <a:close/>
                    <a:moveTo>
                      <a:pt x="50" y="93"/>
                    </a:moveTo>
                    <a:cubicBezTo>
                      <a:pt x="28" y="93"/>
                      <a:pt x="10" y="75"/>
                      <a:pt x="10" y="53"/>
                    </a:cubicBezTo>
                    <a:cubicBezTo>
                      <a:pt x="10" y="30"/>
                      <a:pt x="28" y="12"/>
                      <a:pt x="50" y="12"/>
                    </a:cubicBezTo>
                    <a:cubicBezTo>
                      <a:pt x="73" y="12"/>
                      <a:pt x="90" y="30"/>
                      <a:pt x="90" y="53"/>
                    </a:cubicBezTo>
                    <a:cubicBezTo>
                      <a:pt x="90" y="75"/>
                      <a:pt x="73" y="93"/>
                      <a:pt x="50" y="93"/>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grpSp>
        <p:sp>
          <p:nvSpPr>
            <p:cNvPr id="8" name="Oval 196"/>
            <p:cNvSpPr>
              <a:spLocks noChangeArrowheads="1"/>
            </p:cNvSpPr>
            <p:nvPr/>
          </p:nvSpPr>
          <p:spPr bwMode="auto">
            <a:xfrm flipH="1" rot="17758666">
              <a:off x="3296644" y="2202189"/>
              <a:ext cx="288700" cy="309943"/>
            </a:xfrm>
            <a:prstGeom prst="triangle">
              <a:avLst/>
            </a:prstGeom>
            <a:solidFill>
              <a:srgbClr val="7A7A7A"/>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grpSp>
      <p:sp>
        <p:nvSpPr>
          <p:cNvPr id="12" name="矩形 11"/>
          <p:cNvSpPr/>
          <p:nvPr/>
        </p:nvSpPr>
        <p:spPr>
          <a:xfrm>
            <a:off x="2253391" y="1808212"/>
            <a:ext cx="1097280" cy="457200"/>
          </a:xfrm>
          <a:prstGeom prst="rect">
            <a:avLst/>
          </a:prstGeom>
          <a:ln>
            <a:noFill/>
          </a:ln>
        </p:spPr>
        <p:txBody>
          <a:bodyPr wrap="none">
            <a:spAutoFit/>
          </a:bodyPr>
          <a:lstStyle/>
          <a:p>
            <a:r>
              <a:rPr altLang="en-US" lang="zh-CN" smtClean="0" sz="2400">
                <a:solidFill>
                  <a:schemeClr val="tx1">
                    <a:lumMod val="65000"/>
                    <a:lumOff val="35000"/>
                  </a:schemeClr>
                </a:solidFill>
                <a:latin charset="0" panose="020b0502020202020204" pitchFamily="34" typeface="Century Gothic"/>
                <a:ea charset="-122" panose="02010604000101010101" pitchFamily="2" typeface="汉仪特细等线简"/>
              </a:rPr>
              <a:t>小标题</a:t>
            </a:r>
          </a:p>
        </p:txBody>
      </p:sp>
      <p:sp>
        <p:nvSpPr>
          <p:cNvPr id="13" name="文本框 12"/>
          <p:cNvSpPr txBox="1"/>
          <p:nvPr/>
        </p:nvSpPr>
        <p:spPr>
          <a:xfrm>
            <a:off x="2249466" y="2257199"/>
            <a:ext cx="1888490" cy="914400"/>
          </a:xfrm>
          <a:prstGeom prst="rect">
            <a:avLst/>
          </a:prstGeom>
          <a:noFill/>
        </p:spPr>
        <p:txBody>
          <a:bodyPr rtlCol="0" wrap="square">
            <a:spAutoFit/>
          </a:bodyPr>
          <a:lstStyle/>
          <a:p>
            <a:r>
              <a:rPr altLang="en-US" lang="zh-CN" smtClean="0">
                <a:solidFill>
                  <a:srgbClr val="516D82"/>
                </a:solidFill>
                <a:latin charset="-122" panose="020b0503020204020204" pitchFamily="34" typeface="微软雅黑"/>
                <a:ea charset="-122" panose="020b0503020204020204" pitchFamily="34" typeface="微软雅黑"/>
              </a:rPr>
              <a:t>此处输入文字</a:t>
            </a:r>
          </a:p>
          <a:p>
            <a:r>
              <a:rPr altLang="en-US" lang="zh-CN" smtClean="0">
                <a:solidFill>
                  <a:srgbClr val="516D82"/>
                </a:solidFill>
                <a:latin charset="-122" panose="020b0503020204020204" pitchFamily="34" typeface="微软雅黑"/>
                <a:ea charset="-122" panose="020b0503020204020204" pitchFamily="34" typeface="微软雅黑"/>
              </a:rPr>
              <a:t>此处输入文字</a:t>
            </a:r>
          </a:p>
          <a:p>
            <a:r>
              <a:rPr altLang="en-US" lang="zh-CN" smtClean="0">
                <a:solidFill>
                  <a:srgbClr val="516D82"/>
                </a:solidFill>
                <a:latin charset="-122" panose="020b0503020204020204" pitchFamily="34" typeface="微软雅黑"/>
                <a:ea charset="-122" panose="020b0503020204020204" pitchFamily="34" typeface="微软雅黑"/>
              </a:rPr>
              <a:t>此处输入文字 </a:t>
            </a:r>
          </a:p>
        </p:txBody>
      </p:sp>
      <p:sp>
        <p:nvSpPr>
          <p:cNvPr id="14" name="Freeform 195"/>
          <p:cNvSpPr/>
          <p:nvPr/>
        </p:nvSpPr>
        <p:spPr bwMode="auto">
          <a:xfrm flipH="1">
            <a:off x="1577253" y="4246013"/>
            <a:ext cx="2505956" cy="400635"/>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rgbClr val="E94C65"/>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grpSp>
        <p:nvGrpSpPr>
          <p:cNvPr id="16" name="组合 15"/>
          <p:cNvGrpSpPr/>
          <p:nvPr/>
        </p:nvGrpSpPr>
        <p:grpSpPr>
          <a:xfrm>
            <a:off x="4249909" y="4076385"/>
            <a:ext cx="2740370" cy="1965858"/>
            <a:chOff x="3106909" y="3733485"/>
            <a:chExt cx="2740370" cy="1965858"/>
          </a:xfrm>
        </p:grpSpPr>
        <p:sp>
          <p:nvSpPr>
            <p:cNvPr id="18" name="Freeform 7"/>
            <p:cNvSpPr/>
            <p:nvPr/>
          </p:nvSpPr>
          <p:spPr bwMode="auto">
            <a:xfrm>
              <a:off x="3106909" y="3733485"/>
              <a:ext cx="2740370" cy="1965858"/>
            </a:xfrm>
            <a:custGeom>
              <a:gdLst>
                <a:gd fmla="*/ 961 w 961" name="T0"/>
                <a:gd fmla="*/ 388 h 689" name="T1"/>
                <a:gd fmla="*/ 863 w 961" name="T2"/>
                <a:gd fmla="*/ 495 h 689" name="T3"/>
                <a:gd fmla="*/ 652 w 961" name="T4"/>
                <a:gd fmla="*/ 633 h 689" name="T5"/>
                <a:gd fmla="*/ 368 w 961" name="T6"/>
                <a:gd fmla="*/ 676 h 689" name="T7"/>
                <a:gd fmla="*/ 119 w 961" name="T8"/>
                <a:gd fmla="*/ 554 h 689" name="T9"/>
                <a:gd fmla="*/ 109 w 961" name="T10"/>
                <a:gd fmla="*/ 544 h 689" name="T11"/>
                <a:gd fmla="*/ 22 w 961" name="T12"/>
                <a:gd fmla="*/ 386 h 689" name="T13"/>
                <a:gd fmla="*/ 5 w 961" name="T14"/>
                <a:gd fmla="*/ 217 h 689" name="T15"/>
                <a:gd fmla="*/ 44 w 961" name="T16"/>
                <a:gd fmla="*/ 83 h 689" name="T17"/>
                <a:gd fmla="*/ 117 w 961" name="T18"/>
                <a:gd fmla="*/ 12 h 689" name="T19"/>
                <a:gd fmla="*/ 201 w 961" name="T20"/>
                <a:gd fmla="*/ 6 h 689" name="T21"/>
                <a:gd fmla="*/ 280 w 961" name="T22"/>
                <a:gd fmla="*/ 39 h 689" name="T23"/>
                <a:gd fmla="*/ 354 w 961" name="T24"/>
                <a:gd fmla="*/ 89 h 689" name="T25"/>
                <a:gd fmla="*/ 420 w 961" name="T26"/>
                <a:gd fmla="*/ 150 h 689" name="T27"/>
                <a:gd fmla="*/ 425 w 961" name="T28"/>
                <a:gd fmla="*/ 155 h 689" name="T29"/>
                <a:gd fmla="*/ 531 w 961" name="T30"/>
                <a:gd fmla="*/ 270 h 689" name="T31"/>
                <a:gd fmla="*/ 679 w 961" name="T32"/>
                <a:gd fmla="*/ 366 h 689" name="T33"/>
                <a:gd fmla="*/ 848 w 961" name="T34"/>
                <a:gd fmla="*/ 399 h 689" name="T35"/>
                <a:gd fmla="*/ 961 w 961" name="T36"/>
                <a:gd fmla="*/ 388 h 689"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689" w="961">
                  <a:moveTo>
                    <a:pt x="961" y="388"/>
                  </a:moveTo>
                  <a:cubicBezTo>
                    <a:pt x="947" y="405"/>
                    <a:pt x="915" y="447"/>
                    <a:pt x="863" y="495"/>
                  </a:cubicBezTo>
                  <a:cubicBezTo>
                    <a:pt x="811" y="543"/>
                    <a:pt x="739" y="597"/>
                    <a:pt x="652" y="633"/>
                  </a:cubicBezTo>
                  <a:cubicBezTo>
                    <a:pt x="565" y="670"/>
                    <a:pt x="464" y="689"/>
                    <a:pt x="368" y="676"/>
                  </a:cubicBezTo>
                  <a:cubicBezTo>
                    <a:pt x="273" y="664"/>
                    <a:pt x="182" y="620"/>
                    <a:pt x="119" y="554"/>
                  </a:cubicBezTo>
                  <a:cubicBezTo>
                    <a:pt x="116" y="551"/>
                    <a:pt x="113" y="547"/>
                    <a:pt x="109" y="544"/>
                  </a:cubicBezTo>
                  <a:cubicBezTo>
                    <a:pt x="68" y="499"/>
                    <a:pt x="39" y="443"/>
                    <a:pt x="22" y="386"/>
                  </a:cubicBezTo>
                  <a:cubicBezTo>
                    <a:pt x="5" y="328"/>
                    <a:pt x="0" y="269"/>
                    <a:pt x="5" y="217"/>
                  </a:cubicBezTo>
                  <a:cubicBezTo>
                    <a:pt x="10" y="164"/>
                    <a:pt x="24" y="118"/>
                    <a:pt x="44" y="83"/>
                  </a:cubicBezTo>
                  <a:cubicBezTo>
                    <a:pt x="64" y="48"/>
                    <a:pt x="89" y="25"/>
                    <a:pt x="117" y="12"/>
                  </a:cubicBezTo>
                  <a:cubicBezTo>
                    <a:pt x="145" y="0"/>
                    <a:pt x="173" y="0"/>
                    <a:pt x="201" y="6"/>
                  </a:cubicBezTo>
                  <a:cubicBezTo>
                    <a:pt x="228" y="12"/>
                    <a:pt x="255" y="24"/>
                    <a:pt x="280" y="39"/>
                  </a:cubicBezTo>
                  <a:cubicBezTo>
                    <a:pt x="306" y="53"/>
                    <a:pt x="331" y="70"/>
                    <a:pt x="354" y="89"/>
                  </a:cubicBezTo>
                  <a:cubicBezTo>
                    <a:pt x="377" y="107"/>
                    <a:pt x="399" y="127"/>
                    <a:pt x="420" y="150"/>
                  </a:cubicBezTo>
                  <a:cubicBezTo>
                    <a:pt x="422" y="152"/>
                    <a:pt x="423" y="154"/>
                    <a:pt x="425" y="155"/>
                  </a:cubicBezTo>
                  <a:cubicBezTo>
                    <a:pt x="457" y="189"/>
                    <a:pt x="489" y="232"/>
                    <a:pt x="531" y="270"/>
                  </a:cubicBezTo>
                  <a:cubicBezTo>
                    <a:pt x="572" y="309"/>
                    <a:pt x="623" y="343"/>
                    <a:pt x="679" y="366"/>
                  </a:cubicBezTo>
                  <a:cubicBezTo>
                    <a:pt x="735" y="388"/>
                    <a:pt x="796" y="399"/>
                    <a:pt x="848" y="399"/>
                  </a:cubicBezTo>
                  <a:cubicBezTo>
                    <a:pt x="900" y="400"/>
                    <a:pt x="943" y="390"/>
                    <a:pt x="961" y="388"/>
                  </a:cubicBezTo>
                  <a:close/>
                </a:path>
              </a:pathLst>
            </a:custGeom>
            <a:solidFill>
              <a:srgbClr val="E00024">
                <a:alpha val="70000"/>
              </a:srgbClr>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sp>
          <p:nvSpPr>
            <p:cNvPr id="19" name="Freeform 22"/>
            <p:cNvSpPr/>
            <p:nvPr/>
          </p:nvSpPr>
          <p:spPr bwMode="auto">
            <a:xfrm>
              <a:off x="3504484" y="4099418"/>
              <a:ext cx="463607" cy="338419"/>
            </a:xfrm>
            <a:custGeom>
              <a:gdLst>
                <a:gd fmla="*/ 140 w 163" name="T0"/>
                <a:gd fmla="*/ 37 h 119" name="T1"/>
                <a:gd fmla="*/ 150 w 163" name="T2"/>
                <a:gd fmla="*/ 20 h 119" name="T3"/>
                <a:gd fmla="*/ 130 w 163" name="T4"/>
                <a:gd fmla="*/ 0 h 119" name="T5"/>
                <a:gd fmla="*/ 110 w 163" name="T6"/>
                <a:gd fmla="*/ 20 h 119" name="T7"/>
                <a:gd fmla="*/ 120 w 163" name="T8"/>
                <a:gd fmla="*/ 37 h 119" name="T9"/>
                <a:gd fmla="*/ 109 w 163" name="T10"/>
                <a:gd fmla="*/ 52 h 119" name="T11"/>
                <a:gd fmla="*/ 97 w 163" name="T12"/>
                <a:gd fmla="*/ 30 h 119" name="T13"/>
                <a:gd fmla="*/ 82 w 163" name="T14"/>
                <a:gd fmla="*/ 37 h 119" name="T15"/>
                <a:gd fmla="*/ 97 w 163" name="T16"/>
                <a:gd fmla="*/ 67 h 119" name="T17"/>
                <a:gd fmla="*/ 82 w 163" name="T18"/>
                <a:gd fmla="*/ 82 h 119" name="T19"/>
                <a:gd fmla="*/ 67 w 163" name="T20"/>
                <a:gd fmla="*/ 67 h 119" name="T21"/>
                <a:gd fmla="*/ 82 w 163" name="T22"/>
                <a:gd fmla="*/ 37 h 119" name="T23"/>
                <a:gd fmla="*/ 68 w 163" name="T24"/>
                <a:gd fmla="*/ 30 h 119" name="T25"/>
                <a:gd fmla="*/ 55 w 163" name="T26"/>
                <a:gd fmla="*/ 53 h 119" name="T27"/>
                <a:gd fmla="*/ 43 w 163" name="T28"/>
                <a:gd fmla="*/ 37 h 119" name="T29"/>
                <a:gd fmla="*/ 53 w 163" name="T30"/>
                <a:gd fmla="*/ 20 h 119" name="T31"/>
                <a:gd fmla="*/ 33 w 163" name="T32"/>
                <a:gd fmla="*/ 0 h 119" name="T33"/>
                <a:gd fmla="*/ 13 w 163" name="T34"/>
                <a:gd fmla="*/ 20 h 119" name="T35"/>
                <a:gd fmla="*/ 23 w 163" name="T36"/>
                <a:gd fmla="*/ 37 h 119" name="T37"/>
                <a:gd fmla="*/ 0 w 163" name="T38"/>
                <a:gd fmla="*/ 119 h 119" name="T39"/>
                <a:gd fmla="*/ 45 w 163" name="T40"/>
                <a:gd fmla="*/ 119 h 119" name="T41"/>
                <a:gd fmla="*/ 66 w 163" name="T42"/>
                <a:gd fmla="*/ 119 h 119" name="T43"/>
                <a:gd fmla="*/ 97 w 163" name="T44"/>
                <a:gd fmla="*/ 119 h 119" name="T45"/>
                <a:gd fmla="*/ 120 w 163" name="T46"/>
                <a:gd fmla="*/ 119 h 119" name="T47"/>
                <a:gd fmla="*/ 163 w 163" name="T48"/>
                <a:gd fmla="*/ 119 h 119" name="T49"/>
                <a:gd fmla="*/ 140 w 163" name="T50"/>
                <a:gd fmla="*/ 37 h 119" name="T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b="b" l="0" r="r" t="0"/>
              <a:pathLst>
                <a:path h="119" w="163">
                  <a:moveTo>
                    <a:pt x="140" y="37"/>
                  </a:moveTo>
                  <a:cubicBezTo>
                    <a:pt x="146" y="33"/>
                    <a:pt x="150" y="27"/>
                    <a:pt x="150" y="20"/>
                  </a:cubicBezTo>
                  <a:cubicBezTo>
                    <a:pt x="150" y="9"/>
                    <a:pt x="141" y="0"/>
                    <a:pt x="130" y="0"/>
                  </a:cubicBezTo>
                  <a:cubicBezTo>
                    <a:pt x="119" y="0"/>
                    <a:pt x="110" y="9"/>
                    <a:pt x="110" y="20"/>
                  </a:cubicBezTo>
                  <a:cubicBezTo>
                    <a:pt x="110" y="27"/>
                    <a:pt x="114" y="33"/>
                    <a:pt x="120" y="37"/>
                  </a:cubicBezTo>
                  <a:cubicBezTo>
                    <a:pt x="116" y="40"/>
                    <a:pt x="113" y="46"/>
                    <a:pt x="109" y="52"/>
                  </a:cubicBezTo>
                  <a:cubicBezTo>
                    <a:pt x="106" y="43"/>
                    <a:pt x="102" y="35"/>
                    <a:pt x="97" y="30"/>
                  </a:cubicBezTo>
                  <a:cubicBezTo>
                    <a:pt x="82" y="37"/>
                    <a:pt x="82" y="37"/>
                    <a:pt x="82" y="37"/>
                  </a:cubicBezTo>
                  <a:cubicBezTo>
                    <a:pt x="97" y="67"/>
                    <a:pt x="97" y="67"/>
                    <a:pt x="97" y="67"/>
                  </a:cubicBezTo>
                  <a:cubicBezTo>
                    <a:pt x="82" y="82"/>
                    <a:pt x="82" y="82"/>
                    <a:pt x="82" y="82"/>
                  </a:cubicBezTo>
                  <a:cubicBezTo>
                    <a:pt x="67" y="67"/>
                    <a:pt x="67" y="67"/>
                    <a:pt x="67" y="67"/>
                  </a:cubicBezTo>
                  <a:cubicBezTo>
                    <a:pt x="82" y="37"/>
                    <a:pt x="82" y="37"/>
                    <a:pt x="82" y="37"/>
                  </a:cubicBezTo>
                  <a:cubicBezTo>
                    <a:pt x="68" y="30"/>
                    <a:pt x="68" y="30"/>
                    <a:pt x="68" y="30"/>
                  </a:cubicBezTo>
                  <a:cubicBezTo>
                    <a:pt x="63" y="35"/>
                    <a:pt x="58" y="43"/>
                    <a:pt x="55" y="53"/>
                  </a:cubicBezTo>
                  <a:cubicBezTo>
                    <a:pt x="51" y="46"/>
                    <a:pt x="48" y="40"/>
                    <a:pt x="43" y="37"/>
                  </a:cubicBezTo>
                  <a:cubicBezTo>
                    <a:pt x="49" y="33"/>
                    <a:pt x="53" y="27"/>
                    <a:pt x="53" y="20"/>
                  </a:cubicBezTo>
                  <a:cubicBezTo>
                    <a:pt x="53" y="9"/>
                    <a:pt x="44" y="0"/>
                    <a:pt x="33" y="0"/>
                  </a:cubicBezTo>
                  <a:cubicBezTo>
                    <a:pt x="22" y="0"/>
                    <a:pt x="13" y="9"/>
                    <a:pt x="13" y="20"/>
                  </a:cubicBezTo>
                  <a:cubicBezTo>
                    <a:pt x="13" y="27"/>
                    <a:pt x="17" y="33"/>
                    <a:pt x="23" y="37"/>
                  </a:cubicBezTo>
                  <a:cubicBezTo>
                    <a:pt x="10" y="48"/>
                    <a:pt x="0" y="81"/>
                    <a:pt x="0" y="119"/>
                  </a:cubicBezTo>
                  <a:cubicBezTo>
                    <a:pt x="45" y="119"/>
                    <a:pt x="45" y="119"/>
                    <a:pt x="45" y="119"/>
                  </a:cubicBezTo>
                  <a:cubicBezTo>
                    <a:pt x="66" y="119"/>
                    <a:pt x="66" y="119"/>
                    <a:pt x="66" y="119"/>
                  </a:cubicBezTo>
                  <a:cubicBezTo>
                    <a:pt x="97" y="119"/>
                    <a:pt x="97" y="119"/>
                    <a:pt x="97" y="119"/>
                  </a:cubicBezTo>
                  <a:cubicBezTo>
                    <a:pt x="120" y="119"/>
                    <a:pt x="120" y="119"/>
                    <a:pt x="120" y="119"/>
                  </a:cubicBezTo>
                  <a:cubicBezTo>
                    <a:pt x="163" y="119"/>
                    <a:pt x="163" y="119"/>
                    <a:pt x="163" y="119"/>
                  </a:cubicBezTo>
                  <a:cubicBezTo>
                    <a:pt x="163" y="81"/>
                    <a:pt x="154" y="48"/>
                    <a:pt x="140" y="37"/>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sp>
          <p:nvSpPr>
            <p:cNvPr id="20" name="Freeform 23"/>
            <p:cNvSpPr/>
            <p:nvPr/>
          </p:nvSpPr>
          <p:spPr bwMode="auto">
            <a:xfrm>
              <a:off x="3675069" y="4055396"/>
              <a:ext cx="127939" cy="129314"/>
            </a:xfrm>
            <a:custGeom>
              <a:gdLst>
                <a:gd fmla="*/ 11 w 45" name="T0"/>
                <a:gd fmla="*/ 42 h 45" name="T1"/>
                <a:gd fmla="*/ 8 w 45" name="T2"/>
                <a:gd fmla="*/ 45 h 45" name="T3"/>
                <a:gd fmla="*/ 37 w 45" name="T4"/>
                <a:gd fmla="*/ 45 h 45" name="T5"/>
                <a:gd fmla="*/ 33 w 45" name="T6"/>
                <a:gd fmla="*/ 42 h 45" name="T7"/>
                <a:gd fmla="*/ 45 w 45" name="T8"/>
                <a:gd fmla="*/ 22 h 45" name="T9"/>
                <a:gd fmla="*/ 22 w 45" name="T10"/>
                <a:gd fmla="*/ 0 h 45" name="T11"/>
                <a:gd fmla="*/ 0 w 45" name="T12"/>
                <a:gd fmla="*/ 22 h 45" name="T13"/>
                <a:gd fmla="*/ 11 w 45" name="T14"/>
                <a:gd fmla="*/ 42 h 45"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45" w="45">
                  <a:moveTo>
                    <a:pt x="11" y="42"/>
                  </a:moveTo>
                  <a:cubicBezTo>
                    <a:pt x="10" y="42"/>
                    <a:pt x="9" y="43"/>
                    <a:pt x="8" y="45"/>
                  </a:cubicBezTo>
                  <a:cubicBezTo>
                    <a:pt x="37" y="45"/>
                    <a:pt x="37" y="45"/>
                    <a:pt x="37" y="45"/>
                  </a:cubicBezTo>
                  <a:cubicBezTo>
                    <a:pt x="36" y="43"/>
                    <a:pt x="34" y="42"/>
                    <a:pt x="33" y="42"/>
                  </a:cubicBezTo>
                  <a:cubicBezTo>
                    <a:pt x="40" y="38"/>
                    <a:pt x="45" y="30"/>
                    <a:pt x="45" y="22"/>
                  </a:cubicBezTo>
                  <a:cubicBezTo>
                    <a:pt x="45" y="10"/>
                    <a:pt x="35" y="0"/>
                    <a:pt x="22" y="0"/>
                  </a:cubicBezTo>
                  <a:cubicBezTo>
                    <a:pt x="10" y="0"/>
                    <a:pt x="0" y="10"/>
                    <a:pt x="0" y="22"/>
                  </a:cubicBezTo>
                  <a:cubicBezTo>
                    <a:pt x="0" y="30"/>
                    <a:pt x="4" y="38"/>
                    <a:pt x="11" y="42"/>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grpSp>
      <p:sp>
        <p:nvSpPr>
          <p:cNvPr id="17" name="Oval 196"/>
          <p:cNvSpPr>
            <a:spLocks noChangeArrowheads="1"/>
          </p:cNvSpPr>
          <p:nvPr/>
        </p:nvSpPr>
        <p:spPr bwMode="auto">
          <a:xfrm flipH="1" rot="16850328">
            <a:off x="4060361" y="4540631"/>
            <a:ext cx="235766" cy="253114"/>
          </a:xfrm>
          <a:prstGeom prst="triangle">
            <a:avLst/>
          </a:prstGeom>
          <a:solidFill>
            <a:srgbClr val="E94C65"/>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sp>
        <p:nvSpPr>
          <p:cNvPr id="21" name="矩形 20"/>
          <p:cNvSpPr/>
          <p:nvPr/>
        </p:nvSpPr>
        <p:spPr>
          <a:xfrm>
            <a:off x="1800849" y="3814432"/>
            <a:ext cx="1097280" cy="457200"/>
          </a:xfrm>
          <a:prstGeom prst="rect">
            <a:avLst/>
          </a:prstGeom>
          <a:ln>
            <a:noFill/>
          </a:ln>
        </p:spPr>
        <p:txBody>
          <a:bodyPr wrap="none">
            <a:spAutoFit/>
          </a:bodyPr>
          <a:lstStyle/>
          <a:p>
            <a:r>
              <a:rPr altLang="en-US" lang="zh-CN" smtClean="0" sz="2400">
                <a:solidFill>
                  <a:srgbClr val="E94C65"/>
                </a:solidFill>
                <a:latin charset="0" panose="020b0502020202020204" pitchFamily="34" typeface="Century Gothic"/>
                <a:ea charset="-122" panose="02010604000101010101" pitchFamily="2" typeface="汉仪特细等线简"/>
              </a:rPr>
              <a:t>小标题</a:t>
            </a:r>
          </a:p>
        </p:txBody>
      </p:sp>
      <p:sp>
        <p:nvSpPr>
          <p:cNvPr id="22" name="文本框 21"/>
          <p:cNvSpPr txBox="1"/>
          <p:nvPr/>
        </p:nvSpPr>
        <p:spPr>
          <a:xfrm>
            <a:off x="1806358" y="4331350"/>
            <a:ext cx="1888490" cy="914400"/>
          </a:xfrm>
          <a:prstGeom prst="rect">
            <a:avLst/>
          </a:prstGeom>
          <a:noFill/>
        </p:spPr>
        <p:txBody>
          <a:bodyPr rtlCol="0" wrap="square">
            <a:spAutoFit/>
          </a:bodyPr>
          <a:lstStyle/>
          <a:p>
            <a:r>
              <a:rPr altLang="en-US" lang="zh-CN">
                <a:solidFill>
                  <a:srgbClr val="516D82"/>
                </a:solidFill>
                <a:latin charset="-122" panose="020b0503020204020204" pitchFamily="34" typeface="微软雅黑"/>
                <a:ea charset="-122" panose="020b0503020204020204" pitchFamily="34" typeface="微软雅黑"/>
              </a:rPr>
              <a:t>此处输入文字</a:t>
            </a:r>
          </a:p>
          <a:p>
            <a:r>
              <a:rPr altLang="en-US" lang="zh-CN">
                <a:solidFill>
                  <a:srgbClr val="516D82"/>
                </a:solidFill>
                <a:latin charset="-122" panose="020b0503020204020204" pitchFamily="34" typeface="微软雅黑"/>
                <a:ea charset="-122" panose="020b0503020204020204" pitchFamily="34" typeface="微软雅黑"/>
              </a:rPr>
              <a:t>此处输入文字</a:t>
            </a:r>
          </a:p>
          <a:p>
            <a:r>
              <a:rPr altLang="en-US" lang="zh-CN">
                <a:solidFill>
                  <a:srgbClr val="516D82"/>
                </a:solidFill>
                <a:latin charset="-122" panose="020b0503020204020204" pitchFamily="34" typeface="微软雅黑"/>
                <a:ea charset="-122" panose="020b0503020204020204" pitchFamily="34" typeface="微软雅黑"/>
              </a:rPr>
              <a:t>此处输入文字  </a:t>
            </a:r>
          </a:p>
        </p:txBody>
      </p:sp>
      <p:sp>
        <p:nvSpPr>
          <p:cNvPr id="23" name="Freeform 195"/>
          <p:cNvSpPr/>
          <p:nvPr/>
        </p:nvSpPr>
        <p:spPr bwMode="auto">
          <a:xfrm flipV="1">
            <a:off x="8124112" y="3814432"/>
            <a:ext cx="2623296" cy="304675"/>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grpSp>
        <p:nvGrpSpPr>
          <p:cNvPr id="24" name="组合 23"/>
          <p:cNvGrpSpPr/>
          <p:nvPr/>
        </p:nvGrpSpPr>
        <p:grpSpPr>
          <a:xfrm>
            <a:off x="5504536" y="3289491"/>
            <a:ext cx="2666547" cy="1705853"/>
            <a:chOff x="4361536" y="2946591"/>
            <a:chExt cx="2666547" cy="1705853"/>
          </a:xfrm>
          <a:solidFill>
            <a:schemeClr val="bg1">
              <a:lumMod val="65000"/>
            </a:schemeClr>
          </a:solidFill>
        </p:grpSpPr>
        <p:grpSp>
          <p:nvGrpSpPr>
            <p:cNvPr id="25" name="组合 24"/>
            <p:cNvGrpSpPr/>
            <p:nvPr/>
          </p:nvGrpSpPr>
          <p:grpSpPr>
            <a:xfrm>
              <a:off x="4361536" y="2946591"/>
              <a:ext cx="2378565" cy="1705853"/>
              <a:chOff x="4361536" y="2946591"/>
              <a:chExt cx="2378565" cy="1705853"/>
            </a:xfrm>
            <a:grpFill/>
          </p:grpSpPr>
          <p:sp>
            <p:nvSpPr>
              <p:cNvPr id="27" name="Freeform 11"/>
              <p:cNvSpPr/>
              <p:nvPr/>
            </p:nvSpPr>
            <p:spPr bwMode="auto">
              <a:xfrm>
                <a:off x="4361536" y="2946591"/>
                <a:ext cx="2378565" cy="1705853"/>
              </a:xfrm>
              <a:custGeom>
                <a:gdLst>
                  <a:gd fmla="*/ 0 w 834" name="T0"/>
                  <a:gd fmla="*/ 336 h 598" name="T1"/>
                  <a:gd fmla="*/ 85 w 834" name="T2"/>
                  <a:gd fmla="*/ 430 h 598" name="T3"/>
                  <a:gd fmla="*/ 269 w 834" name="T4"/>
                  <a:gd fmla="*/ 550 h 598" name="T5"/>
                  <a:gd fmla="*/ 514 w 834" name="T6"/>
                  <a:gd fmla="*/ 587 h 598" name="T7"/>
                  <a:gd fmla="*/ 731 w 834" name="T8"/>
                  <a:gd fmla="*/ 481 h 598" name="T9"/>
                  <a:gd fmla="*/ 739 w 834" name="T10"/>
                  <a:gd fmla="*/ 472 h 598" name="T11"/>
                  <a:gd fmla="*/ 815 w 834" name="T12"/>
                  <a:gd fmla="*/ 335 h 598" name="T13"/>
                  <a:gd fmla="*/ 829 w 834" name="T14"/>
                  <a:gd fmla="*/ 188 h 598" name="T15"/>
                  <a:gd fmla="*/ 796 w 834" name="T16"/>
                  <a:gd fmla="*/ 72 h 598" name="T17"/>
                  <a:gd fmla="*/ 732 w 834" name="T18"/>
                  <a:gd fmla="*/ 11 h 598" name="T19"/>
                  <a:gd fmla="*/ 660 w 834" name="T20"/>
                  <a:gd fmla="*/ 6 h 598" name="T21"/>
                  <a:gd fmla="*/ 590 w 834" name="T22"/>
                  <a:gd fmla="*/ 34 h 598" name="T23"/>
                  <a:gd fmla="*/ 527 w 834" name="T24"/>
                  <a:gd fmla="*/ 77 h 598" name="T25"/>
                  <a:gd fmla="*/ 469 w 834" name="T26"/>
                  <a:gd fmla="*/ 130 h 598" name="T27"/>
                  <a:gd fmla="*/ 465 w 834" name="T28"/>
                  <a:gd fmla="*/ 135 h 598" name="T29"/>
                  <a:gd fmla="*/ 373 w 834" name="T30"/>
                  <a:gd fmla="*/ 235 h 598" name="T31"/>
                  <a:gd fmla="*/ 244 w 834" name="T32"/>
                  <a:gd fmla="*/ 317 h 598" name="T33"/>
                  <a:gd fmla="*/ 98 w 834" name="T34"/>
                  <a:gd fmla="*/ 346 h 598" name="T35"/>
                  <a:gd fmla="*/ 0 w 834" name="T36"/>
                  <a:gd fmla="*/ 336 h 598"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598" w="834">
                    <a:moveTo>
                      <a:pt x="0" y="336"/>
                    </a:moveTo>
                    <a:cubicBezTo>
                      <a:pt x="12" y="352"/>
                      <a:pt x="40" y="388"/>
                      <a:pt x="85" y="430"/>
                    </a:cubicBezTo>
                    <a:cubicBezTo>
                      <a:pt x="130" y="471"/>
                      <a:pt x="193" y="518"/>
                      <a:pt x="269" y="550"/>
                    </a:cubicBezTo>
                    <a:cubicBezTo>
                      <a:pt x="343" y="581"/>
                      <a:pt x="431" y="598"/>
                      <a:pt x="514" y="587"/>
                    </a:cubicBezTo>
                    <a:cubicBezTo>
                      <a:pt x="597" y="576"/>
                      <a:pt x="675" y="538"/>
                      <a:pt x="731" y="481"/>
                    </a:cubicBezTo>
                    <a:cubicBezTo>
                      <a:pt x="733" y="478"/>
                      <a:pt x="736" y="475"/>
                      <a:pt x="739" y="472"/>
                    </a:cubicBezTo>
                    <a:cubicBezTo>
                      <a:pt x="774" y="433"/>
                      <a:pt x="800" y="385"/>
                      <a:pt x="815" y="335"/>
                    </a:cubicBezTo>
                    <a:cubicBezTo>
                      <a:pt x="829" y="285"/>
                      <a:pt x="834" y="234"/>
                      <a:pt x="829" y="188"/>
                    </a:cubicBezTo>
                    <a:cubicBezTo>
                      <a:pt x="825" y="143"/>
                      <a:pt x="813" y="103"/>
                      <a:pt x="796" y="72"/>
                    </a:cubicBezTo>
                    <a:cubicBezTo>
                      <a:pt x="778" y="42"/>
                      <a:pt x="756" y="22"/>
                      <a:pt x="732" y="11"/>
                    </a:cubicBezTo>
                    <a:cubicBezTo>
                      <a:pt x="708" y="0"/>
                      <a:pt x="683" y="1"/>
                      <a:pt x="660" y="6"/>
                    </a:cubicBezTo>
                    <a:cubicBezTo>
                      <a:pt x="636" y="11"/>
                      <a:pt x="613" y="22"/>
                      <a:pt x="590" y="34"/>
                    </a:cubicBezTo>
                    <a:cubicBezTo>
                      <a:pt x="568" y="47"/>
                      <a:pt x="547" y="61"/>
                      <a:pt x="527" y="77"/>
                    </a:cubicBezTo>
                    <a:cubicBezTo>
                      <a:pt x="507" y="93"/>
                      <a:pt x="487" y="110"/>
                      <a:pt x="469" y="130"/>
                    </a:cubicBezTo>
                    <a:cubicBezTo>
                      <a:pt x="468" y="132"/>
                      <a:pt x="467" y="134"/>
                      <a:pt x="465" y="135"/>
                    </a:cubicBezTo>
                    <a:cubicBezTo>
                      <a:pt x="438" y="165"/>
                      <a:pt x="410" y="201"/>
                      <a:pt x="373" y="235"/>
                    </a:cubicBezTo>
                    <a:cubicBezTo>
                      <a:pt x="337" y="268"/>
                      <a:pt x="293" y="298"/>
                      <a:pt x="244" y="317"/>
                    </a:cubicBezTo>
                    <a:cubicBezTo>
                      <a:pt x="196" y="337"/>
                      <a:pt x="144" y="346"/>
                      <a:pt x="98" y="346"/>
                    </a:cubicBezTo>
                    <a:cubicBezTo>
                      <a:pt x="53" y="347"/>
                      <a:pt x="16" y="338"/>
                      <a:pt x="0" y="336"/>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sp>
            <p:nvSpPr>
              <p:cNvPr id="28" name="Freeform 24"/>
              <p:cNvSpPr/>
              <p:nvPr/>
            </p:nvSpPr>
            <p:spPr bwMode="auto">
              <a:xfrm>
                <a:off x="6070141" y="3234111"/>
                <a:ext cx="339796" cy="397575"/>
              </a:xfrm>
              <a:custGeom>
                <a:gdLst>
                  <a:gd fmla="*/ 0 w 247" name="T0"/>
                  <a:gd fmla="*/ 123 h 289" name="T1"/>
                  <a:gd fmla="*/ 0 w 247" name="T2"/>
                  <a:gd fmla="*/ 289 h 289" name="T3"/>
                  <a:gd fmla="*/ 83 w 247" name="T4"/>
                  <a:gd fmla="*/ 289 h 289" name="T5"/>
                  <a:gd fmla="*/ 83 w 247" name="T6"/>
                  <a:gd fmla="*/ 284 h 289" name="T7"/>
                  <a:gd fmla="*/ 83 w 247" name="T8"/>
                  <a:gd fmla="*/ 284 h 289" name="T9"/>
                  <a:gd fmla="*/ 83 w 247" name="T10"/>
                  <a:gd fmla="*/ 164 h 289" name="T11"/>
                  <a:gd fmla="*/ 164 w 247" name="T12"/>
                  <a:gd fmla="*/ 164 h 289" name="T13"/>
                  <a:gd fmla="*/ 164 w 247" name="T14"/>
                  <a:gd fmla="*/ 284 h 289" name="T15"/>
                  <a:gd fmla="*/ 166 w 247" name="T16"/>
                  <a:gd fmla="*/ 284 h 289" name="T17"/>
                  <a:gd fmla="*/ 166 w 247" name="T18"/>
                  <a:gd fmla="*/ 289 h 289" name="T19"/>
                  <a:gd fmla="*/ 247 w 247" name="T20"/>
                  <a:gd fmla="*/ 289 h 289" name="T21"/>
                  <a:gd fmla="*/ 247 w 247" name="T22"/>
                  <a:gd fmla="*/ 123 h 289" name="T23"/>
                  <a:gd fmla="*/ 124 w 247" name="T24"/>
                  <a:gd fmla="*/ 0 h 289" name="T25"/>
                  <a:gd fmla="*/ 0 w 247" name="T26"/>
                  <a:gd fmla="*/ 123 h 289"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289" w="246">
                    <a:moveTo>
                      <a:pt x="0" y="123"/>
                    </a:moveTo>
                    <a:lnTo>
                      <a:pt x="0" y="289"/>
                    </a:lnTo>
                    <a:lnTo>
                      <a:pt x="83" y="289"/>
                    </a:lnTo>
                    <a:lnTo>
                      <a:pt x="83" y="284"/>
                    </a:lnTo>
                    <a:lnTo>
                      <a:pt x="83" y="284"/>
                    </a:lnTo>
                    <a:lnTo>
                      <a:pt x="83" y="164"/>
                    </a:lnTo>
                    <a:lnTo>
                      <a:pt x="164" y="164"/>
                    </a:lnTo>
                    <a:lnTo>
                      <a:pt x="164" y="284"/>
                    </a:lnTo>
                    <a:lnTo>
                      <a:pt x="166" y="284"/>
                    </a:lnTo>
                    <a:lnTo>
                      <a:pt x="166" y="289"/>
                    </a:lnTo>
                    <a:lnTo>
                      <a:pt x="247" y="289"/>
                    </a:lnTo>
                    <a:lnTo>
                      <a:pt x="247" y="123"/>
                    </a:lnTo>
                    <a:lnTo>
                      <a:pt x="124" y="0"/>
                    </a:lnTo>
                    <a:lnTo>
                      <a:pt x="0" y="123"/>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sp>
            <p:nvSpPr>
              <p:cNvPr id="29" name="Freeform 25"/>
              <p:cNvSpPr/>
              <p:nvPr/>
            </p:nvSpPr>
            <p:spPr bwMode="auto">
              <a:xfrm>
                <a:off x="5984848" y="3154321"/>
                <a:ext cx="510381" cy="280641"/>
              </a:xfrm>
              <a:custGeom>
                <a:gdLst>
                  <a:gd fmla="*/ 176 w 179" name="T0"/>
                  <a:gd fmla="*/ 83 h 98" name="T1"/>
                  <a:gd fmla="*/ 96 w 179" name="T2"/>
                  <a:gd fmla="*/ 3 h 98" name="T3"/>
                  <a:gd fmla="*/ 83 w 179" name="T4"/>
                  <a:gd fmla="*/ 3 h 98" name="T5"/>
                  <a:gd fmla="*/ 4 w 179" name="T6"/>
                  <a:gd fmla="*/ 83 h 98" name="T7"/>
                  <a:gd fmla="*/ 4 w 179" name="T8"/>
                  <a:gd fmla="*/ 95 h 98" name="T9"/>
                  <a:gd fmla="*/ 16 w 179" name="T10"/>
                  <a:gd fmla="*/ 95 h 98" name="T11"/>
                  <a:gd fmla="*/ 19 w 179" name="T12"/>
                  <a:gd fmla="*/ 94 h 98" name="T13"/>
                  <a:gd fmla="*/ 90 w 179" name="T14"/>
                  <a:gd fmla="*/ 22 h 98" name="T15"/>
                  <a:gd fmla="*/ 161 w 179" name="T16"/>
                  <a:gd fmla="*/ 94 h 98" name="T17"/>
                  <a:gd fmla="*/ 164 w 179" name="T18"/>
                  <a:gd fmla="*/ 95 h 98" name="T19"/>
                  <a:gd fmla="*/ 169 w 179" name="T20"/>
                  <a:gd fmla="*/ 98 h 98" name="T21"/>
                  <a:gd fmla="*/ 176 w 179" name="T22"/>
                  <a:gd fmla="*/ 95 h 98" name="T23"/>
                  <a:gd fmla="*/ 176 w 179" name="T24"/>
                  <a:gd fmla="*/ 83 h 98"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98" w="179">
                    <a:moveTo>
                      <a:pt x="176" y="83"/>
                    </a:moveTo>
                    <a:cubicBezTo>
                      <a:pt x="96" y="3"/>
                      <a:pt x="96" y="3"/>
                      <a:pt x="96" y="3"/>
                    </a:cubicBezTo>
                    <a:cubicBezTo>
                      <a:pt x="93" y="0"/>
                      <a:pt x="87" y="0"/>
                      <a:pt x="83" y="3"/>
                    </a:cubicBezTo>
                    <a:cubicBezTo>
                      <a:pt x="4" y="83"/>
                      <a:pt x="4" y="83"/>
                      <a:pt x="4" y="83"/>
                    </a:cubicBezTo>
                    <a:cubicBezTo>
                      <a:pt x="0" y="86"/>
                      <a:pt x="0" y="92"/>
                      <a:pt x="4" y="95"/>
                    </a:cubicBezTo>
                    <a:cubicBezTo>
                      <a:pt x="7" y="98"/>
                      <a:pt x="12" y="98"/>
                      <a:pt x="16" y="95"/>
                    </a:cubicBezTo>
                    <a:cubicBezTo>
                      <a:pt x="17" y="95"/>
                      <a:pt x="18" y="94"/>
                      <a:pt x="19" y="94"/>
                    </a:cubicBezTo>
                    <a:cubicBezTo>
                      <a:pt x="90" y="22"/>
                      <a:pt x="90" y="22"/>
                      <a:pt x="90" y="22"/>
                    </a:cubicBezTo>
                    <a:cubicBezTo>
                      <a:pt x="161" y="94"/>
                      <a:pt x="161" y="94"/>
                      <a:pt x="161" y="94"/>
                    </a:cubicBezTo>
                    <a:cubicBezTo>
                      <a:pt x="162" y="94"/>
                      <a:pt x="163" y="95"/>
                      <a:pt x="164" y="95"/>
                    </a:cubicBezTo>
                    <a:cubicBezTo>
                      <a:pt x="165" y="97"/>
                      <a:pt x="167" y="98"/>
                      <a:pt x="169" y="98"/>
                    </a:cubicBezTo>
                    <a:cubicBezTo>
                      <a:pt x="172" y="98"/>
                      <a:pt x="174" y="97"/>
                      <a:pt x="176" y="95"/>
                    </a:cubicBezTo>
                    <a:cubicBezTo>
                      <a:pt x="179" y="92"/>
                      <a:pt x="179" y="86"/>
                      <a:pt x="176" y="83"/>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grpSp>
        <p:sp>
          <p:nvSpPr>
            <p:cNvPr id="26" name="Oval 196"/>
            <p:cNvSpPr>
              <a:spLocks noChangeArrowheads="1"/>
            </p:cNvSpPr>
            <p:nvPr/>
          </p:nvSpPr>
          <p:spPr bwMode="auto">
            <a:xfrm rot="5080281">
              <a:off x="6710719" y="3312850"/>
              <a:ext cx="317364" cy="317364"/>
            </a:xfrm>
            <a:prstGeom prst="triangle">
              <a:avLst/>
            </a:prstGeom>
            <a:grp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grpSp>
      <p:sp>
        <p:nvSpPr>
          <p:cNvPr id="30" name="矩形 29"/>
          <p:cNvSpPr/>
          <p:nvPr/>
        </p:nvSpPr>
        <p:spPr>
          <a:xfrm>
            <a:off x="8492141" y="3594958"/>
            <a:ext cx="1097280" cy="457200"/>
          </a:xfrm>
          <a:prstGeom prst="rect">
            <a:avLst/>
          </a:prstGeom>
          <a:ln>
            <a:noFill/>
          </a:ln>
        </p:spPr>
        <p:txBody>
          <a:bodyPr wrap="none">
            <a:spAutoFit/>
          </a:bodyPr>
          <a:lstStyle/>
          <a:p>
            <a:r>
              <a:rPr altLang="en-US" lang="zh-CN" smtClean="0" sz="2400">
                <a:solidFill>
                  <a:srgbClr val="A2A2A2"/>
                </a:solidFill>
                <a:latin charset="0" panose="020b0502020202020204" pitchFamily="34" typeface="Century Gothic"/>
                <a:ea charset="-122" panose="02010604000101010101" pitchFamily="2" typeface="汉仪特细等线简"/>
              </a:rPr>
              <a:t>小标题</a:t>
            </a:r>
          </a:p>
        </p:txBody>
      </p:sp>
      <p:sp>
        <p:nvSpPr>
          <p:cNvPr id="31" name="文本框 30"/>
          <p:cNvSpPr txBox="1"/>
          <p:nvPr/>
        </p:nvSpPr>
        <p:spPr>
          <a:xfrm>
            <a:off x="8492141" y="4188566"/>
            <a:ext cx="1888490" cy="914400"/>
          </a:xfrm>
          <a:prstGeom prst="rect">
            <a:avLst/>
          </a:prstGeom>
          <a:noFill/>
        </p:spPr>
        <p:txBody>
          <a:bodyPr rtlCol="0" wrap="square">
            <a:spAutoFit/>
          </a:bodyPr>
          <a:lstStyle/>
          <a:p>
            <a:r>
              <a:rPr altLang="en-US" lang="zh-CN">
                <a:solidFill>
                  <a:srgbClr val="516D82"/>
                </a:solidFill>
                <a:latin charset="-122" panose="020b0503020204020204" pitchFamily="34" typeface="微软雅黑"/>
                <a:ea charset="-122" panose="020b0503020204020204" pitchFamily="34" typeface="微软雅黑"/>
              </a:rPr>
              <a:t>此处输入文字</a:t>
            </a:r>
          </a:p>
          <a:p>
            <a:r>
              <a:rPr altLang="en-US" lang="zh-CN">
                <a:solidFill>
                  <a:srgbClr val="516D82"/>
                </a:solidFill>
                <a:latin charset="-122" panose="020b0503020204020204" pitchFamily="34" typeface="微软雅黑"/>
                <a:ea charset="-122" panose="020b0503020204020204" pitchFamily="34" typeface="微软雅黑"/>
              </a:rPr>
              <a:t>此处输入文字</a:t>
            </a:r>
          </a:p>
          <a:p>
            <a:r>
              <a:rPr altLang="en-US" lang="zh-CN">
                <a:solidFill>
                  <a:srgbClr val="516D82"/>
                </a:solidFill>
                <a:latin charset="-122" panose="020b0503020204020204" pitchFamily="34" typeface="微软雅黑"/>
                <a:ea charset="-122" panose="020b0503020204020204" pitchFamily="34" typeface="微软雅黑"/>
              </a:rPr>
              <a:t>此处输入文字 </a:t>
            </a:r>
          </a:p>
        </p:txBody>
      </p:sp>
      <p:sp>
        <p:nvSpPr>
          <p:cNvPr id="32" name="Freeform 195"/>
          <p:cNvSpPr/>
          <p:nvPr/>
        </p:nvSpPr>
        <p:spPr bwMode="auto">
          <a:xfrm>
            <a:off x="7726448" y="1718848"/>
            <a:ext cx="2690338" cy="400635"/>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rgbClr val="E94C65">
              <a:alpha val="70000"/>
            </a:srgbClr>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grpSp>
        <p:nvGrpSpPr>
          <p:cNvPr id="33" name="组合 32"/>
          <p:cNvGrpSpPr/>
          <p:nvPr/>
        </p:nvGrpSpPr>
        <p:grpSpPr>
          <a:xfrm>
            <a:off x="5690254" y="1923434"/>
            <a:ext cx="2074218" cy="1331666"/>
            <a:chOff x="4547254" y="1580534"/>
            <a:chExt cx="2074218" cy="1331666"/>
          </a:xfrm>
          <a:solidFill>
            <a:srgbClr val="EC667C"/>
          </a:solidFill>
        </p:grpSpPr>
        <p:grpSp>
          <p:nvGrpSpPr>
            <p:cNvPr id="34" name="组合 33"/>
            <p:cNvGrpSpPr/>
            <p:nvPr/>
          </p:nvGrpSpPr>
          <p:grpSpPr>
            <a:xfrm>
              <a:off x="4547254" y="1580534"/>
              <a:ext cx="1857179" cy="1331666"/>
              <a:chOff x="4547254" y="1580534"/>
              <a:chExt cx="1857179" cy="1331666"/>
            </a:xfrm>
            <a:grpFill/>
          </p:grpSpPr>
          <p:sp>
            <p:nvSpPr>
              <p:cNvPr id="36" name="Freeform 19"/>
              <p:cNvSpPr/>
              <p:nvPr/>
            </p:nvSpPr>
            <p:spPr bwMode="auto">
              <a:xfrm>
                <a:off x="4547254" y="1580534"/>
                <a:ext cx="1857179" cy="1331666"/>
              </a:xfrm>
              <a:custGeom>
                <a:gdLst>
                  <a:gd fmla="*/ 0 w 651" name="T0"/>
                  <a:gd fmla="*/ 263 h 467" name="T1"/>
                  <a:gd fmla="*/ 66 w 651" name="T2"/>
                  <a:gd fmla="*/ 336 h 467" name="T3"/>
                  <a:gd fmla="*/ 209 w 651" name="T4"/>
                  <a:gd fmla="*/ 430 h 467" name="T5"/>
                  <a:gd fmla="*/ 401 w 651" name="T6"/>
                  <a:gd fmla="*/ 459 h 467" name="T7"/>
                  <a:gd fmla="*/ 570 w 651" name="T8"/>
                  <a:gd fmla="*/ 376 h 467" name="T9"/>
                  <a:gd fmla="*/ 577 w 651" name="T10"/>
                  <a:gd fmla="*/ 369 h 467" name="T11"/>
                  <a:gd fmla="*/ 636 w 651" name="T12"/>
                  <a:gd fmla="*/ 262 h 467" name="T13"/>
                  <a:gd fmla="*/ 648 w 651" name="T14"/>
                  <a:gd fmla="*/ 147 h 467" name="T15"/>
                  <a:gd fmla="*/ 621 w 651" name="T16"/>
                  <a:gd fmla="*/ 57 h 467" name="T17"/>
                  <a:gd fmla="*/ 572 w 651" name="T18"/>
                  <a:gd fmla="*/ 9 h 467" name="T19"/>
                  <a:gd fmla="*/ 515 w 651" name="T20"/>
                  <a:gd fmla="*/ 5 h 467" name="T21"/>
                  <a:gd fmla="*/ 461 w 651" name="T22"/>
                  <a:gd fmla="*/ 27 h 467" name="T23"/>
                  <a:gd fmla="*/ 411 w 651" name="T24"/>
                  <a:gd fmla="*/ 60 h 467" name="T25"/>
                  <a:gd fmla="*/ 366 w 651" name="T26"/>
                  <a:gd fmla="*/ 102 h 467" name="T27"/>
                  <a:gd fmla="*/ 363 w 651" name="T28"/>
                  <a:gd fmla="*/ 106 h 467" name="T29"/>
                  <a:gd fmla="*/ 291 w 651" name="T30"/>
                  <a:gd fmla="*/ 183 h 467" name="T31"/>
                  <a:gd fmla="*/ 191 w 651" name="T32"/>
                  <a:gd fmla="*/ 248 h 467" name="T33"/>
                  <a:gd fmla="*/ 76 w 651" name="T34"/>
                  <a:gd fmla="*/ 271 h 467" name="T35"/>
                  <a:gd fmla="*/ 0 w 651" name="T36"/>
                  <a:gd fmla="*/ 263 h 467"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467" w="651">
                    <a:moveTo>
                      <a:pt x="0" y="263"/>
                    </a:moveTo>
                    <a:cubicBezTo>
                      <a:pt x="9" y="275"/>
                      <a:pt x="31" y="303"/>
                      <a:pt x="66" y="336"/>
                    </a:cubicBezTo>
                    <a:cubicBezTo>
                      <a:pt x="101" y="368"/>
                      <a:pt x="150" y="405"/>
                      <a:pt x="209" y="430"/>
                    </a:cubicBezTo>
                    <a:cubicBezTo>
                      <a:pt x="268" y="455"/>
                      <a:pt x="336" y="467"/>
                      <a:pt x="401" y="459"/>
                    </a:cubicBezTo>
                    <a:cubicBezTo>
                      <a:pt x="466" y="450"/>
                      <a:pt x="527" y="421"/>
                      <a:pt x="570" y="376"/>
                    </a:cubicBezTo>
                    <a:cubicBezTo>
                      <a:pt x="573" y="374"/>
                      <a:pt x="575" y="371"/>
                      <a:pt x="577" y="369"/>
                    </a:cubicBezTo>
                    <a:cubicBezTo>
                      <a:pt x="605" y="339"/>
                      <a:pt x="625" y="301"/>
                      <a:pt x="636" y="262"/>
                    </a:cubicBezTo>
                    <a:cubicBezTo>
                      <a:pt x="648" y="223"/>
                      <a:pt x="651" y="183"/>
                      <a:pt x="648" y="147"/>
                    </a:cubicBezTo>
                    <a:cubicBezTo>
                      <a:pt x="644" y="112"/>
                      <a:pt x="635" y="80"/>
                      <a:pt x="621" y="57"/>
                    </a:cubicBezTo>
                    <a:cubicBezTo>
                      <a:pt x="608" y="33"/>
                      <a:pt x="591" y="17"/>
                      <a:pt x="572" y="9"/>
                    </a:cubicBezTo>
                    <a:cubicBezTo>
                      <a:pt x="553" y="0"/>
                      <a:pt x="534" y="0"/>
                      <a:pt x="515" y="5"/>
                    </a:cubicBezTo>
                    <a:cubicBezTo>
                      <a:pt x="496" y="9"/>
                      <a:pt x="478" y="17"/>
                      <a:pt x="461" y="27"/>
                    </a:cubicBezTo>
                    <a:cubicBezTo>
                      <a:pt x="444" y="36"/>
                      <a:pt x="427" y="48"/>
                      <a:pt x="411" y="60"/>
                    </a:cubicBezTo>
                    <a:cubicBezTo>
                      <a:pt x="395" y="73"/>
                      <a:pt x="380" y="86"/>
                      <a:pt x="366" y="102"/>
                    </a:cubicBezTo>
                    <a:cubicBezTo>
                      <a:pt x="365" y="103"/>
                      <a:pt x="364" y="104"/>
                      <a:pt x="363" y="106"/>
                    </a:cubicBezTo>
                    <a:cubicBezTo>
                      <a:pt x="342" y="129"/>
                      <a:pt x="320" y="157"/>
                      <a:pt x="291" y="183"/>
                    </a:cubicBezTo>
                    <a:cubicBezTo>
                      <a:pt x="263" y="210"/>
                      <a:pt x="228" y="233"/>
                      <a:pt x="191" y="248"/>
                    </a:cubicBezTo>
                    <a:cubicBezTo>
                      <a:pt x="153" y="264"/>
                      <a:pt x="112" y="271"/>
                      <a:pt x="76" y="271"/>
                    </a:cubicBezTo>
                    <a:cubicBezTo>
                      <a:pt x="41" y="271"/>
                      <a:pt x="12" y="265"/>
                      <a:pt x="0" y="263"/>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sp>
            <p:nvSpPr>
              <p:cNvPr id="37" name="Freeform 28"/>
              <p:cNvSpPr>
                <a:spLocks noEditPoints="1"/>
              </p:cNvSpPr>
              <p:nvPr/>
            </p:nvSpPr>
            <p:spPr bwMode="auto">
              <a:xfrm>
                <a:off x="5836274" y="1785511"/>
                <a:ext cx="345298" cy="430590"/>
              </a:xfrm>
              <a:custGeom>
                <a:gdLst>
                  <a:gd fmla="*/ 121 w 121" name="T0"/>
                  <a:gd fmla="*/ 26 h 151" name="T1"/>
                  <a:gd fmla="*/ 121 w 121" name="T2"/>
                  <a:gd fmla="*/ 23 h 151" name="T3"/>
                  <a:gd fmla="*/ 120 w 121" name="T4"/>
                  <a:gd fmla="*/ 22 h 151" name="T5"/>
                  <a:gd fmla="*/ 120 w 121" name="T6"/>
                  <a:gd fmla="*/ 22 h 151" name="T7"/>
                  <a:gd fmla="*/ 120 w 121" name="T8"/>
                  <a:gd fmla="*/ 11 h 151" name="T9"/>
                  <a:gd fmla="*/ 109 w 121" name="T10"/>
                  <a:gd fmla="*/ 0 h 151" name="T11"/>
                  <a:gd fmla="*/ 108 w 121" name="T12"/>
                  <a:gd fmla="*/ 0 h 151" name="T13"/>
                  <a:gd fmla="*/ 107 w 121" name="T14"/>
                  <a:gd fmla="*/ 0 h 151" name="T15"/>
                  <a:gd fmla="*/ 102 w 121" name="T16"/>
                  <a:gd fmla="*/ 0 h 151" name="T17"/>
                  <a:gd fmla="*/ 101 w 121" name="T18"/>
                  <a:gd fmla="*/ 0 h 151" name="T19"/>
                  <a:gd fmla="*/ 11 w 121" name="T20"/>
                  <a:gd fmla="*/ 1 h 151" name="T21"/>
                  <a:gd fmla="*/ 0 w 121" name="T22"/>
                  <a:gd fmla="*/ 12 h 151" name="T23"/>
                  <a:gd fmla="*/ 1 w 121" name="T24"/>
                  <a:gd fmla="*/ 141 h 151" name="T25"/>
                  <a:gd fmla="*/ 11 w 121" name="T26"/>
                  <a:gd fmla="*/ 151 h 151" name="T27"/>
                  <a:gd fmla="*/ 110 w 121" name="T28"/>
                  <a:gd fmla="*/ 151 h 151" name="T29"/>
                  <a:gd fmla="*/ 121 w 121" name="T30"/>
                  <a:gd fmla="*/ 140 h 151" name="T31"/>
                  <a:gd fmla="*/ 120 w 121" name="T32"/>
                  <a:gd fmla="*/ 39 h 151" name="T33"/>
                  <a:gd fmla="*/ 121 w 121" name="T34"/>
                  <a:gd fmla="*/ 38 h 151" name="T35"/>
                  <a:gd fmla="*/ 121 w 121" name="T36"/>
                  <a:gd fmla="*/ 31 h 151" name="T37"/>
                  <a:gd fmla="*/ 120 w 121" name="T38"/>
                  <a:gd fmla="*/ 30 h 151" name="T39"/>
                  <a:gd fmla="*/ 120 w 121" name="T40"/>
                  <a:gd fmla="*/ 27 h 151" name="T41"/>
                  <a:gd fmla="*/ 120 w 121" name="T42"/>
                  <a:gd fmla="*/ 27 h 151" name="T43"/>
                  <a:gd fmla="*/ 121 w 121" name="T44"/>
                  <a:gd fmla="*/ 26 h 151" name="T45"/>
                  <a:gd fmla="*/ 51 w 121" name="T46"/>
                  <a:gd fmla="*/ 148 h 151" name="T47"/>
                  <a:gd fmla="*/ 48 w 121" name="T48"/>
                  <a:gd fmla="*/ 144 h 151" name="T49"/>
                  <a:gd fmla="*/ 51 w 121" name="T50"/>
                  <a:gd fmla="*/ 140 h 151" name="T51"/>
                  <a:gd fmla="*/ 55 w 121" name="T52"/>
                  <a:gd fmla="*/ 144 h 151" name="T53"/>
                  <a:gd fmla="*/ 51 w 121" name="T54"/>
                  <a:gd fmla="*/ 148 h 151" name="T55"/>
                  <a:gd fmla="*/ 60 w 121" name="T56"/>
                  <a:gd fmla="*/ 148 h 151" name="T57"/>
                  <a:gd fmla="*/ 57 w 121" name="T58"/>
                  <a:gd fmla="*/ 144 h 151" name="T59"/>
                  <a:gd fmla="*/ 60 w 121" name="T60"/>
                  <a:gd fmla="*/ 140 h 151" name="T61"/>
                  <a:gd fmla="*/ 64 w 121" name="T62"/>
                  <a:gd fmla="*/ 144 h 151" name="T63"/>
                  <a:gd fmla="*/ 60 w 121" name="T64"/>
                  <a:gd fmla="*/ 148 h 151" name="T65"/>
                  <a:gd fmla="*/ 69 w 121" name="T66"/>
                  <a:gd fmla="*/ 148 h 151" name="T67"/>
                  <a:gd fmla="*/ 66 w 121" name="T68"/>
                  <a:gd fmla="*/ 144 h 151" name="T69"/>
                  <a:gd fmla="*/ 69 w 121" name="T70"/>
                  <a:gd fmla="*/ 140 h 151" name="T71"/>
                  <a:gd fmla="*/ 73 w 121" name="T72"/>
                  <a:gd fmla="*/ 144 h 151" name="T73"/>
                  <a:gd fmla="*/ 69 w 121" name="T74"/>
                  <a:gd fmla="*/ 148 h 151" name="T75"/>
                  <a:gd fmla="*/ 16 w 121" name="T76"/>
                  <a:gd fmla="*/ 139 h 151" name="T77"/>
                  <a:gd fmla="*/ 16 w 121" name="T78"/>
                  <a:gd fmla="*/ 19 h 151" name="T79"/>
                  <a:gd fmla="*/ 105 w 121" name="T80"/>
                  <a:gd fmla="*/ 19 h 151" name="T81"/>
                  <a:gd fmla="*/ 106 w 121" name="T82"/>
                  <a:gd fmla="*/ 138 h 151" name="T83"/>
                  <a:gd fmla="*/ 16 w 121" name="T84"/>
                  <a:gd fmla="*/ 139 h 151"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151" w="120">
                    <a:moveTo>
                      <a:pt x="121" y="26"/>
                    </a:moveTo>
                    <a:cubicBezTo>
                      <a:pt x="121" y="23"/>
                      <a:pt x="121" y="23"/>
                      <a:pt x="121" y="23"/>
                    </a:cubicBezTo>
                    <a:cubicBezTo>
                      <a:pt x="120" y="22"/>
                      <a:pt x="120" y="22"/>
                      <a:pt x="120" y="22"/>
                    </a:cubicBezTo>
                    <a:cubicBezTo>
                      <a:pt x="120" y="22"/>
                      <a:pt x="120" y="22"/>
                      <a:pt x="120" y="22"/>
                    </a:cubicBezTo>
                    <a:cubicBezTo>
                      <a:pt x="120" y="11"/>
                      <a:pt x="120" y="11"/>
                      <a:pt x="120" y="11"/>
                    </a:cubicBezTo>
                    <a:cubicBezTo>
                      <a:pt x="120" y="5"/>
                      <a:pt x="115" y="0"/>
                      <a:pt x="109" y="0"/>
                    </a:cubicBezTo>
                    <a:cubicBezTo>
                      <a:pt x="108" y="0"/>
                      <a:pt x="108" y="0"/>
                      <a:pt x="108" y="0"/>
                    </a:cubicBezTo>
                    <a:cubicBezTo>
                      <a:pt x="108" y="0"/>
                      <a:pt x="107" y="0"/>
                      <a:pt x="107" y="0"/>
                    </a:cubicBezTo>
                    <a:cubicBezTo>
                      <a:pt x="102" y="0"/>
                      <a:pt x="102" y="0"/>
                      <a:pt x="102" y="0"/>
                    </a:cubicBezTo>
                    <a:cubicBezTo>
                      <a:pt x="102" y="0"/>
                      <a:pt x="101" y="0"/>
                      <a:pt x="101" y="0"/>
                    </a:cubicBezTo>
                    <a:cubicBezTo>
                      <a:pt x="11" y="1"/>
                      <a:pt x="11" y="1"/>
                      <a:pt x="11" y="1"/>
                    </a:cubicBezTo>
                    <a:cubicBezTo>
                      <a:pt x="5" y="1"/>
                      <a:pt x="0" y="6"/>
                      <a:pt x="0" y="12"/>
                    </a:cubicBezTo>
                    <a:cubicBezTo>
                      <a:pt x="1" y="141"/>
                      <a:pt x="1" y="141"/>
                      <a:pt x="1" y="141"/>
                    </a:cubicBezTo>
                    <a:cubicBezTo>
                      <a:pt x="1" y="147"/>
                      <a:pt x="5" y="151"/>
                      <a:pt x="11" y="151"/>
                    </a:cubicBezTo>
                    <a:cubicBezTo>
                      <a:pt x="110" y="151"/>
                      <a:pt x="110" y="151"/>
                      <a:pt x="110" y="151"/>
                    </a:cubicBezTo>
                    <a:cubicBezTo>
                      <a:pt x="116" y="151"/>
                      <a:pt x="121" y="146"/>
                      <a:pt x="121" y="140"/>
                    </a:cubicBezTo>
                    <a:cubicBezTo>
                      <a:pt x="120" y="39"/>
                      <a:pt x="120" y="39"/>
                      <a:pt x="120" y="39"/>
                    </a:cubicBezTo>
                    <a:cubicBezTo>
                      <a:pt x="120" y="39"/>
                      <a:pt x="121" y="38"/>
                      <a:pt x="121" y="38"/>
                    </a:cubicBezTo>
                    <a:cubicBezTo>
                      <a:pt x="121" y="31"/>
                      <a:pt x="121" y="31"/>
                      <a:pt x="121" y="31"/>
                    </a:cubicBezTo>
                    <a:cubicBezTo>
                      <a:pt x="121" y="31"/>
                      <a:pt x="120" y="30"/>
                      <a:pt x="120" y="30"/>
                    </a:cubicBezTo>
                    <a:cubicBezTo>
                      <a:pt x="120" y="27"/>
                      <a:pt x="120" y="27"/>
                      <a:pt x="120" y="27"/>
                    </a:cubicBezTo>
                    <a:cubicBezTo>
                      <a:pt x="120" y="27"/>
                      <a:pt x="120" y="27"/>
                      <a:pt x="120" y="27"/>
                    </a:cubicBezTo>
                    <a:lnTo>
                      <a:pt x="121" y="26"/>
                    </a:lnTo>
                    <a:close/>
                    <a:moveTo>
                      <a:pt x="51" y="148"/>
                    </a:moveTo>
                    <a:cubicBezTo>
                      <a:pt x="49" y="148"/>
                      <a:pt x="48" y="146"/>
                      <a:pt x="48" y="144"/>
                    </a:cubicBezTo>
                    <a:cubicBezTo>
                      <a:pt x="48" y="142"/>
                      <a:pt x="49" y="140"/>
                      <a:pt x="51" y="140"/>
                    </a:cubicBezTo>
                    <a:cubicBezTo>
                      <a:pt x="53" y="140"/>
                      <a:pt x="55" y="142"/>
                      <a:pt x="55" y="144"/>
                    </a:cubicBezTo>
                    <a:cubicBezTo>
                      <a:pt x="55" y="146"/>
                      <a:pt x="53" y="148"/>
                      <a:pt x="51" y="148"/>
                    </a:cubicBezTo>
                    <a:close/>
                    <a:moveTo>
                      <a:pt x="60" y="148"/>
                    </a:moveTo>
                    <a:cubicBezTo>
                      <a:pt x="58" y="148"/>
                      <a:pt x="57" y="146"/>
                      <a:pt x="57" y="144"/>
                    </a:cubicBezTo>
                    <a:cubicBezTo>
                      <a:pt x="57" y="142"/>
                      <a:pt x="58" y="140"/>
                      <a:pt x="60" y="140"/>
                    </a:cubicBezTo>
                    <a:cubicBezTo>
                      <a:pt x="62" y="140"/>
                      <a:pt x="64" y="142"/>
                      <a:pt x="64" y="144"/>
                    </a:cubicBezTo>
                    <a:cubicBezTo>
                      <a:pt x="64" y="146"/>
                      <a:pt x="62" y="148"/>
                      <a:pt x="60" y="148"/>
                    </a:cubicBezTo>
                    <a:close/>
                    <a:moveTo>
                      <a:pt x="69" y="148"/>
                    </a:moveTo>
                    <a:cubicBezTo>
                      <a:pt x="67" y="148"/>
                      <a:pt x="66" y="146"/>
                      <a:pt x="66" y="144"/>
                    </a:cubicBezTo>
                    <a:cubicBezTo>
                      <a:pt x="66" y="142"/>
                      <a:pt x="67" y="140"/>
                      <a:pt x="69" y="140"/>
                    </a:cubicBezTo>
                    <a:cubicBezTo>
                      <a:pt x="71" y="140"/>
                      <a:pt x="73" y="142"/>
                      <a:pt x="73" y="144"/>
                    </a:cubicBezTo>
                    <a:cubicBezTo>
                      <a:pt x="73" y="146"/>
                      <a:pt x="71" y="148"/>
                      <a:pt x="69" y="148"/>
                    </a:cubicBezTo>
                    <a:close/>
                    <a:moveTo>
                      <a:pt x="16" y="139"/>
                    </a:moveTo>
                    <a:cubicBezTo>
                      <a:pt x="16" y="19"/>
                      <a:pt x="16" y="19"/>
                      <a:pt x="16" y="19"/>
                    </a:cubicBezTo>
                    <a:cubicBezTo>
                      <a:pt x="105" y="19"/>
                      <a:pt x="105" y="19"/>
                      <a:pt x="105" y="19"/>
                    </a:cubicBezTo>
                    <a:cubicBezTo>
                      <a:pt x="106" y="138"/>
                      <a:pt x="106" y="138"/>
                      <a:pt x="106" y="138"/>
                    </a:cubicBezTo>
                    <a:lnTo>
                      <a:pt x="16" y="139"/>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latin charset="0" panose="020b0502020202020204" pitchFamily="34" typeface="Century Gothic"/>
                </a:endParaRPr>
              </a:p>
            </p:txBody>
          </p:sp>
        </p:grpSp>
        <p:sp>
          <p:nvSpPr>
            <p:cNvPr id="35" name="Oval 196"/>
            <p:cNvSpPr>
              <a:spLocks noChangeArrowheads="1"/>
            </p:cNvSpPr>
            <p:nvPr/>
          </p:nvSpPr>
          <p:spPr bwMode="auto">
            <a:xfrm rot="4258904">
              <a:off x="6338179" y="1679097"/>
              <a:ext cx="283293" cy="283293"/>
            </a:xfrm>
            <a:prstGeom prst="triangle">
              <a:avLst/>
            </a:prstGeom>
            <a:grp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grpSp>
      <p:sp>
        <p:nvSpPr>
          <p:cNvPr id="38" name="文本框 37"/>
          <p:cNvSpPr txBox="1"/>
          <p:nvPr/>
        </p:nvSpPr>
        <p:spPr>
          <a:xfrm>
            <a:off x="8166674" y="1752880"/>
            <a:ext cx="1888490" cy="1188720"/>
          </a:xfrm>
          <a:prstGeom prst="rect">
            <a:avLst/>
          </a:prstGeom>
          <a:noFill/>
        </p:spPr>
        <p:txBody>
          <a:bodyPr rtlCol="0" wrap="square">
            <a:spAutoFit/>
          </a:bodyPr>
          <a:lstStyle/>
          <a:p>
            <a:r>
              <a:rPr altLang="en-US" lang="zh-CN">
                <a:solidFill>
                  <a:srgbClr val="516D82"/>
                </a:solidFill>
                <a:latin charset="-122" panose="020b0503020204020204" pitchFamily="34" typeface="微软雅黑"/>
                <a:ea charset="-122" panose="020b0503020204020204" pitchFamily="34" typeface="微软雅黑"/>
              </a:rPr>
              <a:t>此处输入文字</a:t>
            </a:r>
          </a:p>
          <a:p>
            <a:r>
              <a:rPr altLang="en-US" lang="zh-CN">
                <a:solidFill>
                  <a:srgbClr val="516D82"/>
                </a:solidFill>
                <a:latin charset="-122" panose="020b0503020204020204" pitchFamily="34" typeface="微软雅黑"/>
                <a:ea charset="-122" panose="020b0503020204020204" pitchFamily="34" typeface="微软雅黑"/>
              </a:rPr>
              <a:t>此处输入文字</a:t>
            </a:r>
          </a:p>
          <a:p>
            <a:r>
              <a:rPr altLang="en-US" lang="zh-CN">
                <a:solidFill>
                  <a:srgbClr val="516D82"/>
                </a:solidFill>
                <a:latin charset="-122" panose="020b0503020204020204" pitchFamily="34" typeface="微软雅黑"/>
                <a:ea charset="-122" panose="020b0503020204020204" pitchFamily="34" typeface="微软雅黑"/>
              </a:rPr>
              <a:t>此处输入文字 </a:t>
            </a:r>
          </a:p>
          <a:p>
            <a:r>
              <a:rPr altLang="en-US" lang="zh-CN">
                <a:solidFill>
                  <a:srgbClr val="516D82"/>
                </a:solidFill>
                <a:latin charset="-122" panose="020b0503020204020204" pitchFamily="34" typeface="微软雅黑"/>
                <a:ea charset="-122" panose="020b0503020204020204" pitchFamily="34" typeface="微软雅黑"/>
              </a:rPr>
              <a:t> </a:t>
            </a:r>
          </a:p>
        </p:txBody>
      </p:sp>
      <p:sp>
        <p:nvSpPr>
          <p:cNvPr id="39" name="文本框 38"/>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41" name="矩形 40"/>
          <p:cNvSpPr/>
          <p:nvPr/>
        </p:nvSpPr>
        <p:spPr>
          <a:xfrm>
            <a:off x="8139415" y="1251591"/>
            <a:ext cx="1097280" cy="457200"/>
          </a:xfrm>
          <a:prstGeom prst="rect">
            <a:avLst/>
          </a:prstGeom>
          <a:ln>
            <a:noFill/>
          </a:ln>
        </p:spPr>
        <p:txBody>
          <a:bodyPr wrap="none">
            <a:spAutoFit/>
          </a:bodyPr>
          <a:lstStyle/>
          <a:p>
            <a:r>
              <a:rPr altLang="en-US" lang="zh-CN" smtClean="0" sz="2400">
                <a:solidFill>
                  <a:srgbClr val="E94C65"/>
                </a:solidFill>
                <a:latin charset="0" panose="020b0502020202020204" pitchFamily="34" typeface="Century Gothic"/>
                <a:ea charset="-122" panose="02010604000101010101" pitchFamily="2" typeface="汉仪特细等线简"/>
              </a:rPr>
              <a:t>小标题</a:t>
            </a:r>
          </a:p>
        </p:txBody>
      </p:sp>
    </p:spTree>
    <p:extLst>
      <p:ext uri="{BB962C8B-B14F-4D97-AF65-F5344CB8AC3E}">
        <p14:creationId val="1871189270"/>
      </p:ext>
    </p:extLst>
  </p:cSld>
  <p:clrMapOvr>
    <a:masterClrMapping/>
  </p:clrMapOvr>
  <mc:AlternateContent>
    <mc:Choice Requires="p15">
      <p:transition p14:dur="1250" spd="slow">
        <p15:prstTrans prst="pageCurlDoubl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autoRev="1" fill="hold" id="5" nodeType="withEffect" presetClass="emph" presetID="6" presetSubtype="0" repeatCount="indefinite">
                                  <p:stCondLst>
                                    <p:cond delay="0"/>
                                  </p:stCondLst>
                                  <p:childTnLst>
                                    <p:animScale>
                                      <p:cBhvr>
                                        <p:cTn dur="5000" fill="hold" id="6"/>
                                        <p:tgtEl>
                                          <p:spTgt spid="6"/>
                                        </p:tgtEl>
                                      </p:cBhvr>
                                      <p:by x="80000" y="80000"/>
                                    </p:animScale>
                                  </p:childTnLst>
                                </p:cTn>
                              </p:par>
                              <p:par>
                                <p:cTn autoRev="1" fill="hold" id="7" nodeType="withEffect" presetClass="emph" presetID="6" presetSubtype="0" repeatCount="indefinite">
                                  <p:stCondLst>
                                    <p:cond delay="700"/>
                                  </p:stCondLst>
                                  <p:childTnLst>
                                    <p:animScale>
                                      <p:cBhvr>
                                        <p:cTn dur="5000" fill="hold" id="8"/>
                                        <p:tgtEl>
                                          <p:spTgt spid="24"/>
                                        </p:tgtEl>
                                      </p:cBhvr>
                                      <p:by x="120000" y="120000"/>
                                    </p:animScale>
                                  </p:childTnLst>
                                </p:cTn>
                              </p:par>
                              <p:par>
                                <p:cTn autoRev="1" fill="hold" id="9" nodeType="withEffect" presetClass="emph" presetID="6" presetSubtype="0" repeatCount="indefinite">
                                  <p:stCondLst>
                                    <p:cond delay="1000"/>
                                  </p:stCondLst>
                                  <p:childTnLst>
                                    <p:animScale>
                                      <p:cBhvr>
                                        <p:cTn dur="5000" fill="hold" id="10"/>
                                        <p:tgtEl>
                                          <p:spTgt spid="33"/>
                                        </p:tgtEl>
                                      </p:cBhvr>
                                      <p:by x="120000" y="120000"/>
                                    </p:animScale>
                                  </p:childTnLst>
                                </p:cTn>
                              </p:par>
                            </p:childTnLst>
                          </p:cTn>
                        </p:par>
                      </p:childTnLst>
                    </p:cTn>
                  </p:par>
                </p:childTnLst>
              </p:cTn>
              <p:prevCondLst>
                <p:cond delay="0" evt="onPrev">
                  <p:tgtEl>
                    <p:sldTgt/>
                  </p:tgtEl>
                </p:cond>
              </p:prevCondLst>
              <p:nextCondLst>
                <p:cond delay="0" evt="onNext">
                  <p:tgtEl>
                    <p:sldTgt/>
                  </p:tgtEl>
                </p:cond>
              </p:nextCondLst>
            </p:seq>
          </p:childTnLst>
        </p:cTn>
      </p:par>
    </p:tnLst>
  </p:timing>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70899EF3-8E74-4DD3-A0D6-69B255BC8E23}" type="slidenum">
              <a:rPr altLang="en-US" lang="zh-CN" smtClean="0"/>
              <a:t>19</a:t>
            </a:fld>
          </a:p>
        </p:txBody>
      </p:sp>
      <p:sp>
        <p:nvSpPr>
          <p:cNvPr id="6" name="文本框 5"/>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7" name="矩形 6"/>
          <p:cNvSpPr/>
          <p:nvPr/>
        </p:nvSpPr>
        <p:spPr>
          <a:xfrm>
            <a:off x="3786785" y="1624414"/>
            <a:ext cx="8405215" cy="1877357"/>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 name="矩形 7"/>
          <p:cNvSpPr/>
          <p:nvPr/>
        </p:nvSpPr>
        <p:spPr>
          <a:xfrm>
            <a:off x="0" y="3727924"/>
            <a:ext cx="8405215" cy="1877357"/>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矩形 9"/>
          <p:cNvSpPr/>
          <p:nvPr/>
        </p:nvSpPr>
        <p:spPr>
          <a:xfrm>
            <a:off x="4941391" y="1916824"/>
            <a:ext cx="6292665" cy="1325880"/>
          </a:xfrm>
          <a:prstGeom prst="rect">
            <a:avLst/>
          </a:prstGeom>
        </p:spPr>
        <p:txBody>
          <a:bodyPr wrap="square">
            <a:spAutoFit/>
          </a:bodyPr>
          <a:lstStyle/>
          <a:p>
            <a:pPr>
              <a:lnSpc>
                <a:spcPct val="150000"/>
              </a:lnSpc>
            </a:pPr>
            <a:r>
              <a:rPr altLang="en-US" lang="zh-CN">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此处输入文本此处输入文本此处输入文本此处输入文本此处输入文本此处输入文本</a:t>
            </a:r>
          </a:p>
        </p:txBody>
      </p:sp>
      <p:sp>
        <p:nvSpPr>
          <p:cNvPr id="11" name="矩形 10"/>
          <p:cNvSpPr/>
          <p:nvPr/>
        </p:nvSpPr>
        <p:spPr>
          <a:xfrm>
            <a:off x="1269207" y="4062504"/>
            <a:ext cx="6292665" cy="1325880"/>
          </a:xfrm>
          <a:prstGeom prst="rect">
            <a:avLst/>
          </a:prstGeom>
        </p:spPr>
        <p:txBody>
          <a:bodyPr wrap="square">
            <a:spAutoFit/>
          </a:bodyPr>
          <a:lstStyle/>
          <a:p>
            <a:pPr>
              <a:lnSpc>
                <a:spcPct val="150000"/>
              </a:lnSpc>
            </a:pPr>
            <a:r>
              <a:rPr altLang="en-US" lang="zh-CN">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此处输入文本此处输入文本此处输入文本此处输入文本此处输入文本此处输入文本</a:t>
            </a:r>
          </a:p>
        </p:txBody>
      </p:sp>
      <p:grpSp>
        <p:nvGrpSpPr>
          <p:cNvPr id="16" name="组合 15"/>
          <p:cNvGrpSpPr/>
          <p:nvPr/>
        </p:nvGrpSpPr>
        <p:grpSpPr>
          <a:xfrm>
            <a:off x="8405215" y="3727924"/>
            <a:ext cx="2590159" cy="1651204"/>
            <a:chOff x="8405215" y="3727924"/>
            <a:chExt cx="2590159" cy="1651204"/>
          </a:xfrm>
        </p:grpSpPr>
        <p:pic>
          <p:nvPicPr>
            <p:cNvPr id="12" name="图片 11"/>
            <p:cNvPicPr>
              <a:picLocks noChangeAspect="1"/>
            </p:cNvPicPr>
            <p:nvPr/>
          </p:nvPicPr>
          <p:blipFill>
            <a:blip r:embed="rId2">
              <a:extLst>
                <a:ext uri="{28A0092B-C50C-407E-A947-70E740481C1C}">
                  <a14:useLocalDpi/>
                </a:ext>
              </a:extLst>
            </a:blip>
            <a:stretch>
              <a:fillRect/>
            </a:stretch>
          </p:blipFill>
          <p:spPr>
            <a:xfrm>
              <a:off x="8405215" y="3727924"/>
              <a:ext cx="2567299" cy="1651204"/>
            </a:xfrm>
            <a:prstGeom prst="rect">
              <a:avLst/>
            </a:prstGeom>
          </p:spPr>
        </p:pic>
        <p:sp>
          <p:nvSpPr>
            <p:cNvPr id="13" name="直角三角形 11"/>
            <p:cNvSpPr/>
            <p:nvPr/>
          </p:nvSpPr>
          <p:spPr>
            <a:xfrm rot="16200000">
              <a:off x="10355294" y="4739048"/>
              <a:ext cx="834390" cy="445770"/>
            </a:xfrm>
            <a:custGeom>
              <a:gdLst>
                <a:gd fmla="*/ 0 w 834390" name="connsiteX0"/>
                <a:gd fmla="*/ 434340 h 445770" name="connsiteY0"/>
                <a:gd fmla="*/ 0 w 834390" name="connsiteX1"/>
                <a:gd fmla="*/ 0 h 445770" name="connsiteY1"/>
                <a:gd fmla="*/ 834390 w 834390" name="connsiteX2"/>
                <a:gd fmla="*/ 445770 h 445770" name="connsiteY2"/>
                <a:gd fmla="*/ 0 w 834390" name="connsiteX3"/>
                <a:gd fmla="*/ 434340 h 445770" name="connsiteY3"/>
              </a:gdLst>
              <a:cxnLst>
                <a:cxn ang="0">
                  <a:pos x="connsiteX0" y="connsiteY0"/>
                </a:cxn>
                <a:cxn ang="0">
                  <a:pos x="connsiteX1" y="connsiteY1"/>
                </a:cxn>
                <a:cxn ang="0">
                  <a:pos x="connsiteX2" y="connsiteY2"/>
                </a:cxn>
                <a:cxn ang="0">
                  <a:pos x="connsiteX3" y="connsiteY3"/>
                </a:cxn>
              </a:cxnLst>
              <a:rect b="b" l="l" r="r" t="t"/>
              <a:pathLst>
                <a:path h="445770" w="83439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grpSp>
        <p:nvGrpSpPr>
          <p:cNvPr id="15" name="组合 14"/>
          <p:cNvGrpSpPr/>
          <p:nvPr/>
        </p:nvGrpSpPr>
        <p:grpSpPr>
          <a:xfrm>
            <a:off x="1214233" y="1839872"/>
            <a:ext cx="2572552" cy="1661899"/>
            <a:chOff x="1214233" y="1839872"/>
            <a:chExt cx="2572552" cy="1661899"/>
          </a:xfrm>
        </p:grpSpPr>
        <p:pic>
          <p:nvPicPr>
            <p:cNvPr id="5" name="图片 4"/>
            <p:cNvPicPr>
              <a:picLocks noChangeAspect="1"/>
            </p:cNvPicPr>
            <p:nvPr/>
          </p:nvPicPr>
          <p:blipFill>
            <a:blip r:embed="rId3">
              <a:extLst>
                <a:ext uri="{28A0092B-C50C-407E-A947-70E740481C1C}">
                  <a14:useLocalDpi/>
                </a:ext>
              </a:extLst>
            </a:blip>
            <a:stretch>
              <a:fillRect/>
            </a:stretch>
          </p:blipFill>
          <p:spPr>
            <a:xfrm>
              <a:off x="1225663" y="1850567"/>
              <a:ext cx="2561122" cy="1651204"/>
            </a:xfrm>
            <a:prstGeom prst="rect">
              <a:avLst/>
            </a:prstGeom>
          </p:spPr>
        </p:pic>
        <p:sp>
          <p:nvSpPr>
            <p:cNvPr id="14" name="直角三角形 11"/>
            <p:cNvSpPr/>
            <p:nvPr/>
          </p:nvSpPr>
          <p:spPr>
            <a:xfrm rot="5400000">
              <a:off x="1043422" y="2010683"/>
              <a:ext cx="834390" cy="492768"/>
            </a:xfrm>
            <a:custGeom>
              <a:gdLst>
                <a:gd fmla="*/ 0 w 834390" name="connsiteX0"/>
                <a:gd fmla="*/ 434340 h 445770" name="connsiteY0"/>
                <a:gd fmla="*/ 0 w 834390" name="connsiteX1"/>
                <a:gd fmla="*/ 0 h 445770" name="connsiteY1"/>
                <a:gd fmla="*/ 834390 w 834390" name="connsiteX2"/>
                <a:gd fmla="*/ 445770 h 445770" name="connsiteY2"/>
                <a:gd fmla="*/ 0 w 834390" name="connsiteX3"/>
                <a:gd fmla="*/ 434340 h 445770" name="connsiteY3"/>
              </a:gdLst>
              <a:cxnLst>
                <a:cxn ang="0">
                  <a:pos x="connsiteX0" y="connsiteY0"/>
                </a:cxn>
                <a:cxn ang="0">
                  <a:pos x="connsiteX1" y="connsiteY1"/>
                </a:cxn>
                <a:cxn ang="0">
                  <a:pos x="connsiteX2" y="connsiteY2"/>
                </a:cxn>
                <a:cxn ang="0">
                  <a:pos x="connsiteX3" y="connsiteY3"/>
                </a:cxn>
              </a:cxnLst>
              <a:rect b="b" l="l" r="r" t="t"/>
              <a:pathLst>
                <a:path h="445770" w="83439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Tree>
    <p:extLst>
      <p:ext uri="{BB962C8B-B14F-4D97-AF65-F5344CB8AC3E}">
        <p14:creationId val="2002889251"/>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标题 1"/>
          <p:cNvSpPr>
            <a:spLocks noGrp="1"/>
          </p:cNvSpPr>
          <p:nvPr>
            <p:ph type="title"/>
          </p:nvPr>
        </p:nvSpPr>
        <p:spPr/>
        <p:txBody>
          <a:bodyPr/>
          <a:lstStyle/>
          <a:p>
            <a:endParaRPr altLang="en-US" lang="zh-CN"/>
          </a:p>
        </p:txBody>
      </p:sp>
      <p:sp>
        <p:nvSpPr>
          <p:cNvPr id="5" name="文本占位符 4"/>
          <p:cNvSpPr>
            <a:spLocks noGrp="1"/>
          </p:cNvSpPr>
          <p:nvPr>
            <p:ph idx="1" type="body"/>
          </p:nvPr>
        </p:nvSpPr>
        <p:spPr/>
        <p:txBody>
          <a:bodyPr/>
          <a:lstStyle/>
          <a:p>
            <a:endParaRPr altLang="en-US" lang="zh-CN"/>
          </a:p>
        </p:txBody>
      </p:sp>
      <p:pic>
        <p:nvPicPr>
          <p:cNvPr id="4" name="内容占位符 3"/>
          <p:cNvPicPr>
            <a:picLocks noChangeAspect="1" noGrp="1"/>
          </p:cNvPicPr>
          <p:nvPr>
            <p:ph idx="4294967295"/>
          </p:nvPr>
        </p:nvPicPr>
        <p:blipFill>
          <a:blip r:embed="rId2">
            <a:extLst>
              <a:ext uri="{28A0092B-C50C-407E-A947-70E740481C1C}">
                <a14:useLocalDpi/>
              </a:ext>
            </a:extLst>
          </a:blip>
          <a:stretch>
            <a:fillRect/>
          </a:stretch>
        </p:blipFill>
        <p:spPr>
          <a:xfrm>
            <a:off x="1909763" y="0"/>
            <a:ext cx="10282237" cy="6858000"/>
          </a:xfrm>
        </p:spPr>
      </p:pic>
      <p:sp>
        <p:nvSpPr>
          <p:cNvPr id="13" name="直角三角形 12"/>
          <p:cNvSpPr/>
          <p:nvPr/>
        </p:nvSpPr>
        <p:spPr>
          <a:xfrm flipV="1" rot="10800000">
            <a:off x="11466342" y="5501389"/>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5" name="任意多边形 14"/>
          <p:cNvSpPr/>
          <p:nvPr/>
        </p:nvSpPr>
        <p:spPr>
          <a:xfrm>
            <a:off x="-12192" y="-12191"/>
            <a:ext cx="5987384" cy="6894575"/>
          </a:xfrm>
          <a:custGeom>
            <a:gdLst>
              <a:gd fmla="*/ 1601745 w 5987384" name="connsiteX0"/>
              <a:gd fmla="*/ 0 h 6894575" name="connsiteY0"/>
              <a:gd fmla="*/ 5987384 w 5987384" name="connsiteX1"/>
              <a:gd fmla="*/ 0 h 6894575" name="connsiteY1"/>
              <a:gd fmla="*/ 2252280 w 5987384" name="connsiteX2"/>
              <a:gd fmla="*/ 6894575 h 6894575" name="connsiteY2"/>
              <a:gd fmla="*/ 0 w 5987384" name="connsiteX3"/>
              <a:gd fmla="*/ 6870191 h 6894575" name="connsiteY3"/>
              <a:gd fmla="*/ 0 w 5987384" name="connsiteX4"/>
              <a:gd fmla="*/ 2891132 h 6894575" name="connsiteY4"/>
              <a:gd fmla="*/ 1601745 w 5987384" name="connsiteX5"/>
              <a:gd fmla="*/ 0 h 6894575"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6894575" w="5987384">
                <a:moveTo>
                  <a:pt x="1601745" y="0"/>
                </a:moveTo>
                <a:lnTo>
                  <a:pt x="5987384" y="0"/>
                </a:lnTo>
                <a:lnTo>
                  <a:pt x="2252280" y="6894575"/>
                </a:lnTo>
                <a:lnTo>
                  <a:pt x="0" y="6870191"/>
                </a:lnTo>
                <a:lnTo>
                  <a:pt x="0" y="2891132"/>
                </a:lnTo>
                <a:lnTo>
                  <a:pt x="1601745"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6" name="椭圆 15"/>
          <p:cNvSpPr/>
          <p:nvPr/>
        </p:nvSpPr>
        <p:spPr>
          <a:xfrm>
            <a:off x="10300943" y="22142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7" name="椭圆 16"/>
          <p:cNvSpPr/>
          <p:nvPr/>
        </p:nvSpPr>
        <p:spPr>
          <a:xfrm>
            <a:off x="10416068" y="336546"/>
            <a:ext cx="1379095" cy="1379095"/>
          </a:xfrm>
          <a:prstGeom prst="ellipse">
            <a:avLst/>
          </a:prstGeom>
          <a:solidFill>
            <a:srgbClr val="E000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z="2800">
                <a:solidFill>
                  <a:schemeClr val="bg1"/>
                </a:solidFill>
                <a:latin charset="-122" panose="020b0503020204020204" pitchFamily="34" typeface="微软雅黑"/>
                <a:ea charset="-122" panose="020b0503020204020204" pitchFamily="34" typeface="微软雅黑"/>
              </a:rPr>
              <a:t>目录</a:t>
            </a:r>
          </a:p>
        </p:txBody>
      </p:sp>
      <p:sp>
        <p:nvSpPr>
          <p:cNvPr id="18" name="平行四边形 17"/>
          <p:cNvSpPr/>
          <p:nvPr/>
        </p:nvSpPr>
        <p:spPr>
          <a:xfrm>
            <a:off x="3471273" y="2034614"/>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21" name="平行四边形 20"/>
          <p:cNvSpPr/>
          <p:nvPr/>
        </p:nvSpPr>
        <p:spPr>
          <a:xfrm>
            <a:off x="2981500" y="2991686"/>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22" name="平行四边形 21"/>
          <p:cNvSpPr/>
          <p:nvPr/>
        </p:nvSpPr>
        <p:spPr>
          <a:xfrm>
            <a:off x="2484277" y="3948758"/>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23" name="平行四边形 22"/>
          <p:cNvSpPr/>
          <p:nvPr/>
        </p:nvSpPr>
        <p:spPr>
          <a:xfrm>
            <a:off x="1987071" y="4905830"/>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3" name="椭圆 2"/>
          <p:cNvSpPr/>
          <p:nvPr/>
        </p:nvSpPr>
        <p:spPr>
          <a:xfrm>
            <a:off x="2068043" y="1878084"/>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0" name="椭圆 59"/>
          <p:cNvSpPr/>
          <p:nvPr/>
        </p:nvSpPr>
        <p:spPr>
          <a:xfrm>
            <a:off x="1598179" y="28706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1" name="椭圆 60"/>
          <p:cNvSpPr/>
          <p:nvPr/>
        </p:nvSpPr>
        <p:spPr>
          <a:xfrm>
            <a:off x="1153171" y="3834636"/>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2" name="椭圆 61"/>
          <p:cNvSpPr/>
          <p:nvPr/>
        </p:nvSpPr>
        <p:spPr>
          <a:xfrm>
            <a:off x="617256" y="4760976"/>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descr="C:\Users\v-junyo\Desktop\Dropbox\ZumTeam\Team_Resources\Design Resources\Icons\Metro_Style_Icons\paper_plane_64.png" id="32" name="Picture 3"/>
          <p:cNvPicPr>
            <a:picLocks noChangeArrowheads="1" noChangeAspect="1"/>
          </p:cNvPicPr>
          <p:nvPr/>
        </p:nvPicPr>
        <p:blipFill>
          <a:blip r:embed="rId3">
            <a:extLst>
              <a:ext uri="{28A0092B-C50C-407E-A947-70E740481C1C}">
                <a14:useLocalDpi/>
              </a:ext>
            </a:extLst>
          </a:blip>
          <a:stretch>
            <a:fillRect/>
          </a:stretch>
        </p:blipFill>
        <p:spPr bwMode="auto">
          <a:xfrm>
            <a:off x="781374" y="4988476"/>
            <a:ext cx="513564" cy="513698"/>
          </a:xfrm>
          <a:prstGeom prst="rect">
            <a:avLst/>
          </a:prstGeom>
          <a:noFill/>
          <a:extLst>
            <a:ext uri="{909E8E84-426E-40DD-AFC4-6F175D3DCCD1}">
              <a14:hiddenFill>
                <a:solidFill>
                  <a:srgbClr val="FFFFFF"/>
                </a:solidFill>
              </a14:hiddenFill>
            </a:ext>
          </a:extLst>
        </p:spPr>
      </p:pic>
      <p:sp>
        <p:nvSpPr>
          <p:cNvPr id="33" name="Freeform 235"/>
          <p:cNvSpPr>
            <a:spLocks noEditPoints="1"/>
          </p:cNvSpPr>
          <p:nvPr/>
        </p:nvSpPr>
        <p:spPr bwMode="auto">
          <a:xfrm>
            <a:off x="1360713" y="4114797"/>
            <a:ext cx="525424" cy="388437"/>
          </a:xfrm>
          <a:custGeom>
            <a:gdLst>
              <a:gd fmla="*/ 159 w 175" name="T0"/>
              <a:gd fmla="*/ 20 h 135" name="T1"/>
              <a:gd fmla="*/ 152 w 175" name="T2"/>
              <a:gd fmla="*/ 6 h 135" name="T3"/>
              <a:gd fmla="*/ 145 w 175" name="T4"/>
              <a:gd fmla="*/ 3 h 135" name="T5"/>
              <a:gd fmla="*/ 143 w 175" name="T6"/>
              <a:gd fmla="*/ 10 h 135" name="T7"/>
              <a:gd fmla="*/ 150 w 175" name="T8"/>
              <a:gd fmla="*/ 24 h 135" name="T9"/>
              <a:gd fmla="*/ 145 w 175" name="T10"/>
              <a:gd fmla="*/ 27 h 135" name="T11"/>
              <a:gd fmla="*/ 133 w 175" name="T12"/>
              <a:gd fmla="*/ 4 h 135" name="T13"/>
              <a:gd fmla="*/ 126 w 175" name="T14"/>
              <a:gd fmla="*/ 1 h 135" name="T15"/>
              <a:gd fmla="*/ 124 w 175" name="T16"/>
              <a:gd fmla="*/ 8 h 135" name="T17"/>
              <a:gd fmla="*/ 136 w 175" name="T18"/>
              <a:gd fmla="*/ 32 h 135" name="T19"/>
              <a:gd fmla="*/ 131 w 175" name="T20"/>
              <a:gd fmla="*/ 34 h 135" name="T21"/>
              <a:gd fmla="*/ 124 w 175" name="T22"/>
              <a:gd fmla="*/ 21 h 135" name="T23"/>
              <a:gd fmla="*/ 118 w 175" name="T24"/>
              <a:gd fmla="*/ 19 h 135" name="T25"/>
              <a:gd fmla="*/ 116 w 175" name="T26"/>
              <a:gd fmla="*/ 25 h 135" name="T27"/>
              <a:gd fmla="*/ 122 w 175" name="T28"/>
              <a:gd fmla="*/ 39 h 135" name="T29"/>
              <a:gd fmla="*/ 93 w 175" name="T30"/>
              <a:gd fmla="*/ 50 h 135" name="T31"/>
              <a:gd fmla="*/ 34 w 175" name="T32"/>
              <a:gd fmla="*/ 37 h 135" name="T33"/>
              <a:gd fmla="*/ 13 w 175" name="T34"/>
              <a:gd fmla="*/ 102 h 135" name="T35"/>
              <a:gd fmla="*/ 77 w 175" name="T36"/>
              <a:gd fmla="*/ 123 h 135" name="T37"/>
              <a:gd fmla="*/ 102 w 175" name="T38"/>
              <a:gd fmla="*/ 67 h 135" name="T39"/>
              <a:gd fmla="*/ 168 w 175" name="T40"/>
              <a:gd fmla="*/ 38 h 135" name="T41"/>
              <a:gd fmla="*/ 173 w 175" name="T42"/>
              <a:gd fmla="*/ 24 h 135" name="T43"/>
              <a:gd fmla="*/ 159 w 175" name="T44"/>
              <a:gd fmla="*/ 20 h 135" name="T45"/>
              <a:gd fmla="*/ 71 w 175" name="T46"/>
              <a:gd fmla="*/ 110 h 135" name="T47"/>
              <a:gd fmla="*/ 26 w 175" name="T48"/>
              <a:gd fmla="*/ 95 h 135" name="T49"/>
              <a:gd fmla="*/ 41 w 175" name="T50"/>
              <a:gd fmla="*/ 51 h 135" name="T51"/>
              <a:gd fmla="*/ 85 w 175" name="T52"/>
              <a:gd fmla="*/ 65 h 135" name="T53"/>
              <a:gd fmla="*/ 71 w 175" name="T54"/>
              <a:gd fmla="*/ 110 h 135" name="T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35" w="175">
                <a:moveTo>
                  <a:pt x="159" y="20"/>
                </a:moveTo>
                <a:cubicBezTo>
                  <a:pt x="152" y="6"/>
                  <a:pt x="152" y="6"/>
                  <a:pt x="152" y="6"/>
                </a:cubicBezTo>
                <a:cubicBezTo>
                  <a:pt x="151" y="3"/>
                  <a:pt x="148" y="2"/>
                  <a:pt x="145" y="3"/>
                </a:cubicBezTo>
                <a:cubicBezTo>
                  <a:pt x="143" y="5"/>
                  <a:pt x="142" y="8"/>
                  <a:pt x="143" y="10"/>
                </a:cubicBezTo>
                <a:cubicBezTo>
                  <a:pt x="150" y="24"/>
                  <a:pt x="150" y="24"/>
                  <a:pt x="150" y="24"/>
                </a:cubicBezTo>
                <a:cubicBezTo>
                  <a:pt x="145" y="27"/>
                  <a:pt x="145" y="27"/>
                  <a:pt x="145" y="27"/>
                </a:cubicBezTo>
                <a:cubicBezTo>
                  <a:pt x="133" y="4"/>
                  <a:pt x="133" y="4"/>
                  <a:pt x="133" y="4"/>
                </a:cubicBezTo>
                <a:cubicBezTo>
                  <a:pt x="132" y="1"/>
                  <a:pt x="129" y="0"/>
                  <a:pt x="126" y="1"/>
                </a:cubicBezTo>
                <a:cubicBezTo>
                  <a:pt x="124" y="3"/>
                  <a:pt x="123" y="6"/>
                  <a:pt x="124" y="8"/>
                </a:cubicBezTo>
                <a:cubicBezTo>
                  <a:pt x="136" y="32"/>
                  <a:pt x="136" y="32"/>
                  <a:pt x="136" y="32"/>
                </a:cubicBezTo>
                <a:cubicBezTo>
                  <a:pt x="131" y="34"/>
                  <a:pt x="131" y="34"/>
                  <a:pt x="131" y="34"/>
                </a:cubicBezTo>
                <a:cubicBezTo>
                  <a:pt x="124" y="21"/>
                  <a:pt x="124" y="21"/>
                  <a:pt x="124" y="21"/>
                </a:cubicBezTo>
                <a:cubicBezTo>
                  <a:pt x="123" y="19"/>
                  <a:pt x="120" y="18"/>
                  <a:pt x="118" y="19"/>
                </a:cubicBezTo>
                <a:cubicBezTo>
                  <a:pt x="115" y="20"/>
                  <a:pt x="114" y="23"/>
                  <a:pt x="116" y="25"/>
                </a:cubicBezTo>
                <a:cubicBezTo>
                  <a:pt x="122" y="39"/>
                  <a:pt x="122" y="39"/>
                  <a:pt x="122" y="39"/>
                </a:cubicBezTo>
                <a:cubicBezTo>
                  <a:pt x="93" y="50"/>
                  <a:pt x="93" y="50"/>
                  <a:pt x="93" y="50"/>
                </a:cubicBezTo>
                <a:cubicBezTo>
                  <a:pt x="79" y="32"/>
                  <a:pt x="55" y="26"/>
                  <a:pt x="34" y="37"/>
                </a:cubicBezTo>
                <a:cubicBezTo>
                  <a:pt x="10" y="49"/>
                  <a:pt x="0" y="78"/>
                  <a:pt x="13" y="102"/>
                </a:cubicBezTo>
                <a:cubicBezTo>
                  <a:pt x="25" y="126"/>
                  <a:pt x="54" y="135"/>
                  <a:pt x="77" y="123"/>
                </a:cubicBezTo>
                <a:cubicBezTo>
                  <a:pt x="98" y="113"/>
                  <a:pt x="108" y="89"/>
                  <a:pt x="102" y="67"/>
                </a:cubicBezTo>
                <a:cubicBezTo>
                  <a:pt x="168" y="38"/>
                  <a:pt x="168" y="38"/>
                  <a:pt x="168" y="38"/>
                </a:cubicBezTo>
                <a:cubicBezTo>
                  <a:pt x="173" y="35"/>
                  <a:pt x="175" y="29"/>
                  <a:pt x="173" y="24"/>
                </a:cubicBezTo>
                <a:cubicBezTo>
                  <a:pt x="170" y="19"/>
                  <a:pt x="164" y="17"/>
                  <a:pt x="159" y="20"/>
                </a:cubicBezTo>
                <a:close/>
                <a:moveTo>
                  <a:pt x="71" y="110"/>
                </a:moveTo>
                <a:cubicBezTo>
                  <a:pt x="54" y="118"/>
                  <a:pt x="34" y="111"/>
                  <a:pt x="26" y="95"/>
                </a:cubicBezTo>
                <a:cubicBezTo>
                  <a:pt x="18" y="79"/>
                  <a:pt x="24" y="59"/>
                  <a:pt x="41" y="51"/>
                </a:cubicBezTo>
                <a:cubicBezTo>
                  <a:pt x="57" y="42"/>
                  <a:pt x="77" y="49"/>
                  <a:pt x="85" y="65"/>
                </a:cubicBezTo>
                <a:cubicBezTo>
                  <a:pt x="93" y="81"/>
                  <a:pt x="87" y="101"/>
                  <a:pt x="71" y="110"/>
                </a:cubicBezTo>
                <a:close/>
              </a:path>
            </a:pathLst>
          </a:custGeom>
          <a:solidFill>
            <a:schemeClr val="bg1"/>
          </a:solidFill>
          <a:ln>
            <a:noFill/>
          </a:ln>
        </p:spPr>
        <p:txBody>
          <a:bodyPr anchor="t" anchorCtr="0" bIns="45720" compatLnSpc="1" lIns="91440" numCol="1" rIns="91440" tIns="45720" vert="horz" wrap="square">
            <a:prstTxWarp prst="textNoShape">
              <a:avLst/>
            </a:prstTxWarp>
          </a:bodyPr>
          <a:lstStyle/>
          <a:p>
            <a:endParaRPr altLang="en-US" lang="zh-CN">
              <a:ln>
                <a:solidFill>
                  <a:schemeClr val="bg1"/>
                </a:solidFill>
              </a:ln>
              <a:solidFill>
                <a:schemeClr val="bg1"/>
              </a:solidFill>
            </a:endParaRPr>
          </a:p>
        </p:txBody>
      </p:sp>
      <p:pic>
        <p:nvPicPr>
          <p:cNvPr id="34" name="Picture 7"/>
          <p:cNvPicPr>
            <a:picLocks noChangeArrowheads="1" noChangeAspect="1"/>
          </p:cNvPicPr>
          <p:nvPr/>
        </p:nvPicPr>
        <p:blipFill>
          <a:blip r:embed="rId4">
            <a:extLst>
              <a:ext uri="{28A0092B-C50C-407E-A947-70E740481C1C}">
                <a14:useLocalDpi/>
              </a:ext>
            </a:extLst>
          </a:blip>
          <a:stretch>
            <a:fillRect/>
          </a:stretch>
        </p:blipFill>
        <p:spPr bwMode="auto">
          <a:xfrm>
            <a:off x="1866026" y="3084663"/>
            <a:ext cx="378706" cy="496572"/>
          </a:xfrm>
          <a:prstGeom prst="rect">
            <a:avLst/>
          </a:prstGeom>
          <a:noFill/>
        </p:spPr>
      </p:pic>
      <p:grpSp>
        <p:nvGrpSpPr>
          <p:cNvPr id="35" name="组合 34"/>
          <p:cNvGrpSpPr/>
          <p:nvPr/>
        </p:nvGrpSpPr>
        <p:grpSpPr>
          <a:xfrm>
            <a:off x="2274261" y="2149777"/>
            <a:ext cx="501598" cy="339224"/>
            <a:chOff x="6867526" y="6149975"/>
            <a:chExt cx="323850" cy="254000"/>
          </a:xfrm>
          <a:solidFill>
            <a:schemeClr val="bg1"/>
          </a:solidFill>
        </p:grpSpPr>
        <p:sp>
          <p:nvSpPr>
            <p:cNvPr id="36" name="Freeform 261"/>
            <p:cNvSpPr>
              <a:spLocks noEditPoints="1"/>
            </p:cNvSpPr>
            <p:nvPr/>
          </p:nvSpPr>
          <p:spPr bwMode="auto">
            <a:xfrm>
              <a:off x="6867526" y="6149975"/>
              <a:ext cx="323850" cy="254000"/>
            </a:xfrm>
            <a:custGeom>
              <a:gdLst>
                <a:gd fmla="*/ 153 w 164" name="T0"/>
                <a:gd fmla="*/ 128 h 128" name="T1"/>
                <a:gd fmla="*/ 11 w 164" name="T2"/>
                <a:gd fmla="*/ 128 h 128" name="T3"/>
                <a:gd fmla="*/ 0 w 164" name="T4"/>
                <a:gd fmla="*/ 117 h 128" name="T5"/>
                <a:gd fmla="*/ 0 w 164" name="T6"/>
                <a:gd fmla="*/ 31 h 128" name="T7"/>
                <a:gd fmla="*/ 11 w 164" name="T8"/>
                <a:gd fmla="*/ 20 h 128" name="T9"/>
                <a:gd fmla="*/ 42 w 164" name="T10"/>
                <a:gd fmla="*/ 20 h 128" name="T11"/>
                <a:gd fmla="*/ 50 w 164" name="T12"/>
                <a:gd fmla="*/ 15 h 128" name="T13"/>
                <a:gd fmla="*/ 54 w 164" name="T14"/>
                <a:gd fmla="*/ 8 h 128" name="T15"/>
                <a:gd fmla="*/ 69 w 164" name="T16"/>
                <a:gd fmla="*/ 0 h 128" name="T17"/>
                <a:gd fmla="*/ 101 w 164" name="T18"/>
                <a:gd fmla="*/ 0 h 128" name="T19"/>
                <a:gd fmla="*/ 116 w 164" name="T20"/>
                <a:gd fmla="*/ 8 h 128" name="T21"/>
                <a:gd fmla="*/ 122 w 164" name="T22"/>
                <a:gd fmla="*/ 15 h 128" name="T23"/>
                <a:gd fmla="*/ 131 w 164" name="T24"/>
                <a:gd fmla="*/ 20 h 128" name="T25"/>
                <a:gd fmla="*/ 153 w 164" name="T26"/>
                <a:gd fmla="*/ 20 h 128" name="T27"/>
                <a:gd fmla="*/ 164 w 164" name="T28"/>
                <a:gd fmla="*/ 31 h 128" name="T29"/>
                <a:gd fmla="*/ 164 w 164" name="T30"/>
                <a:gd fmla="*/ 117 h 128" name="T31"/>
                <a:gd fmla="*/ 153 w 164" name="T32"/>
                <a:gd fmla="*/ 128 h 128" name="T33"/>
                <a:gd fmla="*/ 11 w 164" name="T34"/>
                <a:gd fmla="*/ 28 h 128" name="T35"/>
                <a:gd fmla="*/ 8 w 164" name="T36"/>
                <a:gd fmla="*/ 31 h 128" name="T37"/>
                <a:gd fmla="*/ 8 w 164" name="T38"/>
                <a:gd fmla="*/ 117 h 128" name="T39"/>
                <a:gd fmla="*/ 11 w 164" name="T40"/>
                <a:gd fmla="*/ 120 h 128" name="T41"/>
                <a:gd fmla="*/ 153 w 164" name="T42"/>
                <a:gd fmla="*/ 120 h 128" name="T43"/>
                <a:gd fmla="*/ 156 w 164" name="T44"/>
                <a:gd fmla="*/ 117 h 128" name="T45"/>
                <a:gd fmla="*/ 156 w 164" name="T46"/>
                <a:gd fmla="*/ 31 h 128" name="T47"/>
                <a:gd fmla="*/ 153 w 164" name="T48"/>
                <a:gd fmla="*/ 28 h 128" name="T49"/>
                <a:gd fmla="*/ 131 w 164" name="T50"/>
                <a:gd fmla="*/ 28 h 128" name="T51"/>
                <a:gd fmla="*/ 116 w 164" name="T52"/>
                <a:gd fmla="*/ 20 h 128" name="T53"/>
                <a:gd fmla="*/ 110 w 164" name="T54"/>
                <a:gd fmla="*/ 13 h 128" name="T55"/>
                <a:gd fmla="*/ 101 w 164" name="T56"/>
                <a:gd fmla="*/ 8 h 128" name="T57"/>
                <a:gd fmla="*/ 69 w 164" name="T58"/>
                <a:gd fmla="*/ 8 h 128" name="T59"/>
                <a:gd fmla="*/ 61 w 164" name="T60"/>
                <a:gd fmla="*/ 13 h 128" name="T61"/>
                <a:gd fmla="*/ 57 w 164" name="T62"/>
                <a:gd fmla="*/ 20 h 128" name="T63"/>
                <a:gd fmla="*/ 42 w 164" name="T64"/>
                <a:gd fmla="*/ 28 h 128" name="T65"/>
                <a:gd fmla="*/ 11 w 164" name="T66"/>
                <a:gd fmla="*/ 28 h 128"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128" w="164">
                  <a:moveTo>
                    <a:pt x="153" y="128"/>
                  </a:moveTo>
                  <a:cubicBezTo>
                    <a:pt x="11" y="128"/>
                    <a:pt x="11" y="128"/>
                    <a:pt x="11" y="128"/>
                  </a:cubicBezTo>
                  <a:cubicBezTo>
                    <a:pt x="5" y="128"/>
                    <a:pt x="0" y="123"/>
                    <a:pt x="0" y="117"/>
                  </a:cubicBezTo>
                  <a:cubicBezTo>
                    <a:pt x="0" y="31"/>
                    <a:pt x="0" y="31"/>
                    <a:pt x="0" y="31"/>
                  </a:cubicBezTo>
                  <a:cubicBezTo>
                    <a:pt x="0" y="25"/>
                    <a:pt x="5" y="20"/>
                    <a:pt x="11" y="20"/>
                  </a:cubicBezTo>
                  <a:cubicBezTo>
                    <a:pt x="42" y="20"/>
                    <a:pt x="42" y="20"/>
                    <a:pt x="42" y="20"/>
                  </a:cubicBezTo>
                  <a:cubicBezTo>
                    <a:pt x="45" y="20"/>
                    <a:pt x="48" y="18"/>
                    <a:pt x="50" y="15"/>
                  </a:cubicBezTo>
                  <a:cubicBezTo>
                    <a:pt x="54" y="8"/>
                    <a:pt x="54" y="8"/>
                    <a:pt x="54" y="8"/>
                  </a:cubicBezTo>
                  <a:cubicBezTo>
                    <a:pt x="57" y="4"/>
                    <a:pt x="63" y="0"/>
                    <a:pt x="69" y="0"/>
                  </a:cubicBezTo>
                  <a:cubicBezTo>
                    <a:pt x="101" y="0"/>
                    <a:pt x="101" y="0"/>
                    <a:pt x="101" y="0"/>
                  </a:cubicBezTo>
                  <a:cubicBezTo>
                    <a:pt x="107" y="0"/>
                    <a:pt x="113" y="3"/>
                    <a:pt x="116" y="8"/>
                  </a:cubicBezTo>
                  <a:cubicBezTo>
                    <a:pt x="122" y="15"/>
                    <a:pt x="122" y="15"/>
                    <a:pt x="122" y="15"/>
                  </a:cubicBezTo>
                  <a:cubicBezTo>
                    <a:pt x="124" y="18"/>
                    <a:pt x="128" y="20"/>
                    <a:pt x="131" y="20"/>
                  </a:cubicBezTo>
                  <a:cubicBezTo>
                    <a:pt x="153" y="20"/>
                    <a:pt x="153" y="20"/>
                    <a:pt x="153" y="20"/>
                  </a:cubicBezTo>
                  <a:cubicBezTo>
                    <a:pt x="159" y="20"/>
                    <a:pt x="164" y="25"/>
                    <a:pt x="164" y="31"/>
                  </a:cubicBezTo>
                  <a:cubicBezTo>
                    <a:pt x="164" y="117"/>
                    <a:pt x="164" y="117"/>
                    <a:pt x="164" y="117"/>
                  </a:cubicBezTo>
                  <a:cubicBezTo>
                    <a:pt x="164" y="123"/>
                    <a:pt x="159" y="128"/>
                    <a:pt x="153" y="128"/>
                  </a:cubicBezTo>
                  <a:close/>
                  <a:moveTo>
                    <a:pt x="11" y="28"/>
                  </a:moveTo>
                  <a:cubicBezTo>
                    <a:pt x="10" y="28"/>
                    <a:pt x="8" y="29"/>
                    <a:pt x="8" y="31"/>
                  </a:cubicBezTo>
                  <a:cubicBezTo>
                    <a:pt x="8" y="117"/>
                    <a:pt x="8" y="117"/>
                    <a:pt x="8" y="117"/>
                  </a:cubicBezTo>
                  <a:cubicBezTo>
                    <a:pt x="8" y="118"/>
                    <a:pt x="10" y="120"/>
                    <a:pt x="11" y="120"/>
                  </a:cubicBezTo>
                  <a:cubicBezTo>
                    <a:pt x="153" y="120"/>
                    <a:pt x="153" y="120"/>
                    <a:pt x="153" y="120"/>
                  </a:cubicBezTo>
                  <a:cubicBezTo>
                    <a:pt x="154" y="120"/>
                    <a:pt x="156" y="118"/>
                    <a:pt x="156" y="117"/>
                  </a:cubicBezTo>
                  <a:cubicBezTo>
                    <a:pt x="156" y="31"/>
                    <a:pt x="156" y="31"/>
                    <a:pt x="156" y="31"/>
                  </a:cubicBezTo>
                  <a:cubicBezTo>
                    <a:pt x="156" y="29"/>
                    <a:pt x="154" y="28"/>
                    <a:pt x="153" y="28"/>
                  </a:cubicBezTo>
                  <a:cubicBezTo>
                    <a:pt x="131" y="28"/>
                    <a:pt x="131" y="28"/>
                    <a:pt x="131" y="28"/>
                  </a:cubicBezTo>
                  <a:cubicBezTo>
                    <a:pt x="125" y="28"/>
                    <a:pt x="119" y="25"/>
                    <a:pt x="116" y="20"/>
                  </a:cubicBezTo>
                  <a:cubicBezTo>
                    <a:pt x="110" y="13"/>
                    <a:pt x="110" y="13"/>
                    <a:pt x="110" y="13"/>
                  </a:cubicBezTo>
                  <a:cubicBezTo>
                    <a:pt x="108" y="10"/>
                    <a:pt x="104" y="8"/>
                    <a:pt x="101" y="8"/>
                  </a:cubicBezTo>
                  <a:cubicBezTo>
                    <a:pt x="69" y="8"/>
                    <a:pt x="69" y="8"/>
                    <a:pt x="69" y="8"/>
                  </a:cubicBezTo>
                  <a:cubicBezTo>
                    <a:pt x="66" y="8"/>
                    <a:pt x="62" y="10"/>
                    <a:pt x="61" y="13"/>
                  </a:cubicBezTo>
                  <a:cubicBezTo>
                    <a:pt x="57" y="20"/>
                    <a:pt x="57" y="20"/>
                    <a:pt x="57" y="20"/>
                  </a:cubicBezTo>
                  <a:cubicBezTo>
                    <a:pt x="54" y="24"/>
                    <a:pt x="48" y="28"/>
                    <a:pt x="42" y="28"/>
                  </a:cubicBezTo>
                  <a:lnTo>
                    <a:pt x="11" y="28"/>
                  </a:lnTo>
                  <a:close/>
                </a:path>
              </a:pathLst>
            </a:custGeom>
            <a:grpFill/>
            <a:ln>
              <a:noFill/>
            </a:ln>
          </p:spPr>
          <p:txBody>
            <a:bodyPr anchor="t" anchorCtr="0" bIns="45720" compatLnSpc="1" lIns="91440" numCol="1" rIns="91440" tIns="45720" vert="horz" wrap="square">
              <a:prstTxWarp prst="textNoShape">
                <a:avLst/>
              </a:prstTxWarp>
            </a:bodyPr>
            <a:lstStyle/>
            <a:p>
              <a:endParaRPr altLang="en-US" lang="zh-CN"/>
            </a:p>
          </p:txBody>
        </p:sp>
        <p:sp>
          <p:nvSpPr>
            <p:cNvPr id="37" name="Freeform 262"/>
            <p:cNvSpPr>
              <a:spLocks noEditPoints="1"/>
            </p:cNvSpPr>
            <p:nvPr/>
          </p:nvSpPr>
          <p:spPr bwMode="auto">
            <a:xfrm>
              <a:off x="6948488" y="6194425"/>
              <a:ext cx="180975" cy="179388"/>
            </a:xfrm>
            <a:custGeom>
              <a:gdLst>
                <a:gd fmla="*/ 46 w 92" name="T0"/>
                <a:gd fmla="*/ 91 h 91" name="T1"/>
                <a:gd fmla="*/ 0 w 92" name="T2"/>
                <a:gd fmla="*/ 45 h 91" name="T3"/>
                <a:gd fmla="*/ 46 w 92" name="T4"/>
                <a:gd fmla="*/ 0 h 91" name="T5"/>
                <a:gd fmla="*/ 92 w 92" name="T6"/>
                <a:gd fmla="*/ 45 h 91" name="T7"/>
                <a:gd fmla="*/ 46 w 92" name="T8"/>
                <a:gd fmla="*/ 91 h 91" name="T9"/>
                <a:gd fmla="*/ 46 w 92" name="T10"/>
                <a:gd fmla="*/ 8 h 91" name="T11"/>
                <a:gd fmla="*/ 8 w 92" name="T12"/>
                <a:gd fmla="*/ 45 h 91" name="T13"/>
                <a:gd fmla="*/ 46 w 92" name="T14"/>
                <a:gd fmla="*/ 83 h 91" name="T15"/>
                <a:gd fmla="*/ 83 w 92" name="T16"/>
                <a:gd fmla="*/ 45 h 91" name="T17"/>
                <a:gd fmla="*/ 46 w 92" name="T18"/>
                <a:gd fmla="*/ 8 h 9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91" w="92">
                  <a:moveTo>
                    <a:pt x="46" y="91"/>
                  </a:moveTo>
                  <a:cubicBezTo>
                    <a:pt x="21" y="91"/>
                    <a:pt x="0" y="71"/>
                    <a:pt x="0" y="45"/>
                  </a:cubicBezTo>
                  <a:cubicBezTo>
                    <a:pt x="0" y="20"/>
                    <a:pt x="21" y="0"/>
                    <a:pt x="46" y="0"/>
                  </a:cubicBezTo>
                  <a:cubicBezTo>
                    <a:pt x="71" y="0"/>
                    <a:pt x="92" y="20"/>
                    <a:pt x="92" y="45"/>
                  </a:cubicBezTo>
                  <a:cubicBezTo>
                    <a:pt x="92" y="71"/>
                    <a:pt x="71" y="91"/>
                    <a:pt x="46" y="91"/>
                  </a:cubicBezTo>
                  <a:close/>
                  <a:moveTo>
                    <a:pt x="46" y="8"/>
                  </a:moveTo>
                  <a:cubicBezTo>
                    <a:pt x="25" y="8"/>
                    <a:pt x="8" y="25"/>
                    <a:pt x="8" y="45"/>
                  </a:cubicBezTo>
                  <a:cubicBezTo>
                    <a:pt x="8" y="66"/>
                    <a:pt x="25" y="83"/>
                    <a:pt x="46" y="83"/>
                  </a:cubicBezTo>
                  <a:cubicBezTo>
                    <a:pt x="67" y="83"/>
                    <a:pt x="83" y="66"/>
                    <a:pt x="83" y="45"/>
                  </a:cubicBezTo>
                  <a:cubicBezTo>
                    <a:pt x="83" y="25"/>
                    <a:pt x="67" y="8"/>
                    <a:pt x="46" y="8"/>
                  </a:cubicBezTo>
                  <a:close/>
                </a:path>
              </a:pathLst>
            </a:custGeom>
            <a:grpFill/>
            <a:ln>
              <a:noFill/>
            </a:ln>
          </p:spPr>
          <p:txBody>
            <a:bodyPr anchor="t" anchorCtr="0" bIns="45720" compatLnSpc="1" lIns="91440" numCol="1" rIns="91440" tIns="45720" vert="horz" wrap="square">
              <a:prstTxWarp prst="textNoShape">
                <a:avLst/>
              </a:prstTxWarp>
            </a:bodyPr>
            <a:lstStyle/>
            <a:p>
              <a:endParaRPr altLang="en-US" lang="zh-CN"/>
            </a:p>
          </p:txBody>
        </p:sp>
        <p:sp>
          <p:nvSpPr>
            <p:cNvPr id="38" name="Freeform 263"/>
            <p:cNvSpPr>
              <a:spLocks noEditPoints="1"/>
            </p:cNvSpPr>
            <p:nvPr/>
          </p:nvSpPr>
          <p:spPr bwMode="auto">
            <a:xfrm>
              <a:off x="6975476" y="6221413"/>
              <a:ext cx="123825" cy="125413"/>
            </a:xfrm>
            <a:custGeom>
              <a:gdLst>
                <a:gd fmla="*/ 32 w 63" name="T0"/>
                <a:gd fmla="*/ 63 h 63" name="T1"/>
                <a:gd fmla="*/ 0 w 63" name="T2"/>
                <a:gd fmla="*/ 31 h 63" name="T3"/>
                <a:gd fmla="*/ 32 w 63" name="T4"/>
                <a:gd fmla="*/ 0 h 63" name="T5"/>
                <a:gd fmla="*/ 63 w 63" name="T6"/>
                <a:gd fmla="*/ 31 h 63" name="T7"/>
                <a:gd fmla="*/ 32 w 63" name="T8"/>
                <a:gd fmla="*/ 63 h 63" name="T9"/>
                <a:gd fmla="*/ 32 w 63" name="T10"/>
                <a:gd fmla="*/ 8 h 63" name="T11"/>
                <a:gd fmla="*/ 8 w 63" name="T12"/>
                <a:gd fmla="*/ 31 h 63" name="T13"/>
                <a:gd fmla="*/ 32 w 63" name="T14"/>
                <a:gd fmla="*/ 55 h 63" name="T15"/>
                <a:gd fmla="*/ 55 w 63" name="T16"/>
                <a:gd fmla="*/ 31 h 63" name="T17"/>
                <a:gd fmla="*/ 32 w 63" name="T18"/>
                <a:gd fmla="*/ 8 h 63"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62" w="62">
                  <a:moveTo>
                    <a:pt x="32" y="63"/>
                  </a:moveTo>
                  <a:cubicBezTo>
                    <a:pt x="14" y="63"/>
                    <a:pt x="0" y="49"/>
                    <a:pt x="0" y="31"/>
                  </a:cubicBezTo>
                  <a:cubicBezTo>
                    <a:pt x="0" y="14"/>
                    <a:pt x="14" y="0"/>
                    <a:pt x="32" y="0"/>
                  </a:cubicBezTo>
                  <a:cubicBezTo>
                    <a:pt x="49" y="0"/>
                    <a:pt x="63" y="14"/>
                    <a:pt x="63" y="31"/>
                  </a:cubicBezTo>
                  <a:cubicBezTo>
                    <a:pt x="63" y="49"/>
                    <a:pt x="49" y="63"/>
                    <a:pt x="32" y="63"/>
                  </a:cubicBezTo>
                  <a:close/>
                  <a:moveTo>
                    <a:pt x="32" y="8"/>
                  </a:moveTo>
                  <a:cubicBezTo>
                    <a:pt x="19" y="8"/>
                    <a:pt x="8" y="18"/>
                    <a:pt x="8" y="31"/>
                  </a:cubicBezTo>
                  <a:cubicBezTo>
                    <a:pt x="8" y="44"/>
                    <a:pt x="19" y="55"/>
                    <a:pt x="32" y="55"/>
                  </a:cubicBezTo>
                  <a:cubicBezTo>
                    <a:pt x="45" y="55"/>
                    <a:pt x="55" y="44"/>
                    <a:pt x="55" y="31"/>
                  </a:cubicBezTo>
                  <a:cubicBezTo>
                    <a:pt x="55" y="18"/>
                    <a:pt x="45" y="8"/>
                    <a:pt x="32" y="8"/>
                  </a:cubicBezTo>
                  <a:close/>
                </a:path>
              </a:pathLst>
            </a:custGeom>
            <a:grpFill/>
            <a:ln>
              <a:noFill/>
            </a:ln>
          </p:spPr>
          <p:txBody>
            <a:bodyPr anchor="t" anchorCtr="0" bIns="45720" compatLnSpc="1" lIns="91440" numCol="1" rIns="91440" tIns="45720" vert="horz" wrap="square">
              <a:prstTxWarp prst="textNoShape">
                <a:avLst/>
              </a:prstTxWarp>
            </a:bodyPr>
            <a:lstStyle/>
            <a:p>
              <a:endParaRPr altLang="en-US" lang="zh-CN"/>
            </a:p>
          </p:txBody>
        </p:sp>
        <p:sp>
          <p:nvSpPr>
            <p:cNvPr id="39" name="Freeform 264"/>
            <p:cNvSpPr/>
            <p:nvPr/>
          </p:nvSpPr>
          <p:spPr bwMode="auto">
            <a:xfrm>
              <a:off x="6896101" y="6167438"/>
              <a:ext cx="52388" cy="11113"/>
            </a:xfrm>
            <a:custGeom>
              <a:gdLst>
                <a:gd fmla="*/ 21 w 26" name="T0"/>
                <a:gd fmla="*/ 0 h 5" name="T1"/>
                <a:gd fmla="*/ 5 w 26" name="T2"/>
                <a:gd fmla="*/ 0 h 5" name="T3"/>
                <a:gd fmla="*/ 0 w 26" name="T4"/>
                <a:gd fmla="*/ 5 h 5" name="T5"/>
                <a:gd fmla="*/ 26 w 26" name="T6"/>
                <a:gd fmla="*/ 5 h 5" name="T7"/>
                <a:gd fmla="*/ 21 w 26" name="T8"/>
                <a:gd fmla="*/ 0 h 5" name="T9"/>
              </a:gdLst>
              <a:cxnLst>
                <a:cxn ang="0">
                  <a:pos x="T0" y="T1"/>
                </a:cxn>
                <a:cxn ang="0">
                  <a:pos x="T2" y="T3"/>
                </a:cxn>
                <a:cxn ang="0">
                  <a:pos x="T4" y="T5"/>
                </a:cxn>
                <a:cxn ang="0">
                  <a:pos x="T6" y="T7"/>
                </a:cxn>
                <a:cxn ang="0">
                  <a:pos x="T8" y="T9"/>
                </a:cxn>
              </a:cxnLst>
              <a:rect b="b" l="0" r="r" t="0"/>
              <a:pathLst>
                <a:path h="5" w="26">
                  <a:moveTo>
                    <a:pt x="21" y="0"/>
                  </a:moveTo>
                  <a:cubicBezTo>
                    <a:pt x="5" y="0"/>
                    <a:pt x="5" y="0"/>
                    <a:pt x="5" y="0"/>
                  </a:cubicBezTo>
                  <a:cubicBezTo>
                    <a:pt x="2" y="0"/>
                    <a:pt x="0" y="2"/>
                    <a:pt x="0" y="5"/>
                  </a:cubicBezTo>
                  <a:cubicBezTo>
                    <a:pt x="26" y="5"/>
                    <a:pt x="26" y="5"/>
                    <a:pt x="26" y="5"/>
                  </a:cubicBezTo>
                  <a:cubicBezTo>
                    <a:pt x="26" y="2"/>
                    <a:pt x="23" y="0"/>
                    <a:pt x="21" y="0"/>
                  </a:cubicBezTo>
                  <a:close/>
                </a:path>
              </a:pathLst>
            </a:custGeom>
            <a:grpFill/>
            <a:ln>
              <a:noFill/>
            </a:ln>
          </p:spPr>
          <p:txBody>
            <a:bodyPr anchor="t" anchorCtr="0" bIns="45720" compatLnSpc="1" lIns="91440" numCol="1" rIns="91440" tIns="45720" vert="horz" wrap="square">
              <a:prstTxWarp prst="textNoShape">
                <a:avLst/>
              </a:prstTxWarp>
            </a:bodyPr>
            <a:lstStyle/>
            <a:p>
              <a:endParaRPr altLang="en-US" lang="zh-CN"/>
            </a:p>
          </p:txBody>
        </p:sp>
      </p:grpSp>
    </p:spTree>
    <p:extLst>
      <p:ext uri="{BB962C8B-B14F-4D97-AF65-F5344CB8AC3E}">
        <p14:creationId val="2262724067"/>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5" name="图片 4"/>
          <p:cNvPicPr>
            <a:picLocks noChangeAspect="1"/>
          </p:cNvPicPr>
          <p:nvPr/>
        </p:nvPicPr>
        <p:blipFill>
          <a:blip r:embed="rId3">
            <a:extLst>
              <a:ext uri="{BEBA8EAE-BF5A-486C-A8C5-ECC9F3942E4B}">
                <a14:imgProps>
                  <a14:imgLayer xmlns:d3p1="http://schemas.openxmlformats.org/officeDocument/2006/relationships" d3p1:embed="">
                    <a14:imgEffect>
                      <a14:artisticBlur/>
                    </a14:imgEffect>
                  </a14:imgLayer>
                </a14:imgProps>
              </a:ext>
              <a:ext uri="{28A0092B-C50C-407E-A947-70E740481C1C}">
                <a14:useLocalDpi/>
              </a:ext>
            </a:extLst>
          </a:blip>
          <a:stretch>
            <a:fillRect/>
          </a:stretch>
        </p:blipFill>
        <p:spPr>
          <a:xfrm>
            <a:off x="1848109" y="-12192"/>
            <a:ext cx="10343891" cy="6870191"/>
          </a:xfrm>
          <a:prstGeom prst="rect">
            <a:avLst/>
          </a:prstGeom>
        </p:spPr>
      </p:pic>
      <p:sp>
        <p:nvSpPr>
          <p:cNvPr id="7" name="任意多边形 6"/>
          <p:cNvSpPr/>
          <p:nvPr/>
        </p:nvSpPr>
        <p:spPr>
          <a:xfrm flipV="1">
            <a:off x="-12192" y="-12191"/>
            <a:ext cx="5987384" cy="6894575"/>
          </a:xfrm>
          <a:custGeom>
            <a:gdLst>
              <a:gd fmla="*/ 1612630 w 5987384" name="connsiteX0"/>
              <a:gd fmla="*/ 10885 h 6894575" name="connsiteY0"/>
              <a:gd fmla="*/ 5987384 w 5987384" name="connsiteX1"/>
              <a:gd fmla="*/ 0 h 6894575" name="connsiteY1"/>
              <a:gd fmla="*/ 2252280 w 5987384" name="connsiteX2"/>
              <a:gd fmla="*/ 6894575 h 6894575" name="connsiteY2"/>
              <a:gd fmla="*/ 0 w 5987384" name="connsiteX3"/>
              <a:gd fmla="*/ 6881077 h 6894575" name="connsiteY3"/>
              <a:gd fmla="*/ 0 w 5987384" name="connsiteX4"/>
              <a:gd fmla="*/ 2891132 h 6894575" name="connsiteY4"/>
              <a:gd fmla="*/ 1612630 w 5987384" name="connsiteX5"/>
              <a:gd fmla="*/ 10885 h 6894575"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6894575" w="5987384">
                <a:moveTo>
                  <a:pt x="1612630" y="10885"/>
                </a:moveTo>
                <a:lnTo>
                  <a:pt x="5987384" y="0"/>
                </a:lnTo>
                <a:lnTo>
                  <a:pt x="2252280" y="6894575"/>
                </a:lnTo>
                <a:lnTo>
                  <a:pt x="0" y="6881077"/>
                </a:lnTo>
                <a:lnTo>
                  <a:pt x="0" y="2891132"/>
                </a:lnTo>
                <a:lnTo>
                  <a:pt x="1612630" y="10885"/>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椭圆 9"/>
          <p:cNvSpPr/>
          <p:nvPr/>
        </p:nvSpPr>
        <p:spPr>
          <a:xfrm>
            <a:off x="519476" y="2366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椭圆 10"/>
          <p:cNvSpPr/>
          <p:nvPr/>
        </p:nvSpPr>
        <p:spPr>
          <a:xfrm>
            <a:off x="634601" y="3517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2000">
                <a:solidFill>
                  <a:srgbClr val="C00000"/>
                </a:solidFill>
                <a:latin charset="-122" panose="020b0503020204020204" pitchFamily="34" typeface="微软雅黑"/>
                <a:ea charset="-122" panose="020b0503020204020204" pitchFamily="34" typeface="微软雅黑"/>
              </a:rPr>
              <a:t>过渡页</a:t>
            </a:r>
          </a:p>
        </p:txBody>
      </p:sp>
      <p:sp>
        <p:nvSpPr>
          <p:cNvPr id="12" name="平行四边形 11"/>
          <p:cNvSpPr/>
          <p:nvPr/>
        </p:nvSpPr>
        <p:spPr>
          <a:xfrm flipV="1">
            <a:off x="2767165" y="2162300"/>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3" name="文本框 12"/>
          <p:cNvSpPr txBox="1"/>
          <p:nvPr/>
        </p:nvSpPr>
        <p:spPr>
          <a:xfrm>
            <a:off x="5421055" y="972044"/>
            <a:ext cx="2418080" cy="762000"/>
          </a:xfrm>
          <a:prstGeom prst="rect">
            <a:avLst/>
          </a:prstGeom>
          <a:noFill/>
        </p:spPr>
        <p:txBody>
          <a:bodyPr rtlCol="0" wrap="none">
            <a:spAutoFit/>
          </a:bodyPr>
          <a:lstStyle/>
          <a:p>
            <a:r>
              <a:rPr altLang="en-US" b="1" lang="zh-CN" smtClean="0" sz="4400">
                <a:solidFill>
                  <a:schemeClr val="tx1">
                    <a:lumMod val="65000"/>
                    <a:lumOff val="35000"/>
                  </a:schemeClr>
                </a:solidFill>
                <a:latin charset="-122" panose="020b0503020204020204" pitchFamily="34" typeface="微软雅黑"/>
                <a:ea charset="-122" panose="020b0503020204020204" pitchFamily="34" typeface="微软雅黑"/>
              </a:rPr>
              <a:t>第三部分</a:t>
            </a:r>
          </a:p>
        </p:txBody>
      </p:sp>
      <p:sp>
        <p:nvSpPr>
          <p:cNvPr id="14" name="矩形 13"/>
          <p:cNvSpPr/>
          <p:nvPr/>
        </p:nvSpPr>
        <p:spPr>
          <a:xfrm>
            <a:off x="4276217" y="2302952"/>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5" name="平行四边形 14"/>
          <p:cNvSpPr/>
          <p:nvPr/>
        </p:nvSpPr>
        <p:spPr>
          <a:xfrm flipV="1">
            <a:off x="3329985" y="3322714"/>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6" name="矩形 15"/>
          <p:cNvSpPr/>
          <p:nvPr/>
        </p:nvSpPr>
        <p:spPr>
          <a:xfrm>
            <a:off x="4839037" y="3463366"/>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7" name="平行四边形 16"/>
          <p:cNvSpPr/>
          <p:nvPr/>
        </p:nvSpPr>
        <p:spPr>
          <a:xfrm flipV="1">
            <a:off x="3950671" y="4483128"/>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8" name="矩形 17"/>
          <p:cNvSpPr/>
          <p:nvPr/>
        </p:nvSpPr>
        <p:spPr>
          <a:xfrm>
            <a:off x="5459723" y="4623781"/>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9" name="直角三角形 18"/>
          <p:cNvSpPr/>
          <p:nvPr/>
        </p:nvSpPr>
        <p:spPr>
          <a:xfrm rot="10800000">
            <a:off x="11466342" y="153"/>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0" name="椭圆 19"/>
          <p:cNvSpPr/>
          <p:nvPr/>
        </p:nvSpPr>
        <p:spPr>
          <a:xfrm>
            <a:off x="1531909" y="2107952"/>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2" name="椭圆 21"/>
          <p:cNvSpPr/>
          <p:nvPr/>
        </p:nvSpPr>
        <p:spPr>
          <a:xfrm>
            <a:off x="2130205" y="33089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3" name="椭圆 22"/>
          <p:cNvSpPr/>
          <p:nvPr/>
        </p:nvSpPr>
        <p:spPr>
          <a:xfrm>
            <a:off x="2654029" y="4488238"/>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27" name="Group 15"/>
          <p:cNvGrpSpPr/>
          <p:nvPr>
            <p:custDataLst>
              <p:tags r:id="rId4"/>
            </p:custDataLst>
          </p:nvPr>
        </p:nvGrpSpPr>
        <p:grpSpPr>
          <a:xfrm flipH="1">
            <a:off x="1731884" y="2383229"/>
            <a:ext cx="498158" cy="362666"/>
            <a:chOff x="8369398" y="1851899"/>
            <a:chExt cx="756170" cy="516124"/>
          </a:xfrm>
          <a:solidFill>
            <a:srgbClr val="FFFFFF"/>
          </a:solidFill>
        </p:grpSpPr>
        <p:sp>
          <p:nvSpPr>
            <p:cNvPr id="28" name="Rounded Rectangle 307"/>
            <p:cNvSpPr/>
            <p:nvPr/>
          </p:nvSpPr>
          <p:spPr bwMode="auto">
            <a:xfrm rot="1411326">
              <a:off x="8816737" y="2158724"/>
              <a:ext cx="308831" cy="209299"/>
            </a:xfrm>
            <a:custGeom>
              <a:rect b="b" l="l" r="r" t="t"/>
              <a:pathLst>
                <a:path h="209299" w="308831">
                  <a:moveTo>
                    <a:pt x="6932" y="0"/>
                  </a:moveTo>
                  <a:lnTo>
                    <a:pt x="62731" y="5004"/>
                  </a:lnTo>
                  <a:cubicBezTo>
                    <a:pt x="73820" y="4021"/>
                    <a:pt x="83149" y="12888"/>
                    <a:pt x="85697" y="24169"/>
                  </a:cubicBezTo>
                  <a:lnTo>
                    <a:pt x="85452" y="33272"/>
                  </a:lnTo>
                  <a:cubicBezTo>
                    <a:pt x="85954" y="32635"/>
                    <a:pt x="86485" y="32624"/>
                    <a:pt x="87017" y="32624"/>
                  </a:cubicBezTo>
                  <a:lnTo>
                    <a:pt x="270296" y="32624"/>
                  </a:lnTo>
                  <a:cubicBezTo>
                    <a:pt x="291578" y="32624"/>
                    <a:pt x="308831" y="49877"/>
                    <a:pt x="308831" y="71159"/>
                  </a:cubicBezTo>
                  <a:lnTo>
                    <a:pt x="308831" y="146071"/>
                  </a:lnTo>
                  <a:cubicBezTo>
                    <a:pt x="308831" y="167353"/>
                    <a:pt x="291578" y="184606"/>
                    <a:pt x="270296" y="184606"/>
                  </a:cubicBezTo>
                  <a:lnTo>
                    <a:pt x="87017" y="184606"/>
                  </a:lnTo>
                  <a:lnTo>
                    <a:pt x="81440" y="182295"/>
                  </a:lnTo>
                  <a:lnTo>
                    <a:pt x="81438" y="182371"/>
                  </a:lnTo>
                  <a:cubicBezTo>
                    <a:pt x="82699" y="196467"/>
                    <a:pt x="69880" y="211811"/>
                    <a:pt x="54012" y="208953"/>
                  </a:cubicBezTo>
                  <a:lnTo>
                    <a:pt x="0" y="208054"/>
                  </a:lnTo>
                  <a:cubicBezTo>
                    <a:pt x="11559" y="178614"/>
                    <a:pt x="19544" y="140965"/>
                    <a:pt x="23432" y="105100"/>
                  </a:cubicBezTo>
                  <a:cubicBezTo>
                    <a:pt x="23221" y="71020"/>
                    <a:pt x="17126" y="34619"/>
                    <a:pt x="6932" y="0"/>
                  </a:cubicBezTo>
                  <a:close/>
                </a:path>
              </a:pathLst>
            </a:custGeom>
            <a:grpFill/>
            <a:ln algn="ctr" cap="flat" cmpd="sng" w="10795">
              <a:noFill/>
              <a:prstDash val="solid"/>
            </a:ln>
            <a:effectLst/>
          </p:spPr>
          <p:txBody>
            <a:bodyPr anchor="ctr" rtlCol="0"/>
            <a:lstStyle/>
            <a:p>
              <a:pPr algn="ctr" defTabSz="93203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800" u="none">
                <a:ln>
                  <a:solidFill>
                    <a:srgbClr val="FFFFFF">
                      <a:alpha val="0"/>
                    </a:srgbClr>
                  </a:solidFill>
                </a:ln>
                <a:solidFill>
                  <a:srgbClr val="FFFFFF"/>
                </a:solidFill>
                <a:effectLst/>
                <a:uLnTx/>
                <a:uFillTx/>
                <a:latin typeface="Segoe UI"/>
              </a:endParaRPr>
            </a:p>
          </p:txBody>
        </p:sp>
        <p:sp>
          <p:nvSpPr>
            <p:cNvPr id="29" name="Oval 247"/>
            <p:cNvSpPr/>
            <p:nvPr/>
          </p:nvSpPr>
          <p:spPr bwMode="auto">
            <a:xfrm>
              <a:off x="8369398" y="1851899"/>
              <a:ext cx="482863" cy="482862"/>
            </a:xfrm>
            <a:custGeom>
              <a:rect b="b" l="l" r="r" t="t"/>
              <a:pathLst>
                <a:path h="573170" w="573170">
                  <a:moveTo>
                    <a:pt x="286585" y="47056"/>
                  </a:moveTo>
                  <a:cubicBezTo>
                    <a:pt x="154297" y="47056"/>
                    <a:pt x="47056" y="154297"/>
                    <a:pt x="47056" y="286585"/>
                  </a:cubicBezTo>
                  <a:cubicBezTo>
                    <a:pt x="47056" y="418873"/>
                    <a:pt x="154297" y="526114"/>
                    <a:pt x="286585" y="526114"/>
                  </a:cubicBezTo>
                  <a:cubicBezTo>
                    <a:pt x="418873" y="526114"/>
                    <a:pt x="526114" y="418873"/>
                    <a:pt x="526114" y="286585"/>
                  </a:cubicBezTo>
                  <a:cubicBezTo>
                    <a:pt x="526114" y="154297"/>
                    <a:pt x="418873" y="47056"/>
                    <a:pt x="286585" y="47056"/>
                  </a:cubicBezTo>
                  <a:close/>
                  <a:moveTo>
                    <a:pt x="286585" y="0"/>
                  </a:moveTo>
                  <a:cubicBezTo>
                    <a:pt x="444862" y="0"/>
                    <a:pt x="573170" y="128308"/>
                    <a:pt x="573170" y="286585"/>
                  </a:cubicBezTo>
                  <a:cubicBezTo>
                    <a:pt x="573170" y="444862"/>
                    <a:pt x="444862" y="573170"/>
                    <a:pt x="286585" y="573170"/>
                  </a:cubicBezTo>
                  <a:cubicBezTo>
                    <a:pt x="128308" y="573170"/>
                    <a:pt x="0" y="444862"/>
                    <a:pt x="0" y="286585"/>
                  </a:cubicBezTo>
                  <a:cubicBezTo>
                    <a:pt x="0" y="128308"/>
                    <a:pt x="128308" y="0"/>
                    <a:pt x="286585" y="0"/>
                  </a:cubicBezTo>
                  <a:close/>
                </a:path>
              </a:pathLst>
            </a:custGeom>
            <a:grpFill/>
            <a:ln algn="ctr" cap="flat" cmpd="sng" w="10795">
              <a:noFill/>
              <a:prstDash val="solid"/>
            </a:ln>
            <a:effectLst/>
          </p:spPr>
          <p:txBody>
            <a:bodyPr anchor="ctr" rtlCol="0"/>
            <a:lstStyle/>
            <a:p>
              <a:pPr algn="ctr" defTabSz="93203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800" u="none">
                <a:ln>
                  <a:solidFill>
                    <a:srgbClr val="FFFFFF">
                      <a:alpha val="0"/>
                    </a:srgbClr>
                  </a:solidFill>
                </a:ln>
                <a:solidFill>
                  <a:srgbClr val="FFFFFF"/>
                </a:solidFill>
                <a:effectLst/>
                <a:uLnTx/>
                <a:uFillTx/>
                <a:latin typeface="Segoe UI"/>
              </a:endParaRPr>
            </a:p>
          </p:txBody>
        </p:sp>
        <p:sp>
          <p:nvSpPr>
            <p:cNvPr id="30" name="Freeform 257"/>
            <p:cNvSpPr/>
            <p:nvPr/>
          </p:nvSpPr>
          <p:spPr bwMode="black">
            <a:xfrm>
              <a:off x="8477432" y="1892946"/>
              <a:ext cx="187186" cy="125197"/>
            </a:xfrm>
            <a:custGeom>
              <a:gdLst>
                <a:gd fmla="*/ 39 w 42" name="T0"/>
                <a:gd fmla="*/ 7 h 28" name="T1"/>
                <a:gd fmla="*/ 39 w 42" name="T2"/>
                <a:gd fmla="*/ 7 h 28" name="T3"/>
                <a:gd fmla="*/ 1 w 42" name="T4"/>
                <a:gd fmla="*/ 20 h 28" name="T5"/>
                <a:gd fmla="*/ 3 w 42" name="T6"/>
                <a:gd fmla="*/ 27 h 28" name="T7"/>
                <a:gd fmla="*/ 10 w 42" name="T8"/>
                <a:gd fmla="*/ 24 h 28" name="T9"/>
                <a:gd fmla="*/ 35 w 42" name="T10"/>
                <a:gd fmla="*/ 15 h 28" name="T11"/>
                <a:gd fmla="*/ 41 w 42" name="T12"/>
                <a:gd fmla="*/ 13 h 28" name="T13"/>
                <a:gd fmla="*/ 39 w 42" name="T14"/>
                <a:gd fmla="*/ 7 h 2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8" w="42">
                  <a:moveTo>
                    <a:pt x="39" y="7"/>
                  </a:moveTo>
                  <a:cubicBezTo>
                    <a:pt x="39" y="7"/>
                    <a:pt x="39" y="7"/>
                    <a:pt x="39" y="7"/>
                  </a:cubicBezTo>
                  <a:cubicBezTo>
                    <a:pt x="25" y="0"/>
                    <a:pt x="8" y="6"/>
                    <a:pt x="1" y="20"/>
                  </a:cubicBezTo>
                  <a:cubicBezTo>
                    <a:pt x="0" y="23"/>
                    <a:pt x="1" y="25"/>
                    <a:pt x="3" y="27"/>
                  </a:cubicBezTo>
                  <a:cubicBezTo>
                    <a:pt x="6" y="28"/>
                    <a:pt x="8" y="27"/>
                    <a:pt x="10" y="24"/>
                  </a:cubicBezTo>
                  <a:cubicBezTo>
                    <a:pt x="14" y="15"/>
                    <a:pt x="25" y="11"/>
                    <a:pt x="35" y="15"/>
                  </a:cubicBezTo>
                  <a:cubicBezTo>
                    <a:pt x="37" y="16"/>
                    <a:pt x="40" y="15"/>
                    <a:pt x="41" y="13"/>
                  </a:cubicBezTo>
                  <a:cubicBezTo>
                    <a:pt x="42" y="11"/>
                    <a:pt x="41" y="8"/>
                    <a:pt x="39" y="7"/>
                  </a:cubicBezTo>
                  <a:close/>
                </a:path>
              </a:pathLst>
            </a:custGeom>
            <a:grpFill/>
            <a:ln>
              <a:noFill/>
            </a:ln>
            <a:extLst>
              <a:ext uri="{91240B29-F687-4F45-9708-019B960494DF}">
                <a14:hiddenLine w="9525">
                  <a:solidFill>
                    <a:srgbClr val="000000"/>
                  </a:solidFill>
                  <a:round/>
                  <a:headEnd/>
                  <a:tailEnd/>
                </a14:hiddenLine>
              </a:ext>
            </a:extLst>
          </p:spPr>
          <p:txBody>
            <a:bodyPr anchor="t" anchorCtr="0" bIns="46623" compatLnSpc="1" lIns="93247" numCol="1" rIns="93247" tIns="46623" vert="horz" wrap="square">
              <a:prstTxWarp prst="textNoShape">
                <a:avLst/>
              </a:prstTxWarp>
            </a:bodyPr>
            <a:lstStyle/>
            <a:p>
              <a:pPr defTabSz="93203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600" u="none">
                <a:ln>
                  <a:solidFill>
                    <a:srgbClr val="FFFFFF">
                      <a:alpha val="0"/>
                    </a:srgbClr>
                  </a:solidFill>
                </a:ln>
                <a:solidFill>
                  <a:srgbClr val="FFFFFF"/>
                </a:solidFill>
                <a:effectLst/>
                <a:uLnTx/>
                <a:uFillTx/>
                <a:latin typeface="Segoe UI"/>
              </a:endParaRPr>
            </a:p>
          </p:txBody>
        </p:sp>
        <p:grpSp>
          <p:nvGrpSpPr>
            <p:cNvPr id="31" name="Group 19"/>
            <p:cNvGrpSpPr/>
            <p:nvPr/>
          </p:nvGrpSpPr>
          <p:grpSpPr>
            <a:xfrm>
              <a:off x="8459235" y="1994058"/>
              <a:ext cx="303219" cy="246679"/>
              <a:chOff x="5184779" y="225425"/>
              <a:chExt cx="1500184" cy="1220787"/>
            </a:xfrm>
            <a:grpFill/>
          </p:grpSpPr>
          <p:sp>
            <p:nvSpPr>
              <p:cNvPr id="32" name="Freeform 86"/>
              <p:cNvSpPr>
                <a:spLocks noEditPoints="1"/>
              </p:cNvSpPr>
              <p:nvPr/>
            </p:nvSpPr>
            <p:spPr bwMode="black">
              <a:xfrm>
                <a:off x="5184779" y="344490"/>
                <a:ext cx="1095376" cy="1101722"/>
              </a:xfrm>
              <a:custGeom>
                <a:gdLst>
                  <a:gd fmla="*/ 287 w 292" name="T0"/>
                  <a:gd fmla="*/ 113 h 294" name="T1"/>
                  <a:gd fmla="*/ 239 w 292" name="T2"/>
                  <a:gd fmla="*/ 105 h 294" name="T3"/>
                  <a:gd fmla="*/ 252 w 292" name="T4"/>
                  <a:gd fmla="*/ 58 h 294" name="T5"/>
                  <a:gd fmla="*/ 229 w 292" name="T6"/>
                  <a:gd fmla="*/ 32 h 294" name="T7"/>
                  <a:gd fmla="*/ 187 w 292" name="T8"/>
                  <a:gd fmla="*/ 57 h 294" name="T9"/>
                  <a:gd fmla="*/ 167 w 292" name="T10"/>
                  <a:gd fmla="*/ 6 h 294" name="T11"/>
                  <a:gd fmla="*/ 132 w 292" name="T12"/>
                  <a:gd fmla="*/ 0 h 294" name="T13"/>
                  <a:gd fmla="*/ 115 w 292" name="T14"/>
                  <a:gd fmla="*/ 53 h 294" name="T15"/>
                  <a:gd fmla="*/ 72 w 292" name="T16"/>
                  <a:gd fmla="*/ 31 h 294" name="T17"/>
                  <a:gd fmla="*/ 42 w 292" name="T18"/>
                  <a:gd fmla="*/ 49 h 294" name="T19"/>
                  <a:gd fmla="*/ 59 w 292" name="T20"/>
                  <a:gd fmla="*/ 95 h 294" name="T21"/>
                  <a:gd fmla="*/ 12 w 292" name="T22"/>
                  <a:gd fmla="*/ 107 h 294" name="T23"/>
                  <a:gd fmla="*/ 0 w 292" name="T24"/>
                  <a:gd fmla="*/ 140 h 294" name="T25"/>
                  <a:gd fmla="*/ 43 w 292" name="T26"/>
                  <a:gd fmla="*/ 164 h 294" name="T27"/>
                  <a:gd fmla="*/ 14 w 292" name="T28"/>
                  <a:gd fmla="*/ 204 h 294" name="T29"/>
                  <a:gd fmla="*/ 27 w 292" name="T30"/>
                  <a:gd fmla="*/ 237 h 294" name="T31"/>
                  <a:gd fmla="*/ 75 w 292" name="T32"/>
                  <a:gd fmla="*/ 227 h 294" name="T33"/>
                  <a:gd fmla="*/ 79 w 292" name="T34"/>
                  <a:gd fmla="*/ 276 h 294" name="T35"/>
                  <a:gd fmla="*/ 109 w 292" name="T36"/>
                  <a:gd fmla="*/ 293 h 294" name="T37"/>
                  <a:gd fmla="*/ 140 w 292" name="T38"/>
                  <a:gd fmla="*/ 255 h 294" name="T39"/>
                  <a:gd fmla="*/ 152 w 292" name="T40"/>
                  <a:gd fmla="*/ 255 h 294" name="T41"/>
                  <a:gd fmla="*/ 183 w 292" name="T42"/>
                  <a:gd fmla="*/ 293 h 294" name="T43"/>
                  <a:gd fmla="*/ 213 w 292" name="T44"/>
                  <a:gd fmla="*/ 276 h 294" name="T45"/>
                  <a:gd fmla="*/ 217 w 292" name="T46"/>
                  <a:gd fmla="*/ 227 h 294" name="T47"/>
                  <a:gd fmla="*/ 265 w 292" name="T48"/>
                  <a:gd fmla="*/ 237 h 294" name="T49"/>
                  <a:gd fmla="*/ 278 w 292" name="T50"/>
                  <a:gd fmla="*/ 204 h 294" name="T51"/>
                  <a:gd fmla="*/ 249 w 292" name="T52"/>
                  <a:gd fmla="*/ 164 h 294" name="T53"/>
                  <a:gd fmla="*/ 292 w 292" name="T54"/>
                  <a:gd fmla="*/ 140 h 294" name="T55"/>
                  <a:gd fmla="*/ 187 w 292" name="T56"/>
                  <a:gd fmla="*/ 193 h 294" name="T57"/>
                  <a:gd fmla="*/ 105 w 292" name="T58"/>
                  <a:gd fmla="*/ 193 h 294" name="T59"/>
                  <a:gd fmla="*/ 105 w 292" name="T60"/>
                  <a:gd fmla="*/ 111 h 294" name="T61"/>
                  <a:gd fmla="*/ 187 w 292" name="T62"/>
                  <a:gd fmla="*/ 111 h 294"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294" w="292">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w="9525">
                    <a:solidFill>
                      <a:srgbClr val="000000"/>
                    </a:solidFill>
                    <a:round/>
                    <a:headEnd/>
                    <a:tailEnd/>
                  </a14:hiddenLine>
                </a:ext>
              </a:extLst>
            </p:spPr>
            <p:txBody>
              <a:bodyPr anchor="t" anchorCtr="0" bIns="46623" compatLnSpc="1" lIns="93247" numCol="1" rIns="93247" tIns="46623" vert="horz" wrap="square">
                <a:prstTxWarp prst="textNoShape">
                  <a:avLst/>
                </a:prstTxWarp>
              </a:bodyPr>
              <a:lstStyle/>
              <a:p>
                <a:pPr defTabSz="93203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600" u="none">
                  <a:ln>
                    <a:solidFill>
                      <a:srgbClr val="FFFFFF">
                        <a:alpha val="0"/>
                      </a:srgbClr>
                    </a:solidFill>
                  </a:ln>
                  <a:solidFill>
                    <a:srgbClr val="FFFFFF"/>
                  </a:solidFill>
                  <a:effectLst/>
                  <a:uLnTx/>
                  <a:uFillTx/>
                  <a:latin typeface="Segoe UI"/>
                </a:endParaRPr>
              </a:p>
            </p:txBody>
          </p:sp>
          <p:sp>
            <p:nvSpPr>
              <p:cNvPr id="33" name="Oval 87"/>
              <p:cNvSpPr>
                <a:spLocks noChangeArrowheads="1"/>
              </p:cNvSpPr>
              <p:nvPr/>
            </p:nvSpPr>
            <p:spPr bwMode="black">
              <a:xfrm>
                <a:off x="5630869" y="812799"/>
                <a:ext cx="203201" cy="203201"/>
              </a:xfrm>
              <a:prstGeom prst="ellipse">
                <a:avLst/>
              </a:prstGeom>
              <a:grpFill/>
              <a:ln>
                <a:noFill/>
              </a:ln>
              <a:extLst>
                <a:ext uri="{91240B29-F687-4F45-9708-019B960494DF}">
                  <a14:hiddenLine w="9525">
                    <a:solidFill>
                      <a:srgbClr val="000000"/>
                    </a:solidFill>
                    <a:round/>
                    <a:headEnd/>
                    <a:tailEnd/>
                  </a14:hiddenLine>
                </a:ext>
              </a:extLst>
            </p:spPr>
            <p:txBody>
              <a:bodyPr anchor="t" anchorCtr="0" bIns="46623" compatLnSpc="1" lIns="93247" numCol="1" rIns="93247" tIns="46623" vert="horz" wrap="square">
                <a:prstTxWarp prst="textNoShape">
                  <a:avLst/>
                </a:prstTxWarp>
              </a:bodyPr>
              <a:lstStyle/>
              <a:p>
                <a:pPr defTabSz="93203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600" u="none">
                  <a:ln>
                    <a:solidFill>
                      <a:srgbClr val="FFFFFF">
                        <a:alpha val="0"/>
                      </a:srgbClr>
                    </a:solidFill>
                  </a:ln>
                  <a:solidFill>
                    <a:srgbClr val="FFFFFF"/>
                  </a:solidFill>
                  <a:effectLst/>
                  <a:uLnTx/>
                  <a:uFillTx/>
                  <a:latin typeface="Segoe UI"/>
                </a:endParaRPr>
              </a:p>
            </p:txBody>
          </p:sp>
          <p:sp>
            <p:nvSpPr>
              <p:cNvPr id="34" name="Freeform 88"/>
              <p:cNvSpPr>
                <a:spLocks noEditPoints="1"/>
              </p:cNvSpPr>
              <p:nvPr/>
            </p:nvSpPr>
            <p:spPr bwMode="black">
              <a:xfrm>
                <a:off x="6129339" y="225425"/>
                <a:ext cx="555624" cy="598489"/>
              </a:xfrm>
              <a:custGeom>
                <a:gdLst>
                  <a:gd fmla="*/ 129 w 148" name="T0"/>
                  <a:gd fmla="*/ 91 h 160" name="T1"/>
                  <a:gd fmla="*/ 131 w 148" name="T2"/>
                  <a:gd fmla="*/ 80 h 160" name="T3"/>
                  <a:gd fmla="*/ 129 w 148" name="T4"/>
                  <a:gd fmla="*/ 70 h 160" name="T5"/>
                  <a:gd fmla="*/ 145 w 148" name="T6"/>
                  <a:gd fmla="*/ 55 h 160" name="T7"/>
                  <a:gd fmla="*/ 147 w 148" name="T8"/>
                  <a:gd fmla="*/ 50 h 160" name="T9"/>
                  <a:gd fmla="*/ 147 w 148" name="T10"/>
                  <a:gd fmla="*/ 46 h 160" name="T11"/>
                  <a:gd fmla="*/ 140 w 148" name="T12"/>
                  <a:gd fmla="*/ 34 h 160" name="T13"/>
                  <a:gd fmla="*/ 133 w 148" name="T14"/>
                  <a:gd fmla="*/ 31 h 160" name="T15"/>
                  <a:gd fmla="*/ 131 w 148" name="T16"/>
                  <a:gd fmla="*/ 31 h 160" name="T17"/>
                  <a:gd fmla="*/ 111 w 148" name="T18"/>
                  <a:gd fmla="*/ 37 h 160" name="T19"/>
                  <a:gd fmla="*/ 92 w 148" name="T20"/>
                  <a:gd fmla="*/ 27 h 160" name="T21"/>
                  <a:gd fmla="*/ 88 w 148" name="T22"/>
                  <a:gd fmla="*/ 6 h 160" name="T23"/>
                  <a:gd fmla="*/ 81 w 148" name="T24"/>
                  <a:gd fmla="*/ 0 h 160" name="T25"/>
                  <a:gd fmla="*/ 67 w 148" name="T26"/>
                  <a:gd fmla="*/ 0 h 160" name="T27"/>
                  <a:gd fmla="*/ 60 w 148" name="T28"/>
                  <a:gd fmla="*/ 6 h 160" name="T29"/>
                  <a:gd fmla="*/ 55 w 148" name="T30"/>
                  <a:gd fmla="*/ 27 h 160" name="T31"/>
                  <a:gd fmla="*/ 37 w 148" name="T32"/>
                  <a:gd fmla="*/ 38 h 160" name="T33"/>
                  <a:gd fmla="*/ 16 w 148" name="T34"/>
                  <a:gd fmla="*/ 31 h 160" name="T35"/>
                  <a:gd fmla="*/ 14 w 148" name="T36"/>
                  <a:gd fmla="*/ 31 h 160" name="T37"/>
                  <a:gd fmla="*/ 8 w 148" name="T38"/>
                  <a:gd fmla="*/ 34 h 160" name="T39"/>
                  <a:gd fmla="*/ 1 w 148" name="T40"/>
                  <a:gd fmla="*/ 46 h 160" name="T41"/>
                  <a:gd fmla="*/ 0 w 148" name="T42"/>
                  <a:gd fmla="*/ 50 h 160" name="T43"/>
                  <a:gd fmla="*/ 2 w 148" name="T44"/>
                  <a:gd fmla="*/ 55 h 160" name="T45"/>
                  <a:gd fmla="*/ 19 w 148" name="T46"/>
                  <a:gd fmla="*/ 70 h 160" name="T47"/>
                  <a:gd fmla="*/ 17 w 148" name="T48"/>
                  <a:gd fmla="*/ 80 h 160" name="T49"/>
                  <a:gd fmla="*/ 19 w 148" name="T50"/>
                  <a:gd fmla="*/ 91 h 160" name="T51"/>
                  <a:gd fmla="*/ 2 w 148" name="T52"/>
                  <a:gd fmla="*/ 106 h 160" name="T53"/>
                  <a:gd fmla="*/ 0 w 148" name="T54"/>
                  <a:gd fmla="*/ 111 h 160" name="T55"/>
                  <a:gd fmla="*/ 1 w 148" name="T56"/>
                  <a:gd fmla="*/ 114 h 160" name="T57"/>
                  <a:gd fmla="*/ 8 w 148" name="T58"/>
                  <a:gd fmla="*/ 126 h 160" name="T59"/>
                  <a:gd fmla="*/ 14 w 148" name="T60"/>
                  <a:gd fmla="*/ 130 h 160" name="T61"/>
                  <a:gd fmla="*/ 16 w 148" name="T62"/>
                  <a:gd fmla="*/ 130 h 160" name="T63"/>
                  <a:gd fmla="*/ 37 w 148" name="T64"/>
                  <a:gd fmla="*/ 123 h 160" name="T65"/>
                  <a:gd fmla="*/ 55 w 148" name="T66"/>
                  <a:gd fmla="*/ 133 h 160" name="T67"/>
                  <a:gd fmla="*/ 60 w 148" name="T68"/>
                  <a:gd fmla="*/ 155 h 160" name="T69"/>
                  <a:gd fmla="*/ 67 w 148" name="T70"/>
                  <a:gd fmla="*/ 160 h 160" name="T71"/>
                  <a:gd fmla="*/ 81 w 148" name="T72"/>
                  <a:gd fmla="*/ 160 h 160" name="T73"/>
                  <a:gd fmla="*/ 88 w 148" name="T74"/>
                  <a:gd fmla="*/ 155 h 160" name="T75"/>
                  <a:gd fmla="*/ 92 w 148" name="T76"/>
                  <a:gd fmla="*/ 134 h 160" name="T77"/>
                  <a:gd fmla="*/ 111 w 148" name="T78"/>
                  <a:gd fmla="*/ 123 h 160" name="T79"/>
                  <a:gd fmla="*/ 131 w 148" name="T80"/>
                  <a:gd fmla="*/ 130 h 160" name="T81"/>
                  <a:gd fmla="*/ 133 w 148" name="T82"/>
                  <a:gd fmla="*/ 130 h 160" name="T83"/>
                  <a:gd fmla="*/ 140 w 148" name="T84"/>
                  <a:gd fmla="*/ 126 h 160" name="T85"/>
                  <a:gd fmla="*/ 147 w 148" name="T86"/>
                  <a:gd fmla="*/ 114 h 160" name="T87"/>
                  <a:gd fmla="*/ 147 w 148" name="T88"/>
                  <a:gd fmla="*/ 111 h 160" name="T89"/>
                  <a:gd fmla="*/ 145 w 148" name="T90"/>
                  <a:gd fmla="*/ 106 h 160" name="T91"/>
                  <a:gd fmla="*/ 129 w 148" name="T92"/>
                  <a:gd fmla="*/ 91 h 160" name="T93"/>
                  <a:gd fmla="*/ 96 w 148" name="T94"/>
                  <a:gd fmla="*/ 80 h 160" name="T95"/>
                  <a:gd fmla="*/ 74 w 148" name="T96"/>
                  <a:gd fmla="*/ 102 h 160" name="T97"/>
                  <a:gd fmla="*/ 52 w 148" name="T98"/>
                  <a:gd fmla="*/ 80 h 160" name="T99"/>
                  <a:gd fmla="*/ 74 w 148" name="T100"/>
                  <a:gd fmla="*/ 58 h 160" name="T101"/>
                  <a:gd fmla="*/ 96 w 148" name="T102"/>
                  <a:gd fmla="*/ 80 h 160" name="T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b="b" l="0" r="r" t="0"/>
                <a:pathLst>
                  <a:path h="160" w="148">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w="9525">
                    <a:solidFill>
                      <a:srgbClr val="000000"/>
                    </a:solidFill>
                    <a:round/>
                    <a:headEnd/>
                    <a:tailEnd/>
                  </a14:hiddenLine>
                </a:ext>
              </a:extLst>
            </p:spPr>
            <p:txBody>
              <a:bodyPr anchor="t" anchorCtr="0" bIns="46623" compatLnSpc="1" lIns="93247" numCol="1" rIns="93247" tIns="46623" vert="horz" wrap="square">
                <a:prstTxWarp prst="textNoShape">
                  <a:avLst/>
                </a:prstTxWarp>
              </a:bodyPr>
              <a:lstStyle/>
              <a:p>
                <a:pPr defTabSz="93203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600" u="none">
                  <a:ln>
                    <a:solidFill>
                      <a:srgbClr val="FFFFFF">
                        <a:alpha val="0"/>
                      </a:srgbClr>
                    </a:solidFill>
                  </a:ln>
                  <a:solidFill>
                    <a:srgbClr val="FFFFFF"/>
                  </a:solidFill>
                  <a:effectLst/>
                  <a:uLnTx/>
                  <a:uFillTx/>
                  <a:latin typeface="Segoe UI"/>
                </a:endParaRPr>
              </a:p>
            </p:txBody>
          </p:sp>
        </p:grpSp>
      </p:grpSp>
      <p:sp>
        <p:nvSpPr>
          <p:cNvPr id="35" name="Freeform 205"/>
          <p:cNvSpPr>
            <a:spLocks noChangeAspect="1" noEditPoints="1"/>
          </p:cNvSpPr>
          <p:nvPr/>
        </p:nvSpPr>
        <p:spPr bwMode="auto">
          <a:xfrm>
            <a:off x="2392458" y="3586668"/>
            <a:ext cx="401725" cy="398206"/>
          </a:xfrm>
          <a:custGeom>
            <a:gdLst>
              <a:gd fmla="*/ 151 w 308" name="T0"/>
              <a:gd fmla="*/ 210 h 305" name="T1"/>
              <a:gd fmla="*/ 136 w 308" name="T2"/>
              <a:gd fmla="*/ 248 h 305" name="T3"/>
              <a:gd fmla="*/ 120 w 308" name="T4"/>
              <a:gd fmla="*/ 286 h 305" name="T5"/>
              <a:gd fmla="*/ 49 w 308" name="T6"/>
              <a:gd fmla="*/ 296 h 305" name="T7"/>
              <a:gd fmla="*/ 49 w 308" name="T8"/>
              <a:gd fmla="*/ 289 h 305" name="T9"/>
              <a:gd fmla="*/ 89 w 308" name="T10"/>
              <a:gd fmla="*/ 265 h 305" name="T11"/>
              <a:gd fmla="*/ 80 w 308" name="T12"/>
              <a:gd fmla="*/ 231 h 305" name="T13"/>
              <a:gd fmla="*/ 65 w 308" name="T14"/>
              <a:gd fmla="*/ 226 h 305" name="T15"/>
              <a:gd fmla="*/ 21 w 308" name="T16"/>
              <a:gd fmla="*/ 249 h 305" name="T17"/>
              <a:gd fmla="*/ 39 w 308" name="T18"/>
              <a:gd fmla="*/ 202 h 305" name="T19"/>
              <a:gd fmla="*/ 75 w 308" name="T20"/>
              <a:gd fmla="*/ 186 h 305" name="T21"/>
              <a:gd fmla="*/ 77 w 308" name="T22"/>
              <a:gd fmla="*/ 186 h 305" name="T23"/>
              <a:gd fmla="*/ 106 w 308" name="T24"/>
              <a:gd fmla="*/ 178 h 305" name="T25"/>
              <a:gd fmla="*/ 201 w 308" name="T26"/>
              <a:gd fmla="*/ 161 h 305" name="T27"/>
              <a:gd fmla="*/ 135 w 308" name="T28"/>
              <a:gd fmla="*/ 95 h 305" name="T29"/>
              <a:gd fmla="*/ 129 w 308" name="T30"/>
              <a:gd fmla="*/ 95 h 305" name="T31"/>
              <a:gd fmla="*/ 95 w 308" name="T32"/>
              <a:gd fmla="*/ 135 h 305" name="T33"/>
              <a:gd fmla="*/ 161 w 308" name="T34"/>
              <a:gd fmla="*/ 200 h 305" name="T35"/>
              <a:gd fmla="*/ 268 w 308" name="T36"/>
              <a:gd fmla="*/ 302 h 305" name="T37"/>
              <a:gd fmla="*/ 303 w 308" name="T38"/>
              <a:gd fmla="*/ 265 h 305" name="T39"/>
              <a:gd fmla="*/ 201 w 308" name="T40"/>
              <a:gd fmla="*/ 161 h 305" name="T41"/>
              <a:gd fmla="*/ 301 w 308" name="T42"/>
              <a:gd fmla="*/ 70 h 305" name="T43"/>
              <a:gd fmla="*/ 261 w 308" name="T44"/>
              <a:gd fmla="*/ 93 h 305" name="T45"/>
              <a:gd fmla="*/ 240 w 308" name="T46"/>
              <a:gd fmla="*/ 79 h 305" name="T47"/>
              <a:gd fmla="*/ 239 w 308" name="T48"/>
              <a:gd fmla="*/ 53 h 305" name="T49"/>
              <a:gd fmla="*/ 280 w 308" name="T50"/>
              <a:gd fmla="*/ 26 h 305" name="T51"/>
              <a:gd fmla="*/ 217 w 308" name="T52"/>
              <a:gd fmla="*/ 25 h 305" name="T53"/>
              <a:gd fmla="*/ 191 w 308" name="T54"/>
              <a:gd fmla="*/ 71 h 305" name="T55"/>
              <a:gd fmla="*/ 182 w 308" name="T56"/>
              <a:gd fmla="*/ 102 h 305" name="T57"/>
              <a:gd fmla="*/ 210 w 308" name="T58"/>
              <a:gd fmla="*/ 151 h 305" name="T59"/>
              <a:gd fmla="*/ 249 w 308" name="T60"/>
              <a:gd fmla="*/ 133 h 305" name="T61"/>
              <a:gd fmla="*/ 252 w 308" name="T62"/>
              <a:gd fmla="*/ 133 h 305" name="T63"/>
              <a:gd fmla="*/ 276 w 308" name="T64"/>
              <a:gd fmla="*/ 126 h 305" name="T65"/>
              <a:gd fmla="*/ 308 w 308" name="T66"/>
              <a:gd fmla="*/ 75 h 305" name="T67"/>
              <a:gd fmla="*/ 52 w 308" name="T68"/>
              <a:gd fmla="*/ 146 h 305" name="T69"/>
              <a:gd fmla="*/ 143 w 308" name="T70"/>
              <a:gd fmla="*/ 58 h 305" name="T71"/>
              <a:gd fmla="*/ 143 w 308" name="T72"/>
              <a:gd fmla="*/ 45 h 305" name="T73"/>
              <a:gd fmla="*/ 94 w 308" name="T74"/>
              <a:gd fmla="*/ 0 h 305" name="T75"/>
              <a:gd fmla="*/ 2 w 308" name="T76"/>
              <a:gd fmla="*/ 87 h 305" name="T77"/>
              <a:gd fmla="*/ 2 w 308" name="T78"/>
              <a:gd fmla="*/ 100 h 305" name="T79"/>
              <a:gd fmla="*/ 52 w 308" name="T80"/>
              <a:gd fmla="*/ 146 h 305"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305" w="308">
                <a:moveTo>
                  <a:pt x="113" y="172"/>
                </a:moveTo>
                <a:cubicBezTo>
                  <a:pt x="151" y="210"/>
                  <a:pt x="151" y="210"/>
                  <a:pt x="151" y="210"/>
                </a:cubicBezTo>
                <a:cubicBezTo>
                  <a:pt x="144" y="217"/>
                  <a:pt x="144" y="217"/>
                  <a:pt x="144" y="217"/>
                </a:cubicBezTo>
                <a:cubicBezTo>
                  <a:pt x="137" y="224"/>
                  <a:pt x="136" y="236"/>
                  <a:pt x="136" y="248"/>
                </a:cubicBezTo>
                <a:cubicBezTo>
                  <a:pt x="136" y="248"/>
                  <a:pt x="136" y="248"/>
                  <a:pt x="136" y="248"/>
                </a:cubicBezTo>
                <a:cubicBezTo>
                  <a:pt x="136" y="262"/>
                  <a:pt x="130" y="276"/>
                  <a:pt x="120" y="286"/>
                </a:cubicBezTo>
                <a:cubicBezTo>
                  <a:pt x="117" y="289"/>
                  <a:pt x="114" y="292"/>
                  <a:pt x="109" y="295"/>
                </a:cubicBezTo>
                <a:cubicBezTo>
                  <a:pt x="92" y="305"/>
                  <a:pt x="68" y="305"/>
                  <a:pt x="49" y="296"/>
                </a:cubicBezTo>
                <a:cubicBezTo>
                  <a:pt x="48" y="296"/>
                  <a:pt x="47" y="294"/>
                  <a:pt x="47" y="293"/>
                </a:cubicBezTo>
                <a:cubicBezTo>
                  <a:pt x="46" y="291"/>
                  <a:pt x="47" y="289"/>
                  <a:pt x="49" y="289"/>
                </a:cubicBezTo>
                <a:cubicBezTo>
                  <a:pt x="88" y="266"/>
                  <a:pt x="88" y="266"/>
                  <a:pt x="88" y="266"/>
                </a:cubicBezTo>
                <a:cubicBezTo>
                  <a:pt x="88" y="266"/>
                  <a:pt x="89" y="266"/>
                  <a:pt x="89" y="265"/>
                </a:cubicBezTo>
                <a:cubicBezTo>
                  <a:pt x="92" y="262"/>
                  <a:pt x="96" y="257"/>
                  <a:pt x="87" y="240"/>
                </a:cubicBezTo>
                <a:cubicBezTo>
                  <a:pt x="85" y="236"/>
                  <a:pt x="82" y="233"/>
                  <a:pt x="80" y="231"/>
                </a:cubicBezTo>
                <a:cubicBezTo>
                  <a:pt x="73" y="224"/>
                  <a:pt x="68" y="225"/>
                  <a:pt x="66" y="226"/>
                </a:cubicBezTo>
                <a:cubicBezTo>
                  <a:pt x="65" y="226"/>
                  <a:pt x="65" y="226"/>
                  <a:pt x="65" y="226"/>
                </a:cubicBezTo>
                <a:cubicBezTo>
                  <a:pt x="26" y="249"/>
                  <a:pt x="26" y="249"/>
                  <a:pt x="26" y="249"/>
                </a:cubicBezTo>
                <a:cubicBezTo>
                  <a:pt x="24" y="249"/>
                  <a:pt x="22" y="249"/>
                  <a:pt x="21" y="249"/>
                </a:cubicBezTo>
                <a:cubicBezTo>
                  <a:pt x="20" y="248"/>
                  <a:pt x="19" y="246"/>
                  <a:pt x="19" y="244"/>
                </a:cubicBezTo>
                <a:cubicBezTo>
                  <a:pt x="20" y="229"/>
                  <a:pt x="28" y="214"/>
                  <a:pt x="39" y="202"/>
                </a:cubicBezTo>
                <a:cubicBezTo>
                  <a:pt x="42" y="199"/>
                  <a:pt x="47" y="196"/>
                  <a:pt x="51" y="193"/>
                </a:cubicBezTo>
                <a:cubicBezTo>
                  <a:pt x="58" y="189"/>
                  <a:pt x="66" y="187"/>
                  <a:pt x="75" y="186"/>
                </a:cubicBezTo>
                <a:cubicBezTo>
                  <a:pt x="74" y="186"/>
                  <a:pt x="74" y="186"/>
                  <a:pt x="74" y="186"/>
                </a:cubicBezTo>
                <a:cubicBezTo>
                  <a:pt x="75" y="186"/>
                  <a:pt x="76" y="186"/>
                  <a:pt x="77" y="186"/>
                </a:cubicBezTo>
                <a:cubicBezTo>
                  <a:pt x="77" y="186"/>
                  <a:pt x="77" y="186"/>
                  <a:pt x="78" y="186"/>
                </a:cubicBezTo>
                <a:cubicBezTo>
                  <a:pt x="89" y="186"/>
                  <a:pt x="100" y="185"/>
                  <a:pt x="106" y="178"/>
                </a:cubicBezTo>
                <a:lnTo>
                  <a:pt x="113" y="172"/>
                </a:lnTo>
                <a:close/>
                <a:moveTo>
                  <a:pt x="201" y="161"/>
                </a:moveTo>
                <a:cubicBezTo>
                  <a:pt x="162" y="122"/>
                  <a:pt x="162" y="122"/>
                  <a:pt x="162" y="122"/>
                </a:cubicBezTo>
                <a:cubicBezTo>
                  <a:pt x="135" y="95"/>
                  <a:pt x="135" y="95"/>
                  <a:pt x="135" y="95"/>
                </a:cubicBezTo>
                <a:cubicBezTo>
                  <a:pt x="134" y="94"/>
                  <a:pt x="133" y="94"/>
                  <a:pt x="132" y="94"/>
                </a:cubicBezTo>
                <a:cubicBezTo>
                  <a:pt x="131" y="94"/>
                  <a:pt x="130" y="94"/>
                  <a:pt x="129" y="95"/>
                </a:cubicBezTo>
                <a:cubicBezTo>
                  <a:pt x="95" y="129"/>
                  <a:pt x="95" y="129"/>
                  <a:pt x="95" y="129"/>
                </a:cubicBezTo>
                <a:cubicBezTo>
                  <a:pt x="94" y="130"/>
                  <a:pt x="94" y="133"/>
                  <a:pt x="95" y="135"/>
                </a:cubicBezTo>
                <a:cubicBezTo>
                  <a:pt x="123" y="162"/>
                  <a:pt x="123" y="162"/>
                  <a:pt x="123" y="162"/>
                </a:cubicBezTo>
                <a:cubicBezTo>
                  <a:pt x="161" y="200"/>
                  <a:pt x="161" y="200"/>
                  <a:pt x="161" y="200"/>
                </a:cubicBezTo>
                <a:cubicBezTo>
                  <a:pt x="262" y="302"/>
                  <a:pt x="262" y="302"/>
                  <a:pt x="262" y="302"/>
                </a:cubicBezTo>
                <a:cubicBezTo>
                  <a:pt x="264" y="303"/>
                  <a:pt x="266" y="303"/>
                  <a:pt x="268" y="302"/>
                </a:cubicBezTo>
                <a:cubicBezTo>
                  <a:pt x="302" y="268"/>
                  <a:pt x="302" y="268"/>
                  <a:pt x="302" y="268"/>
                </a:cubicBezTo>
                <a:cubicBezTo>
                  <a:pt x="303" y="267"/>
                  <a:pt x="303" y="266"/>
                  <a:pt x="303" y="265"/>
                </a:cubicBezTo>
                <a:cubicBezTo>
                  <a:pt x="303" y="264"/>
                  <a:pt x="303" y="263"/>
                  <a:pt x="302" y="262"/>
                </a:cubicBezTo>
                <a:lnTo>
                  <a:pt x="201" y="161"/>
                </a:lnTo>
                <a:close/>
                <a:moveTo>
                  <a:pt x="306" y="70"/>
                </a:moveTo>
                <a:cubicBezTo>
                  <a:pt x="304" y="70"/>
                  <a:pt x="303" y="70"/>
                  <a:pt x="301" y="70"/>
                </a:cubicBezTo>
                <a:cubicBezTo>
                  <a:pt x="262" y="93"/>
                  <a:pt x="262" y="93"/>
                  <a:pt x="262" y="93"/>
                </a:cubicBezTo>
                <a:cubicBezTo>
                  <a:pt x="262" y="93"/>
                  <a:pt x="262" y="93"/>
                  <a:pt x="261" y="93"/>
                </a:cubicBezTo>
                <a:cubicBezTo>
                  <a:pt x="259" y="94"/>
                  <a:pt x="254" y="95"/>
                  <a:pt x="247" y="88"/>
                </a:cubicBezTo>
                <a:cubicBezTo>
                  <a:pt x="244" y="86"/>
                  <a:pt x="242" y="83"/>
                  <a:pt x="240" y="79"/>
                </a:cubicBezTo>
                <a:cubicBezTo>
                  <a:pt x="230" y="62"/>
                  <a:pt x="235" y="57"/>
                  <a:pt x="237" y="54"/>
                </a:cubicBezTo>
                <a:cubicBezTo>
                  <a:pt x="238" y="53"/>
                  <a:pt x="239" y="53"/>
                  <a:pt x="239" y="53"/>
                </a:cubicBezTo>
                <a:cubicBezTo>
                  <a:pt x="278" y="30"/>
                  <a:pt x="278" y="30"/>
                  <a:pt x="278" y="30"/>
                </a:cubicBezTo>
                <a:cubicBezTo>
                  <a:pt x="280" y="30"/>
                  <a:pt x="280" y="28"/>
                  <a:pt x="280" y="26"/>
                </a:cubicBezTo>
                <a:cubicBezTo>
                  <a:pt x="280" y="25"/>
                  <a:pt x="279" y="23"/>
                  <a:pt x="278" y="23"/>
                </a:cubicBezTo>
                <a:cubicBezTo>
                  <a:pt x="259" y="14"/>
                  <a:pt x="235" y="14"/>
                  <a:pt x="217" y="25"/>
                </a:cubicBezTo>
                <a:cubicBezTo>
                  <a:pt x="213" y="27"/>
                  <a:pt x="210" y="30"/>
                  <a:pt x="206" y="33"/>
                </a:cubicBezTo>
                <a:cubicBezTo>
                  <a:pt x="196" y="43"/>
                  <a:pt x="191" y="57"/>
                  <a:pt x="191" y="71"/>
                </a:cubicBezTo>
                <a:cubicBezTo>
                  <a:pt x="190" y="71"/>
                  <a:pt x="190" y="71"/>
                  <a:pt x="190" y="71"/>
                </a:cubicBezTo>
                <a:cubicBezTo>
                  <a:pt x="191" y="83"/>
                  <a:pt x="190" y="95"/>
                  <a:pt x="182" y="102"/>
                </a:cubicBezTo>
                <a:cubicBezTo>
                  <a:pt x="172" y="113"/>
                  <a:pt x="172" y="113"/>
                  <a:pt x="172" y="113"/>
                </a:cubicBezTo>
                <a:cubicBezTo>
                  <a:pt x="210" y="151"/>
                  <a:pt x="210" y="151"/>
                  <a:pt x="210" y="151"/>
                </a:cubicBezTo>
                <a:cubicBezTo>
                  <a:pt x="221" y="141"/>
                  <a:pt x="221" y="141"/>
                  <a:pt x="221" y="141"/>
                </a:cubicBezTo>
                <a:cubicBezTo>
                  <a:pt x="227" y="134"/>
                  <a:pt x="238" y="133"/>
                  <a:pt x="249" y="133"/>
                </a:cubicBezTo>
                <a:cubicBezTo>
                  <a:pt x="249" y="133"/>
                  <a:pt x="250" y="133"/>
                  <a:pt x="250" y="133"/>
                </a:cubicBezTo>
                <a:cubicBezTo>
                  <a:pt x="251" y="133"/>
                  <a:pt x="252" y="133"/>
                  <a:pt x="252" y="133"/>
                </a:cubicBezTo>
                <a:cubicBezTo>
                  <a:pt x="252" y="133"/>
                  <a:pt x="252" y="133"/>
                  <a:pt x="252" y="133"/>
                </a:cubicBezTo>
                <a:cubicBezTo>
                  <a:pt x="260" y="132"/>
                  <a:pt x="268" y="130"/>
                  <a:pt x="276" y="126"/>
                </a:cubicBezTo>
                <a:cubicBezTo>
                  <a:pt x="280" y="123"/>
                  <a:pt x="284" y="120"/>
                  <a:pt x="288" y="117"/>
                </a:cubicBezTo>
                <a:cubicBezTo>
                  <a:pt x="299" y="106"/>
                  <a:pt x="306" y="90"/>
                  <a:pt x="308" y="75"/>
                </a:cubicBezTo>
                <a:cubicBezTo>
                  <a:pt x="308" y="73"/>
                  <a:pt x="307" y="71"/>
                  <a:pt x="306" y="70"/>
                </a:cubicBezTo>
                <a:close/>
                <a:moveTo>
                  <a:pt x="52" y="146"/>
                </a:moveTo>
                <a:cubicBezTo>
                  <a:pt x="54" y="146"/>
                  <a:pt x="57" y="145"/>
                  <a:pt x="58" y="143"/>
                </a:cubicBezTo>
                <a:cubicBezTo>
                  <a:pt x="143" y="58"/>
                  <a:pt x="143" y="58"/>
                  <a:pt x="143" y="58"/>
                </a:cubicBezTo>
                <a:cubicBezTo>
                  <a:pt x="145" y="57"/>
                  <a:pt x="146" y="54"/>
                  <a:pt x="146" y="52"/>
                </a:cubicBezTo>
                <a:cubicBezTo>
                  <a:pt x="146" y="49"/>
                  <a:pt x="145" y="47"/>
                  <a:pt x="143" y="45"/>
                </a:cubicBezTo>
                <a:cubicBezTo>
                  <a:pt x="100" y="2"/>
                  <a:pt x="100" y="2"/>
                  <a:pt x="100" y="2"/>
                </a:cubicBezTo>
                <a:cubicBezTo>
                  <a:pt x="98" y="1"/>
                  <a:pt x="96" y="0"/>
                  <a:pt x="94" y="0"/>
                </a:cubicBezTo>
                <a:cubicBezTo>
                  <a:pt x="91" y="0"/>
                  <a:pt x="89" y="1"/>
                  <a:pt x="87" y="2"/>
                </a:cubicBezTo>
                <a:cubicBezTo>
                  <a:pt x="2" y="87"/>
                  <a:pt x="2" y="87"/>
                  <a:pt x="2" y="87"/>
                </a:cubicBezTo>
                <a:cubicBezTo>
                  <a:pt x="1" y="89"/>
                  <a:pt x="0" y="91"/>
                  <a:pt x="0" y="93"/>
                </a:cubicBezTo>
                <a:cubicBezTo>
                  <a:pt x="0" y="96"/>
                  <a:pt x="1" y="98"/>
                  <a:pt x="2" y="100"/>
                </a:cubicBezTo>
                <a:cubicBezTo>
                  <a:pt x="46" y="143"/>
                  <a:pt x="46" y="143"/>
                  <a:pt x="46" y="143"/>
                </a:cubicBezTo>
                <a:cubicBezTo>
                  <a:pt x="47" y="145"/>
                  <a:pt x="50" y="146"/>
                  <a:pt x="52" y="146"/>
                </a:cubicBezTo>
                <a:close/>
              </a:path>
            </a:pathLst>
          </a:custGeom>
          <a:solidFill>
            <a:srgbClr val="FFFFFF"/>
          </a:solidFill>
          <a:ln>
            <a:noFill/>
          </a:ln>
          <a:extLst/>
        </p:spPr>
        <p:txBody>
          <a:bodyPr anchor="t" anchorCtr="0" bIns="34973" compatLnSpc="1" lIns="69945" numCol="1" rIns="69945" tIns="34973" vert="horz" wrap="square">
            <a:prstTxWarp prst="textNoShape">
              <a:avLst/>
            </a:prstTxWarp>
          </a:bodyPr>
          <a:lstStyle/>
          <a:p>
            <a:pPr defTabSz="594377"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2000" u="none">
              <a:ln>
                <a:noFill/>
              </a:ln>
              <a:solidFill>
                <a:srgbClr val="FFFFFF"/>
              </a:solidFill>
              <a:effectLst/>
              <a:uLnTx/>
              <a:uFillTx/>
              <a:latin typeface="Segoe UI"/>
            </a:endParaRPr>
          </a:p>
        </p:txBody>
      </p:sp>
      <p:grpSp>
        <p:nvGrpSpPr>
          <p:cNvPr id="36" name="组合 35"/>
          <p:cNvGrpSpPr/>
          <p:nvPr/>
        </p:nvGrpSpPr>
        <p:grpSpPr>
          <a:xfrm>
            <a:off x="2884712" y="4789713"/>
            <a:ext cx="522515" cy="368173"/>
            <a:chOff x="8479588" y="2963939"/>
            <a:chExt cx="995567" cy="668009"/>
          </a:xfrm>
        </p:grpSpPr>
        <p:sp>
          <p:nvSpPr>
            <p:cNvPr id="37" name="Freeform 107"/>
            <p:cNvSpPr/>
            <p:nvPr/>
          </p:nvSpPr>
          <p:spPr bwMode="auto">
            <a:xfrm>
              <a:off x="8971697" y="2979414"/>
              <a:ext cx="503458" cy="399774"/>
            </a:xfrm>
            <a:custGeom>
              <a:gdLst>
                <a:gd fmla="*/ 96 w 413" name="T0"/>
                <a:gd fmla="*/ 180 h 328" name="T1"/>
                <a:gd fmla="*/ 0 w 413" name="T2"/>
                <a:gd fmla="*/ 180 h 328" name="T3"/>
                <a:gd fmla="*/ 92 w 413" name="T4"/>
                <a:gd fmla="*/ 328 h 328" name="T5"/>
                <a:gd fmla="*/ 187 w 413" name="T6"/>
                <a:gd fmla="*/ 328 h 328" name="T7"/>
                <a:gd fmla="*/ 413 w 413" name="T8"/>
                <a:gd fmla="*/ 0 h 328" name="T9"/>
                <a:gd fmla="*/ 314 w 413" name="T10"/>
                <a:gd fmla="*/ 0 h 328" name="T11"/>
                <a:gd fmla="*/ 141 w 413" name="T12"/>
                <a:gd fmla="*/ 254 h 328" name="T13"/>
                <a:gd fmla="*/ 96 w 413" name="T14"/>
                <a:gd fmla="*/ 180 h 32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328" w="412">
                  <a:moveTo>
                    <a:pt x="96" y="180"/>
                  </a:moveTo>
                  <a:cubicBezTo>
                    <a:pt x="96" y="180"/>
                    <a:pt x="96" y="180"/>
                    <a:pt x="0" y="180"/>
                  </a:cubicBezTo>
                  <a:cubicBezTo>
                    <a:pt x="0" y="180"/>
                    <a:pt x="0" y="180"/>
                    <a:pt x="92" y="328"/>
                  </a:cubicBezTo>
                  <a:cubicBezTo>
                    <a:pt x="92" y="328"/>
                    <a:pt x="92" y="328"/>
                    <a:pt x="187" y="328"/>
                  </a:cubicBezTo>
                  <a:cubicBezTo>
                    <a:pt x="187" y="328"/>
                    <a:pt x="187" y="328"/>
                    <a:pt x="413" y="0"/>
                  </a:cubicBezTo>
                  <a:cubicBezTo>
                    <a:pt x="314" y="0"/>
                    <a:pt x="314" y="0"/>
                    <a:pt x="314" y="0"/>
                  </a:cubicBezTo>
                  <a:cubicBezTo>
                    <a:pt x="314" y="0"/>
                    <a:pt x="314" y="0"/>
                    <a:pt x="141" y="254"/>
                  </a:cubicBezTo>
                  <a:cubicBezTo>
                    <a:pt x="141" y="254"/>
                    <a:pt x="141" y="254"/>
                    <a:pt x="96" y="180"/>
                  </a:cubicBezTo>
                  <a:close/>
                </a:path>
              </a:pathLst>
            </a:custGeom>
            <a:solidFill>
              <a:schemeClr val="bg1"/>
            </a:solidFill>
            <a:ln>
              <a:noFill/>
            </a:ln>
          </p:spPr>
          <p:txBody>
            <a:bodyPr anchor="t" anchorCtr="0" bIns="45713" compatLnSpc="1" lIns="91427" numCol="1" rIns="91427" tIns="45713" vert="horz" wrap="square">
              <a:prstTxWarp prst="textNoShape">
                <a:avLst/>
              </a:prstTxWarp>
            </a:bodyPr>
            <a:lstStyle/>
            <a:p>
              <a:pPr defTabSz="913705">
                <a:defRPr/>
              </a:pPr>
              <a:endParaRPr kern="0" lang="en-US">
                <a:solidFill>
                  <a:srgbClr val="FFFFFF"/>
                </a:solidFill>
                <a:latin typeface="Segoe"/>
              </a:endParaRPr>
            </a:p>
          </p:txBody>
        </p:sp>
        <p:sp>
          <p:nvSpPr>
            <p:cNvPr id="38" name="Freeform 108"/>
            <p:cNvSpPr>
              <a:spLocks noEditPoints="1"/>
            </p:cNvSpPr>
            <p:nvPr/>
          </p:nvSpPr>
          <p:spPr bwMode="auto">
            <a:xfrm>
              <a:off x="8479588" y="2963939"/>
              <a:ext cx="609204" cy="668009"/>
            </a:xfrm>
            <a:custGeom>
              <a:gdLst>
                <a:gd fmla="*/ 340 w 500" name="T0"/>
                <a:gd fmla="*/ 152 h 548" name="T1"/>
                <a:gd fmla="*/ 437 w 500" name="T2"/>
                <a:gd fmla="*/ 150 h 548" name="T3"/>
                <a:gd fmla="*/ 465 w 500" name="T4"/>
                <a:gd fmla="*/ 76 h 548" name="T5"/>
                <a:gd fmla="*/ 427 w 500" name="T6"/>
                <a:gd fmla="*/ 47 h 548" name="T7"/>
                <a:gd fmla="*/ 359 w 500" name="T8"/>
                <a:gd fmla="*/ 87 h 548" name="T9"/>
                <a:gd fmla="*/ 303 w 500" name="T10"/>
                <a:gd fmla="*/ 69 h 548" name="T11"/>
                <a:gd fmla="*/ 269 w 500" name="T12"/>
                <a:gd fmla="*/ 0 h 548" name="T13"/>
                <a:gd fmla="*/ 223 w 500" name="T14"/>
                <a:gd fmla="*/ 5 h 548" name="T15"/>
                <a:gd fmla="*/ 204 w 500" name="T16"/>
                <a:gd fmla="*/ 79 h 548" name="T17"/>
                <a:gd fmla="*/ 152 w 500" name="T18"/>
                <a:gd fmla="*/ 108 h 548" name="T19"/>
                <a:gd fmla="*/ 76 w 500" name="T20"/>
                <a:gd fmla="*/ 82 h 548" name="T21"/>
                <a:gd fmla="*/ 45 w 500" name="T22"/>
                <a:gd fmla="*/ 118 h 548" name="T23"/>
                <a:gd fmla="*/ 89 w 500" name="T24"/>
                <a:gd fmla="*/ 186 h 548" name="T25"/>
                <a:gd fmla="*/ 69 w 500" name="T26"/>
                <a:gd fmla="*/ 244 h 548" name="T27"/>
                <a:gd fmla="*/ 0 w 500" name="T28"/>
                <a:gd fmla="*/ 278 h 548" name="T29"/>
                <a:gd fmla="*/ 4 w 500" name="T30"/>
                <a:gd fmla="*/ 324 h 548" name="T31"/>
                <a:gd fmla="*/ 79 w 500" name="T32"/>
                <a:gd fmla="*/ 343 h 548" name="T33"/>
                <a:gd fmla="*/ 108 w 500" name="T34"/>
                <a:gd fmla="*/ 395 h 548" name="T35"/>
                <a:gd fmla="*/ 81 w 500" name="T36"/>
                <a:gd fmla="*/ 471 h 548" name="T37"/>
                <a:gd fmla="*/ 118 w 500" name="T38"/>
                <a:gd fmla="*/ 500 h 548" name="T39"/>
                <a:gd fmla="*/ 184 w 500" name="T40"/>
                <a:gd fmla="*/ 458 h 548" name="T41"/>
                <a:gd fmla="*/ 244 w 500" name="T42"/>
                <a:gd fmla="*/ 478 h 548" name="T43"/>
                <a:gd fmla="*/ 277 w 500" name="T44"/>
                <a:gd fmla="*/ 548 h 548" name="T45"/>
                <a:gd fmla="*/ 324 w 500" name="T46"/>
                <a:gd fmla="*/ 543 h 548" name="T47"/>
                <a:gd fmla="*/ 343 w 500" name="T48"/>
                <a:gd fmla="*/ 468 h 548" name="T49"/>
                <a:gd fmla="*/ 395 w 500" name="T50"/>
                <a:gd fmla="*/ 439 h 548" name="T51"/>
                <a:gd fmla="*/ 470 w 500" name="T52"/>
                <a:gd fmla="*/ 465 h 548" name="T53"/>
                <a:gd fmla="*/ 500 w 500" name="T54"/>
                <a:gd fmla="*/ 429 h 548" name="T55"/>
                <a:gd fmla="*/ 340 w 500" name="T56"/>
                <a:gd fmla="*/ 152 h 548" name="T57"/>
                <a:gd fmla="*/ 319 w 500" name="T58"/>
                <a:gd fmla="*/ 309 h 548" name="T59"/>
                <a:gd fmla="*/ 235 w 500" name="T60"/>
                <a:gd fmla="*/ 319 h 548" name="T61"/>
                <a:gd fmla="*/ 228 w 500" name="T62"/>
                <a:gd fmla="*/ 235 h 548" name="T63"/>
                <a:gd fmla="*/ 309 w 500" name="T64"/>
                <a:gd fmla="*/ 227 h 548" name="T65"/>
                <a:gd fmla="*/ 319 w 500" name="T66"/>
                <a:gd fmla="*/ 309 h 548"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548" w="500">
                  <a:moveTo>
                    <a:pt x="340" y="152"/>
                  </a:moveTo>
                  <a:cubicBezTo>
                    <a:pt x="340" y="152"/>
                    <a:pt x="439" y="153"/>
                    <a:pt x="437" y="150"/>
                  </a:cubicBezTo>
                  <a:cubicBezTo>
                    <a:pt x="465" y="76"/>
                    <a:pt x="465" y="76"/>
                    <a:pt x="465" y="76"/>
                  </a:cubicBezTo>
                  <a:cubicBezTo>
                    <a:pt x="453" y="68"/>
                    <a:pt x="440" y="56"/>
                    <a:pt x="427" y="47"/>
                  </a:cubicBezTo>
                  <a:cubicBezTo>
                    <a:pt x="359" y="87"/>
                    <a:pt x="359" y="87"/>
                    <a:pt x="359" y="87"/>
                  </a:cubicBezTo>
                  <a:cubicBezTo>
                    <a:pt x="343" y="79"/>
                    <a:pt x="322" y="73"/>
                    <a:pt x="303" y="69"/>
                  </a:cubicBezTo>
                  <a:cubicBezTo>
                    <a:pt x="269" y="0"/>
                    <a:pt x="269" y="0"/>
                    <a:pt x="269" y="0"/>
                  </a:cubicBezTo>
                  <a:cubicBezTo>
                    <a:pt x="252" y="0"/>
                    <a:pt x="238" y="1"/>
                    <a:pt x="223" y="5"/>
                  </a:cubicBezTo>
                  <a:cubicBezTo>
                    <a:pt x="204" y="79"/>
                    <a:pt x="204" y="79"/>
                    <a:pt x="204" y="79"/>
                  </a:cubicBezTo>
                  <a:cubicBezTo>
                    <a:pt x="184" y="87"/>
                    <a:pt x="166" y="97"/>
                    <a:pt x="152" y="108"/>
                  </a:cubicBezTo>
                  <a:cubicBezTo>
                    <a:pt x="76" y="82"/>
                    <a:pt x="76" y="82"/>
                    <a:pt x="76" y="82"/>
                  </a:cubicBezTo>
                  <a:cubicBezTo>
                    <a:pt x="66" y="94"/>
                    <a:pt x="55" y="107"/>
                    <a:pt x="45" y="118"/>
                  </a:cubicBezTo>
                  <a:cubicBezTo>
                    <a:pt x="89" y="186"/>
                    <a:pt x="89" y="186"/>
                    <a:pt x="89" y="186"/>
                  </a:cubicBezTo>
                  <a:cubicBezTo>
                    <a:pt x="79" y="204"/>
                    <a:pt x="72" y="225"/>
                    <a:pt x="69" y="244"/>
                  </a:cubicBezTo>
                  <a:cubicBezTo>
                    <a:pt x="0" y="278"/>
                    <a:pt x="0" y="278"/>
                    <a:pt x="0" y="278"/>
                  </a:cubicBezTo>
                  <a:cubicBezTo>
                    <a:pt x="0" y="295"/>
                    <a:pt x="1" y="308"/>
                    <a:pt x="4" y="324"/>
                  </a:cubicBezTo>
                  <a:cubicBezTo>
                    <a:pt x="79" y="343"/>
                    <a:pt x="79" y="343"/>
                    <a:pt x="79" y="343"/>
                  </a:cubicBezTo>
                  <a:cubicBezTo>
                    <a:pt x="85" y="361"/>
                    <a:pt x="97" y="381"/>
                    <a:pt x="108" y="395"/>
                  </a:cubicBezTo>
                  <a:cubicBezTo>
                    <a:pt x="81" y="471"/>
                    <a:pt x="81" y="471"/>
                    <a:pt x="81" y="471"/>
                  </a:cubicBezTo>
                  <a:cubicBezTo>
                    <a:pt x="94" y="481"/>
                    <a:pt x="106" y="491"/>
                    <a:pt x="118" y="500"/>
                  </a:cubicBezTo>
                  <a:cubicBezTo>
                    <a:pt x="184" y="458"/>
                    <a:pt x="184" y="458"/>
                    <a:pt x="184" y="458"/>
                  </a:cubicBezTo>
                  <a:cubicBezTo>
                    <a:pt x="204" y="468"/>
                    <a:pt x="223" y="475"/>
                    <a:pt x="244" y="478"/>
                  </a:cubicBezTo>
                  <a:cubicBezTo>
                    <a:pt x="277" y="548"/>
                    <a:pt x="277" y="548"/>
                    <a:pt x="277" y="548"/>
                  </a:cubicBezTo>
                  <a:cubicBezTo>
                    <a:pt x="293" y="548"/>
                    <a:pt x="307" y="546"/>
                    <a:pt x="324" y="543"/>
                  </a:cubicBezTo>
                  <a:cubicBezTo>
                    <a:pt x="343" y="468"/>
                    <a:pt x="343" y="468"/>
                    <a:pt x="343" y="468"/>
                  </a:cubicBezTo>
                  <a:cubicBezTo>
                    <a:pt x="361" y="460"/>
                    <a:pt x="380" y="450"/>
                    <a:pt x="395" y="439"/>
                  </a:cubicBezTo>
                  <a:cubicBezTo>
                    <a:pt x="470" y="465"/>
                    <a:pt x="470" y="465"/>
                    <a:pt x="470" y="465"/>
                  </a:cubicBezTo>
                  <a:cubicBezTo>
                    <a:pt x="479" y="453"/>
                    <a:pt x="491" y="441"/>
                    <a:pt x="500" y="429"/>
                  </a:cubicBezTo>
                  <a:cubicBezTo>
                    <a:pt x="460" y="359"/>
                    <a:pt x="340" y="152"/>
                    <a:pt x="340" y="152"/>
                  </a:cubicBezTo>
                  <a:close/>
                  <a:moveTo>
                    <a:pt x="319" y="309"/>
                  </a:moveTo>
                  <a:cubicBezTo>
                    <a:pt x="298" y="337"/>
                    <a:pt x="262" y="340"/>
                    <a:pt x="235" y="319"/>
                  </a:cubicBezTo>
                  <a:cubicBezTo>
                    <a:pt x="210" y="298"/>
                    <a:pt x="205" y="262"/>
                    <a:pt x="228" y="235"/>
                  </a:cubicBezTo>
                  <a:cubicBezTo>
                    <a:pt x="249" y="210"/>
                    <a:pt x="285" y="207"/>
                    <a:pt x="309" y="227"/>
                  </a:cubicBezTo>
                  <a:cubicBezTo>
                    <a:pt x="337" y="249"/>
                    <a:pt x="340" y="285"/>
                    <a:pt x="319" y="309"/>
                  </a:cubicBezTo>
                  <a:close/>
                </a:path>
              </a:pathLst>
            </a:custGeom>
            <a:solidFill>
              <a:schemeClr val="bg1"/>
            </a:solidFill>
            <a:ln>
              <a:noFill/>
            </a:ln>
          </p:spPr>
          <p:txBody>
            <a:bodyPr anchor="t" anchorCtr="0" bIns="45713" compatLnSpc="1" lIns="91427" numCol="1" rIns="91427" tIns="45713" vert="horz" wrap="square">
              <a:prstTxWarp prst="textNoShape">
                <a:avLst/>
              </a:prstTxWarp>
            </a:bodyPr>
            <a:lstStyle/>
            <a:p>
              <a:pPr defTabSz="913705">
                <a:defRPr/>
              </a:pPr>
              <a:endParaRPr kern="0" lang="en-US">
                <a:solidFill>
                  <a:srgbClr val="FFFFFF"/>
                </a:solidFill>
                <a:latin typeface="Segoe"/>
              </a:endParaRPr>
            </a:p>
          </p:txBody>
        </p:sp>
      </p:grpSp>
    </p:spTree>
    <p:extLst>
      <p:ext uri="{BB962C8B-B14F-4D97-AF65-F5344CB8AC3E}">
        <p14:creationId val="3557788275"/>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灯片编号占位符 4"/>
          <p:cNvSpPr>
            <a:spLocks noGrp="1"/>
          </p:cNvSpPr>
          <p:nvPr>
            <p:ph idx="12" sz="quarter" type="sldNum"/>
          </p:nvPr>
        </p:nvSpPr>
        <p:spPr/>
        <p:txBody>
          <a:bodyPr/>
          <a:lstStyle/>
          <a:p>
            <a:fld id="{5FB8F0BB-C511-4294-A431-2F4D07E68238}" type="slidenum">
              <a:rPr altLang="en-US" lang="zh-CN" smtClean="0"/>
              <a:t>21</a:t>
            </a:fld>
          </a:p>
        </p:txBody>
      </p:sp>
      <p:sp>
        <p:nvSpPr>
          <p:cNvPr id="6" name="任意多边形 25"/>
          <p:cNvSpPr>
            <a:spLocks noChangeArrowheads="1"/>
          </p:cNvSpPr>
          <p:nvPr/>
        </p:nvSpPr>
        <p:spPr bwMode="auto">
          <a:xfrm>
            <a:off x="5387658" y="4831080"/>
            <a:ext cx="1044575" cy="1044575"/>
          </a:xfrm>
          <a:custGeom>
            <a:gdLst>
              <a:gd fmla="*/ 934788 w 780796" name="T0"/>
              <a:gd fmla="*/ 0 h 780796" name="T1"/>
              <a:gd fmla="*/ 1869578 w 780796" name="T2"/>
              <a:gd fmla="*/ 934788 h 780796" name="T3"/>
              <a:gd fmla="*/ 934788 w 780796" name="T4"/>
              <a:gd fmla="*/ 1869578 h 780796" name="T5"/>
              <a:gd fmla="*/ 0 w 780796" name="T6"/>
              <a:gd fmla="*/ 934788 h 780796" name="T7"/>
              <a:gd fmla="*/ 31 w 780796" name="T8"/>
              <a:gd fmla="*/ 934482 h 780796" name="T9"/>
              <a:gd fmla="*/ 892219 w 780796" name="T10"/>
              <a:gd fmla="*/ 934482 h 780796" name="T11"/>
              <a:gd fmla="*/ 892219 w 780796" name="T12"/>
              <a:gd fmla="*/ 4290 h 780796" name="T13"/>
              <a:gd fmla="*/ 0 60000 65536" name="T14"/>
              <a:gd fmla="*/ 0 60000 65536" name="T15"/>
              <a:gd fmla="*/ 0 60000 65536" name="T16"/>
              <a:gd fmla="*/ 0 60000 65536" name="T17"/>
              <a:gd fmla="*/ 0 60000 65536" name="T18"/>
              <a:gd fmla="*/ 0 60000 65536" name="T19"/>
              <a:gd fmla="*/ 0 60000 65536" name="T20"/>
              <a:gd fmla="*/ 0 w 780796" name="T21"/>
              <a:gd fmla="*/ 0 h 780796" name="T22"/>
              <a:gd fmla="*/ 780796 w 780796" name="T23"/>
              <a:gd fmla="*/ 780796 h 780796"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780796" w="780796">
                <a:moveTo>
                  <a:pt x="390398" y="0"/>
                </a:moveTo>
                <a:cubicBezTo>
                  <a:pt x="606009" y="0"/>
                  <a:pt x="780796" y="174787"/>
                  <a:pt x="780796" y="390398"/>
                </a:cubicBezTo>
                <a:cubicBezTo>
                  <a:pt x="780796" y="606009"/>
                  <a:pt x="606009" y="780796"/>
                  <a:pt x="390398" y="780796"/>
                </a:cubicBezTo>
                <a:cubicBezTo>
                  <a:pt x="174787" y="780796"/>
                  <a:pt x="0" y="606009"/>
                  <a:pt x="0" y="390398"/>
                </a:cubicBezTo>
                <a:lnTo>
                  <a:pt x="13" y="390270"/>
                </a:lnTo>
                <a:lnTo>
                  <a:pt x="372619" y="390270"/>
                </a:lnTo>
                <a:lnTo>
                  <a:pt x="372619" y="1792"/>
                </a:lnTo>
                <a:lnTo>
                  <a:pt x="390398" y="0"/>
                </a:lnTo>
                <a:close/>
              </a:path>
            </a:pathLst>
          </a:custGeom>
          <a:solidFill>
            <a:schemeClr val="bg1">
              <a:lumMod val="85000"/>
            </a:schemeClr>
          </a:solidFill>
          <a:ln>
            <a:noFill/>
          </a:ln>
        </p:spPr>
        <p:txBody>
          <a:bodyPr anchor="ctr"/>
          <a:lstStyle/>
          <a:p>
            <a:endParaRPr altLang="en-US" lang="zh-CN"/>
          </a:p>
        </p:txBody>
      </p:sp>
      <p:sp>
        <p:nvSpPr>
          <p:cNvPr id="7" name="任意多边形 24"/>
          <p:cNvSpPr>
            <a:spLocks noChangeArrowheads="1"/>
          </p:cNvSpPr>
          <p:nvPr/>
        </p:nvSpPr>
        <p:spPr bwMode="auto">
          <a:xfrm>
            <a:off x="5387658" y="3307080"/>
            <a:ext cx="1044575" cy="1044575"/>
          </a:xfrm>
          <a:custGeom>
            <a:gdLst>
              <a:gd fmla="*/ 934788 w 780796" name="T0"/>
              <a:gd fmla="*/ 0 h 780796" name="T1"/>
              <a:gd fmla="*/ 1869578 w 780796" name="T2"/>
              <a:gd fmla="*/ 934788 h 780796" name="T3"/>
              <a:gd fmla="*/ 934788 w 780796" name="T4"/>
              <a:gd fmla="*/ 1869578 h 780796" name="T5"/>
              <a:gd fmla="*/ 0 w 780796" name="T6"/>
              <a:gd fmla="*/ 934788 h 780796" name="T7"/>
              <a:gd fmla="*/ 31 w 780796" name="T8"/>
              <a:gd fmla="*/ 934482 h 780796" name="T9"/>
              <a:gd fmla="*/ 892219 w 780796" name="T10"/>
              <a:gd fmla="*/ 934482 h 780796" name="T11"/>
              <a:gd fmla="*/ 892219 w 780796" name="T12"/>
              <a:gd fmla="*/ 4290 h 780796" name="T13"/>
              <a:gd fmla="*/ 0 60000 65536" name="T14"/>
              <a:gd fmla="*/ 0 60000 65536" name="T15"/>
              <a:gd fmla="*/ 0 60000 65536" name="T16"/>
              <a:gd fmla="*/ 0 60000 65536" name="T17"/>
              <a:gd fmla="*/ 0 60000 65536" name="T18"/>
              <a:gd fmla="*/ 0 60000 65536" name="T19"/>
              <a:gd fmla="*/ 0 60000 65536" name="T20"/>
              <a:gd fmla="*/ 0 w 780796" name="T21"/>
              <a:gd fmla="*/ 0 h 780796" name="T22"/>
              <a:gd fmla="*/ 780796 w 780796" name="T23"/>
              <a:gd fmla="*/ 780796 h 780796"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780796" w="780796">
                <a:moveTo>
                  <a:pt x="390398" y="0"/>
                </a:moveTo>
                <a:cubicBezTo>
                  <a:pt x="606009" y="0"/>
                  <a:pt x="780796" y="174787"/>
                  <a:pt x="780796" y="390398"/>
                </a:cubicBezTo>
                <a:cubicBezTo>
                  <a:pt x="780796" y="606009"/>
                  <a:pt x="606009" y="780796"/>
                  <a:pt x="390398" y="780796"/>
                </a:cubicBezTo>
                <a:cubicBezTo>
                  <a:pt x="174787" y="780796"/>
                  <a:pt x="0" y="606009"/>
                  <a:pt x="0" y="390398"/>
                </a:cubicBezTo>
                <a:lnTo>
                  <a:pt x="13" y="390270"/>
                </a:lnTo>
                <a:lnTo>
                  <a:pt x="372619" y="390270"/>
                </a:lnTo>
                <a:lnTo>
                  <a:pt x="372619" y="1792"/>
                </a:lnTo>
                <a:lnTo>
                  <a:pt x="390398" y="0"/>
                </a:lnTo>
                <a:close/>
              </a:path>
            </a:pathLst>
          </a:custGeom>
          <a:solidFill>
            <a:schemeClr val="bg1">
              <a:lumMod val="85000"/>
            </a:schemeClr>
          </a:solidFill>
          <a:ln>
            <a:noFill/>
          </a:ln>
        </p:spPr>
        <p:txBody>
          <a:bodyPr anchor="ctr"/>
          <a:lstStyle/>
          <a:p>
            <a:endParaRPr altLang="en-US" lang="zh-CN"/>
          </a:p>
        </p:txBody>
      </p:sp>
      <p:sp>
        <p:nvSpPr>
          <p:cNvPr id="8" name="任意多边形 23"/>
          <p:cNvSpPr>
            <a:spLocks noChangeArrowheads="1"/>
          </p:cNvSpPr>
          <p:nvPr/>
        </p:nvSpPr>
        <p:spPr bwMode="auto">
          <a:xfrm>
            <a:off x="5387658" y="1775143"/>
            <a:ext cx="1044575" cy="1044575"/>
          </a:xfrm>
          <a:custGeom>
            <a:gdLst>
              <a:gd fmla="*/ 934788 w 780796" name="T0"/>
              <a:gd fmla="*/ 0 h 780796" name="T1"/>
              <a:gd fmla="*/ 1869578 w 780796" name="T2"/>
              <a:gd fmla="*/ 934788 h 780796" name="T3"/>
              <a:gd fmla="*/ 934788 w 780796" name="T4"/>
              <a:gd fmla="*/ 1869578 h 780796" name="T5"/>
              <a:gd fmla="*/ 0 w 780796" name="T6"/>
              <a:gd fmla="*/ 934788 h 780796" name="T7"/>
              <a:gd fmla="*/ 31 w 780796" name="T8"/>
              <a:gd fmla="*/ 934482 h 780796" name="T9"/>
              <a:gd fmla="*/ 892219 w 780796" name="T10"/>
              <a:gd fmla="*/ 934482 h 780796" name="T11"/>
              <a:gd fmla="*/ 892219 w 780796" name="T12"/>
              <a:gd fmla="*/ 4290 h 780796" name="T13"/>
              <a:gd fmla="*/ 0 60000 65536" name="T14"/>
              <a:gd fmla="*/ 0 60000 65536" name="T15"/>
              <a:gd fmla="*/ 0 60000 65536" name="T16"/>
              <a:gd fmla="*/ 0 60000 65536" name="T17"/>
              <a:gd fmla="*/ 0 60000 65536" name="T18"/>
              <a:gd fmla="*/ 0 60000 65536" name="T19"/>
              <a:gd fmla="*/ 0 60000 65536" name="T20"/>
              <a:gd fmla="*/ 0 w 780796" name="T21"/>
              <a:gd fmla="*/ 0 h 780796" name="T22"/>
              <a:gd fmla="*/ 780796 w 780796" name="T23"/>
              <a:gd fmla="*/ 780796 h 780796" name="T24"/>
            </a:gdLst>
            <a:cxnLst>
              <a:cxn ang="T14">
                <a:pos x="T0" y="T1"/>
              </a:cxn>
              <a:cxn ang="T15">
                <a:pos x="T2" y="T3"/>
              </a:cxn>
              <a:cxn ang="T16">
                <a:pos x="T4" y="T5"/>
              </a:cxn>
              <a:cxn ang="T17">
                <a:pos x="T6" y="T7"/>
              </a:cxn>
              <a:cxn ang="T18">
                <a:pos x="T8" y="T9"/>
              </a:cxn>
              <a:cxn ang="T19">
                <a:pos x="T10" y="T11"/>
              </a:cxn>
              <a:cxn ang="T20">
                <a:pos x="T12" y="T13"/>
              </a:cxn>
            </a:cxnLst>
            <a:rect b="T24" l="T21" r="T23" t="T22"/>
            <a:pathLst>
              <a:path h="780796" w="780796">
                <a:moveTo>
                  <a:pt x="390398" y="0"/>
                </a:moveTo>
                <a:cubicBezTo>
                  <a:pt x="606009" y="0"/>
                  <a:pt x="780796" y="174787"/>
                  <a:pt x="780796" y="390398"/>
                </a:cubicBezTo>
                <a:cubicBezTo>
                  <a:pt x="780796" y="606009"/>
                  <a:pt x="606009" y="780796"/>
                  <a:pt x="390398" y="780796"/>
                </a:cubicBezTo>
                <a:cubicBezTo>
                  <a:pt x="174787" y="780796"/>
                  <a:pt x="0" y="606009"/>
                  <a:pt x="0" y="390398"/>
                </a:cubicBezTo>
                <a:lnTo>
                  <a:pt x="13" y="390270"/>
                </a:lnTo>
                <a:lnTo>
                  <a:pt x="372619" y="390270"/>
                </a:lnTo>
                <a:lnTo>
                  <a:pt x="372619" y="1792"/>
                </a:lnTo>
                <a:lnTo>
                  <a:pt x="390398" y="0"/>
                </a:lnTo>
                <a:close/>
              </a:path>
            </a:pathLst>
          </a:custGeom>
          <a:solidFill>
            <a:schemeClr val="bg1">
              <a:lumMod val="85000"/>
            </a:schemeClr>
          </a:solidFill>
          <a:ln>
            <a:noFill/>
          </a:ln>
        </p:spPr>
        <p:txBody>
          <a:bodyPr anchor="ctr"/>
          <a:lstStyle/>
          <a:p>
            <a:endParaRPr altLang="en-US" lang="zh-CN">
              <a:solidFill>
                <a:srgbClr val="E7C244"/>
              </a:solidFill>
            </a:endParaRPr>
          </a:p>
        </p:txBody>
      </p:sp>
      <p:sp>
        <p:nvSpPr>
          <p:cNvPr id="9" name="直接连接符 7"/>
          <p:cNvSpPr>
            <a:spLocks noChangeShapeType="1"/>
          </p:cNvSpPr>
          <p:nvPr/>
        </p:nvSpPr>
        <p:spPr bwMode="auto">
          <a:xfrm flipH="1">
            <a:off x="5909945" y="1297305"/>
            <a:ext cx="0" cy="4933950"/>
          </a:xfrm>
          <a:prstGeom prst="line">
            <a:avLst/>
          </a:prstGeom>
          <a:noFill/>
          <a:ln w="6350">
            <a:solidFill>
              <a:schemeClr val="bg1"/>
            </a:solidFill>
            <a:miter lim="800000"/>
          </a:ln>
          <a:extLst>
            <a:ext uri="{909E8E84-426E-40DD-AFC4-6F175D3DCCD1}">
              <a14:hiddenFill>
                <a:noFill/>
              </a14:hiddenFill>
            </a:ext>
          </a:extLst>
        </p:spPr>
        <p:txBody>
          <a:bodyPr/>
          <a:lstStyle/>
          <a:p>
            <a:endParaRPr altLang="en-US" lang="zh-CN"/>
          </a:p>
        </p:txBody>
      </p:sp>
      <p:sp>
        <p:nvSpPr>
          <p:cNvPr id="10" name="椭圆 2"/>
          <p:cNvSpPr>
            <a:spLocks noChangeArrowheads="1"/>
          </p:cNvSpPr>
          <p:nvPr/>
        </p:nvSpPr>
        <p:spPr bwMode="auto">
          <a:xfrm>
            <a:off x="5498783" y="1887855"/>
            <a:ext cx="820737" cy="820738"/>
          </a:xfrm>
          <a:prstGeom prst="ellipse">
            <a:avLst/>
          </a:prstGeom>
          <a:solidFill>
            <a:srgbClr val="E00024"/>
          </a:solidFill>
          <a:ln>
            <a:noFill/>
          </a:ln>
        </p:spPr>
        <p:txBody>
          <a:bodyPr anchor="ctr"/>
          <a:lstStyle>
            <a:lvl1pPr>
              <a:lnSpc>
                <a:spcPct val="90000"/>
              </a:lnSpc>
              <a:spcBef>
                <a:spcPts val="1000"/>
              </a:spcBef>
              <a:buFont charset="0" panose="020b0604020202020204" pitchFamily="34" typeface="Arial"/>
              <a:buChar char="•"/>
              <a:defRPr sz="2800">
                <a:solidFill>
                  <a:schemeClr val="tx1"/>
                </a:solidFill>
                <a:latin charset="0" panose="020f0502020204030204" pitchFamily="34" typeface="Calibri"/>
                <a:ea charset="-122" panose="020b0503020204020204" pitchFamily="34" typeface="微软雅黑"/>
                <a:sym charset="0" panose="020f0502020204030204" pitchFamily="34" typeface="Calibri"/>
              </a:defRPr>
            </a:lvl1pPr>
            <a:lvl2pPr indent="-285750" marL="742950">
              <a:lnSpc>
                <a:spcPct val="90000"/>
              </a:lnSpc>
              <a:spcBef>
                <a:spcPts val="500"/>
              </a:spcBef>
              <a:buFont charset="0" panose="020b0604020202020204" pitchFamily="34" typeface="Arial"/>
              <a:buChar char="•"/>
              <a:defRPr sz="2400">
                <a:solidFill>
                  <a:schemeClr val="tx1"/>
                </a:solidFill>
                <a:latin charset="0" panose="020f0502020204030204" pitchFamily="34" typeface="Calibri"/>
                <a:ea charset="-122" panose="020b0503020204020204" pitchFamily="34" typeface="微软雅黑"/>
                <a:sym charset="0" panose="020f0502020204030204" pitchFamily="34" typeface="Calibri"/>
              </a:defRPr>
            </a:lvl2pPr>
            <a:lvl3pPr indent="-228600" marL="1143000">
              <a:lnSpc>
                <a:spcPct val="90000"/>
              </a:lnSpc>
              <a:spcBef>
                <a:spcPts val="500"/>
              </a:spcBef>
              <a:buFont charset="0" panose="020b0604020202020204" pitchFamily="34" typeface="Arial"/>
              <a:buChar char="•"/>
              <a:defRPr sz="2000">
                <a:solidFill>
                  <a:schemeClr val="tx1"/>
                </a:solidFill>
                <a:latin charset="0" panose="020f0502020204030204" pitchFamily="34" typeface="Calibri"/>
                <a:ea charset="-122" panose="020b0503020204020204" pitchFamily="34" typeface="微软雅黑"/>
                <a:sym charset="0" panose="020f0502020204030204" pitchFamily="34" typeface="Calibri"/>
              </a:defRPr>
            </a:lvl3pPr>
            <a:lvl4pPr indent="-228600" marL="16002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4pPr>
            <a:lvl5pPr indent="-228600" marL="20574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5pPr>
            <a:lvl6pPr eaLnBrk="0" fontAlgn="base" hangingPunct="0" indent="-228600" marL="25146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6pPr>
            <a:lvl7pPr eaLnBrk="0" fontAlgn="base" hangingPunct="0" indent="-228600" marL="29718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7pPr>
            <a:lvl8pPr eaLnBrk="0" fontAlgn="base" hangingPunct="0" indent="-228600" marL="34290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8pPr>
            <a:lvl9pPr eaLnBrk="0" fontAlgn="base" hangingPunct="0" indent="-228600" marL="38862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9pPr>
          </a:lstStyle>
          <a:p>
            <a:pPr algn="ctr">
              <a:lnSpc>
                <a:spcPct val="100000"/>
              </a:lnSpc>
              <a:spcBef>
                <a:spcPct val="0"/>
              </a:spcBef>
              <a:buFont charset="0" panose="020b0604020202020204" pitchFamily="34" typeface="Arial"/>
              <a:buNone/>
            </a:pPr>
            <a:endParaRPr altLang="en-US" lang="zh-CN" sz="2000">
              <a:solidFill>
                <a:srgbClr val="FFFFFF"/>
              </a:solidFill>
              <a:latin charset="0" panose="020b0604020202020204" pitchFamily="34" typeface="Arial"/>
              <a:ea charset="-122" panose="02010600030101010101" pitchFamily="2" typeface="宋体"/>
            </a:endParaRPr>
          </a:p>
        </p:txBody>
      </p:sp>
      <p:sp>
        <p:nvSpPr>
          <p:cNvPr id="11" name="椭圆 8"/>
          <p:cNvSpPr>
            <a:spLocks noChangeArrowheads="1"/>
          </p:cNvSpPr>
          <p:nvPr/>
        </p:nvSpPr>
        <p:spPr bwMode="auto">
          <a:xfrm>
            <a:off x="5498783" y="3419793"/>
            <a:ext cx="820737" cy="819150"/>
          </a:xfrm>
          <a:prstGeom prst="ellipse">
            <a:avLst/>
          </a:prstGeom>
          <a:solidFill>
            <a:srgbClr val="E00024"/>
          </a:solidFill>
          <a:ln>
            <a:noFill/>
          </a:ln>
        </p:spPr>
        <p:txBody>
          <a:bodyPr anchor="ctr"/>
          <a:lstStyle>
            <a:lvl1pPr>
              <a:lnSpc>
                <a:spcPct val="90000"/>
              </a:lnSpc>
              <a:spcBef>
                <a:spcPts val="1000"/>
              </a:spcBef>
              <a:buFont charset="0" panose="020b0604020202020204" pitchFamily="34" typeface="Arial"/>
              <a:buChar char="•"/>
              <a:defRPr sz="2800">
                <a:solidFill>
                  <a:schemeClr val="tx1"/>
                </a:solidFill>
                <a:latin charset="0" panose="020f0502020204030204" pitchFamily="34" typeface="Calibri"/>
                <a:ea charset="-122" panose="020b0503020204020204" pitchFamily="34" typeface="微软雅黑"/>
                <a:sym charset="0" panose="020f0502020204030204" pitchFamily="34" typeface="Calibri"/>
              </a:defRPr>
            </a:lvl1pPr>
            <a:lvl2pPr indent="-285750" marL="742950">
              <a:lnSpc>
                <a:spcPct val="90000"/>
              </a:lnSpc>
              <a:spcBef>
                <a:spcPts val="500"/>
              </a:spcBef>
              <a:buFont charset="0" panose="020b0604020202020204" pitchFamily="34" typeface="Arial"/>
              <a:buChar char="•"/>
              <a:defRPr sz="2400">
                <a:solidFill>
                  <a:schemeClr val="tx1"/>
                </a:solidFill>
                <a:latin charset="0" panose="020f0502020204030204" pitchFamily="34" typeface="Calibri"/>
                <a:ea charset="-122" panose="020b0503020204020204" pitchFamily="34" typeface="微软雅黑"/>
                <a:sym charset="0" panose="020f0502020204030204" pitchFamily="34" typeface="Calibri"/>
              </a:defRPr>
            </a:lvl2pPr>
            <a:lvl3pPr indent="-228600" marL="1143000">
              <a:lnSpc>
                <a:spcPct val="90000"/>
              </a:lnSpc>
              <a:spcBef>
                <a:spcPts val="500"/>
              </a:spcBef>
              <a:buFont charset="0" panose="020b0604020202020204" pitchFamily="34" typeface="Arial"/>
              <a:buChar char="•"/>
              <a:defRPr sz="2000">
                <a:solidFill>
                  <a:schemeClr val="tx1"/>
                </a:solidFill>
                <a:latin charset="0" panose="020f0502020204030204" pitchFamily="34" typeface="Calibri"/>
                <a:ea charset="-122" panose="020b0503020204020204" pitchFamily="34" typeface="微软雅黑"/>
                <a:sym charset="0" panose="020f0502020204030204" pitchFamily="34" typeface="Calibri"/>
              </a:defRPr>
            </a:lvl3pPr>
            <a:lvl4pPr indent="-228600" marL="16002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4pPr>
            <a:lvl5pPr indent="-228600" marL="20574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5pPr>
            <a:lvl6pPr eaLnBrk="0" fontAlgn="base" hangingPunct="0" indent="-228600" marL="25146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6pPr>
            <a:lvl7pPr eaLnBrk="0" fontAlgn="base" hangingPunct="0" indent="-228600" marL="29718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7pPr>
            <a:lvl8pPr eaLnBrk="0" fontAlgn="base" hangingPunct="0" indent="-228600" marL="34290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8pPr>
            <a:lvl9pPr eaLnBrk="0" fontAlgn="base" hangingPunct="0" indent="-228600" marL="38862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9pPr>
          </a:lstStyle>
          <a:p>
            <a:pPr algn="ctr">
              <a:lnSpc>
                <a:spcPct val="100000"/>
              </a:lnSpc>
              <a:spcBef>
                <a:spcPct val="0"/>
              </a:spcBef>
              <a:buFont charset="0" panose="020b0604020202020204" pitchFamily="34" typeface="Arial"/>
              <a:buNone/>
            </a:pPr>
            <a:endParaRPr altLang="en-US" lang="zh-CN" sz="3200">
              <a:solidFill>
                <a:srgbClr val="FFFFFF"/>
              </a:solidFill>
              <a:latin charset="0" panose="020b0604020202020204" pitchFamily="34" typeface="Arial"/>
              <a:ea charset="-122" panose="02010600030101010101" pitchFamily="2" typeface="宋体"/>
            </a:endParaRPr>
          </a:p>
        </p:txBody>
      </p:sp>
      <p:sp>
        <p:nvSpPr>
          <p:cNvPr id="12" name="椭圆 9"/>
          <p:cNvSpPr>
            <a:spLocks noChangeArrowheads="1"/>
          </p:cNvSpPr>
          <p:nvPr/>
        </p:nvSpPr>
        <p:spPr bwMode="auto">
          <a:xfrm>
            <a:off x="5498783" y="4951730"/>
            <a:ext cx="820737" cy="819150"/>
          </a:xfrm>
          <a:prstGeom prst="ellipse">
            <a:avLst/>
          </a:prstGeom>
          <a:solidFill>
            <a:srgbClr val="E00024"/>
          </a:solidFill>
          <a:ln>
            <a:noFill/>
          </a:ln>
        </p:spPr>
        <p:txBody>
          <a:bodyPr anchor="ctr"/>
          <a:lstStyle>
            <a:lvl1pPr>
              <a:lnSpc>
                <a:spcPct val="90000"/>
              </a:lnSpc>
              <a:spcBef>
                <a:spcPts val="1000"/>
              </a:spcBef>
              <a:buFont charset="0" panose="020b0604020202020204" pitchFamily="34" typeface="Arial"/>
              <a:buChar char="•"/>
              <a:defRPr sz="2800">
                <a:solidFill>
                  <a:schemeClr val="tx1"/>
                </a:solidFill>
                <a:latin charset="0" panose="020f0502020204030204" pitchFamily="34" typeface="Calibri"/>
                <a:ea charset="-122" panose="020b0503020204020204" pitchFamily="34" typeface="微软雅黑"/>
                <a:sym charset="0" panose="020f0502020204030204" pitchFamily="34" typeface="Calibri"/>
              </a:defRPr>
            </a:lvl1pPr>
            <a:lvl2pPr indent="-285750" marL="742950">
              <a:lnSpc>
                <a:spcPct val="90000"/>
              </a:lnSpc>
              <a:spcBef>
                <a:spcPts val="500"/>
              </a:spcBef>
              <a:buFont charset="0" panose="020b0604020202020204" pitchFamily="34" typeface="Arial"/>
              <a:buChar char="•"/>
              <a:defRPr sz="2400">
                <a:solidFill>
                  <a:schemeClr val="tx1"/>
                </a:solidFill>
                <a:latin charset="0" panose="020f0502020204030204" pitchFamily="34" typeface="Calibri"/>
                <a:ea charset="-122" panose="020b0503020204020204" pitchFamily="34" typeface="微软雅黑"/>
                <a:sym charset="0" panose="020f0502020204030204" pitchFamily="34" typeface="Calibri"/>
              </a:defRPr>
            </a:lvl2pPr>
            <a:lvl3pPr indent="-228600" marL="1143000">
              <a:lnSpc>
                <a:spcPct val="90000"/>
              </a:lnSpc>
              <a:spcBef>
                <a:spcPts val="500"/>
              </a:spcBef>
              <a:buFont charset="0" panose="020b0604020202020204" pitchFamily="34" typeface="Arial"/>
              <a:buChar char="•"/>
              <a:defRPr sz="2000">
                <a:solidFill>
                  <a:schemeClr val="tx1"/>
                </a:solidFill>
                <a:latin charset="0" panose="020f0502020204030204" pitchFamily="34" typeface="Calibri"/>
                <a:ea charset="-122" panose="020b0503020204020204" pitchFamily="34" typeface="微软雅黑"/>
                <a:sym charset="0" panose="020f0502020204030204" pitchFamily="34" typeface="Calibri"/>
              </a:defRPr>
            </a:lvl3pPr>
            <a:lvl4pPr indent="-228600" marL="16002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4pPr>
            <a:lvl5pPr indent="-228600" marL="20574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5pPr>
            <a:lvl6pPr eaLnBrk="0" fontAlgn="base" hangingPunct="0" indent="-228600" marL="25146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6pPr>
            <a:lvl7pPr eaLnBrk="0" fontAlgn="base" hangingPunct="0" indent="-228600" marL="29718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7pPr>
            <a:lvl8pPr eaLnBrk="0" fontAlgn="base" hangingPunct="0" indent="-228600" marL="34290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8pPr>
            <a:lvl9pPr eaLnBrk="0" fontAlgn="base" hangingPunct="0" indent="-228600" marL="38862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9pPr>
          </a:lstStyle>
          <a:p>
            <a:pPr algn="ctr">
              <a:lnSpc>
                <a:spcPct val="100000"/>
              </a:lnSpc>
              <a:spcBef>
                <a:spcPct val="0"/>
              </a:spcBef>
              <a:buFont charset="0" panose="020b0604020202020204" pitchFamily="34" typeface="Arial"/>
              <a:buNone/>
            </a:pPr>
            <a:endParaRPr altLang="en-US" lang="zh-CN" sz="1800">
              <a:latin charset="0" panose="020b0604020202020204" pitchFamily="34" typeface="Arial"/>
              <a:ea charset="-122" panose="02010600030101010101" pitchFamily="2" typeface="宋体"/>
            </a:endParaRPr>
          </a:p>
        </p:txBody>
      </p:sp>
      <p:sp>
        <p:nvSpPr>
          <p:cNvPr id="13" name="任意多边形 13"/>
          <p:cNvSpPr>
            <a:spLocks noChangeArrowheads="1"/>
          </p:cNvSpPr>
          <p:nvPr/>
        </p:nvSpPr>
        <p:spPr bwMode="auto">
          <a:xfrm rot="5400000">
            <a:off x="2416652" y="139223"/>
            <a:ext cx="1155700" cy="4189413"/>
          </a:xfrm>
          <a:custGeom>
            <a:gdLst>
              <a:gd fmla="*/ 0 w 1156448" name="T0"/>
              <a:gd fmla="*/ 3997886 h 4188759" name="T1"/>
              <a:gd fmla="*/ 0 w 1156448" name="T2"/>
              <a:gd fmla="*/ 603163 h 4188759" name="T3"/>
              <a:gd fmla="*/ 192370 w 1156448" name="T4"/>
              <a:gd fmla="*/ 410328 h 4188759" name="T5"/>
              <a:gd fmla="*/ 610944 w 1156448" name="T6"/>
              <a:gd fmla="*/ 410328 h 4188759" name="T7"/>
              <a:gd fmla="*/ 787823 w 1156448" name="T8"/>
              <a:gd fmla="*/ 0 h 4188759" name="T9"/>
              <a:gd fmla="*/ 964702 w 1156448" name="T10"/>
              <a:gd fmla="*/ 410328 h 4188759" name="T11"/>
              <a:gd fmla="*/ 961836 w 1156448" name="T12"/>
              <a:gd fmla="*/ 410328 h 4188759" name="T13"/>
              <a:gd fmla="*/ 1036714 w 1156448" name="T14"/>
              <a:gd fmla="*/ 425481 h 4188759" name="T15"/>
              <a:gd fmla="*/ 1154205 w 1156448" name="T16"/>
              <a:gd fmla="*/ 603163 h 4188759" name="T17"/>
              <a:gd fmla="*/ 1154205 w 1156448" name="T18"/>
              <a:gd fmla="*/ 3997886 h 4188759" name="T19"/>
              <a:gd fmla="*/ 961834 w 1156448" name="T20"/>
              <a:gd fmla="*/ 4190721 h 4188759" name="T21"/>
              <a:gd fmla="*/ 192370 w 1156448" name="T22"/>
              <a:gd fmla="*/ 4190721 h 4188759" name="T23"/>
              <a:gd fmla="*/ 0 w 1156448" name="T24"/>
              <a:gd fmla="*/ 3997886 h 4188759"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w 1156448" name="T39"/>
              <a:gd fmla="*/ 0 h 4188759" name="T40"/>
              <a:gd fmla="*/ 1156448 w 1156448" name="T41"/>
              <a:gd fmla="*/ 4188759 h 4188759" name="T42"/>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b="T42" l="T39" r="T41" t="T40"/>
            <a:pathLst>
              <a:path h="4188758" w="1156448">
                <a:moveTo>
                  <a:pt x="0" y="3996014"/>
                </a:moveTo>
                <a:lnTo>
                  <a:pt x="0" y="602881"/>
                </a:lnTo>
                <a:cubicBezTo>
                  <a:pt x="0" y="496431"/>
                  <a:pt x="86295" y="410136"/>
                  <a:pt x="192745" y="410136"/>
                </a:cubicBezTo>
                <a:lnTo>
                  <a:pt x="612131" y="410136"/>
                </a:lnTo>
                <a:lnTo>
                  <a:pt x="789354" y="0"/>
                </a:lnTo>
                <a:lnTo>
                  <a:pt x="966576" y="410136"/>
                </a:lnTo>
                <a:lnTo>
                  <a:pt x="963705" y="410136"/>
                </a:lnTo>
                <a:lnTo>
                  <a:pt x="1038728" y="425283"/>
                </a:lnTo>
                <a:cubicBezTo>
                  <a:pt x="1107907" y="454543"/>
                  <a:pt x="1156448" y="523043"/>
                  <a:pt x="1156448" y="602881"/>
                </a:cubicBezTo>
                <a:lnTo>
                  <a:pt x="1156448" y="3996014"/>
                </a:lnTo>
                <a:cubicBezTo>
                  <a:pt x="1156448" y="4102464"/>
                  <a:pt x="1070153" y="4188759"/>
                  <a:pt x="963703" y="4188759"/>
                </a:cubicBezTo>
                <a:lnTo>
                  <a:pt x="192745" y="4188759"/>
                </a:lnTo>
                <a:cubicBezTo>
                  <a:pt x="86295" y="4188759"/>
                  <a:pt x="0" y="4102464"/>
                  <a:pt x="0" y="3996014"/>
                </a:cubicBezTo>
                <a:close/>
              </a:path>
            </a:pathLst>
          </a:custGeom>
          <a:solidFill>
            <a:srgbClr val="E00024"/>
          </a:solidFill>
          <a:ln>
            <a:noFill/>
          </a:ln>
        </p:spPr>
        <p:txBody>
          <a:bodyPr anchor="ctr"/>
          <a:lstStyle/>
          <a:p>
            <a:endParaRPr altLang="en-US" lang="zh-CN"/>
          </a:p>
        </p:txBody>
      </p:sp>
      <p:sp>
        <p:nvSpPr>
          <p:cNvPr id="14" name="任意多边形 14"/>
          <p:cNvSpPr>
            <a:spLocks noChangeArrowheads="1"/>
          </p:cNvSpPr>
          <p:nvPr/>
        </p:nvSpPr>
        <p:spPr bwMode="auto">
          <a:xfrm rot="16200000">
            <a:off x="7733189" y="2095024"/>
            <a:ext cx="2181225" cy="4189413"/>
          </a:xfrm>
          <a:custGeom>
            <a:gdLst>
              <a:gd fmla="*/ 0 w 1156448" name="T0"/>
              <a:gd fmla="*/ 3997886 h 4188759" name="T1"/>
              <a:gd fmla="*/ 0 w 1156448" name="T2"/>
              <a:gd fmla="*/ 603163 h 4188759" name="T3"/>
              <a:gd fmla="*/ 1293320 w 1156448" name="T4"/>
              <a:gd fmla="*/ 410328 h 4188759" name="T5"/>
              <a:gd fmla="*/ 4107404 w 1156448" name="T6"/>
              <a:gd fmla="*/ 410328 h 4188759" name="T7"/>
              <a:gd fmla="*/ 5296573 w 1156448" name="T8"/>
              <a:gd fmla="*/ 0 h 4188759" name="T9"/>
              <a:gd fmla="*/ 6485731 w 1156448" name="T10"/>
              <a:gd fmla="*/ 410328 h 4188759" name="T11"/>
              <a:gd fmla="*/ 6466468 w 1156448" name="T12"/>
              <a:gd fmla="*/ 410328 h 4188759" name="T13"/>
              <a:gd fmla="*/ 6969873 w 1156448" name="T14"/>
              <a:gd fmla="*/ 425481 h 4188759" name="T15"/>
              <a:gd fmla="*/ 7759776 w 1156448" name="T16"/>
              <a:gd fmla="*/ 603163 h 4188759" name="T17"/>
              <a:gd fmla="*/ 7759776 w 1156448" name="T18"/>
              <a:gd fmla="*/ 3997886 h 4188759" name="T19"/>
              <a:gd fmla="*/ 6466456 w 1156448" name="T20"/>
              <a:gd fmla="*/ 4190721 h 4188759" name="T21"/>
              <a:gd fmla="*/ 1293320 w 1156448" name="T22"/>
              <a:gd fmla="*/ 4190721 h 4188759" name="T23"/>
              <a:gd fmla="*/ 0 w 1156448" name="T24"/>
              <a:gd fmla="*/ 3997886 h 4188759"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w 1156448" name="T39"/>
              <a:gd fmla="*/ 0 h 4188759" name="T40"/>
              <a:gd fmla="*/ 1156448 w 1156448" name="T41"/>
              <a:gd fmla="*/ 4188759 h 4188759" name="T42"/>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b="T42" l="T39" r="T41" t="T40"/>
            <a:pathLst>
              <a:path h="4188758" w="1156448">
                <a:moveTo>
                  <a:pt x="0" y="3996014"/>
                </a:moveTo>
                <a:lnTo>
                  <a:pt x="0" y="602881"/>
                </a:lnTo>
                <a:cubicBezTo>
                  <a:pt x="0" y="496431"/>
                  <a:pt x="86295" y="410136"/>
                  <a:pt x="192745" y="410136"/>
                </a:cubicBezTo>
                <a:lnTo>
                  <a:pt x="612131" y="410136"/>
                </a:lnTo>
                <a:lnTo>
                  <a:pt x="789354" y="0"/>
                </a:lnTo>
                <a:lnTo>
                  <a:pt x="966576" y="410136"/>
                </a:lnTo>
                <a:lnTo>
                  <a:pt x="963705" y="410136"/>
                </a:lnTo>
                <a:lnTo>
                  <a:pt x="1038728" y="425283"/>
                </a:lnTo>
                <a:cubicBezTo>
                  <a:pt x="1107907" y="454543"/>
                  <a:pt x="1156448" y="523043"/>
                  <a:pt x="1156448" y="602881"/>
                </a:cubicBezTo>
                <a:lnTo>
                  <a:pt x="1156448" y="3996014"/>
                </a:lnTo>
                <a:cubicBezTo>
                  <a:pt x="1156448" y="4102464"/>
                  <a:pt x="1070153" y="4188759"/>
                  <a:pt x="963703" y="4188759"/>
                </a:cubicBezTo>
                <a:lnTo>
                  <a:pt x="192745" y="4188759"/>
                </a:lnTo>
                <a:cubicBezTo>
                  <a:pt x="86295" y="4188759"/>
                  <a:pt x="0" y="4102464"/>
                  <a:pt x="0" y="3996014"/>
                </a:cubicBezTo>
                <a:close/>
              </a:path>
            </a:pathLst>
          </a:custGeom>
          <a:solidFill>
            <a:schemeClr val="bg1">
              <a:lumMod val="75000"/>
            </a:schemeClr>
          </a:solidFill>
          <a:ln>
            <a:noFill/>
          </a:ln>
        </p:spPr>
        <p:txBody>
          <a:bodyPr anchor="ctr"/>
          <a:lstStyle/>
          <a:p>
            <a:endParaRPr altLang="en-US" lang="zh-CN"/>
          </a:p>
        </p:txBody>
      </p:sp>
      <p:sp>
        <p:nvSpPr>
          <p:cNvPr id="15" name="任意多边形 15"/>
          <p:cNvSpPr>
            <a:spLocks noChangeArrowheads="1"/>
          </p:cNvSpPr>
          <p:nvPr/>
        </p:nvSpPr>
        <p:spPr bwMode="auto">
          <a:xfrm rot="5400000">
            <a:off x="2014220" y="2840356"/>
            <a:ext cx="2097087" cy="4189412"/>
          </a:xfrm>
          <a:custGeom>
            <a:gdLst>
              <a:gd fmla="*/ 0 w 1156448" name="T0"/>
              <a:gd fmla="*/ 3997883 h 4188759" name="T1"/>
              <a:gd fmla="*/ 0 w 1156448" name="T2"/>
              <a:gd fmla="*/ 603163 h 4188759" name="T3"/>
              <a:gd fmla="*/ 1149355 w 1156448" name="T4"/>
              <a:gd fmla="*/ 410328 h 4188759" name="T5"/>
              <a:gd fmla="*/ 3650189 w 1156448" name="T6"/>
              <a:gd fmla="*/ 410328 h 4188759" name="T7"/>
              <a:gd fmla="*/ 4706985 w 1156448" name="T8"/>
              <a:gd fmla="*/ 0 h 4188759" name="T9"/>
              <a:gd fmla="*/ 5763776 w 1156448" name="T10"/>
              <a:gd fmla="*/ 410328 h 4188759" name="T11"/>
              <a:gd fmla="*/ 5746654 w 1156448" name="T12"/>
              <a:gd fmla="*/ 410328 h 4188759" name="T13"/>
              <a:gd fmla="*/ 6194024 w 1156448" name="T14"/>
              <a:gd fmla="*/ 425481 h 4188759" name="T15"/>
              <a:gd fmla="*/ 6895998 w 1156448" name="T16"/>
              <a:gd fmla="*/ 603163 h 4188759" name="T17"/>
              <a:gd fmla="*/ 6895998 w 1156448" name="T18"/>
              <a:gd fmla="*/ 3997883 h 4188759" name="T19"/>
              <a:gd fmla="*/ 5746643 w 1156448" name="T20"/>
              <a:gd fmla="*/ 4190718 h 4188759" name="T21"/>
              <a:gd fmla="*/ 1149355 w 1156448" name="T22"/>
              <a:gd fmla="*/ 4190718 h 4188759" name="T23"/>
              <a:gd fmla="*/ 0 w 1156448" name="T24"/>
              <a:gd fmla="*/ 3997883 h 4188759" name="T25"/>
              <a:gd fmla="*/ 0 60000 65536" name="T26"/>
              <a:gd fmla="*/ 0 60000 65536" name="T27"/>
              <a:gd fmla="*/ 0 60000 65536" name="T28"/>
              <a:gd fmla="*/ 0 60000 65536" name="T29"/>
              <a:gd fmla="*/ 0 60000 65536" name="T30"/>
              <a:gd fmla="*/ 0 60000 65536" name="T31"/>
              <a:gd fmla="*/ 0 60000 65536" name="T32"/>
              <a:gd fmla="*/ 0 60000 65536" name="T33"/>
              <a:gd fmla="*/ 0 60000 65536" name="T34"/>
              <a:gd fmla="*/ 0 60000 65536" name="T35"/>
              <a:gd fmla="*/ 0 60000 65536" name="T36"/>
              <a:gd fmla="*/ 0 60000 65536" name="T37"/>
              <a:gd fmla="*/ 0 60000 65536" name="T38"/>
              <a:gd fmla="*/ 0 w 1156448" name="T39"/>
              <a:gd fmla="*/ 0 h 4188759" name="T40"/>
              <a:gd fmla="*/ 1156448 w 1156448" name="T41"/>
              <a:gd fmla="*/ 4188759 h 4188759" name="T42"/>
            </a:gd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b="T42" l="T39" r="T41" t="T40"/>
            <a:pathLst>
              <a:path h="4188758" w="1156448">
                <a:moveTo>
                  <a:pt x="0" y="3996014"/>
                </a:moveTo>
                <a:lnTo>
                  <a:pt x="0" y="602881"/>
                </a:lnTo>
                <a:cubicBezTo>
                  <a:pt x="0" y="496431"/>
                  <a:pt x="86295" y="410136"/>
                  <a:pt x="192745" y="410136"/>
                </a:cubicBezTo>
                <a:lnTo>
                  <a:pt x="612131" y="410136"/>
                </a:lnTo>
                <a:lnTo>
                  <a:pt x="789354" y="0"/>
                </a:lnTo>
                <a:lnTo>
                  <a:pt x="966576" y="410136"/>
                </a:lnTo>
                <a:lnTo>
                  <a:pt x="963705" y="410136"/>
                </a:lnTo>
                <a:lnTo>
                  <a:pt x="1038728" y="425283"/>
                </a:lnTo>
                <a:cubicBezTo>
                  <a:pt x="1107907" y="454543"/>
                  <a:pt x="1156448" y="523043"/>
                  <a:pt x="1156448" y="602881"/>
                </a:cubicBezTo>
                <a:lnTo>
                  <a:pt x="1156448" y="3996014"/>
                </a:lnTo>
                <a:cubicBezTo>
                  <a:pt x="1156448" y="4102464"/>
                  <a:pt x="1070153" y="4188759"/>
                  <a:pt x="963703" y="4188759"/>
                </a:cubicBezTo>
                <a:lnTo>
                  <a:pt x="192745" y="4188759"/>
                </a:lnTo>
                <a:cubicBezTo>
                  <a:pt x="86295" y="4188759"/>
                  <a:pt x="0" y="4102464"/>
                  <a:pt x="0" y="3996014"/>
                </a:cubicBezTo>
                <a:close/>
              </a:path>
            </a:pathLst>
          </a:custGeom>
          <a:solidFill>
            <a:srgbClr val="FCB814"/>
          </a:solidFill>
          <a:ln>
            <a:noFill/>
          </a:ln>
        </p:spPr>
        <p:txBody>
          <a:bodyPr anchor="ctr"/>
          <a:lstStyle/>
          <a:p>
            <a:endParaRPr altLang="en-US" lang="zh-CN"/>
          </a:p>
        </p:txBody>
      </p:sp>
      <p:sp>
        <p:nvSpPr>
          <p:cNvPr id="16" name="文本框 16"/>
          <p:cNvSpPr>
            <a:spLocks noChangeArrowheads="1"/>
          </p:cNvSpPr>
          <p:nvPr/>
        </p:nvSpPr>
        <p:spPr bwMode="auto">
          <a:xfrm>
            <a:off x="1345883" y="1887855"/>
            <a:ext cx="3070225" cy="640080"/>
          </a:xfrm>
          <a:prstGeom prst="rect">
            <a:avLst/>
          </a:prstGeom>
          <a:noFill/>
          <a:ln>
            <a:noFill/>
          </a:ln>
        </p:spPr>
        <p:txBody>
          <a:bodyPr>
            <a:spAutoFit/>
          </a:bodyPr>
          <a:lstStyle>
            <a:lvl1pPr>
              <a:lnSpc>
                <a:spcPct val="90000"/>
              </a:lnSpc>
              <a:spcBef>
                <a:spcPts val="1000"/>
              </a:spcBef>
              <a:buFont charset="0" panose="020b0604020202020204" pitchFamily="34" typeface="Arial"/>
              <a:buChar char="•"/>
              <a:defRPr sz="2800">
                <a:solidFill>
                  <a:schemeClr val="tx1"/>
                </a:solidFill>
                <a:latin charset="0" panose="020f0502020204030204" pitchFamily="34" typeface="Calibri"/>
                <a:ea charset="-122" panose="020b0503020204020204" pitchFamily="34" typeface="微软雅黑"/>
                <a:sym charset="0" panose="020f0502020204030204" pitchFamily="34" typeface="Calibri"/>
              </a:defRPr>
            </a:lvl1pPr>
            <a:lvl2pPr indent="-285750" marL="742950">
              <a:lnSpc>
                <a:spcPct val="90000"/>
              </a:lnSpc>
              <a:spcBef>
                <a:spcPts val="500"/>
              </a:spcBef>
              <a:buFont charset="0" panose="020b0604020202020204" pitchFamily="34" typeface="Arial"/>
              <a:buChar char="•"/>
              <a:defRPr sz="2400">
                <a:solidFill>
                  <a:schemeClr val="tx1"/>
                </a:solidFill>
                <a:latin charset="0" panose="020f0502020204030204" pitchFamily="34" typeface="Calibri"/>
                <a:ea charset="-122" panose="020b0503020204020204" pitchFamily="34" typeface="微软雅黑"/>
                <a:sym charset="0" panose="020f0502020204030204" pitchFamily="34" typeface="Calibri"/>
              </a:defRPr>
            </a:lvl2pPr>
            <a:lvl3pPr indent="-228600" marL="1143000">
              <a:lnSpc>
                <a:spcPct val="90000"/>
              </a:lnSpc>
              <a:spcBef>
                <a:spcPts val="500"/>
              </a:spcBef>
              <a:buFont charset="0" panose="020b0604020202020204" pitchFamily="34" typeface="Arial"/>
              <a:buChar char="•"/>
              <a:defRPr sz="2000">
                <a:solidFill>
                  <a:schemeClr val="tx1"/>
                </a:solidFill>
                <a:latin charset="0" panose="020f0502020204030204" pitchFamily="34" typeface="Calibri"/>
                <a:ea charset="-122" panose="020b0503020204020204" pitchFamily="34" typeface="微软雅黑"/>
                <a:sym charset="0" panose="020f0502020204030204" pitchFamily="34" typeface="Calibri"/>
              </a:defRPr>
            </a:lvl3pPr>
            <a:lvl4pPr indent="-228600" marL="16002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4pPr>
            <a:lvl5pPr indent="-228600" marL="20574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5pPr>
            <a:lvl6pPr eaLnBrk="0" fontAlgn="base" hangingPunct="0" indent="-228600" marL="25146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6pPr>
            <a:lvl7pPr eaLnBrk="0" fontAlgn="base" hangingPunct="0" indent="-228600" marL="29718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7pPr>
            <a:lvl8pPr eaLnBrk="0" fontAlgn="base" hangingPunct="0" indent="-228600" marL="34290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8pPr>
            <a:lvl9pPr eaLnBrk="0" fontAlgn="base" hangingPunct="0" indent="-228600" marL="38862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9pPr>
          </a:lstStyle>
          <a:p>
            <a:pPr>
              <a:lnSpc>
                <a:spcPct val="100000"/>
              </a:lnSpc>
              <a:spcBef>
                <a:spcPct val="0"/>
              </a:spcBef>
              <a:buFont charset="0" panose="020b0604020202020204" pitchFamily="34" typeface="Arial"/>
              <a:buNone/>
            </a:pPr>
            <a:r>
              <a:rPr altLang="en-US" lang="zh-CN" sz="1800">
                <a:solidFill>
                  <a:schemeClr val="bg1"/>
                </a:solidFill>
                <a:latin charset="-122" panose="020b0503020204020204" pitchFamily="34" typeface="微软雅黑"/>
              </a:rPr>
              <a:t>此处输入文本此处输入文本此处输入文本此处输入文本</a:t>
            </a:r>
          </a:p>
        </p:txBody>
      </p:sp>
      <p:sp>
        <p:nvSpPr>
          <p:cNvPr id="18" name="文本框 18"/>
          <p:cNvSpPr>
            <a:spLocks noChangeArrowheads="1"/>
          </p:cNvSpPr>
          <p:nvPr/>
        </p:nvSpPr>
        <p:spPr bwMode="auto">
          <a:xfrm>
            <a:off x="1318895" y="4086542"/>
            <a:ext cx="3068638" cy="1737360"/>
          </a:xfrm>
          <a:prstGeom prst="rect">
            <a:avLst/>
          </a:prstGeom>
          <a:noFill/>
          <a:ln>
            <a:noFill/>
          </a:ln>
        </p:spPr>
        <p:txBody>
          <a:bodyPr>
            <a:spAutoFit/>
          </a:bodyPr>
          <a:lstStyle>
            <a:lvl1pPr>
              <a:lnSpc>
                <a:spcPct val="90000"/>
              </a:lnSpc>
              <a:spcBef>
                <a:spcPts val="1000"/>
              </a:spcBef>
              <a:buFont charset="0" panose="020b0604020202020204" pitchFamily="34" typeface="Arial"/>
              <a:buChar char="•"/>
              <a:defRPr sz="2800">
                <a:solidFill>
                  <a:schemeClr val="tx1"/>
                </a:solidFill>
                <a:latin charset="0" panose="020f0502020204030204" pitchFamily="34" typeface="Calibri"/>
                <a:ea charset="-122" panose="020b0503020204020204" pitchFamily="34" typeface="微软雅黑"/>
                <a:sym charset="0" panose="020f0502020204030204" pitchFamily="34" typeface="Calibri"/>
              </a:defRPr>
            </a:lvl1pPr>
            <a:lvl2pPr indent="-285750" marL="742950">
              <a:lnSpc>
                <a:spcPct val="90000"/>
              </a:lnSpc>
              <a:spcBef>
                <a:spcPts val="500"/>
              </a:spcBef>
              <a:buFont charset="0" panose="020b0604020202020204" pitchFamily="34" typeface="Arial"/>
              <a:buChar char="•"/>
              <a:defRPr sz="2400">
                <a:solidFill>
                  <a:schemeClr val="tx1"/>
                </a:solidFill>
                <a:latin charset="0" panose="020f0502020204030204" pitchFamily="34" typeface="Calibri"/>
                <a:ea charset="-122" panose="020b0503020204020204" pitchFamily="34" typeface="微软雅黑"/>
                <a:sym charset="0" panose="020f0502020204030204" pitchFamily="34" typeface="Calibri"/>
              </a:defRPr>
            </a:lvl2pPr>
            <a:lvl3pPr indent="-228600" marL="1143000">
              <a:lnSpc>
                <a:spcPct val="90000"/>
              </a:lnSpc>
              <a:spcBef>
                <a:spcPts val="500"/>
              </a:spcBef>
              <a:buFont charset="0" panose="020b0604020202020204" pitchFamily="34" typeface="Arial"/>
              <a:buChar char="•"/>
              <a:defRPr sz="2000">
                <a:solidFill>
                  <a:schemeClr val="tx1"/>
                </a:solidFill>
                <a:latin charset="0" panose="020f0502020204030204" pitchFamily="34" typeface="Calibri"/>
                <a:ea charset="-122" panose="020b0503020204020204" pitchFamily="34" typeface="微软雅黑"/>
                <a:sym charset="0" panose="020f0502020204030204" pitchFamily="34" typeface="Calibri"/>
              </a:defRPr>
            </a:lvl3pPr>
            <a:lvl4pPr indent="-228600" marL="16002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4pPr>
            <a:lvl5pPr indent="-228600" marL="20574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5pPr>
            <a:lvl6pPr eaLnBrk="0" fontAlgn="base" hangingPunct="0" indent="-228600" marL="25146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6pPr>
            <a:lvl7pPr eaLnBrk="0" fontAlgn="base" hangingPunct="0" indent="-228600" marL="29718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7pPr>
            <a:lvl8pPr eaLnBrk="0" fontAlgn="base" hangingPunct="0" indent="-228600" marL="34290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8pPr>
            <a:lvl9pPr eaLnBrk="0" fontAlgn="base" hangingPunct="0" indent="-228600" marL="38862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9pPr>
          </a:lstStyle>
          <a:p>
            <a:pPr>
              <a:lnSpc>
                <a:spcPct val="100000"/>
              </a:lnSpc>
              <a:spcBef>
                <a:spcPct val="0"/>
              </a:spcBef>
              <a:buNone/>
            </a:pPr>
            <a:r>
              <a:rPr altLang="en-US" lang="zh-CN" sz="1800">
                <a:solidFill>
                  <a:schemeClr val="bg1"/>
                </a:solidFill>
                <a:latin charset="-122" panose="020b0503020204020204" pitchFamily="34" typeface="微软雅黑"/>
              </a:rPr>
              <a:t>此处输入文本此处输入文本此处输入文本此处输入文本此处输入文本此处输入文本此处输入文本此处输入文本此处输入文本此处输入文本此处输入文本此处输入文本</a:t>
            </a:r>
          </a:p>
        </p:txBody>
      </p:sp>
      <p:sp>
        <p:nvSpPr>
          <p:cNvPr id="19" name="文本框 18"/>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21" name="文本框 18"/>
          <p:cNvSpPr>
            <a:spLocks noChangeArrowheads="1"/>
          </p:cNvSpPr>
          <p:nvPr/>
        </p:nvSpPr>
        <p:spPr bwMode="auto">
          <a:xfrm>
            <a:off x="7615300" y="3312567"/>
            <a:ext cx="3068638" cy="1737360"/>
          </a:xfrm>
          <a:prstGeom prst="rect">
            <a:avLst/>
          </a:prstGeom>
          <a:noFill/>
          <a:ln>
            <a:noFill/>
          </a:ln>
        </p:spPr>
        <p:txBody>
          <a:bodyPr>
            <a:spAutoFit/>
          </a:bodyPr>
          <a:lstStyle>
            <a:lvl1pPr>
              <a:lnSpc>
                <a:spcPct val="90000"/>
              </a:lnSpc>
              <a:spcBef>
                <a:spcPts val="1000"/>
              </a:spcBef>
              <a:buFont charset="0" panose="020b0604020202020204" pitchFamily="34" typeface="Arial"/>
              <a:buChar char="•"/>
              <a:defRPr sz="2800">
                <a:solidFill>
                  <a:schemeClr val="tx1"/>
                </a:solidFill>
                <a:latin charset="0" panose="020f0502020204030204" pitchFamily="34" typeface="Calibri"/>
                <a:ea charset="-122" panose="020b0503020204020204" pitchFamily="34" typeface="微软雅黑"/>
                <a:sym charset="0" panose="020f0502020204030204" pitchFamily="34" typeface="Calibri"/>
              </a:defRPr>
            </a:lvl1pPr>
            <a:lvl2pPr indent="-285750" marL="742950">
              <a:lnSpc>
                <a:spcPct val="90000"/>
              </a:lnSpc>
              <a:spcBef>
                <a:spcPts val="500"/>
              </a:spcBef>
              <a:buFont charset="0" panose="020b0604020202020204" pitchFamily="34" typeface="Arial"/>
              <a:buChar char="•"/>
              <a:defRPr sz="2400">
                <a:solidFill>
                  <a:schemeClr val="tx1"/>
                </a:solidFill>
                <a:latin charset="0" panose="020f0502020204030204" pitchFamily="34" typeface="Calibri"/>
                <a:ea charset="-122" panose="020b0503020204020204" pitchFamily="34" typeface="微软雅黑"/>
                <a:sym charset="0" panose="020f0502020204030204" pitchFamily="34" typeface="Calibri"/>
              </a:defRPr>
            </a:lvl2pPr>
            <a:lvl3pPr indent="-228600" marL="1143000">
              <a:lnSpc>
                <a:spcPct val="90000"/>
              </a:lnSpc>
              <a:spcBef>
                <a:spcPts val="500"/>
              </a:spcBef>
              <a:buFont charset="0" panose="020b0604020202020204" pitchFamily="34" typeface="Arial"/>
              <a:buChar char="•"/>
              <a:defRPr sz="2000">
                <a:solidFill>
                  <a:schemeClr val="tx1"/>
                </a:solidFill>
                <a:latin charset="0" panose="020f0502020204030204" pitchFamily="34" typeface="Calibri"/>
                <a:ea charset="-122" panose="020b0503020204020204" pitchFamily="34" typeface="微软雅黑"/>
                <a:sym charset="0" panose="020f0502020204030204" pitchFamily="34" typeface="Calibri"/>
              </a:defRPr>
            </a:lvl3pPr>
            <a:lvl4pPr indent="-228600" marL="16002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4pPr>
            <a:lvl5pPr indent="-228600" marL="2057400">
              <a:lnSpc>
                <a:spcPct val="90000"/>
              </a:lnSpc>
              <a:spcBef>
                <a:spcPts val="500"/>
              </a:spcBef>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5pPr>
            <a:lvl6pPr eaLnBrk="0" fontAlgn="base" hangingPunct="0" indent="-228600" marL="25146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6pPr>
            <a:lvl7pPr eaLnBrk="0" fontAlgn="base" hangingPunct="0" indent="-228600" marL="29718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7pPr>
            <a:lvl8pPr eaLnBrk="0" fontAlgn="base" hangingPunct="0" indent="-228600" marL="34290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8pPr>
            <a:lvl9pPr eaLnBrk="0" fontAlgn="base" hangingPunct="0" indent="-228600" marL="3886200">
              <a:lnSpc>
                <a:spcPct val="90000"/>
              </a:lnSpc>
              <a:spcBef>
                <a:spcPts val="500"/>
              </a:spcBef>
              <a:spcAft>
                <a:spcPct val="0"/>
              </a:spcAft>
              <a:buFont charset="0" panose="020b0604020202020204" pitchFamily="34" typeface="Arial"/>
              <a:buChar char="•"/>
              <a:defRPr>
                <a:solidFill>
                  <a:schemeClr val="tx1"/>
                </a:solidFill>
                <a:latin charset="0" panose="020f0502020204030204" pitchFamily="34" typeface="Calibri"/>
                <a:ea charset="-122" panose="020b0503020204020204" pitchFamily="34" typeface="微软雅黑"/>
                <a:sym charset="0" panose="020f0502020204030204" pitchFamily="34" typeface="Calibri"/>
              </a:defRPr>
            </a:lvl9pPr>
          </a:lstStyle>
          <a:p>
            <a:pPr>
              <a:lnSpc>
                <a:spcPct val="100000"/>
              </a:lnSpc>
              <a:spcBef>
                <a:spcPct val="0"/>
              </a:spcBef>
              <a:buNone/>
            </a:pPr>
            <a:r>
              <a:rPr altLang="en-US" lang="zh-CN" sz="1800">
                <a:solidFill>
                  <a:schemeClr val="bg1"/>
                </a:solidFill>
                <a:latin charset="-122" panose="020b0503020204020204" pitchFamily="34" typeface="微软雅黑"/>
              </a:rPr>
              <a:t>此处输入文本此处输入文本此处输入文本此处输入文本此处输入文本此处输入文本此处输入文本此处输入文本此处输入文本此处输入文本此处输入文本此处输入文本</a:t>
            </a:r>
          </a:p>
        </p:txBody>
      </p:sp>
      <p:sp>
        <p:nvSpPr>
          <p:cNvPr id="4" name="文本框 3"/>
          <p:cNvSpPr txBox="1"/>
          <p:nvPr/>
        </p:nvSpPr>
        <p:spPr>
          <a:xfrm>
            <a:off x="5622475" y="2112764"/>
            <a:ext cx="640080" cy="365760"/>
          </a:xfrm>
          <a:prstGeom prst="rect">
            <a:avLst/>
          </a:prstGeom>
          <a:noFill/>
        </p:spPr>
        <p:txBody>
          <a:bodyPr rtlCol="0" wrap="none">
            <a:spAutoFit/>
          </a:bodyPr>
          <a:lstStyle/>
          <a:p>
            <a:r>
              <a:rPr altLang="en-US" lang="zh-CN" smtClean="0">
                <a:solidFill>
                  <a:schemeClr val="bg1"/>
                </a:solidFill>
                <a:latin charset="-122" panose="020b0503020204020204" pitchFamily="34" typeface="微软雅黑"/>
                <a:ea charset="-122" panose="020b0503020204020204" pitchFamily="34" typeface="微软雅黑"/>
              </a:rPr>
              <a:t>文字</a:t>
            </a:r>
          </a:p>
        </p:txBody>
      </p:sp>
      <p:sp>
        <p:nvSpPr>
          <p:cNvPr id="22" name="文本框 21"/>
          <p:cNvSpPr txBox="1"/>
          <p:nvPr/>
        </p:nvSpPr>
        <p:spPr>
          <a:xfrm>
            <a:off x="5622475" y="3656131"/>
            <a:ext cx="640080" cy="365760"/>
          </a:xfrm>
          <a:prstGeom prst="rect">
            <a:avLst/>
          </a:prstGeom>
          <a:noFill/>
        </p:spPr>
        <p:txBody>
          <a:bodyPr rtlCol="0" wrap="none">
            <a:spAutoFit/>
          </a:bodyPr>
          <a:lstStyle/>
          <a:p>
            <a:r>
              <a:rPr altLang="en-US" lang="zh-CN" smtClean="0">
                <a:solidFill>
                  <a:schemeClr val="bg1"/>
                </a:solidFill>
                <a:latin charset="-122" panose="020b0503020204020204" pitchFamily="34" typeface="微软雅黑"/>
                <a:ea charset="-122" panose="020b0503020204020204" pitchFamily="34" typeface="微软雅黑"/>
              </a:rPr>
              <a:t>文字</a:t>
            </a:r>
          </a:p>
        </p:txBody>
      </p:sp>
      <p:sp>
        <p:nvSpPr>
          <p:cNvPr id="23" name="文本框 22"/>
          <p:cNvSpPr txBox="1"/>
          <p:nvPr/>
        </p:nvSpPr>
        <p:spPr>
          <a:xfrm>
            <a:off x="5611045" y="5228629"/>
            <a:ext cx="640080" cy="365760"/>
          </a:xfrm>
          <a:prstGeom prst="rect">
            <a:avLst/>
          </a:prstGeom>
          <a:noFill/>
        </p:spPr>
        <p:txBody>
          <a:bodyPr rtlCol="0" wrap="none">
            <a:spAutoFit/>
          </a:bodyPr>
          <a:lstStyle/>
          <a:p>
            <a:r>
              <a:rPr altLang="en-US" lang="zh-CN" smtClean="0">
                <a:solidFill>
                  <a:schemeClr val="bg1"/>
                </a:solidFill>
                <a:latin charset="-122" panose="020b0503020204020204" pitchFamily="34" typeface="微软雅黑"/>
                <a:ea charset="-122" panose="020b0503020204020204" pitchFamily="34" typeface="微软雅黑"/>
              </a:rPr>
              <a:t>文字</a:t>
            </a:r>
          </a:p>
        </p:txBody>
      </p:sp>
    </p:spTree>
    <p:extLst>
      <p:ext uri="{BB962C8B-B14F-4D97-AF65-F5344CB8AC3E}">
        <p14:creationId val="2238604774"/>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5" name="灯片编号占位符 4"/>
          <p:cNvSpPr>
            <a:spLocks noGrp="1"/>
          </p:cNvSpPr>
          <p:nvPr>
            <p:ph idx="12" sz="quarter" type="sldNum"/>
          </p:nvPr>
        </p:nvSpPr>
        <p:spPr/>
        <p:txBody>
          <a:bodyPr/>
          <a:lstStyle/>
          <a:p>
            <a:fld id="{F26D37F7-6B93-46CC-A9CA-A010C538A051}" type="slidenum">
              <a:rPr altLang="en-US" lang="zh-CN" smtClean="0"/>
              <a:t>22</a:t>
            </a:fld>
          </a:p>
        </p:txBody>
      </p:sp>
      <p:pic>
        <p:nvPicPr>
          <p:cNvPr id="2" name="图片 1"/>
          <p:cNvPicPr>
            <a:picLocks noChangeAspect="1"/>
          </p:cNvPicPr>
          <p:nvPr/>
        </p:nvPicPr>
        <p:blipFill>
          <a:blip r:embed="rId2">
            <a:extLst>
              <a:ext uri="{BEBA8EAE-BF5A-486C-A8C5-ECC9F3942E4B}">
                <a14:imgProps>
                  <a14:imgLayer xmlns:d3p1="http://schemas.openxmlformats.org/officeDocument/2006/relationships" d3p1:embed="">
                    <a14:imgEffect>
                      <a14:sharpenSoften amount="25000"/>
                    </a14:imgEffect>
                    <a14:imgEffect>
                      <a14:saturation sat="66000"/>
                    </a14:imgEffect>
                  </a14:imgLayer>
                </a14:imgProps>
              </a:ext>
              <a:ext uri="{28A0092B-C50C-407E-A947-70E740481C1C}">
                <a14:useLocalDpi/>
              </a:ext>
            </a:extLst>
          </a:blip>
          <a:stretch>
            <a:fillRect/>
          </a:stretch>
        </p:blipFill>
        <p:spPr>
          <a:xfrm>
            <a:off x="5999586" y="1531620"/>
            <a:ext cx="6192414" cy="4136533"/>
          </a:xfrm>
          <a:prstGeom prst="rect">
            <a:avLst/>
          </a:prstGeom>
        </p:spPr>
      </p:pic>
      <p:sp>
        <p:nvSpPr>
          <p:cNvPr id="6" name="文本框 5"/>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8" name="矩形 7"/>
          <p:cNvSpPr/>
          <p:nvPr/>
        </p:nvSpPr>
        <p:spPr>
          <a:xfrm>
            <a:off x="1048512" y="1531620"/>
            <a:ext cx="4300728" cy="3291840"/>
          </a:xfrm>
          <a:prstGeom prst="rect">
            <a:avLst/>
          </a:prstGeom>
        </p:spPr>
        <p:txBody>
          <a:bodyPr wrap="square">
            <a:spAutoFit/>
          </a:bodyPr>
          <a:lstStyle/>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此处输入文本此处输入文本此处输入文本</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9" name="椭圆 8"/>
          <p:cNvSpPr/>
          <p:nvPr/>
        </p:nvSpPr>
        <p:spPr>
          <a:xfrm>
            <a:off x="1203067" y="4361888"/>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椭圆 9"/>
          <p:cNvSpPr/>
          <p:nvPr/>
        </p:nvSpPr>
        <p:spPr>
          <a:xfrm>
            <a:off x="2755925" y="4361888"/>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椭圆 10"/>
          <p:cNvSpPr/>
          <p:nvPr/>
        </p:nvSpPr>
        <p:spPr>
          <a:xfrm>
            <a:off x="4262845" y="4361887"/>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2" name="矩形 11"/>
          <p:cNvSpPr/>
          <p:nvPr/>
        </p:nvSpPr>
        <p:spPr>
          <a:xfrm>
            <a:off x="1048512" y="5300895"/>
            <a:ext cx="1097280" cy="365760"/>
          </a:xfrm>
          <a:prstGeom prst="rect">
            <a:avLst/>
          </a:prstGeom>
        </p:spPr>
        <p:txBody>
          <a:bodyPr wrap="none">
            <a:spAutoFit/>
          </a:bodyPr>
          <a:lstStyle/>
          <a:p>
            <a:r>
              <a:rPr altLang="en-US" lang="zh-CN">
                <a:solidFill>
                  <a:schemeClr val="tx1">
                    <a:lumMod val="65000"/>
                    <a:lumOff val="35000"/>
                  </a:schemeClr>
                </a:solidFill>
                <a:latin charset="-122" panose="020b0503020204020204" pitchFamily="34" typeface="微软雅黑"/>
                <a:ea charset="-122" panose="020b0503020204020204" pitchFamily="34" typeface="微软雅黑"/>
              </a:rPr>
              <a:t>输入文本</a:t>
            </a:r>
          </a:p>
        </p:txBody>
      </p:sp>
      <p:sp>
        <p:nvSpPr>
          <p:cNvPr id="13" name="矩形 12"/>
          <p:cNvSpPr/>
          <p:nvPr/>
        </p:nvSpPr>
        <p:spPr>
          <a:xfrm>
            <a:off x="2572041" y="5300895"/>
            <a:ext cx="1097280" cy="365760"/>
          </a:xfrm>
          <a:prstGeom prst="rect">
            <a:avLst/>
          </a:prstGeom>
        </p:spPr>
        <p:txBody>
          <a:bodyPr wrap="none">
            <a:spAutoFit/>
          </a:bodyPr>
          <a:lstStyle/>
          <a:p>
            <a:r>
              <a:rPr altLang="en-US" lang="zh-CN">
                <a:solidFill>
                  <a:schemeClr val="tx1">
                    <a:lumMod val="65000"/>
                    <a:lumOff val="35000"/>
                  </a:schemeClr>
                </a:solidFill>
                <a:latin charset="-122" panose="020b0503020204020204" pitchFamily="34" typeface="微软雅黑"/>
                <a:ea charset="-122" panose="020b0503020204020204" pitchFamily="34" typeface="微软雅黑"/>
              </a:rPr>
              <a:t>输入文本</a:t>
            </a:r>
          </a:p>
        </p:txBody>
      </p:sp>
      <p:sp>
        <p:nvSpPr>
          <p:cNvPr id="14" name="矩形 13"/>
          <p:cNvSpPr/>
          <p:nvPr/>
        </p:nvSpPr>
        <p:spPr>
          <a:xfrm>
            <a:off x="4122551" y="5296195"/>
            <a:ext cx="1097280" cy="365760"/>
          </a:xfrm>
          <a:prstGeom prst="rect">
            <a:avLst/>
          </a:prstGeom>
        </p:spPr>
        <p:txBody>
          <a:bodyPr wrap="none">
            <a:spAutoFit/>
          </a:bodyPr>
          <a:lstStyle/>
          <a:p>
            <a:r>
              <a:rPr altLang="en-US" lang="zh-CN">
                <a:solidFill>
                  <a:schemeClr val="tx1">
                    <a:lumMod val="65000"/>
                    <a:lumOff val="35000"/>
                  </a:schemeClr>
                </a:solidFill>
                <a:latin charset="-122" panose="020b0503020204020204" pitchFamily="34" typeface="微软雅黑"/>
                <a:ea charset="-122" panose="020b0503020204020204" pitchFamily="34" typeface="微软雅黑"/>
              </a:rPr>
              <a:t>输入文本</a:t>
            </a:r>
          </a:p>
        </p:txBody>
      </p:sp>
      <p:grpSp>
        <p:nvGrpSpPr>
          <p:cNvPr id="21" name="组合 20"/>
          <p:cNvGrpSpPr/>
          <p:nvPr/>
        </p:nvGrpSpPr>
        <p:grpSpPr>
          <a:xfrm>
            <a:off x="1378776" y="4446491"/>
            <a:ext cx="380637" cy="479584"/>
            <a:chOff x="5951469" y="4470684"/>
            <a:chExt cx="204316" cy="228354"/>
          </a:xfrm>
          <a:solidFill>
            <a:schemeClr val="bg1"/>
          </a:solidFill>
        </p:grpSpPr>
        <p:sp>
          <p:nvSpPr>
            <p:cNvPr id="22" name="Freeform 1213"/>
            <p:cNvSpPr/>
            <p:nvPr/>
          </p:nvSpPr>
          <p:spPr bwMode="auto">
            <a:xfrm>
              <a:off x="6035599" y="4470684"/>
              <a:ext cx="16641" cy="85979"/>
            </a:xfrm>
            <a:custGeom>
              <a:gdLst>
                <a:gd fmla="*/ 5 w 15" name="T0"/>
                <a:gd fmla="*/ 37 h 79" name="T1"/>
                <a:gd fmla="*/ 2 w 15" name="T2"/>
                <a:gd fmla="*/ 46 h 79" name="T3"/>
                <a:gd fmla="*/ 4 w 15" name="T4"/>
                <a:gd fmla="*/ 77 h 79" name="T5"/>
                <a:gd fmla="*/ 7 w 15" name="T6"/>
                <a:gd fmla="*/ 79 h 79" name="T7"/>
                <a:gd fmla="*/ 8 w 15" name="T8"/>
                <a:gd fmla="*/ 78 h 79" name="T9"/>
                <a:gd fmla="*/ 10 w 15" name="T10"/>
                <a:gd fmla="*/ 74 h 79" name="T11"/>
                <a:gd fmla="*/ 8 w 15" name="T12"/>
                <a:gd fmla="*/ 47 h 79" name="T13"/>
                <a:gd fmla="*/ 10 w 15" name="T14"/>
                <a:gd fmla="*/ 39 h 79" name="T15"/>
                <a:gd fmla="*/ 13 w 15" name="T16"/>
                <a:gd fmla="*/ 30 h 79" name="T17"/>
                <a:gd fmla="*/ 7 w 15" name="T18"/>
                <a:gd fmla="*/ 2 h 79" name="T19"/>
                <a:gd fmla="*/ 3 w 15" name="T20"/>
                <a:gd fmla="*/ 0 h 79" name="T21"/>
                <a:gd fmla="*/ 2 w 15" name="T22"/>
                <a:gd fmla="*/ 4 h 79" name="T23"/>
                <a:gd fmla="*/ 7 w 15" name="T24"/>
                <a:gd fmla="*/ 29 h 79" name="T25"/>
                <a:gd fmla="*/ 5 w 15" name="T26"/>
                <a:gd fmla="*/ 37 h 79"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79" w="15">
                  <a:moveTo>
                    <a:pt x="5" y="37"/>
                  </a:moveTo>
                  <a:cubicBezTo>
                    <a:pt x="4" y="40"/>
                    <a:pt x="2" y="43"/>
                    <a:pt x="2" y="46"/>
                  </a:cubicBezTo>
                  <a:cubicBezTo>
                    <a:pt x="0" y="56"/>
                    <a:pt x="0" y="69"/>
                    <a:pt x="4" y="77"/>
                  </a:cubicBezTo>
                  <a:cubicBezTo>
                    <a:pt x="5" y="78"/>
                    <a:pt x="6" y="79"/>
                    <a:pt x="7" y="79"/>
                  </a:cubicBezTo>
                  <a:cubicBezTo>
                    <a:pt x="7" y="79"/>
                    <a:pt x="8" y="79"/>
                    <a:pt x="8" y="78"/>
                  </a:cubicBezTo>
                  <a:cubicBezTo>
                    <a:pt x="10" y="78"/>
                    <a:pt x="10" y="76"/>
                    <a:pt x="10" y="74"/>
                  </a:cubicBezTo>
                  <a:cubicBezTo>
                    <a:pt x="6" y="67"/>
                    <a:pt x="6" y="55"/>
                    <a:pt x="8" y="47"/>
                  </a:cubicBezTo>
                  <a:cubicBezTo>
                    <a:pt x="8" y="44"/>
                    <a:pt x="9" y="42"/>
                    <a:pt x="10" y="39"/>
                  </a:cubicBezTo>
                  <a:cubicBezTo>
                    <a:pt x="12" y="37"/>
                    <a:pt x="13" y="34"/>
                    <a:pt x="13" y="30"/>
                  </a:cubicBezTo>
                  <a:cubicBezTo>
                    <a:pt x="15" y="21"/>
                    <a:pt x="11" y="11"/>
                    <a:pt x="7" y="2"/>
                  </a:cubicBezTo>
                  <a:cubicBezTo>
                    <a:pt x="6" y="0"/>
                    <a:pt x="5" y="0"/>
                    <a:pt x="3" y="0"/>
                  </a:cubicBezTo>
                  <a:cubicBezTo>
                    <a:pt x="2" y="1"/>
                    <a:pt x="1" y="3"/>
                    <a:pt x="2" y="4"/>
                  </a:cubicBezTo>
                  <a:cubicBezTo>
                    <a:pt x="4" y="10"/>
                    <a:pt x="9" y="20"/>
                    <a:pt x="7" y="29"/>
                  </a:cubicBezTo>
                  <a:cubicBezTo>
                    <a:pt x="7" y="32"/>
                    <a:pt x="6" y="34"/>
                    <a:pt x="5" y="37"/>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3" name="Freeform 1214"/>
            <p:cNvSpPr/>
            <p:nvPr/>
          </p:nvSpPr>
          <p:spPr bwMode="auto">
            <a:xfrm>
              <a:off x="6010638" y="4501193"/>
              <a:ext cx="18490" cy="55470"/>
            </a:xfrm>
            <a:custGeom>
              <a:gdLst>
                <a:gd fmla="*/ 6 w 17" name="T0"/>
                <a:gd fmla="*/ 27 h 51" name="T1"/>
                <a:gd fmla="*/ 9 w 17" name="T2"/>
                <a:gd fmla="*/ 31 h 51" name="T3"/>
                <a:gd fmla="*/ 7 w 17" name="T4"/>
                <a:gd fmla="*/ 46 h 51" name="T5"/>
                <a:gd fmla="*/ 8 w 17" name="T6"/>
                <a:gd fmla="*/ 50 h 51" name="T7"/>
                <a:gd fmla="*/ 10 w 17" name="T8"/>
                <a:gd fmla="*/ 51 h 51" name="T9"/>
                <a:gd fmla="*/ 12 w 17" name="T10"/>
                <a:gd fmla="*/ 50 h 51" name="T11"/>
                <a:gd fmla="*/ 14 w 17" name="T12"/>
                <a:gd fmla="*/ 29 h 51" name="T13"/>
                <a:gd fmla="*/ 11 w 17" name="T14"/>
                <a:gd fmla="*/ 23 h 51" name="T15"/>
                <a:gd fmla="*/ 8 w 17" name="T16"/>
                <a:gd fmla="*/ 19 h 51" name="T17"/>
                <a:gd fmla="*/ 13 w 17" name="T18"/>
                <a:gd fmla="*/ 5 h 51" name="T19"/>
                <a:gd fmla="*/ 13 w 17" name="T20"/>
                <a:gd fmla="*/ 1 h 51" name="T21"/>
                <a:gd fmla="*/ 9 w 17" name="T22"/>
                <a:gd fmla="*/ 1 h 51" name="T23"/>
                <a:gd fmla="*/ 2 w 17" name="T24"/>
                <a:gd fmla="*/ 21 h 51" name="T25"/>
                <a:gd fmla="*/ 6 w 17" name="T26"/>
                <a:gd fmla="*/ 27 h 51"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51" w="17">
                  <a:moveTo>
                    <a:pt x="6" y="27"/>
                  </a:moveTo>
                  <a:cubicBezTo>
                    <a:pt x="7" y="28"/>
                    <a:pt x="8" y="30"/>
                    <a:pt x="9" y="31"/>
                  </a:cubicBezTo>
                  <a:cubicBezTo>
                    <a:pt x="10" y="36"/>
                    <a:pt x="10" y="43"/>
                    <a:pt x="7" y="46"/>
                  </a:cubicBezTo>
                  <a:cubicBezTo>
                    <a:pt x="6" y="47"/>
                    <a:pt x="6" y="49"/>
                    <a:pt x="8" y="50"/>
                  </a:cubicBezTo>
                  <a:cubicBezTo>
                    <a:pt x="8" y="51"/>
                    <a:pt x="9" y="51"/>
                    <a:pt x="10" y="51"/>
                  </a:cubicBezTo>
                  <a:cubicBezTo>
                    <a:pt x="10" y="51"/>
                    <a:pt x="11" y="51"/>
                    <a:pt x="12" y="50"/>
                  </a:cubicBezTo>
                  <a:cubicBezTo>
                    <a:pt x="17" y="44"/>
                    <a:pt x="16" y="36"/>
                    <a:pt x="14" y="29"/>
                  </a:cubicBezTo>
                  <a:cubicBezTo>
                    <a:pt x="14" y="27"/>
                    <a:pt x="12" y="25"/>
                    <a:pt x="11" y="23"/>
                  </a:cubicBezTo>
                  <a:cubicBezTo>
                    <a:pt x="10" y="22"/>
                    <a:pt x="9" y="20"/>
                    <a:pt x="8" y="19"/>
                  </a:cubicBezTo>
                  <a:cubicBezTo>
                    <a:pt x="7" y="14"/>
                    <a:pt x="11" y="8"/>
                    <a:pt x="13" y="5"/>
                  </a:cubicBezTo>
                  <a:cubicBezTo>
                    <a:pt x="14" y="4"/>
                    <a:pt x="14" y="2"/>
                    <a:pt x="13" y="1"/>
                  </a:cubicBezTo>
                  <a:cubicBezTo>
                    <a:pt x="11" y="0"/>
                    <a:pt x="10" y="0"/>
                    <a:pt x="9" y="1"/>
                  </a:cubicBezTo>
                  <a:cubicBezTo>
                    <a:pt x="6" y="6"/>
                    <a:pt x="0" y="13"/>
                    <a:pt x="2" y="21"/>
                  </a:cubicBezTo>
                  <a:cubicBezTo>
                    <a:pt x="3" y="23"/>
                    <a:pt x="5" y="25"/>
                    <a:pt x="6" y="27"/>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4" name="Freeform 1215"/>
            <p:cNvSpPr/>
            <p:nvPr/>
          </p:nvSpPr>
          <p:spPr bwMode="auto">
            <a:xfrm>
              <a:off x="6055476" y="4498883"/>
              <a:ext cx="20802" cy="57782"/>
            </a:xfrm>
            <a:custGeom>
              <a:gdLst>
                <a:gd fmla="*/ 7 w 19" name="T0"/>
                <a:gd fmla="*/ 28 h 53" name="T1"/>
                <a:gd fmla="*/ 11 w 19" name="T2"/>
                <a:gd fmla="*/ 33 h 53" name="T3"/>
                <a:gd fmla="*/ 9 w 19" name="T4"/>
                <a:gd fmla="*/ 48 h 53" name="T5"/>
                <a:gd fmla="*/ 8 w 19" name="T6"/>
                <a:gd fmla="*/ 52 h 53" name="T7"/>
                <a:gd fmla="*/ 11 w 19" name="T8"/>
                <a:gd fmla="*/ 53 h 53" name="T9"/>
                <a:gd fmla="*/ 13 w 19" name="T10"/>
                <a:gd fmla="*/ 52 h 53" name="T11"/>
                <a:gd fmla="*/ 16 w 19" name="T12"/>
                <a:gd fmla="*/ 30 h 53" name="T13"/>
                <a:gd fmla="*/ 12 w 19" name="T14"/>
                <a:gd fmla="*/ 24 h 53" name="T15"/>
                <a:gd fmla="*/ 8 w 19" name="T16"/>
                <a:gd fmla="*/ 20 h 53" name="T17"/>
                <a:gd fmla="*/ 15 w 19" name="T18"/>
                <a:gd fmla="*/ 6 h 53" name="T19"/>
                <a:gd fmla="*/ 15 w 19" name="T20"/>
                <a:gd fmla="*/ 1 h 53" name="T21"/>
                <a:gd fmla="*/ 11 w 19" name="T22"/>
                <a:gd fmla="*/ 2 h 53" name="T23"/>
                <a:gd fmla="*/ 3 w 19" name="T24"/>
                <a:gd fmla="*/ 22 h 53" name="T25"/>
                <a:gd fmla="*/ 7 w 19" name="T26"/>
                <a:gd fmla="*/ 28 h 53"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52" w="19">
                  <a:moveTo>
                    <a:pt x="7" y="28"/>
                  </a:moveTo>
                  <a:cubicBezTo>
                    <a:pt x="9" y="30"/>
                    <a:pt x="10" y="31"/>
                    <a:pt x="11" y="33"/>
                  </a:cubicBezTo>
                  <a:cubicBezTo>
                    <a:pt x="12" y="37"/>
                    <a:pt x="13" y="44"/>
                    <a:pt x="9" y="48"/>
                  </a:cubicBezTo>
                  <a:cubicBezTo>
                    <a:pt x="7" y="49"/>
                    <a:pt x="7" y="51"/>
                    <a:pt x="8" y="52"/>
                  </a:cubicBezTo>
                  <a:cubicBezTo>
                    <a:pt x="9" y="52"/>
                    <a:pt x="10" y="53"/>
                    <a:pt x="11" y="53"/>
                  </a:cubicBezTo>
                  <a:cubicBezTo>
                    <a:pt x="11" y="53"/>
                    <a:pt x="12" y="53"/>
                    <a:pt x="13" y="52"/>
                  </a:cubicBezTo>
                  <a:cubicBezTo>
                    <a:pt x="19" y="46"/>
                    <a:pt x="19" y="37"/>
                    <a:pt x="16" y="30"/>
                  </a:cubicBezTo>
                  <a:cubicBezTo>
                    <a:pt x="15" y="28"/>
                    <a:pt x="13" y="26"/>
                    <a:pt x="12" y="24"/>
                  </a:cubicBezTo>
                  <a:cubicBezTo>
                    <a:pt x="10" y="22"/>
                    <a:pt x="9" y="21"/>
                    <a:pt x="8" y="20"/>
                  </a:cubicBezTo>
                  <a:cubicBezTo>
                    <a:pt x="7" y="15"/>
                    <a:pt x="12" y="9"/>
                    <a:pt x="15" y="6"/>
                  </a:cubicBezTo>
                  <a:cubicBezTo>
                    <a:pt x="16" y="5"/>
                    <a:pt x="16" y="3"/>
                    <a:pt x="15" y="1"/>
                  </a:cubicBezTo>
                  <a:cubicBezTo>
                    <a:pt x="14" y="0"/>
                    <a:pt x="12" y="0"/>
                    <a:pt x="11" y="2"/>
                  </a:cubicBezTo>
                  <a:cubicBezTo>
                    <a:pt x="7" y="6"/>
                    <a:pt x="0" y="14"/>
                    <a:pt x="3" y="22"/>
                  </a:cubicBezTo>
                  <a:cubicBezTo>
                    <a:pt x="4" y="24"/>
                    <a:pt x="5" y="26"/>
                    <a:pt x="7" y="28"/>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5" name="Freeform 1216"/>
            <p:cNvSpPr>
              <a:spLocks noEditPoints="1"/>
            </p:cNvSpPr>
            <p:nvPr/>
          </p:nvSpPr>
          <p:spPr bwMode="auto">
            <a:xfrm>
              <a:off x="6070731" y="4577465"/>
              <a:ext cx="85054" cy="77659"/>
            </a:xfrm>
            <a:custGeom>
              <a:gdLst>
                <a:gd fmla="*/ 39 w 78" name="T0"/>
                <a:gd fmla="*/ 71 h 71" name="T1"/>
                <a:gd fmla="*/ 0 w 78" name="T2"/>
                <a:gd fmla="*/ 36 h 71" name="T3"/>
                <a:gd fmla="*/ 39 w 78" name="T4"/>
                <a:gd fmla="*/ 0 h 71" name="T5"/>
                <a:gd fmla="*/ 78 w 78" name="T6"/>
                <a:gd fmla="*/ 36 h 71" name="T7"/>
                <a:gd fmla="*/ 39 w 78" name="T8"/>
                <a:gd fmla="*/ 71 h 71" name="T9"/>
                <a:gd fmla="*/ 39 w 78" name="T10"/>
                <a:gd fmla="*/ 12 h 71" name="T11"/>
                <a:gd fmla="*/ 11 w 78" name="T12"/>
                <a:gd fmla="*/ 36 h 71" name="T13"/>
                <a:gd fmla="*/ 39 w 78" name="T14"/>
                <a:gd fmla="*/ 60 h 71" name="T15"/>
                <a:gd fmla="*/ 67 w 78" name="T16"/>
                <a:gd fmla="*/ 36 h 71" name="T17"/>
                <a:gd fmla="*/ 39 w 78" name="T18"/>
                <a:gd fmla="*/ 12 h 71"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71" w="78">
                  <a:moveTo>
                    <a:pt x="39" y="71"/>
                  </a:moveTo>
                  <a:cubicBezTo>
                    <a:pt x="17" y="71"/>
                    <a:pt x="0" y="55"/>
                    <a:pt x="0" y="36"/>
                  </a:cubicBezTo>
                  <a:cubicBezTo>
                    <a:pt x="0" y="16"/>
                    <a:pt x="17" y="0"/>
                    <a:pt x="39" y="0"/>
                  </a:cubicBezTo>
                  <a:cubicBezTo>
                    <a:pt x="61" y="0"/>
                    <a:pt x="78" y="16"/>
                    <a:pt x="78" y="36"/>
                  </a:cubicBezTo>
                  <a:cubicBezTo>
                    <a:pt x="78" y="55"/>
                    <a:pt x="61" y="71"/>
                    <a:pt x="39" y="71"/>
                  </a:cubicBezTo>
                  <a:close/>
                  <a:moveTo>
                    <a:pt x="39" y="12"/>
                  </a:moveTo>
                  <a:cubicBezTo>
                    <a:pt x="23" y="12"/>
                    <a:pt x="11" y="22"/>
                    <a:pt x="11" y="36"/>
                  </a:cubicBezTo>
                  <a:cubicBezTo>
                    <a:pt x="11" y="49"/>
                    <a:pt x="23" y="60"/>
                    <a:pt x="39" y="60"/>
                  </a:cubicBezTo>
                  <a:cubicBezTo>
                    <a:pt x="54" y="60"/>
                    <a:pt x="67" y="49"/>
                    <a:pt x="67" y="36"/>
                  </a:cubicBezTo>
                  <a:cubicBezTo>
                    <a:pt x="67" y="22"/>
                    <a:pt x="54" y="12"/>
                    <a:pt x="39" y="12"/>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6" name="Freeform 1217"/>
            <p:cNvSpPr/>
            <p:nvPr/>
          </p:nvSpPr>
          <p:spPr bwMode="auto">
            <a:xfrm>
              <a:off x="5972271" y="4568683"/>
              <a:ext cx="145610" cy="97535"/>
            </a:xfrm>
            <a:custGeom>
              <a:gdLst>
                <a:gd fmla="*/ 18 w 133" name="T0"/>
                <a:gd fmla="*/ 89 h 89" name="T1"/>
                <a:gd fmla="*/ 115 w 133" name="T2"/>
                <a:gd fmla="*/ 89 h 89" name="T3"/>
                <a:gd fmla="*/ 133 w 133" name="T4"/>
                <a:gd fmla="*/ 54 h 89" name="T5"/>
                <a:gd fmla="*/ 133 w 133" name="T6"/>
                <a:gd fmla="*/ 0 h 89" name="T7"/>
                <a:gd fmla="*/ 0 w 133" name="T8"/>
                <a:gd fmla="*/ 0 h 89" name="T9"/>
                <a:gd fmla="*/ 0 w 133" name="T10"/>
                <a:gd fmla="*/ 54 h 89" name="T11"/>
                <a:gd fmla="*/ 18 w 133" name="T12"/>
                <a:gd fmla="*/ 89 h 89" name="T13"/>
              </a:gdLst>
              <a:cxnLst>
                <a:cxn ang="0">
                  <a:pos x="T0" y="T1"/>
                </a:cxn>
                <a:cxn ang="0">
                  <a:pos x="T2" y="T3"/>
                </a:cxn>
                <a:cxn ang="0">
                  <a:pos x="T4" y="T5"/>
                </a:cxn>
                <a:cxn ang="0">
                  <a:pos x="T6" y="T7"/>
                </a:cxn>
                <a:cxn ang="0">
                  <a:pos x="T8" y="T9"/>
                </a:cxn>
                <a:cxn ang="0">
                  <a:pos x="T10" y="T11"/>
                </a:cxn>
                <a:cxn ang="0">
                  <a:pos x="T12" y="T13"/>
                </a:cxn>
              </a:cxnLst>
              <a:rect b="b" l="0" r="r" t="0"/>
              <a:pathLst>
                <a:path h="89" w="133">
                  <a:moveTo>
                    <a:pt x="18" y="89"/>
                  </a:moveTo>
                  <a:cubicBezTo>
                    <a:pt x="115" y="89"/>
                    <a:pt x="115" y="89"/>
                    <a:pt x="115" y="89"/>
                  </a:cubicBezTo>
                  <a:cubicBezTo>
                    <a:pt x="126" y="81"/>
                    <a:pt x="133" y="69"/>
                    <a:pt x="133" y="54"/>
                  </a:cubicBezTo>
                  <a:cubicBezTo>
                    <a:pt x="133" y="0"/>
                    <a:pt x="133" y="0"/>
                    <a:pt x="133" y="0"/>
                  </a:cubicBezTo>
                  <a:cubicBezTo>
                    <a:pt x="0" y="0"/>
                    <a:pt x="0" y="0"/>
                    <a:pt x="0" y="0"/>
                  </a:cubicBezTo>
                  <a:cubicBezTo>
                    <a:pt x="0" y="54"/>
                    <a:pt x="0" y="54"/>
                    <a:pt x="0" y="54"/>
                  </a:cubicBezTo>
                  <a:cubicBezTo>
                    <a:pt x="0" y="69"/>
                    <a:pt x="7" y="81"/>
                    <a:pt x="18" y="89"/>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7" name="Freeform 1218"/>
            <p:cNvSpPr/>
            <p:nvPr/>
          </p:nvSpPr>
          <p:spPr bwMode="auto">
            <a:xfrm>
              <a:off x="5951469" y="4667142"/>
              <a:ext cx="187212" cy="31896"/>
            </a:xfrm>
            <a:custGeom>
              <a:gdLst>
                <a:gd fmla="*/ 171 w 171" name="T0"/>
                <a:gd fmla="*/ 0 h 29" name="T1"/>
                <a:gd fmla="*/ 86 w 171" name="T2"/>
                <a:gd fmla="*/ 29 h 29" name="T3"/>
                <a:gd fmla="*/ 0 w 171" name="T4"/>
                <a:gd fmla="*/ 0 h 29" name="T5"/>
                <a:gd fmla="*/ 171 w 171" name="T6"/>
                <a:gd fmla="*/ 0 h 29" name="T7"/>
              </a:gdLst>
              <a:cxnLst>
                <a:cxn ang="0">
                  <a:pos x="T0" y="T1"/>
                </a:cxn>
                <a:cxn ang="0">
                  <a:pos x="T2" y="T3"/>
                </a:cxn>
                <a:cxn ang="0">
                  <a:pos x="T4" y="T5"/>
                </a:cxn>
                <a:cxn ang="0">
                  <a:pos x="T6" y="T7"/>
                </a:cxn>
              </a:cxnLst>
              <a:rect b="b" l="0" r="r" t="0"/>
              <a:pathLst>
                <a:path h="28" w="171">
                  <a:moveTo>
                    <a:pt x="171" y="0"/>
                  </a:moveTo>
                  <a:cubicBezTo>
                    <a:pt x="158" y="17"/>
                    <a:pt x="124" y="29"/>
                    <a:pt x="86" y="29"/>
                  </a:cubicBezTo>
                  <a:cubicBezTo>
                    <a:pt x="47" y="29"/>
                    <a:pt x="14" y="17"/>
                    <a:pt x="0" y="0"/>
                  </a:cubicBezTo>
                  <a:cubicBezTo>
                    <a:pt x="171" y="0"/>
                    <a:pt x="171" y="0"/>
                    <a:pt x="171" y="0"/>
                  </a:cubicBezTo>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grpSp>
        <p:nvGrpSpPr>
          <p:cNvPr id="28" name="组合 27"/>
          <p:cNvGrpSpPr/>
          <p:nvPr/>
        </p:nvGrpSpPr>
        <p:grpSpPr>
          <a:xfrm>
            <a:off x="2960230" y="4513336"/>
            <a:ext cx="354470" cy="424423"/>
            <a:chOff x="5586753" y="1161422"/>
            <a:chExt cx="189062" cy="271804"/>
          </a:xfrm>
          <a:solidFill>
            <a:schemeClr val="bg1"/>
          </a:solidFill>
        </p:grpSpPr>
        <p:sp>
          <p:nvSpPr>
            <p:cNvPr id="29" name="Freeform 473"/>
            <p:cNvSpPr/>
            <p:nvPr/>
          </p:nvSpPr>
          <p:spPr bwMode="auto">
            <a:xfrm>
              <a:off x="5592299" y="1244165"/>
              <a:ext cx="178891" cy="189061"/>
            </a:xfrm>
            <a:custGeom>
              <a:gdLst>
                <a:gd fmla="*/ 125 w 164" name="T0"/>
                <a:gd fmla="*/ 12 h 173" name="T1"/>
                <a:gd fmla="*/ 125 w 164" name="T2"/>
                <a:gd fmla="*/ 12 h 173" name="T3"/>
                <a:gd fmla="*/ 120 w 164" name="T4"/>
                <a:gd fmla="*/ 9 h 173" name="T5"/>
                <a:gd fmla="*/ 118 w 164" name="T6"/>
                <a:gd fmla="*/ 8 h 173" name="T7"/>
                <a:gd fmla="*/ 114 w 164" name="T8"/>
                <a:gd fmla="*/ 6 h 173" name="T9"/>
                <a:gd fmla="*/ 111 w 164" name="T10"/>
                <a:gd fmla="*/ 5 h 173" name="T11"/>
                <a:gd fmla="*/ 107 w 164" name="T12"/>
                <a:gd fmla="*/ 4 h 173" name="T13"/>
                <a:gd fmla="*/ 105 w 164" name="T14"/>
                <a:gd fmla="*/ 3 h 173" name="T15"/>
                <a:gd fmla="*/ 98 w 164" name="T16"/>
                <a:gd fmla="*/ 2 h 173" name="T17"/>
                <a:gd fmla="*/ 96 w 164" name="T18"/>
                <a:gd fmla="*/ 1 h 173" name="T19"/>
                <a:gd fmla="*/ 91 w 164" name="T20"/>
                <a:gd fmla="*/ 1 h 173" name="T21"/>
                <a:gd fmla="*/ 89 w 164" name="T22"/>
                <a:gd fmla="*/ 0 h 173" name="T23"/>
                <a:gd fmla="*/ 82 w 164" name="T24"/>
                <a:gd fmla="*/ 0 h 173" name="T25"/>
                <a:gd fmla="*/ 82 w 164" name="T26"/>
                <a:gd fmla="*/ 0 h 173" name="T27"/>
                <a:gd fmla="*/ 82 w 164" name="T28"/>
                <a:gd fmla="*/ 0 h 173" name="T29"/>
                <a:gd fmla="*/ 82 w 164" name="T30"/>
                <a:gd fmla="*/ 0 h 173" name="T31"/>
                <a:gd fmla="*/ 82 w 164" name="T32"/>
                <a:gd fmla="*/ 0 h 173" name="T33"/>
                <a:gd fmla="*/ 82 w 164" name="T34"/>
                <a:gd fmla="*/ 0 h 173" name="T35"/>
                <a:gd fmla="*/ 74 w 164" name="T36"/>
                <a:gd fmla="*/ 0 h 173" name="T37"/>
                <a:gd fmla="*/ 72 w 164" name="T38"/>
                <a:gd fmla="*/ 0 h 173" name="T39"/>
                <a:gd fmla="*/ 67 w 164" name="T40"/>
                <a:gd fmla="*/ 1 h 173" name="T41"/>
                <a:gd fmla="*/ 65 w 164" name="T42"/>
                <a:gd fmla="*/ 1 h 173" name="T43"/>
                <a:gd fmla="*/ 58 w 164" name="T44"/>
                <a:gd fmla="*/ 3 h 173" name="T45"/>
                <a:gd fmla="*/ 57 w 164" name="T46"/>
                <a:gd fmla="*/ 4 h 173" name="T47"/>
                <a:gd fmla="*/ 52 w 164" name="T48"/>
                <a:gd fmla="*/ 5 h 173" name="T49"/>
                <a:gd fmla="*/ 50 w 164" name="T50"/>
                <a:gd fmla="*/ 6 h 173" name="T51"/>
                <a:gd fmla="*/ 45 w 164" name="T52"/>
                <a:gd fmla="*/ 8 h 173" name="T53"/>
                <a:gd fmla="*/ 43 w 164" name="T54"/>
                <a:gd fmla="*/ 9 h 173" name="T55"/>
                <a:gd fmla="*/ 38 w 164" name="T56"/>
                <a:gd fmla="*/ 12 h 173" name="T57"/>
                <a:gd fmla="*/ 38 w 164" name="T58"/>
                <a:gd fmla="*/ 12 h 173" name="T59"/>
                <a:gd fmla="*/ 0 w 164" name="T60"/>
                <a:gd fmla="*/ 76 h 173" name="T61"/>
                <a:gd fmla="*/ 18 w 164" name="T62"/>
                <a:gd fmla="*/ 67 h 173" name="T63"/>
                <a:gd fmla="*/ 39 w 164" name="T64"/>
                <a:gd fmla="*/ 79 h 173" name="T65"/>
                <a:gd fmla="*/ 39 w 164" name="T66"/>
                <a:gd fmla="*/ 80 h 173" name="T67"/>
                <a:gd fmla="*/ 60 w 164" name="T68"/>
                <a:gd fmla="*/ 67 h 173" name="T69"/>
                <a:gd fmla="*/ 78 w 164" name="T70"/>
                <a:gd fmla="*/ 74 h 173" name="T71"/>
                <a:gd fmla="*/ 78 w 164" name="T72"/>
                <a:gd fmla="*/ 158 h 173" name="T73"/>
                <a:gd fmla="*/ 70 w 164" name="T74"/>
                <a:gd fmla="*/ 166 h 173" name="T75"/>
                <a:gd fmla="*/ 66 w 164" name="T76"/>
                <a:gd fmla="*/ 170 h 173" name="T77"/>
                <a:gd fmla="*/ 70 w 164" name="T78"/>
                <a:gd fmla="*/ 173 h 173" name="T79"/>
                <a:gd fmla="*/ 85 w 164" name="T80"/>
                <a:gd fmla="*/ 158 h 173" name="T81"/>
                <a:gd fmla="*/ 85 w 164" name="T82"/>
                <a:gd fmla="*/ 74 h 173" name="T83"/>
                <a:gd fmla="*/ 103 w 164" name="T84"/>
                <a:gd fmla="*/ 68 h 173" name="T85"/>
                <a:gd fmla="*/ 124 w 164" name="T86"/>
                <a:gd fmla="*/ 80 h 173" name="T87"/>
                <a:gd fmla="*/ 124 w 164" name="T88"/>
                <a:gd fmla="*/ 80 h 173" name="T89"/>
                <a:gd fmla="*/ 145 w 164" name="T90"/>
                <a:gd fmla="*/ 68 h 173" name="T91"/>
                <a:gd fmla="*/ 164 w 164" name="T92"/>
                <a:gd fmla="*/ 76 h 173" name="T93"/>
                <a:gd fmla="*/ 125 w 164" name="T94"/>
                <a:gd fmla="*/ 12 h 173"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173" w="164">
                  <a:moveTo>
                    <a:pt x="125" y="12"/>
                  </a:moveTo>
                  <a:cubicBezTo>
                    <a:pt x="125" y="12"/>
                    <a:pt x="125" y="12"/>
                    <a:pt x="125" y="12"/>
                  </a:cubicBezTo>
                  <a:cubicBezTo>
                    <a:pt x="123" y="11"/>
                    <a:pt x="122" y="10"/>
                    <a:pt x="120" y="9"/>
                  </a:cubicBezTo>
                  <a:cubicBezTo>
                    <a:pt x="119" y="9"/>
                    <a:pt x="118" y="9"/>
                    <a:pt x="118" y="8"/>
                  </a:cubicBezTo>
                  <a:cubicBezTo>
                    <a:pt x="116" y="8"/>
                    <a:pt x="115" y="7"/>
                    <a:pt x="114" y="6"/>
                  </a:cubicBezTo>
                  <a:cubicBezTo>
                    <a:pt x="113" y="6"/>
                    <a:pt x="112" y="6"/>
                    <a:pt x="111" y="5"/>
                  </a:cubicBezTo>
                  <a:cubicBezTo>
                    <a:pt x="110" y="5"/>
                    <a:pt x="108" y="4"/>
                    <a:pt x="107" y="4"/>
                  </a:cubicBezTo>
                  <a:cubicBezTo>
                    <a:pt x="106" y="4"/>
                    <a:pt x="105" y="3"/>
                    <a:pt x="105" y="3"/>
                  </a:cubicBezTo>
                  <a:cubicBezTo>
                    <a:pt x="103" y="3"/>
                    <a:pt x="100" y="2"/>
                    <a:pt x="98" y="2"/>
                  </a:cubicBezTo>
                  <a:cubicBezTo>
                    <a:pt x="97" y="1"/>
                    <a:pt x="97" y="1"/>
                    <a:pt x="96" y="1"/>
                  </a:cubicBezTo>
                  <a:cubicBezTo>
                    <a:pt x="94" y="1"/>
                    <a:pt x="93" y="1"/>
                    <a:pt x="91" y="1"/>
                  </a:cubicBezTo>
                  <a:cubicBezTo>
                    <a:pt x="90" y="0"/>
                    <a:pt x="89" y="0"/>
                    <a:pt x="89" y="0"/>
                  </a:cubicBezTo>
                  <a:cubicBezTo>
                    <a:pt x="86" y="0"/>
                    <a:pt x="84" y="0"/>
                    <a:pt x="82" y="0"/>
                  </a:cubicBezTo>
                  <a:cubicBezTo>
                    <a:pt x="82" y="0"/>
                    <a:pt x="82" y="0"/>
                    <a:pt x="82" y="0"/>
                  </a:cubicBezTo>
                  <a:cubicBezTo>
                    <a:pt x="82" y="0"/>
                    <a:pt x="82" y="0"/>
                    <a:pt x="82" y="0"/>
                  </a:cubicBezTo>
                  <a:cubicBezTo>
                    <a:pt x="82" y="0"/>
                    <a:pt x="82" y="0"/>
                    <a:pt x="82" y="0"/>
                  </a:cubicBezTo>
                  <a:cubicBezTo>
                    <a:pt x="82" y="0"/>
                    <a:pt x="82" y="0"/>
                    <a:pt x="82" y="0"/>
                  </a:cubicBezTo>
                  <a:cubicBezTo>
                    <a:pt x="82" y="0"/>
                    <a:pt x="82" y="0"/>
                    <a:pt x="82" y="0"/>
                  </a:cubicBezTo>
                  <a:cubicBezTo>
                    <a:pt x="79" y="0"/>
                    <a:pt x="77" y="0"/>
                    <a:pt x="74" y="0"/>
                  </a:cubicBezTo>
                  <a:cubicBezTo>
                    <a:pt x="74" y="0"/>
                    <a:pt x="73" y="0"/>
                    <a:pt x="72" y="0"/>
                  </a:cubicBezTo>
                  <a:cubicBezTo>
                    <a:pt x="70" y="0"/>
                    <a:pt x="69" y="1"/>
                    <a:pt x="67" y="1"/>
                  </a:cubicBezTo>
                  <a:cubicBezTo>
                    <a:pt x="66" y="1"/>
                    <a:pt x="66" y="1"/>
                    <a:pt x="65" y="1"/>
                  </a:cubicBezTo>
                  <a:cubicBezTo>
                    <a:pt x="63" y="2"/>
                    <a:pt x="61" y="2"/>
                    <a:pt x="58" y="3"/>
                  </a:cubicBezTo>
                  <a:cubicBezTo>
                    <a:pt x="58" y="3"/>
                    <a:pt x="57" y="3"/>
                    <a:pt x="57" y="4"/>
                  </a:cubicBezTo>
                  <a:cubicBezTo>
                    <a:pt x="55" y="4"/>
                    <a:pt x="53" y="5"/>
                    <a:pt x="52" y="5"/>
                  </a:cubicBezTo>
                  <a:cubicBezTo>
                    <a:pt x="51" y="6"/>
                    <a:pt x="50" y="6"/>
                    <a:pt x="50" y="6"/>
                  </a:cubicBezTo>
                  <a:cubicBezTo>
                    <a:pt x="48" y="7"/>
                    <a:pt x="47" y="7"/>
                    <a:pt x="45" y="8"/>
                  </a:cubicBezTo>
                  <a:cubicBezTo>
                    <a:pt x="45" y="8"/>
                    <a:pt x="44" y="9"/>
                    <a:pt x="43" y="9"/>
                  </a:cubicBezTo>
                  <a:cubicBezTo>
                    <a:pt x="42" y="10"/>
                    <a:pt x="40" y="11"/>
                    <a:pt x="38" y="12"/>
                  </a:cubicBezTo>
                  <a:cubicBezTo>
                    <a:pt x="38" y="12"/>
                    <a:pt x="38" y="12"/>
                    <a:pt x="38" y="12"/>
                  </a:cubicBezTo>
                  <a:cubicBezTo>
                    <a:pt x="16" y="26"/>
                    <a:pt x="1" y="49"/>
                    <a:pt x="0" y="76"/>
                  </a:cubicBezTo>
                  <a:cubicBezTo>
                    <a:pt x="4" y="71"/>
                    <a:pt x="11" y="67"/>
                    <a:pt x="18" y="67"/>
                  </a:cubicBezTo>
                  <a:cubicBezTo>
                    <a:pt x="27" y="67"/>
                    <a:pt x="35" y="72"/>
                    <a:pt x="39" y="79"/>
                  </a:cubicBezTo>
                  <a:cubicBezTo>
                    <a:pt x="39" y="80"/>
                    <a:pt x="39" y="80"/>
                    <a:pt x="39" y="80"/>
                  </a:cubicBezTo>
                  <a:cubicBezTo>
                    <a:pt x="43" y="72"/>
                    <a:pt x="51" y="67"/>
                    <a:pt x="60" y="67"/>
                  </a:cubicBezTo>
                  <a:cubicBezTo>
                    <a:pt x="66" y="67"/>
                    <a:pt x="73" y="70"/>
                    <a:pt x="78" y="74"/>
                  </a:cubicBezTo>
                  <a:cubicBezTo>
                    <a:pt x="78" y="158"/>
                    <a:pt x="78" y="158"/>
                    <a:pt x="78" y="158"/>
                  </a:cubicBezTo>
                  <a:cubicBezTo>
                    <a:pt x="78" y="162"/>
                    <a:pt x="75" y="166"/>
                    <a:pt x="70" y="166"/>
                  </a:cubicBezTo>
                  <a:cubicBezTo>
                    <a:pt x="68" y="166"/>
                    <a:pt x="66" y="168"/>
                    <a:pt x="66" y="170"/>
                  </a:cubicBezTo>
                  <a:cubicBezTo>
                    <a:pt x="66" y="172"/>
                    <a:pt x="68" y="173"/>
                    <a:pt x="70" y="173"/>
                  </a:cubicBezTo>
                  <a:cubicBezTo>
                    <a:pt x="78" y="173"/>
                    <a:pt x="85" y="167"/>
                    <a:pt x="85" y="158"/>
                  </a:cubicBezTo>
                  <a:cubicBezTo>
                    <a:pt x="85" y="74"/>
                    <a:pt x="85" y="74"/>
                    <a:pt x="85" y="74"/>
                  </a:cubicBezTo>
                  <a:cubicBezTo>
                    <a:pt x="90" y="71"/>
                    <a:pt x="97" y="68"/>
                    <a:pt x="103" y="68"/>
                  </a:cubicBezTo>
                  <a:cubicBezTo>
                    <a:pt x="112" y="68"/>
                    <a:pt x="120" y="73"/>
                    <a:pt x="124" y="80"/>
                  </a:cubicBezTo>
                  <a:cubicBezTo>
                    <a:pt x="124" y="80"/>
                    <a:pt x="124" y="80"/>
                    <a:pt x="124" y="80"/>
                  </a:cubicBezTo>
                  <a:cubicBezTo>
                    <a:pt x="129" y="72"/>
                    <a:pt x="136" y="68"/>
                    <a:pt x="145" y="68"/>
                  </a:cubicBezTo>
                  <a:cubicBezTo>
                    <a:pt x="153" y="68"/>
                    <a:pt x="159" y="71"/>
                    <a:pt x="164" y="76"/>
                  </a:cubicBezTo>
                  <a:cubicBezTo>
                    <a:pt x="162" y="49"/>
                    <a:pt x="147" y="26"/>
                    <a:pt x="125" y="12"/>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0" name="Freeform 474"/>
            <p:cNvSpPr/>
            <p:nvPr/>
          </p:nvSpPr>
          <p:spPr bwMode="auto">
            <a:xfrm>
              <a:off x="5676430" y="1161422"/>
              <a:ext cx="18490" cy="27273"/>
            </a:xfrm>
            <a:custGeom>
              <a:gdLst>
                <a:gd fmla="*/ 8 w 17" name="T0"/>
                <a:gd fmla="*/ 25 h 25" name="T1"/>
                <a:gd fmla="*/ 15 w 17" name="T2"/>
                <a:gd fmla="*/ 23 h 25" name="T3"/>
                <a:gd fmla="*/ 17 w 17" name="T4"/>
                <a:gd fmla="*/ 17 h 25" name="T5"/>
                <a:gd fmla="*/ 10 w 17" name="T6"/>
                <a:gd fmla="*/ 3 h 25" name="T7"/>
                <a:gd fmla="*/ 8 w 17" name="T8"/>
                <a:gd fmla="*/ 0 h 25" name="T9"/>
                <a:gd fmla="*/ 7 w 17" name="T10"/>
                <a:gd fmla="*/ 3 h 25" name="T11"/>
                <a:gd fmla="*/ 0 w 17" name="T12"/>
                <a:gd fmla="*/ 17 h 25" name="T13"/>
                <a:gd fmla="*/ 8 w 17" name="T14"/>
                <a:gd fmla="*/ 25 h 25"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5" w="17">
                  <a:moveTo>
                    <a:pt x="8" y="25"/>
                  </a:moveTo>
                  <a:cubicBezTo>
                    <a:pt x="11" y="25"/>
                    <a:pt x="13" y="25"/>
                    <a:pt x="15" y="23"/>
                  </a:cubicBezTo>
                  <a:cubicBezTo>
                    <a:pt x="16" y="21"/>
                    <a:pt x="17" y="19"/>
                    <a:pt x="17" y="17"/>
                  </a:cubicBezTo>
                  <a:cubicBezTo>
                    <a:pt x="17" y="14"/>
                    <a:pt x="13" y="7"/>
                    <a:pt x="10" y="3"/>
                  </a:cubicBezTo>
                  <a:cubicBezTo>
                    <a:pt x="9" y="2"/>
                    <a:pt x="9" y="1"/>
                    <a:pt x="8" y="0"/>
                  </a:cubicBezTo>
                  <a:cubicBezTo>
                    <a:pt x="8" y="1"/>
                    <a:pt x="7" y="2"/>
                    <a:pt x="7" y="3"/>
                  </a:cubicBezTo>
                  <a:cubicBezTo>
                    <a:pt x="4" y="7"/>
                    <a:pt x="0" y="14"/>
                    <a:pt x="0" y="17"/>
                  </a:cubicBezTo>
                  <a:cubicBezTo>
                    <a:pt x="0" y="22"/>
                    <a:pt x="4" y="25"/>
                    <a:pt x="8" y="25"/>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1" name="Freeform 475"/>
            <p:cNvSpPr/>
            <p:nvPr/>
          </p:nvSpPr>
          <p:spPr bwMode="auto">
            <a:xfrm>
              <a:off x="5694919" y="1204874"/>
              <a:ext cx="18490" cy="28660"/>
            </a:xfrm>
            <a:custGeom>
              <a:gdLst>
                <a:gd fmla="*/ 9 w 17" name="T0"/>
                <a:gd fmla="*/ 26 h 26" name="T1"/>
                <a:gd fmla="*/ 15 w 17" name="T2"/>
                <a:gd fmla="*/ 23 h 26" name="T3"/>
                <a:gd fmla="*/ 17 w 17" name="T4"/>
                <a:gd fmla="*/ 17 h 26" name="T5"/>
                <a:gd fmla="*/ 10 w 17" name="T6"/>
                <a:gd fmla="*/ 3 h 26" name="T7"/>
                <a:gd fmla="*/ 9 w 17" name="T8"/>
                <a:gd fmla="*/ 0 h 26" name="T9"/>
                <a:gd fmla="*/ 7 w 17" name="T10"/>
                <a:gd fmla="*/ 3 h 26" name="T11"/>
                <a:gd fmla="*/ 0 w 17" name="T12"/>
                <a:gd fmla="*/ 17 h 26" name="T13"/>
                <a:gd fmla="*/ 9 w 17" name="T14"/>
                <a:gd fmla="*/ 26 h 2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6" w="17">
                  <a:moveTo>
                    <a:pt x="9" y="26"/>
                  </a:moveTo>
                  <a:cubicBezTo>
                    <a:pt x="11" y="26"/>
                    <a:pt x="13" y="25"/>
                    <a:pt x="15" y="23"/>
                  </a:cubicBezTo>
                  <a:cubicBezTo>
                    <a:pt x="16" y="21"/>
                    <a:pt x="17" y="19"/>
                    <a:pt x="17" y="17"/>
                  </a:cubicBezTo>
                  <a:cubicBezTo>
                    <a:pt x="17" y="14"/>
                    <a:pt x="13" y="7"/>
                    <a:pt x="10" y="3"/>
                  </a:cubicBezTo>
                  <a:cubicBezTo>
                    <a:pt x="10" y="2"/>
                    <a:pt x="9" y="1"/>
                    <a:pt x="9" y="0"/>
                  </a:cubicBezTo>
                  <a:cubicBezTo>
                    <a:pt x="8" y="1"/>
                    <a:pt x="7" y="2"/>
                    <a:pt x="7" y="3"/>
                  </a:cubicBezTo>
                  <a:cubicBezTo>
                    <a:pt x="4" y="7"/>
                    <a:pt x="0" y="14"/>
                    <a:pt x="0" y="17"/>
                  </a:cubicBezTo>
                  <a:cubicBezTo>
                    <a:pt x="0" y="22"/>
                    <a:pt x="4" y="26"/>
                    <a:pt x="9" y="26"/>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2" name="Freeform 476"/>
            <p:cNvSpPr/>
            <p:nvPr/>
          </p:nvSpPr>
          <p:spPr bwMode="auto">
            <a:xfrm>
              <a:off x="5657477" y="1204874"/>
              <a:ext cx="19877" cy="28660"/>
            </a:xfrm>
            <a:custGeom>
              <a:gdLst>
                <a:gd fmla="*/ 9 w 18" name="T0"/>
                <a:gd fmla="*/ 26 h 26" name="T1"/>
                <a:gd fmla="*/ 15 w 18" name="T2"/>
                <a:gd fmla="*/ 23 h 26" name="T3"/>
                <a:gd fmla="*/ 18 w 18" name="T4"/>
                <a:gd fmla="*/ 17 h 26" name="T5"/>
                <a:gd fmla="*/ 11 w 18" name="T6"/>
                <a:gd fmla="*/ 3 h 26" name="T7"/>
                <a:gd fmla="*/ 9 w 18" name="T8"/>
                <a:gd fmla="*/ 0 h 26" name="T9"/>
                <a:gd fmla="*/ 7 w 18" name="T10"/>
                <a:gd fmla="*/ 3 h 26" name="T11"/>
                <a:gd fmla="*/ 0 w 18" name="T12"/>
                <a:gd fmla="*/ 17 h 26" name="T13"/>
                <a:gd fmla="*/ 9 w 18" name="T14"/>
                <a:gd fmla="*/ 26 h 2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6" w="18">
                  <a:moveTo>
                    <a:pt x="9" y="26"/>
                  </a:moveTo>
                  <a:cubicBezTo>
                    <a:pt x="12" y="26"/>
                    <a:pt x="14" y="25"/>
                    <a:pt x="15" y="23"/>
                  </a:cubicBezTo>
                  <a:cubicBezTo>
                    <a:pt x="17" y="21"/>
                    <a:pt x="18" y="19"/>
                    <a:pt x="18" y="17"/>
                  </a:cubicBezTo>
                  <a:cubicBezTo>
                    <a:pt x="18" y="14"/>
                    <a:pt x="14" y="7"/>
                    <a:pt x="11" y="3"/>
                  </a:cubicBezTo>
                  <a:cubicBezTo>
                    <a:pt x="10" y="2"/>
                    <a:pt x="10" y="1"/>
                    <a:pt x="9" y="0"/>
                  </a:cubicBezTo>
                  <a:cubicBezTo>
                    <a:pt x="9" y="1"/>
                    <a:pt x="8" y="2"/>
                    <a:pt x="7" y="3"/>
                  </a:cubicBezTo>
                  <a:cubicBezTo>
                    <a:pt x="5" y="7"/>
                    <a:pt x="0" y="14"/>
                    <a:pt x="0" y="17"/>
                  </a:cubicBezTo>
                  <a:cubicBezTo>
                    <a:pt x="0" y="22"/>
                    <a:pt x="4" y="26"/>
                    <a:pt x="9" y="26"/>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3" name="Freeform 477"/>
            <p:cNvSpPr/>
            <p:nvPr/>
          </p:nvSpPr>
          <p:spPr bwMode="auto">
            <a:xfrm>
              <a:off x="5724504" y="1219203"/>
              <a:ext cx="19415" cy="28197"/>
            </a:xfrm>
            <a:custGeom>
              <a:gdLst>
                <a:gd fmla="*/ 9 w 18" name="T0"/>
                <a:gd fmla="*/ 26 h 26" name="T1"/>
                <a:gd fmla="*/ 18 w 18" name="T2"/>
                <a:gd fmla="*/ 17 h 26" name="T3"/>
                <a:gd fmla="*/ 11 w 18" name="T4"/>
                <a:gd fmla="*/ 3 h 26" name="T5"/>
                <a:gd fmla="*/ 9 w 18" name="T6"/>
                <a:gd fmla="*/ 0 h 26" name="T7"/>
                <a:gd fmla="*/ 7 w 18" name="T8"/>
                <a:gd fmla="*/ 3 h 26" name="T9"/>
                <a:gd fmla="*/ 0 w 18" name="T10"/>
                <a:gd fmla="*/ 17 h 26" name="T11"/>
                <a:gd fmla="*/ 3 w 18" name="T12"/>
                <a:gd fmla="*/ 24 h 26" name="T13"/>
                <a:gd fmla="*/ 9 w 18" name="T14"/>
                <a:gd fmla="*/ 26 h 2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6" w="18">
                  <a:moveTo>
                    <a:pt x="9" y="26"/>
                  </a:moveTo>
                  <a:cubicBezTo>
                    <a:pt x="14" y="26"/>
                    <a:pt x="17" y="22"/>
                    <a:pt x="18" y="17"/>
                  </a:cubicBezTo>
                  <a:cubicBezTo>
                    <a:pt x="18" y="14"/>
                    <a:pt x="13" y="8"/>
                    <a:pt x="11" y="3"/>
                  </a:cubicBezTo>
                  <a:cubicBezTo>
                    <a:pt x="10" y="2"/>
                    <a:pt x="9" y="1"/>
                    <a:pt x="9" y="0"/>
                  </a:cubicBezTo>
                  <a:cubicBezTo>
                    <a:pt x="8" y="1"/>
                    <a:pt x="8" y="2"/>
                    <a:pt x="7" y="3"/>
                  </a:cubicBezTo>
                  <a:cubicBezTo>
                    <a:pt x="4" y="8"/>
                    <a:pt x="0" y="14"/>
                    <a:pt x="0" y="17"/>
                  </a:cubicBezTo>
                  <a:cubicBezTo>
                    <a:pt x="0" y="20"/>
                    <a:pt x="1" y="22"/>
                    <a:pt x="3" y="24"/>
                  </a:cubicBezTo>
                  <a:cubicBezTo>
                    <a:pt x="4" y="25"/>
                    <a:pt x="6" y="26"/>
                    <a:pt x="9" y="26"/>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4" name="Freeform 478"/>
            <p:cNvSpPr/>
            <p:nvPr/>
          </p:nvSpPr>
          <p:spPr bwMode="auto">
            <a:xfrm>
              <a:off x="5756862" y="1253873"/>
              <a:ext cx="18953" cy="27735"/>
            </a:xfrm>
            <a:custGeom>
              <a:gdLst>
                <a:gd fmla="*/ 10 w 17" name="T0"/>
                <a:gd fmla="*/ 3 h 25" name="T1"/>
                <a:gd fmla="*/ 8 w 17" name="T2"/>
                <a:gd fmla="*/ 0 h 25" name="T3"/>
                <a:gd fmla="*/ 7 w 17" name="T4"/>
                <a:gd fmla="*/ 3 h 25" name="T5"/>
                <a:gd fmla="*/ 0 w 17" name="T6"/>
                <a:gd fmla="*/ 17 h 25" name="T7"/>
                <a:gd fmla="*/ 2 w 17" name="T8"/>
                <a:gd fmla="*/ 23 h 25" name="T9"/>
                <a:gd fmla="*/ 8 w 17" name="T10"/>
                <a:gd fmla="*/ 25 h 25" name="T11"/>
                <a:gd fmla="*/ 17 w 17" name="T12"/>
                <a:gd fmla="*/ 17 h 25" name="T13"/>
                <a:gd fmla="*/ 10 w 17" name="T14"/>
                <a:gd fmla="*/ 3 h 25"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5" w="17">
                  <a:moveTo>
                    <a:pt x="10" y="3"/>
                  </a:moveTo>
                  <a:cubicBezTo>
                    <a:pt x="10" y="2"/>
                    <a:pt x="9" y="1"/>
                    <a:pt x="8" y="0"/>
                  </a:cubicBezTo>
                  <a:cubicBezTo>
                    <a:pt x="8" y="1"/>
                    <a:pt x="7" y="2"/>
                    <a:pt x="7" y="3"/>
                  </a:cubicBezTo>
                  <a:cubicBezTo>
                    <a:pt x="4" y="7"/>
                    <a:pt x="0" y="14"/>
                    <a:pt x="0" y="17"/>
                  </a:cubicBezTo>
                  <a:cubicBezTo>
                    <a:pt x="0" y="19"/>
                    <a:pt x="1" y="21"/>
                    <a:pt x="2" y="23"/>
                  </a:cubicBezTo>
                  <a:cubicBezTo>
                    <a:pt x="4" y="24"/>
                    <a:pt x="6" y="25"/>
                    <a:pt x="8" y="25"/>
                  </a:cubicBezTo>
                  <a:cubicBezTo>
                    <a:pt x="13" y="25"/>
                    <a:pt x="17" y="21"/>
                    <a:pt x="17" y="17"/>
                  </a:cubicBezTo>
                  <a:cubicBezTo>
                    <a:pt x="17" y="14"/>
                    <a:pt x="13" y="7"/>
                    <a:pt x="10" y="3"/>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5" name="Freeform 479"/>
            <p:cNvSpPr/>
            <p:nvPr/>
          </p:nvSpPr>
          <p:spPr bwMode="auto">
            <a:xfrm>
              <a:off x="5620498" y="1219203"/>
              <a:ext cx="19877" cy="28197"/>
            </a:xfrm>
            <a:custGeom>
              <a:gdLst>
                <a:gd fmla="*/ 9 w 18" name="T0"/>
                <a:gd fmla="*/ 26 h 26" name="T1"/>
                <a:gd fmla="*/ 15 w 18" name="T2"/>
                <a:gd fmla="*/ 24 h 26" name="T3"/>
                <a:gd fmla="*/ 18 w 18" name="T4"/>
                <a:gd fmla="*/ 17 h 26" name="T5"/>
                <a:gd fmla="*/ 11 w 18" name="T6"/>
                <a:gd fmla="*/ 3 h 26" name="T7"/>
                <a:gd fmla="*/ 9 w 18" name="T8"/>
                <a:gd fmla="*/ 0 h 26" name="T9"/>
                <a:gd fmla="*/ 7 w 18" name="T10"/>
                <a:gd fmla="*/ 3 h 26" name="T11"/>
                <a:gd fmla="*/ 0 w 18" name="T12"/>
                <a:gd fmla="*/ 17 h 26" name="T13"/>
                <a:gd fmla="*/ 9 w 18" name="T14"/>
                <a:gd fmla="*/ 26 h 26"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6" w="18">
                  <a:moveTo>
                    <a:pt x="9" y="26"/>
                  </a:moveTo>
                  <a:cubicBezTo>
                    <a:pt x="11" y="26"/>
                    <a:pt x="14" y="25"/>
                    <a:pt x="15" y="24"/>
                  </a:cubicBezTo>
                  <a:cubicBezTo>
                    <a:pt x="17" y="22"/>
                    <a:pt x="18" y="20"/>
                    <a:pt x="18" y="17"/>
                  </a:cubicBezTo>
                  <a:cubicBezTo>
                    <a:pt x="18" y="14"/>
                    <a:pt x="14" y="8"/>
                    <a:pt x="11" y="3"/>
                  </a:cubicBezTo>
                  <a:cubicBezTo>
                    <a:pt x="10" y="2"/>
                    <a:pt x="10" y="1"/>
                    <a:pt x="9" y="0"/>
                  </a:cubicBezTo>
                  <a:cubicBezTo>
                    <a:pt x="9" y="1"/>
                    <a:pt x="8" y="2"/>
                    <a:pt x="7" y="3"/>
                  </a:cubicBezTo>
                  <a:cubicBezTo>
                    <a:pt x="5" y="8"/>
                    <a:pt x="0" y="14"/>
                    <a:pt x="0" y="17"/>
                  </a:cubicBezTo>
                  <a:cubicBezTo>
                    <a:pt x="0" y="22"/>
                    <a:pt x="4" y="26"/>
                    <a:pt x="9" y="26"/>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6" name="Freeform 480"/>
            <p:cNvSpPr/>
            <p:nvPr/>
          </p:nvSpPr>
          <p:spPr bwMode="auto">
            <a:xfrm>
              <a:off x="5586753" y="1253873"/>
              <a:ext cx="19415" cy="27735"/>
            </a:xfrm>
            <a:custGeom>
              <a:gdLst>
                <a:gd fmla="*/ 15 w 18" name="T0"/>
                <a:gd fmla="*/ 23 h 25" name="T1"/>
                <a:gd fmla="*/ 18 w 18" name="T2"/>
                <a:gd fmla="*/ 17 h 25" name="T3"/>
                <a:gd fmla="*/ 11 w 18" name="T4"/>
                <a:gd fmla="*/ 3 h 25" name="T5"/>
                <a:gd fmla="*/ 9 w 18" name="T6"/>
                <a:gd fmla="*/ 0 h 25" name="T7"/>
                <a:gd fmla="*/ 7 w 18" name="T8"/>
                <a:gd fmla="*/ 3 h 25" name="T9"/>
                <a:gd fmla="*/ 0 w 18" name="T10"/>
                <a:gd fmla="*/ 17 h 25" name="T11"/>
                <a:gd fmla="*/ 9 w 18" name="T12"/>
                <a:gd fmla="*/ 25 h 25" name="T13"/>
                <a:gd fmla="*/ 15 w 18" name="T14"/>
                <a:gd fmla="*/ 23 h 25"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5" w="18">
                  <a:moveTo>
                    <a:pt x="15" y="23"/>
                  </a:moveTo>
                  <a:cubicBezTo>
                    <a:pt x="17" y="21"/>
                    <a:pt x="18" y="19"/>
                    <a:pt x="18" y="17"/>
                  </a:cubicBezTo>
                  <a:cubicBezTo>
                    <a:pt x="18" y="14"/>
                    <a:pt x="13" y="7"/>
                    <a:pt x="11" y="3"/>
                  </a:cubicBezTo>
                  <a:cubicBezTo>
                    <a:pt x="10" y="2"/>
                    <a:pt x="9" y="1"/>
                    <a:pt x="9" y="0"/>
                  </a:cubicBezTo>
                  <a:cubicBezTo>
                    <a:pt x="8" y="1"/>
                    <a:pt x="8" y="2"/>
                    <a:pt x="7" y="3"/>
                  </a:cubicBezTo>
                  <a:cubicBezTo>
                    <a:pt x="4" y="7"/>
                    <a:pt x="0" y="14"/>
                    <a:pt x="0" y="17"/>
                  </a:cubicBezTo>
                  <a:cubicBezTo>
                    <a:pt x="0" y="21"/>
                    <a:pt x="4" y="25"/>
                    <a:pt x="9" y="25"/>
                  </a:cubicBezTo>
                  <a:cubicBezTo>
                    <a:pt x="11" y="25"/>
                    <a:pt x="13" y="24"/>
                    <a:pt x="15" y="23"/>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grpSp>
        <p:nvGrpSpPr>
          <p:cNvPr id="37" name="组合 36"/>
          <p:cNvGrpSpPr/>
          <p:nvPr/>
        </p:nvGrpSpPr>
        <p:grpSpPr>
          <a:xfrm>
            <a:off x="4482214" y="4591285"/>
            <a:ext cx="318386" cy="312183"/>
            <a:chOff x="8166614" y="1279026"/>
            <a:chExt cx="228649" cy="280338"/>
          </a:xfrm>
          <a:solidFill>
            <a:schemeClr val="bg1"/>
          </a:solidFill>
        </p:grpSpPr>
        <p:sp>
          <p:nvSpPr>
            <p:cNvPr id="38" name="Freeform 145"/>
            <p:cNvSpPr>
              <a:spLocks noEditPoints="1"/>
            </p:cNvSpPr>
            <p:nvPr/>
          </p:nvSpPr>
          <p:spPr bwMode="auto">
            <a:xfrm>
              <a:off x="8189722" y="1330715"/>
              <a:ext cx="182432" cy="228649"/>
            </a:xfrm>
            <a:custGeom>
              <a:gdLst>
                <a:gd fmla="*/ 0 w 127" name="T0"/>
                <a:gd fmla="*/ 0 h 159" name="T1"/>
                <a:gd fmla="*/ 5 w 127" name="T2"/>
                <a:gd fmla="*/ 138 h 159" name="T3"/>
                <a:gd fmla="*/ 26 w 127" name="T4"/>
                <a:gd fmla="*/ 159 h 159" name="T5"/>
                <a:gd fmla="*/ 101 w 127" name="T6"/>
                <a:gd fmla="*/ 159 h 159" name="T7"/>
                <a:gd fmla="*/ 122 w 127" name="T8"/>
                <a:gd fmla="*/ 138 h 159" name="T9"/>
                <a:gd fmla="*/ 127 w 127" name="T10"/>
                <a:gd fmla="*/ 0 h 159" name="T11"/>
                <a:gd fmla="*/ 0 w 127" name="T12"/>
                <a:gd fmla="*/ 0 h 159" name="T13"/>
                <a:gd fmla="*/ 42 w 127" name="T14"/>
                <a:gd fmla="*/ 110 h 159" name="T15"/>
                <a:gd fmla="*/ 39 w 127" name="T16"/>
                <a:gd fmla="*/ 113 h 159" name="T17"/>
                <a:gd fmla="*/ 35 w 127" name="T18"/>
                <a:gd fmla="*/ 110 h 159" name="T19"/>
                <a:gd fmla="*/ 35 w 127" name="T20"/>
                <a:gd fmla="*/ 42 h 159" name="T21"/>
                <a:gd fmla="*/ 39 w 127" name="T22"/>
                <a:gd fmla="*/ 39 h 159" name="T23"/>
                <a:gd fmla="*/ 42 w 127" name="T24"/>
                <a:gd fmla="*/ 42 h 159" name="T25"/>
                <a:gd fmla="*/ 42 w 127" name="T26"/>
                <a:gd fmla="*/ 110 h 159" name="T27"/>
                <a:gd fmla="*/ 69 w 127" name="T28"/>
                <a:gd fmla="*/ 127 h 159" name="T29"/>
                <a:gd fmla="*/ 65 w 127" name="T30"/>
                <a:gd fmla="*/ 130 h 159" name="T31"/>
                <a:gd fmla="*/ 61 w 127" name="T32"/>
                <a:gd fmla="*/ 127 h 159" name="T33"/>
                <a:gd fmla="*/ 61 w 127" name="T34"/>
                <a:gd fmla="*/ 27 h 159" name="T35"/>
                <a:gd fmla="*/ 65 w 127" name="T36"/>
                <a:gd fmla="*/ 24 h 159" name="T37"/>
                <a:gd fmla="*/ 69 w 127" name="T38"/>
                <a:gd fmla="*/ 27 h 159" name="T39"/>
                <a:gd fmla="*/ 69 w 127" name="T40"/>
                <a:gd fmla="*/ 127 h 159" name="T41"/>
                <a:gd fmla="*/ 93 w 127" name="T42"/>
                <a:gd fmla="*/ 110 h 159" name="T43"/>
                <a:gd fmla="*/ 89 w 127" name="T44"/>
                <a:gd fmla="*/ 113 h 159" name="T45"/>
                <a:gd fmla="*/ 85 w 127" name="T46"/>
                <a:gd fmla="*/ 110 h 159" name="T47"/>
                <a:gd fmla="*/ 85 w 127" name="T48"/>
                <a:gd fmla="*/ 42 h 159" name="T49"/>
                <a:gd fmla="*/ 89 w 127" name="T50"/>
                <a:gd fmla="*/ 39 h 159" name="T51"/>
                <a:gd fmla="*/ 93 w 127" name="T52"/>
                <a:gd fmla="*/ 42 h 159" name="T53"/>
                <a:gd fmla="*/ 93 w 127" name="T54"/>
                <a:gd fmla="*/ 110 h 159" name="T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59" w="127">
                  <a:moveTo>
                    <a:pt x="0" y="0"/>
                  </a:moveTo>
                  <a:cubicBezTo>
                    <a:pt x="5" y="138"/>
                    <a:pt x="5" y="138"/>
                    <a:pt x="5" y="138"/>
                  </a:cubicBezTo>
                  <a:cubicBezTo>
                    <a:pt x="5" y="149"/>
                    <a:pt x="15" y="159"/>
                    <a:pt x="26" y="159"/>
                  </a:cubicBezTo>
                  <a:cubicBezTo>
                    <a:pt x="101" y="159"/>
                    <a:pt x="101" y="159"/>
                    <a:pt x="101" y="159"/>
                  </a:cubicBezTo>
                  <a:cubicBezTo>
                    <a:pt x="113" y="159"/>
                    <a:pt x="122" y="149"/>
                    <a:pt x="122" y="138"/>
                  </a:cubicBezTo>
                  <a:cubicBezTo>
                    <a:pt x="127" y="0"/>
                    <a:pt x="127" y="0"/>
                    <a:pt x="127" y="0"/>
                  </a:cubicBezTo>
                  <a:lnTo>
                    <a:pt x="0" y="0"/>
                  </a:lnTo>
                  <a:close/>
                  <a:moveTo>
                    <a:pt x="42" y="110"/>
                  </a:moveTo>
                  <a:cubicBezTo>
                    <a:pt x="42" y="112"/>
                    <a:pt x="41" y="113"/>
                    <a:pt x="39" y="113"/>
                  </a:cubicBezTo>
                  <a:cubicBezTo>
                    <a:pt x="37" y="113"/>
                    <a:pt x="35" y="112"/>
                    <a:pt x="35" y="110"/>
                  </a:cubicBezTo>
                  <a:cubicBezTo>
                    <a:pt x="35" y="42"/>
                    <a:pt x="35" y="42"/>
                    <a:pt x="35" y="42"/>
                  </a:cubicBezTo>
                  <a:cubicBezTo>
                    <a:pt x="35" y="40"/>
                    <a:pt x="37" y="39"/>
                    <a:pt x="39" y="39"/>
                  </a:cubicBezTo>
                  <a:cubicBezTo>
                    <a:pt x="41" y="39"/>
                    <a:pt x="42" y="40"/>
                    <a:pt x="42" y="42"/>
                  </a:cubicBezTo>
                  <a:lnTo>
                    <a:pt x="42" y="110"/>
                  </a:lnTo>
                  <a:close/>
                  <a:moveTo>
                    <a:pt x="69" y="127"/>
                  </a:moveTo>
                  <a:cubicBezTo>
                    <a:pt x="69" y="129"/>
                    <a:pt x="67" y="130"/>
                    <a:pt x="65" y="130"/>
                  </a:cubicBezTo>
                  <a:cubicBezTo>
                    <a:pt x="63" y="130"/>
                    <a:pt x="61" y="129"/>
                    <a:pt x="61" y="127"/>
                  </a:cubicBezTo>
                  <a:cubicBezTo>
                    <a:pt x="61" y="27"/>
                    <a:pt x="61" y="27"/>
                    <a:pt x="61" y="27"/>
                  </a:cubicBezTo>
                  <a:cubicBezTo>
                    <a:pt x="61" y="26"/>
                    <a:pt x="63" y="24"/>
                    <a:pt x="65" y="24"/>
                  </a:cubicBezTo>
                  <a:cubicBezTo>
                    <a:pt x="67" y="24"/>
                    <a:pt x="69" y="26"/>
                    <a:pt x="69" y="27"/>
                  </a:cubicBezTo>
                  <a:lnTo>
                    <a:pt x="69" y="127"/>
                  </a:lnTo>
                  <a:close/>
                  <a:moveTo>
                    <a:pt x="93" y="110"/>
                  </a:moveTo>
                  <a:cubicBezTo>
                    <a:pt x="93" y="112"/>
                    <a:pt x="91" y="113"/>
                    <a:pt x="89" y="113"/>
                  </a:cubicBezTo>
                  <a:cubicBezTo>
                    <a:pt x="87" y="113"/>
                    <a:pt x="85" y="112"/>
                    <a:pt x="85" y="110"/>
                  </a:cubicBezTo>
                  <a:cubicBezTo>
                    <a:pt x="85" y="42"/>
                    <a:pt x="85" y="42"/>
                    <a:pt x="85" y="42"/>
                  </a:cubicBezTo>
                  <a:cubicBezTo>
                    <a:pt x="85" y="40"/>
                    <a:pt x="87" y="39"/>
                    <a:pt x="89" y="39"/>
                  </a:cubicBezTo>
                  <a:cubicBezTo>
                    <a:pt x="91" y="39"/>
                    <a:pt x="93" y="40"/>
                    <a:pt x="93" y="42"/>
                  </a:cubicBezTo>
                  <a:lnTo>
                    <a:pt x="93" y="110"/>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9" name="Freeform 146"/>
            <p:cNvSpPr>
              <a:spLocks noEditPoints="1"/>
            </p:cNvSpPr>
            <p:nvPr/>
          </p:nvSpPr>
          <p:spPr bwMode="auto">
            <a:xfrm>
              <a:off x="8166614" y="1279026"/>
              <a:ext cx="228649" cy="51689"/>
            </a:xfrm>
            <a:custGeom>
              <a:gdLst>
                <a:gd fmla="*/ 154 w 159" name="T0"/>
                <a:gd fmla="*/ 26 h 36" name="T1"/>
                <a:gd fmla="*/ 119 w 159" name="T2"/>
                <a:gd fmla="*/ 26 h 36" name="T3"/>
                <a:gd fmla="*/ 119 w 159" name="T4"/>
                <a:gd fmla="*/ 13 h 36" name="T5"/>
                <a:gd fmla="*/ 105 w 159" name="T6"/>
                <a:gd fmla="*/ 0 h 36" name="T7"/>
                <a:gd fmla="*/ 54 w 159" name="T8"/>
                <a:gd fmla="*/ 0 h 36" name="T9"/>
                <a:gd fmla="*/ 41 w 159" name="T10"/>
                <a:gd fmla="*/ 13 h 36" name="T11"/>
                <a:gd fmla="*/ 41 w 159" name="T12"/>
                <a:gd fmla="*/ 26 h 36" name="T13"/>
                <a:gd fmla="*/ 5 w 159" name="T14"/>
                <a:gd fmla="*/ 26 h 36" name="T15"/>
                <a:gd fmla="*/ 0 w 159" name="T16"/>
                <a:gd fmla="*/ 31 h 36" name="T17"/>
                <a:gd fmla="*/ 5 w 159" name="T18"/>
                <a:gd fmla="*/ 36 h 36" name="T19"/>
                <a:gd fmla="*/ 154 w 159" name="T20"/>
                <a:gd fmla="*/ 36 h 36" name="T21"/>
                <a:gd fmla="*/ 159 w 159" name="T22"/>
                <a:gd fmla="*/ 31 h 36" name="T23"/>
                <a:gd fmla="*/ 154 w 159" name="T24"/>
                <a:gd fmla="*/ 26 h 36" name="T25"/>
                <a:gd fmla="*/ 109 w 159" name="T26"/>
                <a:gd fmla="*/ 26 h 36" name="T27"/>
                <a:gd fmla="*/ 51 w 159" name="T28"/>
                <a:gd fmla="*/ 26 h 36" name="T29"/>
                <a:gd fmla="*/ 51 w 159" name="T30"/>
                <a:gd fmla="*/ 13 h 36" name="T31"/>
                <a:gd fmla="*/ 54 w 159" name="T32"/>
                <a:gd fmla="*/ 10 h 36" name="T33"/>
                <a:gd fmla="*/ 105 w 159" name="T34"/>
                <a:gd fmla="*/ 10 h 36" name="T35"/>
                <a:gd fmla="*/ 109 w 159" name="T36"/>
                <a:gd fmla="*/ 13 h 36" name="T37"/>
                <a:gd fmla="*/ 109 w 159" name="T38"/>
                <a:gd fmla="*/ 26 h 36" name="T3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b="b" l="0" r="r" t="0"/>
              <a:pathLst>
                <a:path h="36" w="159">
                  <a:moveTo>
                    <a:pt x="154" y="26"/>
                  </a:moveTo>
                  <a:cubicBezTo>
                    <a:pt x="119" y="26"/>
                    <a:pt x="119" y="26"/>
                    <a:pt x="119" y="26"/>
                  </a:cubicBezTo>
                  <a:cubicBezTo>
                    <a:pt x="119" y="13"/>
                    <a:pt x="119" y="13"/>
                    <a:pt x="119" y="13"/>
                  </a:cubicBezTo>
                  <a:cubicBezTo>
                    <a:pt x="119" y="6"/>
                    <a:pt x="113" y="0"/>
                    <a:pt x="105" y="0"/>
                  </a:cubicBezTo>
                  <a:cubicBezTo>
                    <a:pt x="54" y="0"/>
                    <a:pt x="54" y="0"/>
                    <a:pt x="54" y="0"/>
                  </a:cubicBezTo>
                  <a:cubicBezTo>
                    <a:pt x="47" y="0"/>
                    <a:pt x="41" y="6"/>
                    <a:pt x="41" y="13"/>
                  </a:cubicBezTo>
                  <a:cubicBezTo>
                    <a:pt x="41" y="26"/>
                    <a:pt x="41" y="26"/>
                    <a:pt x="41" y="26"/>
                  </a:cubicBezTo>
                  <a:cubicBezTo>
                    <a:pt x="5" y="26"/>
                    <a:pt x="5" y="26"/>
                    <a:pt x="5" y="26"/>
                  </a:cubicBezTo>
                  <a:cubicBezTo>
                    <a:pt x="3" y="26"/>
                    <a:pt x="0" y="29"/>
                    <a:pt x="0" y="31"/>
                  </a:cubicBezTo>
                  <a:cubicBezTo>
                    <a:pt x="0" y="34"/>
                    <a:pt x="3" y="36"/>
                    <a:pt x="5" y="36"/>
                  </a:cubicBezTo>
                  <a:cubicBezTo>
                    <a:pt x="154" y="36"/>
                    <a:pt x="154" y="36"/>
                    <a:pt x="154" y="36"/>
                  </a:cubicBezTo>
                  <a:cubicBezTo>
                    <a:pt x="157" y="36"/>
                    <a:pt x="159" y="34"/>
                    <a:pt x="159" y="31"/>
                  </a:cubicBezTo>
                  <a:cubicBezTo>
                    <a:pt x="159" y="29"/>
                    <a:pt x="157" y="26"/>
                    <a:pt x="154" y="26"/>
                  </a:cubicBezTo>
                  <a:close/>
                  <a:moveTo>
                    <a:pt x="109" y="26"/>
                  </a:moveTo>
                  <a:cubicBezTo>
                    <a:pt x="51" y="26"/>
                    <a:pt x="51" y="26"/>
                    <a:pt x="51" y="26"/>
                  </a:cubicBezTo>
                  <a:cubicBezTo>
                    <a:pt x="51" y="13"/>
                    <a:pt x="51" y="13"/>
                    <a:pt x="51" y="13"/>
                  </a:cubicBezTo>
                  <a:cubicBezTo>
                    <a:pt x="51" y="11"/>
                    <a:pt x="52" y="10"/>
                    <a:pt x="54" y="10"/>
                  </a:cubicBezTo>
                  <a:cubicBezTo>
                    <a:pt x="105" y="10"/>
                    <a:pt x="105" y="10"/>
                    <a:pt x="105" y="10"/>
                  </a:cubicBezTo>
                  <a:cubicBezTo>
                    <a:pt x="107" y="10"/>
                    <a:pt x="109" y="11"/>
                    <a:pt x="109" y="13"/>
                  </a:cubicBezTo>
                  <a:lnTo>
                    <a:pt x="109" y="26"/>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spTree>
    <p:extLst>
      <p:ext uri="{BB962C8B-B14F-4D97-AF65-F5344CB8AC3E}">
        <p14:creationId val="3959850104"/>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1F31783E-3401-4CA3-AB65-C8633AB1C7BB}" type="slidenum">
              <a:rPr altLang="en-US" lang="zh-CN" smtClean="0"/>
              <a:t>23</a:t>
            </a:fld>
          </a:p>
        </p:txBody>
      </p:sp>
      <p:pic>
        <p:nvPicPr>
          <p:cNvPr id="3" name="图片 2"/>
          <p:cNvPicPr>
            <a:picLocks noChangeAspect="1"/>
          </p:cNvPicPr>
          <p:nvPr/>
        </p:nvPicPr>
        <p:blipFill>
          <a:blip r:embed="rId2">
            <a:extLst>
              <a:ext uri="{28A0092B-C50C-407E-A947-70E740481C1C}">
                <a14:useLocalDpi/>
              </a:ext>
            </a:extLst>
          </a:blip>
          <a:stretch>
            <a:fillRect/>
          </a:stretch>
        </p:blipFill>
        <p:spPr>
          <a:xfrm>
            <a:off x="1172785" y="1600192"/>
            <a:ext cx="4504435" cy="3004458"/>
          </a:xfrm>
          <a:prstGeom prst="rect">
            <a:avLst/>
          </a:prstGeom>
        </p:spPr>
      </p:pic>
      <p:sp>
        <p:nvSpPr>
          <p:cNvPr id="5" name="文本框 4"/>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pic>
        <p:nvPicPr>
          <p:cNvPr id="6" name="图片 5"/>
          <p:cNvPicPr>
            <a:picLocks noChangeAspect="1"/>
          </p:cNvPicPr>
          <p:nvPr/>
        </p:nvPicPr>
        <p:blipFill>
          <a:blip r:embed="rId3">
            <a:extLst>
              <a:ext uri="{28A0092B-C50C-407E-A947-70E740481C1C}">
                <a14:useLocalDpi/>
              </a:ext>
            </a:extLst>
          </a:blip>
          <a:stretch>
            <a:fillRect/>
          </a:stretch>
        </p:blipFill>
        <p:spPr>
          <a:xfrm>
            <a:off x="6281824" y="1600192"/>
            <a:ext cx="4463669" cy="3004458"/>
          </a:xfrm>
          <a:prstGeom prst="rect">
            <a:avLst/>
          </a:prstGeom>
        </p:spPr>
      </p:pic>
      <p:sp>
        <p:nvSpPr>
          <p:cNvPr id="7" name="矩形 6"/>
          <p:cNvSpPr/>
          <p:nvPr/>
        </p:nvSpPr>
        <p:spPr>
          <a:xfrm>
            <a:off x="1172786" y="3744686"/>
            <a:ext cx="4509558" cy="859964"/>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 name="矩形 7"/>
          <p:cNvSpPr/>
          <p:nvPr/>
        </p:nvSpPr>
        <p:spPr>
          <a:xfrm>
            <a:off x="6281824" y="3750126"/>
            <a:ext cx="4463669" cy="859964"/>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 name="矩形 8"/>
          <p:cNvSpPr/>
          <p:nvPr/>
        </p:nvSpPr>
        <p:spPr>
          <a:xfrm>
            <a:off x="2409339" y="3943835"/>
            <a:ext cx="2011680" cy="457200"/>
          </a:xfrm>
          <a:prstGeom prst="rect">
            <a:avLst/>
          </a:prstGeom>
        </p:spPr>
        <p:txBody>
          <a:bodyPr wrap="none">
            <a:spAutoFit/>
          </a:bodyPr>
          <a:lstStyle/>
          <a:p>
            <a:r>
              <a:rPr altLang="en-US" lang="zh-CN" sz="2400">
                <a:solidFill>
                  <a:schemeClr val="bg1"/>
                </a:solidFill>
                <a:latin charset="-122" panose="020b0503020204020204" pitchFamily="34" typeface="微软雅黑"/>
                <a:ea charset="-122" panose="020b0503020204020204" pitchFamily="34" typeface="微软雅黑"/>
              </a:rPr>
              <a:t>此处输入文本</a:t>
            </a:r>
          </a:p>
        </p:txBody>
      </p:sp>
      <p:sp>
        <p:nvSpPr>
          <p:cNvPr id="10" name="矩形 9"/>
          <p:cNvSpPr/>
          <p:nvPr/>
        </p:nvSpPr>
        <p:spPr>
          <a:xfrm>
            <a:off x="7612712" y="3943835"/>
            <a:ext cx="2011680" cy="457200"/>
          </a:xfrm>
          <a:prstGeom prst="rect">
            <a:avLst/>
          </a:prstGeom>
        </p:spPr>
        <p:txBody>
          <a:bodyPr wrap="none">
            <a:spAutoFit/>
          </a:bodyPr>
          <a:lstStyle/>
          <a:p>
            <a:r>
              <a:rPr altLang="en-US" lang="zh-CN" sz="2400">
                <a:solidFill>
                  <a:schemeClr val="bg1"/>
                </a:solidFill>
                <a:latin charset="-122" panose="020b0503020204020204" pitchFamily="34" typeface="微软雅黑"/>
                <a:ea charset="-122" panose="020b0503020204020204" pitchFamily="34" typeface="微软雅黑"/>
              </a:rPr>
              <a:t>此处输入文本</a:t>
            </a:r>
          </a:p>
        </p:txBody>
      </p:sp>
      <p:sp>
        <p:nvSpPr>
          <p:cNvPr id="11" name="矩形 10"/>
          <p:cNvSpPr/>
          <p:nvPr/>
        </p:nvSpPr>
        <p:spPr>
          <a:xfrm>
            <a:off x="1172784" y="5016114"/>
            <a:ext cx="9572709" cy="914400"/>
          </a:xfrm>
          <a:prstGeom prst="rect">
            <a:avLst/>
          </a:prstGeom>
        </p:spPr>
        <p:txBody>
          <a:bodyPr wrap="square">
            <a:spAutoFit/>
          </a:bodyPr>
          <a:lstStyle/>
          <a:p>
            <a:pPr>
              <a:lnSpc>
                <a:spcPct val="150000"/>
              </a:lnSpc>
            </a:pPr>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此处此处输入文本此处输入文本此处输入文本此处输入文本此处输入文本此处输入文本此处输入文本此处输入文本此处输入文本此处输入文本此处输入文本</a:t>
            </a:r>
          </a:p>
        </p:txBody>
      </p:sp>
    </p:spTree>
    <p:extLst>
      <p:ext uri="{BB962C8B-B14F-4D97-AF65-F5344CB8AC3E}">
        <p14:creationId val="2698605395"/>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16EC75C5-49E4-4269-8730-5FF7967B3059}" type="slidenum">
              <a:rPr altLang="en-US" lang="zh-CN" smtClean="0"/>
              <a:t>24</a:t>
            </a:fld>
          </a:p>
        </p:txBody>
      </p:sp>
      <p:sp>
        <p:nvSpPr>
          <p:cNvPr id="6" name="文本框 5"/>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grpSp>
        <p:nvGrpSpPr>
          <p:cNvPr id="5" name="组合 4"/>
          <p:cNvGrpSpPr/>
          <p:nvPr/>
        </p:nvGrpSpPr>
        <p:grpSpPr>
          <a:xfrm>
            <a:off x="4516128" y="773121"/>
            <a:ext cx="4799345" cy="2128195"/>
            <a:chOff x="1390062" y="536323"/>
            <a:chExt cx="6436505" cy="2854168"/>
          </a:xfrm>
        </p:grpSpPr>
        <p:grpSp>
          <p:nvGrpSpPr>
            <p:cNvPr id="7" name="组合 6"/>
            <p:cNvGrpSpPr/>
            <p:nvPr/>
          </p:nvGrpSpPr>
          <p:grpSpPr>
            <a:xfrm>
              <a:off x="1390062" y="563925"/>
              <a:ext cx="6434020" cy="2599531"/>
              <a:chOff x="1015734" y="710820"/>
              <a:chExt cx="7648999" cy="3090417"/>
            </a:xfrm>
          </p:grpSpPr>
          <p:sp>
            <p:nvSpPr>
              <p:cNvPr id="9" name="圆角矩形 3"/>
              <p:cNvSpPr/>
              <p:nvPr/>
            </p:nvSpPr>
            <p:spPr>
              <a:xfrm>
                <a:off x="1031885" y="1628801"/>
                <a:ext cx="7632848" cy="1788477"/>
              </a:xfrm>
              <a:custGeom>
                <a:rect b="b" l="l" r="r" t="t"/>
                <a:pathLst>
                  <a:path h="1788477" w="7632847">
                    <a:moveTo>
                      <a:pt x="399670" y="0"/>
                    </a:moveTo>
                    <a:lnTo>
                      <a:pt x="7632848" y="0"/>
                    </a:lnTo>
                    <a:lnTo>
                      <a:pt x="7632848" y="1788477"/>
                    </a:lnTo>
                    <a:lnTo>
                      <a:pt x="0" y="1788477"/>
                    </a:lnTo>
                    <a:lnTo>
                      <a:pt x="0" y="399670"/>
                    </a:lnTo>
                    <a:cubicBezTo>
                      <a:pt x="0" y="178938"/>
                      <a:pt x="178938" y="0"/>
                      <a:pt x="399670" y="0"/>
                    </a:cubicBezTo>
                    <a:close/>
                  </a:path>
                </a:pathLst>
              </a:custGeom>
              <a:solidFill>
                <a:srgbClr val="E00024"/>
              </a:solidFill>
              <a:ln algn="ctr" cap="flat" cmpd="sng" w="25400">
                <a:noFill/>
                <a:prstDash val="solid"/>
              </a:ln>
              <a:effectLst>
                <a:outerShdw algn="t" dir="5400000" dist="38100" rotWithShape="0">
                  <a:prstClr val="black">
                    <a:alpha val="21000"/>
                  </a:prstClr>
                </a:outerShdw>
              </a:effectLst>
            </p:spPr>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defTabSz="91440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pc="0" strike="noStrike" sz="1800" u="none">
                  <a:ln>
                    <a:noFill/>
                  </a:ln>
                  <a:solidFill>
                    <a:sysClr lastClr="FFFFFF" val="window"/>
                  </a:solidFill>
                  <a:effectLst/>
                  <a:uLnTx/>
                  <a:uFillTx/>
                  <a:latin panose="020f0502020204030204" typeface="Calibri"/>
                  <a:ea typeface="+mn-ea"/>
                  <a:cs typeface="+mn-cs"/>
                </a:endParaRPr>
              </a:p>
            </p:txBody>
          </p:sp>
          <p:pic>
            <p:nvPicPr>
              <p:cNvPr id="10" name="图片 9"/>
              <p:cNvPicPr>
                <a:picLocks noChangeAspect="1"/>
              </p:cNvPicPr>
              <p:nvPr/>
            </p:nvPicPr>
            <p:blipFill>
              <a:blip r:embed="rId2">
                <a:extLst>
                  <a:ext uri="{28A0092B-C50C-407E-A947-70E740481C1C}">
                    <a14:useLocalDpi/>
                  </a:ext>
                </a:extLst>
              </a:blip>
              <a:stretch>
                <a:fillRect/>
              </a:stretch>
            </p:blipFill>
            <p:spPr>
              <a:xfrm>
                <a:off x="1015734" y="710820"/>
                <a:ext cx="2803928" cy="3090417"/>
              </a:xfrm>
              <a:prstGeom prst="rect">
                <a:avLst/>
              </a:prstGeom>
              <a:effectLst>
                <a:outerShdw algn="r" blurRad="50800" dir="10800000" dist="38100" rotWithShape="0">
                  <a:prstClr val="black">
                    <a:alpha val="40000"/>
                  </a:prstClr>
                </a:outerShdw>
              </a:effectLst>
            </p:spPr>
          </p:pic>
        </p:grpSp>
        <p:pic>
          <p:nvPicPr>
            <p:cNvPr id="8" name="Picture 3"/>
            <p:cNvPicPr>
              <a:picLocks noChangeArrowheads="1" noChangeAspect="1"/>
            </p:cNvPicPr>
            <p:nvPr/>
          </p:nvPicPr>
          <p:blipFill>
            <a:blip r:embed="rId3">
              <a:extLst>
                <a:ext uri="{28A0092B-C50C-407E-A947-70E740481C1C}">
                  <a14:useLocalDpi/>
                </a:ext>
              </a:extLst>
            </a:blip>
            <a:stretch>
              <a:fillRect/>
            </a:stretch>
          </p:blipFill>
          <p:spPr bwMode="auto">
            <a:xfrm flipV="1" rot="5400000">
              <a:off x="6301953" y="1865876"/>
              <a:ext cx="2854168" cy="195061"/>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grpSp>
      <p:grpSp>
        <p:nvGrpSpPr>
          <p:cNvPr id="11" name="组合 10"/>
          <p:cNvGrpSpPr/>
          <p:nvPr/>
        </p:nvGrpSpPr>
        <p:grpSpPr>
          <a:xfrm>
            <a:off x="3374735" y="2628539"/>
            <a:ext cx="4810713" cy="2128195"/>
            <a:chOff x="1390062" y="536323"/>
            <a:chExt cx="6451751" cy="2854168"/>
          </a:xfrm>
        </p:grpSpPr>
        <p:grpSp>
          <p:nvGrpSpPr>
            <p:cNvPr id="12" name="组合 11"/>
            <p:cNvGrpSpPr/>
            <p:nvPr/>
          </p:nvGrpSpPr>
          <p:grpSpPr>
            <a:xfrm>
              <a:off x="1390062" y="548680"/>
              <a:ext cx="6434020" cy="2599531"/>
              <a:chOff x="1015734" y="692696"/>
              <a:chExt cx="7648999" cy="3090417"/>
            </a:xfrm>
          </p:grpSpPr>
          <p:sp>
            <p:nvSpPr>
              <p:cNvPr id="14" name="圆角矩形 3"/>
              <p:cNvSpPr/>
              <p:nvPr/>
            </p:nvSpPr>
            <p:spPr>
              <a:xfrm>
                <a:off x="1031885" y="1628801"/>
                <a:ext cx="7632848" cy="1788477"/>
              </a:xfrm>
              <a:custGeom>
                <a:rect b="b" l="l" r="r" t="t"/>
                <a:pathLst>
                  <a:path h="1788477" w="7632847">
                    <a:moveTo>
                      <a:pt x="399670" y="0"/>
                    </a:moveTo>
                    <a:lnTo>
                      <a:pt x="7632848" y="0"/>
                    </a:lnTo>
                    <a:lnTo>
                      <a:pt x="7632848" y="1788477"/>
                    </a:lnTo>
                    <a:lnTo>
                      <a:pt x="0" y="1788477"/>
                    </a:lnTo>
                    <a:lnTo>
                      <a:pt x="0" y="399670"/>
                    </a:lnTo>
                    <a:cubicBezTo>
                      <a:pt x="0" y="178938"/>
                      <a:pt x="178938" y="0"/>
                      <a:pt x="399670" y="0"/>
                    </a:cubicBezTo>
                    <a:close/>
                  </a:path>
                </a:pathLst>
              </a:custGeom>
              <a:solidFill>
                <a:srgbClr val="E00024"/>
              </a:solidFill>
              <a:ln algn="ctr" cap="flat" cmpd="sng" w="25400">
                <a:noFill/>
                <a:prstDash val="solid"/>
              </a:ln>
              <a:effectLst>
                <a:outerShdw algn="t" dir="5400000" dist="38100" rotWithShape="0">
                  <a:prstClr val="black">
                    <a:alpha val="21000"/>
                  </a:prstClr>
                </a:outerShdw>
              </a:effectLst>
            </p:spPr>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defTabSz="91440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pc="0" strike="noStrike" sz="1800" u="none">
                  <a:ln>
                    <a:noFill/>
                  </a:ln>
                  <a:solidFill>
                    <a:sysClr lastClr="FFFFFF" val="window"/>
                  </a:solidFill>
                  <a:effectLst/>
                  <a:uLnTx/>
                  <a:uFillTx/>
                  <a:latin panose="020f0502020204030204" typeface="Calibri"/>
                  <a:ea typeface="+mn-ea"/>
                  <a:cs typeface="+mn-cs"/>
                </a:endParaRPr>
              </a:p>
            </p:txBody>
          </p:sp>
          <p:pic>
            <p:nvPicPr>
              <p:cNvPr id="15" name="图片 14"/>
              <p:cNvPicPr>
                <a:picLocks noChangeAspect="1"/>
              </p:cNvPicPr>
              <p:nvPr/>
            </p:nvPicPr>
            <p:blipFill>
              <a:blip r:embed="rId2">
                <a:extLst>
                  <a:ext uri="{28A0092B-C50C-407E-A947-70E740481C1C}">
                    <a14:useLocalDpi/>
                  </a:ext>
                </a:extLst>
              </a:blip>
              <a:stretch>
                <a:fillRect/>
              </a:stretch>
            </p:blipFill>
            <p:spPr>
              <a:xfrm>
                <a:off x="1015734" y="692696"/>
                <a:ext cx="2803928" cy="3090417"/>
              </a:xfrm>
              <a:prstGeom prst="rect">
                <a:avLst/>
              </a:prstGeom>
              <a:effectLst>
                <a:outerShdw algn="r" blurRad="50800" dir="10800000" dist="38100" rotWithShape="0">
                  <a:prstClr val="black">
                    <a:alpha val="40000"/>
                  </a:prstClr>
                </a:outerShdw>
              </a:effectLst>
            </p:spPr>
          </p:pic>
        </p:grpSp>
        <p:pic>
          <p:nvPicPr>
            <p:cNvPr id="13" name="Picture 3"/>
            <p:cNvPicPr>
              <a:picLocks noChangeArrowheads="1" noChangeAspect="1"/>
            </p:cNvPicPr>
            <p:nvPr/>
          </p:nvPicPr>
          <p:blipFill>
            <a:blip r:embed="rId3">
              <a:extLst>
                <a:ext uri="{28A0092B-C50C-407E-A947-70E740481C1C}">
                  <a14:useLocalDpi/>
                </a:ext>
              </a:extLst>
            </a:blip>
            <a:stretch>
              <a:fillRect/>
            </a:stretch>
          </p:blipFill>
          <p:spPr bwMode="auto">
            <a:xfrm flipV="1" rot="5400000">
              <a:off x="6317199" y="1865876"/>
              <a:ext cx="2854168" cy="195061"/>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grpSp>
      <p:grpSp>
        <p:nvGrpSpPr>
          <p:cNvPr id="16" name="组合 15"/>
          <p:cNvGrpSpPr/>
          <p:nvPr/>
        </p:nvGrpSpPr>
        <p:grpSpPr>
          <a:xfrm>
            <a:off x="1970657" y="4474877"/>
            <a:ext cx="4810713" cy="2128195"/>
            <a:chOff x="1390062" y="536323"/>
            <a:chExt cx="6451751" cy="2854168"/>
          </a:xfrm>
        </p:grpSpPr>
        <p:grpSp>
          <p:nvGrpSpPr>
            <p:cNvPr id="17" name="组合 16"/>
            <p:cNvGrpSpPr/>
            <p:nvPr/>
          </p:nvGrpSpPr>
          <p:grpSpPr>
            <a:xfrm>
              <a:off x="1390062" y="548680"/>
              <a:ext cx="6434020" cy="2599531"/>
              <a:chOff x="1015734" y="692696"/>
              <a:chExt cx="7648999" cy="3090417"/>
            </a:xfrm>
          </p:grpSpPr>
          <p:sp>
            <p:nvSpPr>
              <p:cNvPr id="19" name="圆角矩形 3"/>
              <p:cNvSpPr/>
              <p:nvPr/>
            </p:nvSpPr>
            <p:spPr>
              <a:xfrm>
                <a:off x="1031885" y="1628801"/>
                <a:ext cx="7632848" cy="1788477"/>
              </a:xfrm>
              <a:custGeom>
                <a:rect b="b" l="l" r="r" t="t"/>
                <a:pathLst>
                  <a:path h="1788477" w="7632847">
                    <a:moveTo>
                      <a:pt x="399670" y="0"/>
                    </a:moveTo>
                    <a:lnTo>
                      <a:pt x="7632848" y="0"/>
                    </a:lnTo>
                    <a:lnTo>
                      <a:pt x="7632848" y="1788477"/>
                    </a:lnTo>
                    <a:lnTo>
                      <a:pt x="0" y="1788477"/>
                    </a:lnTo>
                    <a:lnTo>
                      <a:pt x="0" y="399670"/>
                    </a:lnTo>
                    <a:cubicBezTo>
                      <a:pt x="0" y="178938"/>
                      <a:pt x="178938" y="0"/>
                      <a:pt x="399670" y="0"/>
                    </a:cubicBezTo>
                    <a:close/>
                  </a:path>
                </a:pathLst>
              </a:custGeom>
              <a:solidFill>
                <a:srgbClr val="E00024"/>
              </a:solidFill>
              <a:ln algn="ctr" cap="flat" cmpd="sng" w="25400">
                <a:noFill/>
                <a:prstDash val="solid"/>
              </a:ln>
              <a:effectLst>
                <a:outerShdw algn="t" dir="5400000" dist="38100" rotWithShape="0">
                  <a:prstClr val="black">
                    <a:alpha val="21000"/>
                  </a:prstClr>
                </a:outerShdw>
              </a:effectLst>
            </p:spPr>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defTabSz="914400"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pc="0" strike="noStrike" sz="1800" u="none">
                  <a:ln>
                    <a:noFill/>
                  </a:ln>
                  <a:solidFill>
                    <a:sysClr lastClr="FFFFFF" val="window"/>
                  </a:solidFill>
                  <a:effectLst/>
                  <a:uLnTx/>
                  <a:uFillTx/>
                  <a:latin panose="020f0502020204030204" typeface="Calibri"/>
                  <a:ea typeface="+mn-ea"/>
                  <a:cs typeface="+mn-cs"/>
                </a:endParaRPr>
              </a:p>
            </p:txBody>
          </p:sp>
          <p:pic>
            <p:nvPicPr>
              <p:cNvPr id="20" name="图片 19"/>
              <p:cNvPicPr>
                <a:picLocks noChangeAspect="1"/>
              </p:cNvPicPr>
              <p:nvPr/>
            </p:nvPicPr>
            <p:blipFill>
              <a:blip r:embed="rId2">
                <a:extLst>
                  <a:ext uri="{28A0092B-C50C-407E-A947-70E740481C1C}">
                    <a14:useLocalDpi/>
                  </a:ext>
                </a:extLst>
              </a:blip>
              <a:stretch>
                <a:fillRect/>
              </a:stretch>
            </p:blipFill>
            <p:spPr>
              <a:xfrm>
                <a:off x="1015734" y="692696"/>
                <a:ext cx="2803928" cy="3090417"/>
              </a:xfrm>
              <a:prstGeom prst="rect">
                <a:avLst/>
              </a:prstGeom>
              <a:effectLst>
                <a:outerShdw algn="r" blurRad="50800" dir="10800000" dist="38100" rotWithShape="0">
                  <a:prstClr val="black">
                    <a:alpha val="40000"/>
                  </a:prstClr>
                </a:outerShdw>
              </a:effectLst>
            </p:spPr>
          </p:pic>
        </p:grpSp>
        <p:pic>
          <p:nvPicPr>
            <p:cNvPr id="18" name="Picture 3"/>
            <p:cNvPicPr>
              <a:picLocks noChangeArrowheads="1" noChangeAspect="1"/>
            </p:cNvPicPr>
            <p:nvPr/>
          </p:nvPicPr>
          <p:blipFill>
            <a:blip r:embed="rId3">
              <a:extLst>
                <a:ext uri="{28A0092B-C50C-407E-A947-70E740481C1C}">
                  <a14:useLocalDpi/>
                </a:ext>
              </a:extLst>
            </a:blip>
            <a:stretch>
              <a:fillRect/>
            </a:stretch>
          </p:blipFill>
          <p:spPr bwMode="auto">
            <a:xfrm flipV="1" rot="5400000">
              <a:off x="6317199" y="1865876"/>
              <a:ext cx="2854168" cy="195061"/>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pic>
      </p:grpSp>
      <p:sp>
        <p:nvSpPr>
          <p:cNvPr id="23" name="TextBox 40"/>
          <p:cNvSpPr txBox="1"/>
          <p:nvPr/>
        </p:nvSpPr>
        <p:spPr>
          <a:xfrm>
            <a:off x="4936518" y="1906164"/>
            <a:ext cx="1052801" cy="335280"/>
          </a:xfrm>
          <a:prstGeom prst="rect">
            <a:avLst/>
          </a:prstGeom>
          <a:noFill/>
        </p:spPr>
        <p:txBody>
          <a:bodyPr rtlCol="0" wrap="square">
            <a:spAutoFit/>
          </a:bodyPr>
          <a:lstStyle>
            <a:defPPr>
              <a:defRPr lang="en-US"/>
            </a:defPPr>
            <a:lvl1pPr lvl="0">
              <a:lnSpc>
                <a:spcPct val="80000"/>
              </a:lnSpc>
              <a:defRPr b="1" kern="0" sz="4400">
                <a:ln cmpd="sng" w="18415">
                  <a:noFill/>
                  <a:prstDash val="solid"/>
                </a:ln>
                <a:solidFill>
                  <a:srgbClr val="FFC000"/>
                </a:solidFill>
                <a:latin charset="0" pitchFamily="34" typeface="Agency FB"/>
                <a:ea charset="-122" panose="020b0503020204020204" pitchFamily="34" typeface="微软雅黑"/>
              </a:defRPr>
            </a:lvl1pPr>
          </a:lstStyle>
          <a:p>
            <a:pPr algn="ctr" defTabSz="914400" eaLnBrk="1" fontAlgn="auto" hangingPunct="1" indent="0" latinLnBrk="0" lvl="0" marL="0" marR="0">
              <a:lnSpc>
                <a:spcPct val="80000"/>
              </a:lnSpc>
              <a:spcBef>
                <a:spcPct val="0"/>
              </a:spcBef>
              <a:spcAft>
                <a:spcPct val="0"/>
              </a:spcAft>
              <a:buClrTx/>
              <a:buSzTx/>
              <a:buFontTx/>
              <a:buNone/>
              <a:defRPr/>
            </a:pPr>
            <a:r>
              <a:rPr altLang="en-US" lang="zh-CN" smtClean="0" sz="2000">
                <a:solidFill>
                  <a:srgbClr val="C00000"/>
                </a:solidFill>
              </a:rPr>
              <a:t>小标题</a:t>
            </a:r>
          </a:p>
        </p:txBody>
      </p:sp>
      <p:sp>
        <p:nvSpPr>
          <p:cNvPr id="24" name="TextBox 41"/>
          <p:cNvSpPr txBox="1"/>
          <p:nvPr/>
        </p:nvSpPr>
        <p:spPr>
          <a:xfrm>
            <a:off x="6363145" y="1581974"/>
            <a:ext cx="2893632" cy="731520"/>
          </a:xfrm>
          <a:prstGeom prst="rect">
            <a:avLst/>
          </a:prstGeom>
          <a:noFill/>
        </p:spPr>
        <p:txBody>
          <a:bodyPr rtlCol="0" wrap="square">
            <a:spAutoFit/>
          </a:bodyPr>
          <a:lstStyle/>
          <a:p>
            <a:pPr defTabSz="914400" eaLnBrk="1" fontAlgn="auto" hangingPunct="1" indent="0" latinLnBrk="0" lvl="0" marL="0" marR="0">
              <a:lnSpc>
                <a:spcPct val="100000"/>
              </a:lnSpc>
              <a:spcBef>
                <a:spcPct val="0"/>
              </a:spcBef>
              <a:spcAft>
                <a:spcPct val="0"/>
              </a:spcAft>
              <a:buClrTx/>
              <a:buSzTx/>
              <a:buFontTx/>
              <a:buNone/>
              <a:defRPr/>
            </a:pPr>
            <a:r>
              <a:rPr altLang="en-US" b="0" baseline="0" cap="none" i="0" kern="0" kumimoji="0" lang="zh-CN" noProof="0" normalizeH="0" smtClean="0" spc="0" strike="noStrike" sz="1400" u="none">
                <a:ln>
                  <a:noFill/>
                </a:ln>
                <a:solidFill>
                  <a:sysClr lastClr="FFFFFF" val="window"/>
                </a:solidFill>
                <a:effectLst/>
                <a:uLnTx/>
                <a:uFillTx/>
                <a:latin charset="0" panose="020b0604020202020204" pitchFamily="34" typeface="Arial"/>
                <a:ea charset="-122" panose="020b0503020204020204" pitchFamily="34" typeface="微软雅黑"/>
                <a:cs charset="0" panose="020b0604020202020204" pitchFamily="34" typeface="Arial"/>
              </a:rPr>
              <a:t>此处输入文本此处输入文本此处输入文本此处输入文本此处输入文本此处输入文本此处输入文本</a:t>
            </a:r>
          </a:p>
        </p:txBody>
      </p:sp>
      <p:sp>
        <p:nvSpPr>
          <p:cNvPr id="27" name="TextBox 40"/>
          <p:cNvSpPr txBox="1"/>
          <p:nvPr/>
        </p:nvSpPr>
        <p:spPr>
          <a:xfrm>
            <a:off x="3749092" y="3827680"/>
            <a:ext cx="1052801" cy="335280"/>
          </a:xfrm>
          <a:prstGeom prst="rect">
            <a:avLst/>
          </a:prstGeom>
          <a:noFill/>
        </p:spPr>
        <p:txBody>
          <a:bodyPr rtlCol="0" wrap="square">
            <a:spAutoFit/>
          </a:bodyPr>
          <a:lstStyle>
            <a:defPPr>
              <a:defRPr lang="en-US"/>
            </a:defPPr>
            <a:lvl1pPr lvl="0">
              <a:lnSpc>
                <a:spcPct val="80000"/>
              </a:lnSpc>
              <a:defRPr b="1" kern="0" sz="4400">
                <a:ln cmpd="sng" w="18415">
                  <a:noFill/>
                  <a:prstDash val="solid"/>
                </a:ln>
                <a:solidFill>
                  <a:srgbClr val="FFC000"/>
                </a:solidFill>
                <a:latin charset="0" pitchFamily="34" typeface="Agency FB"/>
                <a:ea charset="-122" panose="020b0503020204020204" pitchFamily="34" typeface="微软雅黑"/>
              </a:defRPr>
            </a:lvl1pPr>
          </a:lstStyle>
          <a:p>
            <a:pPr algn="ctr" defTabSz="914400" eaLnBrk="1" fontAlgn="auto" hangingPunct="1" indent="0" latinLnBrk="0" lvl="0" marL="0" marR="0">
              <a:lnSpc>
                <a:spcPct val="80000"/>
              </a:lnSpc>
              <a:spcBef>
                <a:spcPct val="0"/>
              </a:spcBef>
              <a:spcAft>
                <a:spcPct val="0"/>
              </a:spcAft>
              <a:buClrTx/>
              <a:buSzTx/>
              <a:buFontTx/>
              <a:buNone/>
              <a:defRPr/>
            </a:pPr>
            <a:r>
              <a:rPr altLang="en-US" lang="zh-CN" smtClean="0" sz="2000">
                <a:solidFill>
                  <a:srgbClr val="C00000"/>
                </a:solidFill>
              </a:rPr>
              <a:t>小标题</a:t>
            </a:r>
          </a:p>
        </p:txBody>
      </p:sp>
      <p:sp>
        <p:nvSpPr>
          <p:cNvPr id="28" name="TextBox 40"/>
          <p:cNvSpPr txBox="1"/>
          <p:nvPr/>
        </p:nvSpPr>
        <p:spPr>
          <a:xfrm>
            <a:off x="2321934" y="5684424"/>
            <a:ext cx="1052801" cy="335280"/>
          </a:xfrm>
          <a:prstGeom prst="rect">
            <a:avLst/>
          </a:prstGeom>
          <a:noFill/>
        </p:spPr>
        <p:txBody>
          <a:bodyPr rtlCol="0" wrap="square">
            <a:spAutoFit/>
          </a:bodyPr>
          <a:lstStyle>
            <a:defPPr>
              <a:defRPr lang="en-US"/>
            </a:defPPr>
            <a:lvl1pPr lvl="0">
              <a:lnSpc>
                <a:spcPct val="80000"/>
              </a:lnSpc>
              <a:defRPr b="1" kern="0" sz="4400">
                <a:ln cmpd="sng" w="18415">
                  <a:noFill/>
                  <a:prstDash val="solid"/>
                </a:ln>
                <a:solidFill>
                  <a:srgbClr val="FFC000"/>
                </a:solidFill>
                <a:latin charset="0" pitchFamily="34" typeface="Agency FB"/>
                <a:ea charset="-122" panose="020b0503020204020204" pitchFamily="34" typeface="微软雅黑"/>
              </a:defRPr>
            </a:lvl1pPr>
          </a:lstStyle>
          <a:p>
            <a:pPr algn="ctr" defTabSz="914400" eaLnBrk="1" fontAlgn="auto" hangingPunct="1" indent="0" latinLnBrk="0" lvl="0" marL="0" marR="0">
              <a:lnSpc>
                <a:spcPct val="80000"/>
              </a:lnSpc>
              <a:spcBef>
                <a:spcPct val="0"/>
              </a:spcBef>
              <a:spcAft>
                <a:spcPct val="0"/>
              </a:spcAft>
              <a:buClrTx/>
              <a:buSzTx/>
              <a:buFontTx/>
              <a:buNone/>
              <a:defRPr/>
            </a:pPr>
            <a:r>
              <a:rPr altLang="en-US" lang="zh-CN" smtClean="0" sz="2000">
                <a:solidFill>
                  <a:srgbClr val="C00000"/>
                </a:solidFill>
              </a:rPr>
              <a:t>小标题</a:t>
            </a:r>
          </a:p>
        </p:txBody>
      </p:sp>
      <p:sp>
        <p:nvSpPr>
          <p:cNvPr id="29" name="TextBox 41"/>
          <p:cNvSpPr txBox="1"/>
          <p:nvPr/>
        </p:nvSpPr>
        <p:spPr>
          <a:xfrm>
            <a:off x="5189109" y="3454351"/>
            <a:ext cx="2893632" cy="731520"/>
          </a:xfrm>
          <a:prstGeom prst="rect">
            <a:avLst/>
          </a:prstGeom>
          <a:noFill/>
        </p:spPr>
        <p:txBody>
          <a:bodyPr rtlCol="0" wrap="square">
            <a:spAutoFit/>
          </a:bodyPr>
          <a:lstStyle/>
          <a:p>
            <a:pPr defTabSz="914400" eaLnBrk="1" fontAlgn="auto" hangingPunct="1" indent="0" latinLnBrk="0" lvl="0" marL="0" marR="0">
              <a:lnSpc>
                <a:spcPct val="100000"/>
              </a:lnSpc>
              <a:spcBef>
                <a:spcPct val="0"/>
              </a:spcBef>
              <a:spcAft>
                <a:spcPct val="0"/>
              </a:spcAft>
              <a:buClrTx/>
              <a:buSzTx/>
              <a:buFontTx/>
              <a:buNone/>
              <a:defRPr/>
            </a:pPr>
            <a:r>
              <a:rPr altLang="en-US" b="0" baseline="0" cap="none" i="0" kern="0" kumimoji="0" lang="zh-CN" noProof="0" normalizeH="0" smtClean="0" spc="0" strike="noStrike" sz="1400" u="none">
                <a:ln>
                  <a:noFill/>
                </a:ln>
                <a:solidFill>
                  <a:sysClr lastClr="FFFFFF" val="window"/>
                </a:solidFill>
                <a:effectLst/>
                <a:uLnTx/>
                <a:uFillTx/>
                <a:latin charset="0" panose="020b0604020202020204" pitchFamily="34" typeface="Arial"/>
                <a:ea charset="-122" panose="020b0503020204020204" pitchFamily="34" typeface="微软雅黑"/>
                <a:cs charset="0" panose="020b0604020202020204" pitchFamily="34" typeface="Arial"/>
              </a:rPr>
              <a:t>此处输入文本此处输入文本此处输入文本此处输入文本此处输入文本此处输入文本此处输入文本</a:t>
            </a:r>
          </a:p>
        </p:txBody>
      </p:sp>
      <p:sp>
        <p:nvSpPr>
          <p:cNvPr id="30" name="TextBox 41"/>
          <p:cNvSpPr txBox="1"/>
          <p:nvPr/>
        </p:nvSpPr>
        <p:spPr>
          <a:xfrm>
            <a:off x="3815015" y="5300970"/>
            <a:ext cx="2893632" cy="731520"/>
          </a:xfrm>
          <a:prstGeom prst="rect">
            <a:avLst/>
          </a:prstGeom>
          <a:noFill/>
        </p:spPr>
        <p:txBody>
          <a:bodyPr rtlCol="0" wrap="square">
            <a:spAutoFit/>
          </a:bodyPr>
          <a:lstStyle/>
          <a:p>
            <a:pPr defTabSz="914400" eaLnBrk="1" fontAlgn="auto" hangingPunct="1" indent="0" latinLnBrk="0" lvl="0" marL="0" marR="0">
              <a:lnSpc>
                <a:spcPct val="100000"/>
              </a:lnSpc>
              <a:spcBef>
                <a:spcPct val="0"/>
              </a:spcBef>
              <a:spcAft>
                <a:spcPct val="0"/>
              </a:spcAft>
              <a:buClrTx/>
              <a:buSzTx/>
              <a:buFontTx/>
              <a:buNone/>
              <a:defRPr/>
            </a:pPr>
            <a:r>
              <a:rPr altLang="en-US" b="0" baseline="0" cap="none" i="0" kern="0" kumimoji="0" lang="zh-CN" noProof="0" normalizeH="0" smtClean="0" spc="0" strike="noStrike" sz="1400" u="none">
                <a:ln>
                  <a:noFill/>
                </a:ln>
                <a:solidFill>
                  <a:sysClr lastClr="FFFFFF" val="window"/>
                </a:solidFill>
                <a:effectLst/>
                <a:uLnTx/>
                <a:uFillTx/>
                <a:latin charset="0" panose="020b0604020202020204" pitchFamily="34" typeface="Arial"/>
                <a:ea charset="-122" panose="020b0503020204020204" pitchFamily="34" typeface="微软雅黑"/>
                <a:cs charset="0" panose="020b0604020202020204" pitchFamily="34" typeface="Arial"/>
              </a:rPr>
              <a:t>此处输入文本此处输入文本此处输入文本此处输入文本此处输入文本此处输入文本此处输入文本</a:t>
            </a:r>
          </a:p>
        </p:txBody>
      </p:sp>
    </p:spTree>
    <p:extLst>
      <p:ext uri="{BB962C8B-B14F-4D97-AF65-F5344CB8AC3E}">
        <p14:creationId val="1290605870"/>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A3252D13-48F9-469A-A272-322D68702E39}" type="slidenum">
              <a:rPr altLang="en-US" lang="zh-CN" smtClean="0"/>
              <a:t>25</a:t>
            </a:fld>
          </a:p>
        </p:txBody>
      </p:sp>
      <p:pic>
        <p:nvPicPr>
          <p:cNvPr id="3" name="图片 2"/>
          <p:cNvPicPr>
            <a:picLocks noChangeAspect="1"/>
          </p:cNvPicPr>
          <p:nvPr/>
        </p:nvPicPr>
        <p:blipFill>
          <a:blip r:embed="rId2">
            <a:extLst>
              <a:ext uri="{BEBA8EAE-BF5A-486C-A8C5-ECC9F3942E4B}">
                <a14:imgProps>
                  <a14:imgLayer xmlns:d3p1="http://schemas.openxmlformats.org/officeDocument/2006/relationships" d3p1:embed="">
                    <a14:imgEffect>
                      <a14:saturation sat="66000"/>
                    </a14:imgEffect>
                  </a14:imgLayer>
                </a14:imgProps>
              </a:ext>
              <a:ext uri="{28A0092B-C50C-407E-A947-70E740481C1C}">
                <a14:useLocalDpi/>
              </a:ext>
            </a:extLst>
          </a:blip>
          <a:srcRect b="42382" r="12839" t="15872"/>
          <a:stretch>
            <a:fillRect/>
          </a:stretch>
        </p:blipFill>
        <p:spPr>
          <a:xfrm>
            <a:off x="514350" y="1488075"/>
            <a:ext cx="7927672" cy="2532575"/>
          </a:xfrm>
          <a:prstGeom prst="rect">
            <a:avLst/>
          </a:prstGeom>
        </p:spPr>
      </p:pic>
      <p:sp>
        <p:nvSpPr>
          <p:cNvPr id="5" name="文本框 4"/>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6" name="矩形 5"/>
          <p:cNvSpPr/>
          <p:nvPr/>
        </p:nvSpPr>
        <p:spPr>
          <a:xfrm>
            <a:off x="0" y="1488075"/>
            <a:ext cx="514350" cy="253257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 name="矩形 6"/>
          <p:cNvSpPr/>
          <p:nvPr/>
        </p:nvSpPr>
        <p:spPr>
          <a:xfrm>
            <a:off x="8487742" y="1488074"/>
            <a:ext cx="3704258" cy="253257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 name="矩形 7"/>
          <p:cNvSpPr/>
          <p:nvPr/>
        </p:nvSpPr>
        <p:spPr>
          <a:xfrm>
            <a:off x="976122" y="4342011"/>
            <a:ext cx="144780" cy="631361"/>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 name="矩形 8"/>
          <p:cNvSpPr/>
          <p:nvPr/>
        </p:nvSpPr>
        <p:spPr>
          <a:xfrm>
            <a:off x="1329333" y="4349901"/>
            <a:ext cx="5669280" cy="640080"/>
          </a:xfrm>
          <a:prstGeom prst="rect">
            <a:avLst/>
          </a:prstGeom>
        </p:spPr>
        <p:txBody>
          <a:bodyPr wrap="none">
            <a:spAutoFit/>
          </a:bodyPr>
          <a:lstStyle/>
          <a:p>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此处输入文本此处输入文本</a:t>
            </a:r>
          </a:p>
          <a:p>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此处输入文本</a:t>
            </a:r>
          </a:p>
        </p:txBody>
      </p:sp>
      <p:sp>
        <p:nvSpPr>
          <p:cNvPr id="10" name="矩形 9"/>
          <p:cNvSpPr/>
          <p:nvPr/>
        </p:nvSpPr>
        <p:spPr>
          <a:xfrm>
            <a:off x="976122" y="5360171"/>
            <a:ext cx="144780" cy="631361"/>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矩形 10"/>
          <p:cNvSpPr/>
          <p:nvPr/>
        </p:nvSpPr>
        <p:spPr>
          <a:xfrm>
            <a:off x="1329333" y="5368061"/>
            <a:ext cx="5669280" cy="640080"/>
          </a:xfrm>
          <a:prstGeom prst="rect">
            <a:avLst/>
          </a:prstGeom>
        </p:spPr>
        <p:txBody>
          <a:bodyPr wrap="none">
            <a:spAutoFit/>
          </a:bodyPr>
          <a:lstStyle/>
          <a:p>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此处输入文本此处输入文本</a:t>
            </a:r>
          </a:p>
          <a:p>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此处输入文本</a:t>
            </a:r>
          </a:p>
        </p:txBody>
      </p:sp>
      <p:pic>
        <p:nvPicPr>
          <p:cNvPr id="13" name="图片 12"/>
          <p:cNvPicPr>
            <a:picLocks noChangeAspect="1"/>
          </p:cNvPicPr>
          <p:nvPr/>
        </p:nvPicPr>
        <p:blipFill>
          <a:blip r:embed="rId3">
            <a:extLst>
              <a:ext uri="{28A0092B-C50C-407E-A947-70E740481C1C}">
                <a14:useLocalDpi/>
              </a:ext>
            </a:extLst>
          </a:blip>
          <a:stretch>
            <a:fillRect/>
          </a:stretch>
        </p:blipFill>
        <p:spPr>
          <a:xfrm>
            <a:off x="8487742" y="4058211"/>
            <a:ext cx="3704258" cy="1862529"/>
          </a:xfrm>
          <a:prstGeom prst="rect">
            <a:avLst/>
          </a:prstGeom>
        </p:spPr>
      </p:pic>
      <p:sp>
        <p:nvSpPr>
          <p:cNvPr id="16" name="矩形 15"/>
          <p:cNvSpPr/>
          <p:nvPr/>
        </p:nvSpPr>
        <p:spPr>
          <a:xfrm>
            <a:off x="8805671" y="2084947"/>
            <a:ext cx="3194304" cy="1325880"/>
          </a:xfrm>
          <a:prstGeom prst="rect">
            <a:avLst/>
          </a:prstGeom>
        </p:spPr>
        <p:txBody>
          <a:bodyPr wrap="square">
            <a:spAutoFit/>
          </a:bodyPr>
          <a:lstStyle/>
          <a:p>
            <a:pPr>
              <a:lnSpc>
                <a:spcPct val="150000"/>
              </a:lnSpc>
            </a:pPr>
            <a:r>
              <a:rPr altLang="en-US" lang="zh-CN">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a:t>
            </a:r>
          </a:p>
        </p:txBody>
      </p:sp>
    </p:spTree>
    <p:extLst>
      <p:ext uri="{BB962C8B-B14F-4D97-AF65-F5344CB8AC3E}">
        <p14:creationId val="451478819"/>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2" name="图片 1"/>
          <p:cNvPicPr>
            <a:picLocks noChangeAspect="1"/>
          </p:cNvPicPr>
          <p:nvPr/>
        </p:nvPicPr>
        <p:blipFill>
          <a:blip r:embed="rId3">
            <a:extLst>
              <a:ext uri="{BEBA8EAE-BF5A-486C-A8C5-ECC9F3942E4B}">
                <a14:imgProps>
                  <a14:imgLayer xmlns:d3p1="http://schemas.openxmlformats.org/officeDocument/2006/relationships" d3p1:embed="">
                    <a14:imgEffect>
                      <a14:artisticBlur/>
                    </a14:imgEffect>
                  </a14:imgLayer>
                </a14:imgProps>
              </a:ext>
              <a:ext uri="{28A0092B-C50C-407E-A947-70E740481C1C}">
                <a14:useLocalDpi/>
              </a:ext>
            </a:extLst>
          </a:blip>
          <a:stretch>
            <a:fillRect/>
          </a:stretch>
        </p:blipFill>
        <p:spPr>
          <a:xfrm>
            <a:off x="1877155" y="9632"/>
            <a:ext cx="10312782" cy="6858000"/>
          </a:xfrm>
          <a:prstGeom prst="rect">
            <a:avLst/>
          </a:prstGeom>
        </p:spPr>
      </p:pic>
      <p:sp>
        <p:nvSpPr>
          <p:cNvPr id="7" name="任意多边形 6"/>
          <p:cNvSpPr/>
          <p:nvPr/>
        </p:nvSpPr>
        <p:spPr>
          <a:xfrm flipV="1">
            <a:off x="-12192" y="-12191"/>
            <a:ext cx="5987384" cy="6894575"/>
          </a:xfrm>
          <a:custGeom>
            <a:gdLst>
              <a:gd fmla="*/ 1612630 w 5987384" name="connsiteX0"/>
              <a:gd fmla="*/ 10885 h 6894575" name="connsiteY0"/>
              <a:gd fmla="*/ 5987384 w 5987384" name="connsiteX1"/>
              <a:gd fmla="*/ 0 h 6894575" name="connsiteY1"/>
              <a:gd fmla="*/ 2252280 w 5987384" name="connsiteX2"/>
              <a:gd fmla="*/ 6894575 h 6894575" name="connsiteY2"/>
              <a:gd fmla="*/ 0 w 5987384" name="connsiteX3"/>
              <a:gd fmla="*/ 6881077 h 6894575" name="connsiteY3"/>
              <a:gd fmla="*/ 0 w 5987384" name="connsiteX4"/>
              <a:gd fmla="*/ 2891132 h 6894575" name="connsiteY4"/>
              <a:gd fmla="*/ 1612630 w 5987384" name="connsiteX5"/>
              <a:gd fmla="*/ 10885 h 6894575"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6894575" w="5987384">
                <a:moveTo>
                  <a:pt x="1612630" y="10885"/>
                </a:moveTo>
                <a:lnTo>
                  <a:pt x="5987384" y="0"/>
                </a:lnTo>
                <a:lnTo>
                  <a:pt x="2252280" y="6894575"/>
                </a:lnTo>
                <a:lnTo>
                  <a:pt x="0" y="6881077"/>
                </a:lnTo>
                <a:lnTo>
                  <a:pt x="0" y="2891132"/>
                </a:lnTo>
                <a:lnTo>
                  <a:pt x="1612630" y="10885"/>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椭圆 9"/>
          <p:cNvSpPr/>
          <p:nvPr/>
        </p:nvSpPr>
        <p:spPr>
          <a:xfrm>
            <a:off x="519476" y="2366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椭圆 10"/>
          <p:cNvSpPr/>
          <p:nvPr/>
        </p:nvSpPr>
        <p:spPr>
          <a:xfrm>
            <a:off x="634601" y="3517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2000">
                <a:solidFill>
                  <a:srgbClr val="C00000"/>
                </a:solidFill>
                <a:latin charset="-122" panose="020b0503020204020204" pitchFamily="34" typeface="微软雅黑"/>
                <a:ea charset="-122" panose="020b0503020204020204" pitchFamily="34" typeface="微软雅黑"/>
              </a:rPr>
              <a:t>过渡页</a:t>
            </a:r>
          </a:p>
        </p:txBody>
      </p:sp>
      <p:sp>
        <p:nvSpPr>
          <p:cNvPr id="12" name="平行四边形 11"/>
          <p:cNvSpPr/>
          <p:nvPr/>
        </p:nvSpPr>
        <p:spPr>
          <a:xfrm flipV="1">
            <a:off x="2767165" y="2162300"/>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3" name="文本框 12"/>
          <p:cNvSpPr txBox="1"/>
          <p:nvPr/>
        </p:nvSpPr>
        <p:spPr>
          <a:xfrm>
            <a:off x="5421055" y="972044"/>
            <a:ext cx="2418080" cy="762000"/>
          </a:xfrm>
          <a:prstGeom prst="rect">
            <a:avLst/>
          </a:prstGeom>
          <a:noFill/>
        </p:spPr>
        <p:txBody>
          <a:bodyPr rtlCol="0" wrap="none">
            <a:spAutoFit/>
          </a:bodyPr>
          <a:lstStyle/>
          <a:p>
            <a:r>
              <a:rPr altLang="en-US" b="1" lang="zh-CN" smtClean="0" sz="4400">
                <a:solidFill>
                  <a:schemeClr val="tx1">
                    <a:lumMod val="65000"/>
                    <a:lumOff val="35000"/>
                  </a:schemeClr>
                </a:solidFill>
                <a:latin charset="-122" panose="020b0503020204020204" pitchFamily="34" typeface="微软雅黑"/>
                <a:ea charset="-122" panose="020b0503020204020204" pitchFamily="34" typeface="微软雅黑"/>
              </a:rPr>
              <a:t>第四部分</a:t>
            </a:r>
          </a:p>
        </p:txBody>
      </p:sp>
      <p:sp>
        <p:nvSpPr>
          <p:cNvPr id="14" name="矩形 13"/>
          <p:cNvSpPr/>
          <p:nvPr/>
        </p:nvSpPr>
        <p:spPr>
          <a:xfrm>
            <a:off x="4276217" y="2302952"/>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5" name="平行四边形 14"/>
          <p:cNvSpPr/>
          <p:nvPr/>
        </p:nvSpPr>
        <p:spPr>
          <a:xfrm flipV="1">
            <a:off x="3329985" y="3322714"/>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6" name="矩形 15"/>
          <p:cNvSpPr/>
          <p:nvPr/>
        </p:nvSpPr>
        <p:spPr>
          <a:xfrm>
            <a:off x="4839037" y="3463366"/>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7" name="平行四边形 16"/>
          <p:cNvSpPr/>
          <p:nvPr/>
        </p:nvSpPr>
        <p:spPr>
          <a:xfrm flipV="1">
            <a:off x="3950671" y="4483128"/>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8" name="矩形 17"/>
          <p:cNvSpPr/>
          <p:nvPr/>
        </p:nvSpPr>
        <p:spPr>
          <a:xfrm>
            <a:off x="5459723" y="4623781"/>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9" name="直角三角形 18"/>
          <p:cNvSpPr/>
          <p:nvPr/>
        </p:nvSpPr>
        <p:spPr>
          <a:xfrm rot="10800000">
            <a:off x="11466342" y="153"/>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0" name="椭圆 19"/>
          <p:cNvSpPr/>
          <p:nvPr/>
        </p:nvSpPr>
        <p:spPr>
          <a:xfrm>
            <a:off x="1531909" y="2107952"/>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2" name="椭圆 21"/>
          <p:cNvSpPr/>
          <p:nvPr/>
        </p:nvSpPr>
        <p:spPr>
          <a:xfrm>
            <a:off x="2130205" y="33089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3" name="椭圆 22"/>
          <p:cNvSpPr/>
          <p:nvPr/>
        </p:nvSpPr>
        <p:spPr>
          <a:xfrm>
            <a:off x="2654029" y="4488238"/>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9" name="Freeform 22"/>
          <p:cNvSpPr>
            <a:spLocks noEditPoints="1"/>
          </p:cNvSpPr>
          <p:nvPr/>
        </p:nvSpPr>
        <p:spPr bwMode="black">
          <a:xfrm>
            <a:off x="1729366" y="2324724"/>
            <a:ext cx="503092" cy="478868"/>
          </a:xfrm>
          <a:custGeom>
            <a:gdLst>
              <a:gd fmla="*/ 300 w 300" name="T0"/>
              <a:gd fmla="*/ 141 h 300" name="T1"/>
              <a:gd fmla="*/ 285 w 300" name="T2"/>
              <a:gd fmla="*/ 141 h 300" name="T3"/>
              <a:gd fmla="*/ 159 w 300" name="T4"/>
              <a:gd fmla="*/ 15 h 300" name="T5"/>
              <a:gd fmla="*/ 159 w 300" name="T6"/>
              <a:gd fmla="*/ 0 h 300" name="T7"/>
              <a:gd fmla="*/ 141 w 300" name="T8"/>
              <a:gd fmla="*/ 0 h 300" name="T9"/>
              <a:gd fmla="*/ 141 w 300" name="T10"/>
              <a:gd fmla="*/ 15 h 300" name="T11"/>
              <a:gd fmla="*/ 15 w 300" name="T12"/>
              <a:gd fmla="*/ 141 h 300" name="T13"/>
              <a:gd fmla="*/ 0 w 300" name="T14"/>
              <a:gd fmla="*/ 141 h 300" name="T15"/>
              <a:gd fmla="*/ 0 w 300" name="T16"/>
              <a:gd fmla="*/ 159 h 300" name="T17"/>
              <a:gd fmla="*/ 15 w 300" name="T18"/>
              <a:gd fmla="*/ 159 h 300" name="T19"/>
              <a:gd fmla="*/ 141 w 300" name="T20"/>
              <a:gd fmla="*/ 285 h 300" name="T21"/>
              <a:gd fmla="*/ 141 w 300" name="T22"/>
              <a:gd fmla="*/ 300 h 300" name="T23"/>
              <a:gd fmla="*/ 159 w 300" name="T24"/>
              <a:gd fmla="*/ 300 h 300" name="T25"/>
              <a:gd fmla="*/ 159 w 300" name="T26"/>
              <a:gd fmla="*/ 285 h 300" name="T27"/>
              <a:gd fmla="*/ 285 w 300" name="T28"/>
              <a:gd fmla="*/ 159 h 300" name="T29"/>
              <a:gd fmla="*/ 300 w 300" name="T30"/>
              <a:gd fmla="*/ 159 h 300" name="T31"/>
              <a:gd fmla="*/ 300 w 300" name="T32"/>
              <a:gd fmla="*/ 141 h 300" name="T33"/>
              <a:gd fmla="*/ 258 w 300" name="T34"/>
              <a:gd fmla="*/ 141 h 300" name="T35"/>
              <a:gd fmla="*/ 230 w 300" name="T36"/>
              <a:gd fmla="*/ 141 h 300" name="T37"/>
              <a:gd fmla="*/ 159 w 300" name="T38"/>
              <a:gd fmla="*/ 70 h 300" name="T39"/>
              <a:gd fmla="*/ 159 w 300" name="T40"/>
              <a:gd fmla="*/ 42 h 300" name="T41"/>
              <a:gd fmla="*/ 258 w 300" name="T42"/>
              <a:gd fmla="*/ 141 h 300" name="T43"/>
              <a:gd fmla="*/ 141 w 300" name="T44"/>
              <a:gd fmla="*/ 125 h 300" name="T45"/>
              <a:gd fmla="*/ 125 w 300" name="T46"/>
              <a:gd fmla="*/ 141 h 300" name="T47"/>
              <a:gd fmla="*/ 97 w 300" name="T48"/>
              <a:gd fmla="*/ 141 h 300" name="T49"/>
              <a:gd fmla="*/ 141 w 300" name="T50"/>
              <a:gd fmla="*/ 97 h 300" name="T51"/>
              <a:gd fmla="*/ 141 w 300" name="T52"/>
              <a:gd fmla="*/ 125 h 300" name="T53"/>
              <a:gd fmla="*/ 125 w 300" name="T54"/>
              <a:gd fmla="*/ 159 h 300" name="T55"/>
              <a:gd fmla="*/ 141 w 300" name="T56"/>
              <a:gd fmla="*/ 175 h 300" name="T57"/>
              <a:gd fmla="*/ 141 w 300" name="T58"/>
              <a:gd fmla="*/ 203 h 300" name="T59"/>
              <a:gd fmla="*/ 97 w 300" name="T60"/>
              <a:gd fmla="*/ 159 h 300" name="T61"/>
              <a:gd fmla="*/ 125 w 300" name="T62"/>
              <a:gd fmla="*/ 159 h 300" name="T63"/>
              <a:gd fmla="*/ 159 w 300" name="T64"/>
              <a:gd fmla="*/ 175 h 300" name="T65"/>
              <a:gd fmla="*/ 175 w 300" name="T66"/>
              <a:gd fmla="*/ 159 h 300" name="T67"/>
              <a:gd fmla="*/ 203 w 300" name="T68"/>
              <a:gd fmla="*/ 159 h 300" name="T69"/>
              <a:gd fmla="*/ 159 w 300" name="T70"/>
              <a:gd fmla="*/ 203 h 300" name="T71"/>
              <a:gd fmla="*/ 159 w 300" name="T72"/>
              <a:gd fmla="*/ 175 h 300" name="T73"/>
              <a:gd fmla="*/ 175 w 300" name="T74"/>
              <a:gd fmla="*/ 141 h 300" name="T75"/>
              <a:gd fmla="*/ 159 w 300" name="T76"/>
              <a:gd fmla="*/ 125 h 300" name="T77"/>
              <a:gd fmla="*/ 159 w 300" name="T78"/>
              <a:gd fmla="*/ 97 h 300" name="T79"/>
              <a:gd fmla="*/ 203 w 300" name="T80"/>
              <a:gd fmla="*/ 141 h 300" name="T81"/>
              <a:gd fmla="*/ 175 w 300" name="T82"/>
              <a:gd fmla="*/ 141 h 300" name="T83"/>
              <a:gd fmla="*/ 141 w 300" name="T84"/>
              <a:gd fmla="*/ 42 h 300" name="T85"/>
              <a:gd fmla="*/ 141 w 300" name="T86"/>
              <a:gd fmla="*/ 70 h 300" name="T87"/>
              <a:gd fmla="*/ 70 w 300" name="T88"/>
              <a:gd fmla="*/ 141 h 300" name="T89"/>
              <a:gd fmla="*/ 42 w 300" name="T90"/>
              <a:gd fmla="*/ 141 h 300" name="T91"/>
              <a:gd fmla="*/ 141 w 300" name="T92"/>
              <a:gd fmla="*/ 42 h 300" name="T93"/>
              <a:gd fmla="*/ 42 w 300" name="T94"/>
              <a:gd fmla="*/ 159 h 300" name="T95"/>
              <a:gd fmla="*/ 70 w 300" name="T96"/>
              <a:gd fmla="*/ 159 h 300" name="T97"/>
              <a:gd fmla="*/ 141 w 300" name="T98"/>
              <a:gd fmla="*/ 230 h 300" name="T99"/>
              <a:gd fmla="*/ 141 w 300" name="T100"/>
              <a:gd fmla="*/ 258 h 300" name="T101"/>
              <a:gd fmla="*/ 42 w 300" name="T102"/>
              <a:gd fmla="*/ 159 h 300" name="T103"/>
              <a:gd fmla="*/ 159 w 300" name="T104"/>
              <a:gd fmla="*/ 258 h 300" name="T105"/>
              <a:gd fmla="*/ 159 w 300" name="T106"/>
              <a:gd fmla="*/ 230 h 300" name="T107"/>
              <a:gd fmla="*/ 230 w 300" name="T108"/>
              <a:gd fmla="*/ 159 h 300" name="T109"/>
              <a:gd fmla="*/ 258 w 300" name="T110"/>
              <a:gd fmla="*/ 159 h 300" name="T111"/>
              <a:gd fmla="*/ 159 w 300" name="T112"/>
              <a:gd fmla="*/ 258 h 300"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300" w="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t" anchorCtr="0" bIns="41153" compatLnSpc="1" lIns="82305" numCol="1" rIns="82305" tIns="41153" vert="horz" wrap="square">
            <a:prstTxWarp prst="textNoShape">
              <a:avLst/>
            </a:prstTxWarp>
          </a:bodyPr>
          <a:lstStyle/>
          <a:p>
            <a:pPr defTabSz="914019"/>
            <a:endParaRPr lang="en-US" sz="1600">
              <a:solidFill>
                <a:srgbClr val="FFFFFF"/>
              </a:solidFill>
            </a:endParaRPr>
          </a:p>
        </p:txBody>
      </p:sp>
      <p:sp>
        <p:nvSpPr>
          <p:cNvPr id="40" name="Oval 2"/>
          <p:cNvSpPr>
            <a:spLocks noChangeAspect="1"/>
          </p:cNvSpPr>
          <p:nvPr/>
        </p:nvSpPr>
        <p:spPr bwMode="auto">
          <a:xfrm>
            <a:off x="2853143" y="4698703"/>
            <a:ext cx="503087" cy="513440"/>
          </a:xfrm>
          <a:custGeom>
            <a:rect b="b" l="l" r="r" t="t"/>
            <a:pathLst>
              <a:path h="6400800" w="6400801">
                <a:moveTo>
                  <a:pt x="2938779" y="4069139"/>
                </a:moveTo>
                <a:cubicBezTo>
                  <a:pt x="2956231" y="4067140"/>
                  <a:pt x="2974014" y="4067638"/>
                  <a:pt x="2991556" y="4070755"/>
                </a:cubicBezTo>
                <a:cubicBezTo>
                  <a:pt x="3014946" y="4074909"/>
                  <a:pt x="3037908" y="4083720"/>
                  <a:pt x="3059084" y="4097472"/>
                </a:cubicBezTo>
                <a:cubicBezTo>
                  <a:pt x="3143792" y="4152481"/>
                  <a:pt x="3167866" y="4265744"/>
                  <a:pt x="3112857" y="4350451"/>
                </a:cubicBezTo>
                <a:lnTo>
                  <a:pt x="2988352" y="4542172"/>
                </a:lnTo>
                <a:cubicBezTo>
                  <a:pt x="2933343" y="4626878"/>
                  <a:pt x="2820081" y="4650954"/>
                  <a:pt x="2735373" y="4595945"/>
                </a:cubicBezTo>
                <a:cubicBezTo>
                  <a:pt x="2650665" y="4540935"/>
                  <a:pt x="2626590" y="4427672"/>
                  <a:pt x="2681600" y="4342965"/>
                </a:cubicBezTo>
                <a:lnTo>
                  <a:pt x="2806105" y="4151244"/>
                </a:lnTo>
                <a:cubicBezTo>
                  <a:pt x="2837048" y="4103596"/>
                  <a:pt x="2886422" y="4075134"/>
                  <a:pt x="2938779" y="4069139"/>
                </a:cubicBezTo>
                <a:close/>
                <a:moveTo>
                  <a:pt x="5599195" y="3955694"/>
                </a:moveTo>
                <a:lnTo>
                  <a:pt x="6310324" y="3955694"/>
                </a:lnTo>
                <a:cubicBezTo>
                  <a:pt x="5971594" y="5358821"/>
                  <a:pt x="4707682" y="6400800"/>
                  <a:pt x="3200402" y="6400800"/>
                </a:cubicBezTo>
                <a:cubicBezTo>
                  <a:pt x="1795855" y="6400800"/>
                  <a:pt x="602631" y="5496018"/>
                  <a:pt x="174768" y="4236478"/>
                </a:cubicBezTo>
                <a:lnTo>
                  <a:pt x="911006" y="4236478"/>
                </a:lnTo>
                <a:cubicBezTo>
                  <a:pt x="1303909" y="5108844"/>
                  <a:pt x="2181368" y="5715000"/>
                  <a:pt x="3200402" y="5715000"/>
                </a:cubicBezTo>
                <a:cubicBezTo>
                  <a:pt x="4325971" y="5715000"/>
                  <a:pt x="5278816" y="4975478"/>
                  <a:pt x="5599195" y="3955694"/>
                </a:cubicBezTo>
                <a:close/>
                <a:moveTo>
                  <a:pt x="1486918" y="3748003"/>
                </a:moveTo>
                <a:cubicBezTo>
                  <a:pt x="1504370" y="3746005"/>
                  <a:pt x="1522154" y="3746503"/>
                  <a:pt x="1539696" y="3749619"/>
                </a:cubicBezTo>
                <a:cubicBezTo>
                  <a:pt x="1563086" y="3753774"/>
                  <a:pt x="1586048" y="3762584"/>
                  <a:pt x="1607224" y="3776337"/>
                </a:cubicBezTo>
                <a:cubicBezTo>
                  <a:pt x="1691932" y="3831346"/>
                  <a:pt x="1716006" y="3944609"/>
                  <a:pt x="1660997" y="4029316"/>
                </a:cubicBezTo>
                <a:lnTo>
                  <a:pt x="1536492" y="4221036"/>
                </a:lnTo>
                <a:cubicBezTo>
                  <a:pt x="1481483" y="4305744"/>
                  <a:pt x="1368220" y="4329819"/>
                  <a:pt x="1283513" y="4274809"/>
                </a:cubicBezTo>
                <a:cubicBezTo>
                  <a:pt x="1198805" y="4219799"/>
                  <a:pt x="1174730" y="4106537"/>
                  <a:pt x="1229740" y="4021829"/>
                </a:cubicBezTo>
                <a:lnTo>
                  <a:pt x="1354245" y="3830109"/>
                </a:lnTo>
                <a:cubicBezTo>
                  <a:pt x="1385188" y="3782461"/>
                  <a:pt x="1434563" y="3753997"/>
                  <a:pt x="1486918" y="3748003"/>
                </a:cubicBezTo>
                <a:close/>
                <a:moveTo>
                  <a:pt x="2583225" y="3741166"/>
                </a:moveTo>
                <a:cubicBezTo>
                  <a:pt x="2600677" y="3739167"/>
                  <a:pt x="2618461" y="3739666"/>
                  <a:pt x="2636003" y="3742783"/>
                </a:cubicBezTo>
                <a:cubicBezTo>
                  <a:pt x="2659393" y="3746937"/>
                  <a:pt x="2682355" y="3755747"/>
                  <a:pt x="2703532" y="3769499"/>
                </a:cubicBezTo>
                <a:cubicBezTo>
                  <a:pt x="2788239" y="3824509"/>
                  <a:pt x="2812314" y="3937772"/>
                  <a:pt x="2757304" y="4022479"/>
                </a:cubicBezTo>
                <a:lnTo>
                  <a:pt x="2458493" y="4482607"/>
                </a:lnTo>
                <a:cubicBezTo>
                  <a:pt x="2403484" y="4567315"/>
                  <a:pt x="2290221" y="4591390"/>
                  <a:pt x="2205514" y="4536380"/>
                </a:cubicBezTo>
                <a:cubicBezTo>
                  <a:pt x="2120806" y="4481370"/>
                  <a:pt x="2096732" y="4368108"/>
                  <a:pt x="2151741" y="4283400"/>
                </a:cubicBezTo>
                <a:lnTo>
                  <a:pt x="2450552" y="3823272"/>
                </a:lnTo>
                <a:cubicBezTo>
                  <a:pt x="2481495" y="3775625"/>
                  <a:pt x="2530870" y="3747161"/>
                  <a:pt x="2583225" y="3741166"/>
                </a:cubicBezTo>
                <a:close/>
                <a:moveTo>
                  <a:pt x="2180840" y="3483954"/>
                </a:moveTo>
                <a:cubicBezTo>
                  <a:pt x="2198293" y="3481957"/>
                  <a:pt x="2216075" y="3482455"/>
                  <a:pt x="2233618" y="3485571"/>
                </a:cubicBezTo>
                <a:cubicBezTo>
                  <a:pt x="2257008" y="3489726"/>
                  <a:pt x="2279970" y="3498537"/>
                  <a:pt x="2301147" y="3512288"/>
                </a:cubicBezTo>
                <a:cubicBezTo>
                  <a:pt x="2385854" y="3567298"/>
                  <a:pt x="2409929" y="3680560"/>
                  <a:pt x="2354918" y="3765268"/>
                </a:cubicBezTo>
                <a:lnTo>
                  <a:pt x="1956504" y="4378773"/>
                </a:lnTo>
                <a:cubicBezTo>
                  <a:pt x="1901495" y="4463479"/>
                  <a:pt x="1788232" y="4487555"/>
                  <a:pt x="1703524" y="4432545"/>
                </a:cubicBezTo>
                <a:cubicBezTo>
                  <a:pt x="1618818" y="4377535"/>
                  <a:pt x="1594743" y="4264272"/>
                  <a:pt x="1649752" y="4179565"/>
                </a:cubicBezTo>
                <a:lnTo>
                  <a:pt x="2048167" y="3566060"/>
                </a:lnTo>
                <a:cubicBezTo>
                  <a:pt x="2079109" y="3518413"/>
                  <a:pt x="2128484" y="3489950"/>
                  <a:pt x="2180840" y="3483954"/>
                </a:cubicBezTo>
                <a:close/>
                <a:moveTo>
                  <a:pt x="1956920" y="2161748"/>
                </a:moveTo>
                <a:cubicBezTo>
                  <a:pt x="1979525" y="2163726"/>
                  <a:pt x="2001374" y="2174326"/>
                  <a:pt x="2017112" y="2193079"/>
                </a:cubicBezTo>
                <a:cubicBezTo>
                  <a:pt x="2046159" y="2227697"/>
                  <a:pt x="2044230" y="2277999"/>
                  <a:pt x="2013153" y="2309251"/>
                </a:cubicBezTo>
                <a:lnTo>
                  <a:pt x="2014245" y="2310464"/>
                </a:lnTo>
                <a:lnTo>
                  <a:pt x="2008427" y="2315176"/>
                </a:lnTo>
                <a:cubicBezTo>
                  <a:pt x="2007986" y="2316444"/>
                  <a:pt x="2007094" y="2317222"/>
                  <a:pt x="2006184" y="2317986"/>
                </a:cubicBezTo>
                <a:lnTo>
                  <a:pt x="1806882" y="2485219"/>
                </a:lnTo>
                <a:cubicBezTo>
                  <a:pt x="1704191" y="2599553"/>
                  <a:pt x="1697282" y="2774681"/>
                  <a:pt x="1797185" y="2898050"/>
                </a:cubicBezTo>
                <a:cubicBezTo>
                  <a:pt x="1908420" y="3035413"/>
                  <a:pt x="2109946" y="3056594"/>
                  <a:pt x="2247309" y="2945360"/>
                </a:cubicBezTo>
                <a:lnTo>
                  <a:pt x="2338616" y="2871422"/>
                </a:lnTo>
                <a:lnTo>
                  <a:pt x="2338630" y="2871437"/>
                </a:lnTo>
                <a:lnTo>
                  <a:pt x="2338945" y="2871156"/>
                </a:lnTo>
                <a:lnTo>
                  <a:pt x="2602621" y="2657635"/>
                </a:lnTo>
                <a:cubicBezTo>
                  <a:pt x="2608606" y="2652788"/>
                  <a:pt x="2614369" y="2647772"/>
                  <a:pt x="2618891" y="2641505"/>
                </a:cubicBezTo>
                <a:cubicBezTo>
                  <a:pt x="2716015" y="2580063"/>
                  <a:pt x="2827312" y="2544504"/>
                  <a:pt x="2944280" y="2540144"/>
                </a:cubicBezTo>
                <a:cubicBezTo>
                  <a:pt x="2997945" y="2538144"/>
                  <a:pt x="3049962" y="2542817"/>
                  <a:pt x="3099337" y="2555009"/>
                </a:cubicBezTo>
                <a:cubicBezTo>
                  <a:pt x="3099582" y="2554669"/>
                  <a:pt x="3099830" y="2554330"/>
                  <a:pt x="3099955" y="2553895"/>
                </a:cubicBezTo>
                <a:lnTo>
                  <a:pt x="3507123" y="2641827"/>
                </a:lnTo>
                <a:lnTo>
                  <a:pt x="3840287" y="2720589"/>
                </a:lnTo>
                <a:lnTo>
                  <a:pt x="3839574" y="2722689"/>
                </a:lnTo>
                <a:cubicBezTo>
                  <a:pt x="3918505" y="2742806"/>
                  <a:pt x="3992686" y="2774673"/>
                  <a:pt x="4059647" y="2818014"/>
                </a:cubicBezTo>
                <a:lnTo>
                  <a:pt x="4436081" y="3181533"/>
                </a:lnTo>
                <a:lnTo>
                  <a:pt x="4492118" y="3242741"/>
                </a:lnTo>
                <a:cubicBezTo>
                  <a:pt x="4502616" y="3245767"/>
                  <a:pt x="4510658" y="3252516"/>
                  <a:pt x="4518205" y="3260063"/>
                </a:cubicBezTo>
                <a:lnTo>
                  <a:pt x="5035468" y="3777326"/>
                </a:lnTo>
                <a:cubicBezTo>
                  <a:pt x="5106887" y="3848745"/>
                  <a:pt x="5106887" y="3964538"/>
                  <a:pt x="5035467" y="4035957"/>
                </a:cubicBezTo>
                <a:cubicBezTo>
                  <a:pt x="4964049" y="4107377"/>
                  <a:pt x="4848256" y="4107377"/>
                  <a:pt x="4776836" y="4035958"/>
                </a:cubicBezTo>
                <a:lnTo>
                  <a:pt x="4355415" y="3614535"/>
                </a:lnTo>
                <a:lnTo>
                  <a:pt x="4354368" y="3615620"/>
                </a:lnTo>
                <a:cubicBezTo>
                  <a:pt x="4331787" y="3604156"/>
                  <a:pt x="4303602" y="3608170"/>
                  <a:pt x="4284681" y="3627089"/>
                </a:cubicBezTo>
                <a:cubicBezTo>
                  <a:pt x="4267674" y="3644096"/>
                  <a:pt x="4262713" y="3668585"/>
                  <a:pt x="4272546" y="3688883"/>
                </a:cubicBezTo>
                <a:cubicBezTo>
                  <a:pt x="4293541" y="3697118"/>
                  <a:pt x="4312939" y="3710026"/>
                  <a:pt x="4329850" y="3726936"/>
                </a:cubicBezTo>
                <a:lnTo>
                  <a:pt x="4847114" y="4244199"/>
                </a:lnTo>
                <a:cubicBezTo>
                  <a:pt x="4918533" y="4315619"/>
                  <a:pt x="4918535" y="4431412"/>
                  <a:pt x="4847114" y="4502830"/>
                </a:cubicBezTo>
                <a:cubicBezTo>
                  <a:pt x="4775693" y="4574249"/>
                  <a:pt x="4659901" y="4574249"/>
                  <a:pt x="4588482" y="4502831"/>
                </a:cubicBezTo>
                <a:lnTo>
                  <a:pt x="4071219" y="3985568"/>
                </a:lnTo>
                <a:lnTo>
                  <a:pt x="4041024" y="3940095"/>
                </a:lnTo>
                <a:lnTo>
                  <a:pt x="4040360" y="3940782"/>
                </a:lnTo>
                <a:cubicBezTo>
                  <a:pt x="4017254" y="3924832"/>
                  <a:pt x="3985516" y="3927706"/>
                  <a:pt x="3964843" y="3948379"/>
                </a:cubicBezTo>
                <a:cubicBezTo>
                  <a:pt x="3944472" y="3968751"/>
                  <a:pt x="3941381" y="3999857"/>
                  <a:pt x="3957437" y="4022240"/>
                </a:cubicBezTo>
                <a:lnTo>
                  <a:pt x="4411220" y="4476023"/>
                </a:lnTo>
                <a:cubicBezTo>
                  <a:pt x="4482639" y="4547442"/>
                  <a:pt x="4482640" y="4663235"/>
                  <a:pt x="4411220" y="4734654"/>
                </a:cubicBezTo>
                <a:cubicBezTo>
                  <a:pt x="4339801" y="4806074"/>
                  <a:pt x="4224009" y="4806074"/>
                  <a:pt x="4152588" y="4734654"/>
                </a:cubicBezTo>
                <a:lnTo>
                  <a:pt x="3693759" y="4275824"/>
                </a:lnTo>
                <a:cubicBezTo>
                  <a:pt x="3674507" y="4266207"/>
                  <a:pt x="3651523" y="4271480"/>
                  <a:pt x="3635327" y="4287674"/>
                </a:cubicBezTo>
                <a:cubicBezTo>
                  <a:pt x="3616352" y="4306648"/>
                  <a:pt x="3612370" y="4334938"/>
                  <a:pt x="3624934" y="4356886"/>
                </a:cubicBezTo>
                <a:cubicBezTo>
                  <a:pt x="3635049" y="4359778"/>
                  <a:pt x="3642739" y="4366280"/>
                  <a:pt x="3649973" y="4373515"/>
                </a:cubicBezTo>
                <a:lnTo>
                  <a:pt x="3908605" y="4632146"/>
                </a:lnTo>
                <a:cubicBezTo>
                  <a:pt x="3980025" y="4703566"/>
                  <a:pt x="3980024" y="4819358"/>
                  <a:pt x="3908605" y="4890778"/>
                </a:cubicBezTo>
                <a:cubicBezTo>
                  <a:pt x="3837186" y="4962196"/>
                  <a:pt x="3721393" y="4962197"/>
                  <a:pt x="3649973" y="4890777"/>
                </a:cubicBezTo>
                <a:lnTo>
                  <a:pt x="3391342" y="4632145"/>
                </a:lnTo>
                <a:lnTo>
                  <a:pt x="3383755" y="4620718"/>
                </a:lnTo>
                <a:lnTo>
                  <a:pt x="3380889" y="4623684"/>
                </a:lnTo>
                <a:lnTo>
                  <a:pt x="3174745" y="4424613"/>
                </a:lnTo>
                <a:lnTo>
                  <a:pt x="3205723" y="4376911"/>
                </a:lnTo>
                <a:cubicBezTo>
                  <a:pt x="3288238" y="4249850"/>
                  <a:pt x="3252126" y="4079956"/>
                  <a:pt x="3125065" y="3997443"/>
                </a:cubicBezTo>
                <a:cubicBezTo>
                  <a:pt x="3050998" y="3949342"/>
                  <a:pt x="2962377" y="3941552"/>
                  <a:pt x="2885364" y="3969651"/>
                </a:cubicBezTo>
                <a:cubicBezTo>
                  <a:pt x="2904562" y="3864147"/>
                  <a:pt x="2860444" y="3752656"/>
                  <a:pt x="2764879" y="3690594"/>
                </a:cubicBezTo>
                <a:cubicBezTo>
                  <a:pt x="2675680" y="3632668"/>
                  <a:pt x="2565374" y="3633204"/>
                  <a:pt x="2479613" y="3683683"/>
                </a:cubicBezTo>
                <a:cubicBezTo>
                  <a:pt x="2491746" y="3584340"/>
                  <a:pt x="2447375" y="3482413"/>
                  <a:pt x="2357597" y="3424112"/>
                </a:cubicBezTo>
                <a:cubicBezTo>
                  <a:pt x="2230536" y="3341596"/>
                  <a:pt x="2060642" y="3377708"/>
                  <a:pt x="1978127" y="3504770"/>
                </a:cubicBezTo>
                <a:lnTo>
                  <a:pt x="1773143" y="3820415"/>
                </a:lnTo>
                <a:cubicBezTo>
                  <a:pt x="1771585" y="3822815"/>
                  <a:pt x="1770069" y="3825230"/>
                  <a:pt x="1769218" y="3828038"/>
                </a:cubicBezTo>
                <a:cubicBezTo>
                  <a:pt x="1752743" y="3768112"/>
                  <a:pt x="1714307" y="3714419"/>
                  <a:pt x="1658027" y="3677872"/>
                </a:cubicBezTo>
                <a:cubicBezTo>
                  <a:pt x="1530967" y="3595356"/>
                  <a:pt x="1361072" y="3631468"/>
                  <a:pt x="1278558" y="3758529"/>
                </a:cubicBezTo>
                <a:lnTo>
                  <a:pt x="1214041" y="3857878"/>
                </a:lnTo>
                <a:cubicBezTo>
                  <a:pt x="1129847" y="4012173"/>
                  <a:pt x="965736" y="4115631"/>
                  <a:pt x="777460" y="4115631"/>
                </a:cubicBezTo>
                <a:lnTo>
                  <a:pt x="770030" y="4114882"/>
                </a:lnTo>
                <a:lnTo>
                  <a:pt x="133314" y="4114882"/>
                </a:lnTo>
                <a:cubicBezTo>
                  <a:pt x="46334" y="3825273"/>
                  <a:pt x="0" y="3518249"/>
                  <a:pt x="0" y="3200402"/>
                </a:cubicBezTo>
                <a:cubicBezTo>
                  <a:pt x="-1" y="2981216"/>
                  <a:pt x="22034" y="2767175"/>
                  <a:pt x="64130" y="2560401"/>
                </a:cubicBezTo>
                <a:lnTo>
                  <a:pt x="1002249" y="2560400"/>
                </a:lnTo>
                <a:lnTo>
                  <a:pt x="1891037" y="2183134"/>
                </a:lnTo>
                <a:lnTo>
                  <a:pt x="1892205" y="2182154"/>
                </a:lnTo>
                <a:cubicBezTo>
                  <a:pt x="1910959" y="2166416"/>
                  <a:pt x="1934318" y="2159770"/>
                  <a:pt x="1956920" y="2161748"/>
                </a:cubicBezTo>
                <a:close/>
                <a:moveTo>
                  <a:pt x="3656858" y="1633115"/>
                </a:moveTo>
                <a:cubicBezTo>
                  <a:pt x="3684170" y="1634110"/>
                  <a:pt x="3710479" y="1635996"/>
                  <a:pt x="3735468" y="1640302"/>
                </a:cubicBezTo>
                <a:cubicBezTo>
                  <a:pt x="3736801" y="1640168"/>
                  <a:pt x="3738134" y="1640167"/>
                  <a:pt x="3739468" y="1640167"/>
                </a:cubicBezTo>
                <a:cubicBezTo>
                  <a:pt x="4305222" y="1640169"/>
                  <a:pt x="4816641" y="1846440"/>
                  <a:pt x="5181704" y="2180522"/>
                </a:cubicBezTo>
                <a:lnTo>
                  <a:pt x="5182750" y="2177646"/>
                </a:lnTo>
                <a:cubicBezTo>
                  <a:pt x="5259259" y="2244293"/>
                  <a:pt x="5359072" y="2283923"/>
                  <a:pt x="5468110" y="2284801"/>
                </a:cubicBezTo>
                <a:lnTo>
                  <a:pt x="5467703" y="2285921"/>
                </a:lnTo>
                <a:lnTo>
                  <a:pt x="6267485" y="2285921"/>
                </a:lnTo>
                <a:cubicBezTo>
                  <a:pt x="6354465" y="2575530"/>
                  <a:pt x="6400801" y="2882555"/>
                  <a:pt x="6400801" y="3200402"/>
                </a:cubicBezTo>
                <a:cubicBezTo>
                  <a:pt x="6400800" y="3419588"/>
                  <a:pt x="6378766" y="3633626"/>
                  <a:pt x="6336672" y="3840401"/>
                </a:cubicBezTo>
                <a:lnTo>
                  <a:pt x="5704421" y="3840400"/>
                </a:lnTo>
                <a:lnTo>
                  <a:pt x="5517569" y="3840400"/>
                </a:lnTo>
                <a:cubicBezTo>
                  <a:pt x="5516068" y="3840851"/>
                  <a:pt x="5514564" y="3840855"/>
                  <a:pt x="5513058" y="3840856"/>
                </a:cubicBezTo>
                <a:cubicBezTo>
                  <a:pt x="5346942" y="3840856"/>
                  <a:pt x="5196620" y="3773228"/>
                  <a:pt x="5088259" y="3663870"/>
                </a:cubicBezTo>
                <a:lnTo>
                  <a:pt x="5088088" y="3664207"/>
                </a:lnTo>
                <a:lnTo>
                  <a:pt x="4240840" y="2816960"/>
                </a:lnTo>
                <a:cubicBezTo>
                  <a:pt x="4240396" y="2817661"/>
                  <a:pt x="4239784" y="2818172"/>
                  <a:pt x="4239171" y="2818678"/>
                </a:cubicBezTo>
                <a:cubicBezTo>
                  <a:pt x="4135954" y="2720312"/>
                  <a:pt x="4008137" y="2648478"/>
                  <a:pt x="3866360" y="2610767"/>
                </a:cubicBezTo>
                <a:lnTo>
                  <a:pt x="3866992" y="2608888"/>
                </a:lnTo>
                <a:lnTo>
                  <a:pt x="3535264" y="2526178"/>
                </a:lnTo>
                <a:lnTo>
                  <a:pt x="3130135" y="2432647"/>
                </a:lnTo>
                <a:cubicBezTo>
                  <a:pt x="3130024" y="2433039"/>
                  <a:pt x="3129793" y="2433339"/>
                  <a:pt x="3129562" y="2433637"/>
                </a:cubicBezTo>
                <a:cubicBezTo>
                  <a:pt x="3080383" y="2420910"/>
                  <a:pt x="3028848" y="2414912"/>
                  <a:pt x="2975908" y="2414912"/>
                </a:cubicBezTo>
                <a:cubicBezTo>
                  <a:pt x="2811943" y="2414912"/>
                  <a:pt x="2661415" y="2472455"/>
                  <a:pt x="2545396" y="2570876"/>
                </a:cubicBezTo>
                <a:lnTo>
                  <a:pt x="2543573" y="2569717"/>
                </a:lnTo>
                <a:lnTo>
                  <a:pt x="2193720" y="2853022"/>
                </a:lnTo>
                <a:cubicBezTo>
                  <a:pt x="2105416" y="2924529"/>
                  <a:pt x="1975860" y="2910914"/>
                  <a:pt x="1904353" y="2822609"/>
                </a:cubicBezTo>
                <a:cubicBezTo>
                  <a:pt x="1832844" y="2734303"/>
                  <a:pt x="1846461" y="2604750"/>
                  <a:pt x="1934767" y="2533243"/>
                </a:cubicBezTo>
                <a:lnTo>
                  <a:pt x="2350832" y="2196320"/>
                </a:lnTo>
                <a:lnTo>
                  <a:pt x="2704088" y="1899903"/>
                </a:lnTo>
                <a:cubicBezTo>
                  <a:pt x="2709938" y="1893802"/>
                  <a:pt x="2716509" y="1888323"/>
                  <a:pt x="2723713" y="1883435"/>
                </a:cubicBezTo>
                <a:lnTo>
                  <a:pt x="2732397" y="1876148"/>
                </a:lnTo>
                <a:lnTo>
                  <a:pt x="2741152" y="1870710"/>
                </a:lnTo>
                <a:cubicBezTo>
                  <a:pt x="2794071" y="1830023"/>
                  <a:pt x="2859630" y="1794650"/>
                  <a:pt x="2933347" y="1767819"/>
                </a:cubicBezTo>
                <a:lnTo>
                  <a:pt x="3001298" y="1748265"/>
                </a:lnTo>
                <a:cubicBezTo>
                  <a:pt x="3071697" y="1720366"/>
                  <a:pt x="3148660" y="1697120"/>
                  <a:pt x="3229866" y="1678372"/>
                </a:cubicBezTo>
                <a:cubicBezTo>
                  <a:pt x="3383705" y="1642856"/>
                  <a:pt x="3530928" y="1628523"/>
                  <a:pt x="3656858" y="1633115"/>
                </a:cubicBezTo>
                <a:close/>
                <a:moveTo>
                  <a:pt x="3200402" y="0"/>
                </a:moveTo>
                <a:cubicBezTo>
                  <a:pt x="4604889" y="0"/>
                  <a:pt x="5798071" y="904705"/>
                  <a:pt x="6225978" y="2164162"/>
                </a:cubicBezTo>
                <a:lnTo>
                  <a:pt x="5489721" y="2164162"/>
                </a:lnTo>
                <a:cubicBezTo>
                  <a:pt x="5096787" y="1291881"/>
                  <a:pt x="4219373" y="685800"/>
                  <a:pt x="3200402" y="685800"/>
                </a:cubicBezTo>
                <a:cubicBezTo>
                  <a:pt x="2074893" y="685800"/>
                  <a:pt x="1122090" y="1425244"/>
                  <a:pt x="801668" y="2444946"/>
                </a:cubicBezTo>
                <a:lnTo>
                  <a:pt x="90517" y="2444946"/>
                </a:lnTo>
                <a:cubicBezTo>
                  <a:pt x="429306" y="1041901"/>
                  <a:pt x="1693180" y="0"/>
                  <a:pt x="3200402" y="0"/>
                </a:cubicBezTo>
                <a:close/>
              </a:path>
            </a:pathLst>
          </a:custGeom>
          <a:solidFill>
            <a:srgbClr val="FFFFFF"/>
          </a:solidFill>
          <a:ln algn="ctr" cap="flat" cmpd="sng" w="9525">
            <a:noFill/>
            <a:prstDash val="solid"/>
            <a:headEnd len="med" type="none" w="med"/>
            <a:tailEnd len="med" type="none" w="med"/>
          </a:ln>
          <a:effectLst/>
        </p:spPr>
        <p:txBody>
          <a:bodyPr anchor="ctr" anchorCtr="0" bIns="46628" compatLnSpc="1" lIns="93256" numCol="1" rIns="93256" rtlCol="0" tIns="46628" vert="horz" wrap="square">
            <a:prstTxWarp prst="textNoShape">
              <a:avLst/>
            </a:prstTxWarp>
          </a:bodyPr>
          <a:lstStyle/>
          <a:p>
            <a:pPr algn="ctr" defTabSz="931939" fontAlgn="base">
              <a:lnSpc>
                <a:spcPct val="90000"/>
              </a:lnSpc>
              <a:spcBef>
                <a:spcPct val="0"/>
              </a:spcBef>
              <a:spcAft>
                <a:spcPct val="0"/>
              </a:spcAft>
              <a:defRPr/>
            </a:pPr>
            <a:endParaRPr kern="0" lang="en-US" sz="2200">
              <a:gradFill>
                <a:gsLst>
                  <a:gs pos="0">
                    <a:srgbClr val="FFFFFF"/>
                  </a:gs>
                  <a:gs pos="100000">
                    <a:srgbClr val="FFFFFF"/>
                  </a:gs>
                </a:gsLst>
                <a:lin ang="5400000" scaled="0"/>
              </a:gradFill>
            </a:endParaRPr>
          </a:p>
        </p:txBody>
      </p:sp>
      <p:pic>
        <p:nvPicPr>
          <p:cNvPr descr="\\MAGNUM\Projects\Microsoft\Journey to the Cloud Campaign\102810 Drop\PUBLIC ICONS\Integrity.png" id="41" name="Picture 5"/>
          <p:cNvPicPr>
            <a:picLocks noChangeArrowheads="1" noChangeAspect="1"/>
          </p:cNvPicPr>
          <p:nvPr/>
        </p:nvPicPr>
        <p:blipFill>
          <a:blip r:embed="rId4">
            <a:extLst>
              <a:ext uri="{28A0092B-C50C-407E-A947-70E740481C1C}">
                <a14:useLocalDpi/>
              </a:ext>
            </a:extLst>
          </a:blip>
          <a:stretch>
            <a:fillRect/>
          </a:stretch>
        </p:blipFill>
        <p:spPr bwMode="auto">
          <a:xfrm>
            <a:off x="2276396" y="3571264"/>
            <a:ext cx="616382" cy="415322"/>
          </a:xfrm>
          <a:prstGeom prst="rect">
            <a:avLst/>
          </a:prstGeom>
          <a:noFill/>
        </p:spPr>
      </p:pic>
    </p:spTree>
    <p:extLst>
      <p:ext uri="{BB962C8B-B14F-4D97-AF65-F5344CB8AC3E}">
        <p14:creationId val="1220113682"/>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灯片编号占位符 1"/>
          <p:cNvSpPr>
            <a:spLocks noGrp="1"/>
          </p:cNvSpPr>
          <p:nvPr>
            <p:ph idx="12" sz="quarter" type="sldNum"/>
          </p:nvPr>
        </p:nvSpPr>
        <p:spPr/>
        <p:txBody>
          <a:bodyPr/>
          <a:lstStyle/>
          <a:p>
            <a:fld id="{B27A8A07-82FB-42C2-96F4-12B8F2DCA775}" type="slidenum">
              <a:rPr altLang="en-US" lang="zh-CN" smtClean="0"/>
              <a:t>27</a:t>
            </a:fld>
          </a:p>
        </p:txBody>
      </p:sp>
      <p:sp>
        <p:nvSpPr>
          <p:cNvPr id="5" name="文本框 4"/>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pic>
        <p:nvPicPr>
          <p:cNvPr id="3" name="图片 2"/>
          <p:cNvPicPr>
            <a:picLocks noChangeAspect="1"/>
          </p:cNvPicPr>
          <p:nvPr/>
        </p:nvPicPr>
        <p:blipFill>
          <a:blip r:embed="rId2">
            <a:extLst>
              <a:ext uri="{BEBA8EAE-BF5A-486C-A8C5-ECC9F3942E4B}">
                <a14:imgProps>
                  <a14:imgLayer xmlns:d3p1="http://schemas.openxmlformats.org/officeDocument/2006/relationships" d3p1:embed="">
                    <a14:imgEffect>
                      <a14:saturation sat="33000"/>
                    </a14:imgEffect>
                  </a14:imgLayer>
                </a14:imgProps>
              </a:ext>
              <a:ext uri="{28A0092B-C50C-407E-A947-70E740481C1C}">
                <a14:useLocalDpi/>
              </a:ext>
            </a:extLst>
          </a:blip>
          <a:srcRect l="27054" r="17575"/>
          <a:stretch>
            <a:fillRect/>
          </a:stretch>
        </p:blipFill>
        <p:spPr>
          <a:xfrm>
            <a:off x="6498770" y="0"/>
            <a:ext cx="5693229" cy="6858000"/>
          </a:xfrm>
          <a:prstGeom prst="rect">
            <a:avLst/>
          </a:prstGeom>
        </p:spPr>
      </p:pic>
      <p:sp>
        <p:nvSpPr>
          <p:cNvPr id="6" name="矩形 5"/>
          <p:cNvSpPr/>
          <p:nvPr/>
        </p:nvSpPr>
        <p:spPr>
          <a:xfrm>
            <a:off x="6498769" y="4550229"/>
            <a:ext cx="4528459" cy="2312764"/>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 name="矩形 6"/>
          <p:cNvSpPr/>
          <p:nvPr/>
        </p:nvSpPr>
        <p:spPr>
          <a:xfrm>
            <a:off x="7311213" y="4582887"/>
            <a:ext cx="3128189" cy="2834640"/>
          </a:xfrm>
          <a:prstGeom prst="rect">
            <a:avLst/>
          </a:prstGeom>
        </p:spPr>
        <p:txBody>
          <a:bodyPr wrap="square">
            <a:spAutoFit/>
          </a:bodyPr>
          <a:lstStyle/>
          <a:p>
            <a:pPr>
              <a:lnSpc>
                <a:spcPct val="150000"/>
              </a:lnSpc>
            </a:pPr>
            <a:r>
              <a:rPr altLang="en-US" b="1" lang="zh-CN" smtClean="0" sz="2000">
                <a:solidFill>
                  <a:schemeClr val="bg1"/>
                </a:solidFill>
                <a:latin charset="-122" panose="020b0503020204020204" pitchFamily="34" typeface="微软雅黑"/>
                <a:ea charset="-122" panose="020b0503020204020204" pitchFamily="34" typeface="微软雅黑"/>
              </a:rPr>
              <a:t>此处输入小标题</a:t>
            </a:r>
          </a:p>
          <a:p>
            <a:pPr>
              <a:lnSpc>
                <a:spcPct val="150000"/>
              </a:lnSpc>
            </a:pPr>
            <a:r>
              <a:rPr altLang="en-US" b="1" lang="zh-CN" smtClean="0" sz="2000">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此处输入文本此处输入文本</a:t>
            </a:r>
          </a:p>
        </p:txBody>
      </p:sp>
      <p:sp>
        <p:nvSpPr>
          <p:cNvPr id="8" name="椭圆 7"/>
          <p:cNvSpPr/>
          <p:nvPr/>
        </p:nvSpPr>
        <p:spPr>
          <a:xfrm>
            <a:off x="1135600" y="1948539"/>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9" name="椭圆 8"/>
          <p:cNvSpPr/>
          <p:nvPr/>
        </p:nvSpPr>
        <p:spPr>
          <a:xfrm>
            <a:off x="1135598" y="3510639"/>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椭圆 9"/>
          <p:cNvSpPr/>
          <p:nvPr/>
        </p:nvSpPr>
        <p:spPr>
          <a:xfrm>
            <a:off x="1135599" y="5072740"/>
            <a:ext cx="740229" cy="740229"/>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矩形 10"/>
          <p:cNvSpPr/>
          <p:nvPr/>
        </p:nvSpPr>
        <p:spPr>
          <a:xfrm>
            <a:off x="2209799" y="1544185"/>
            <a:ext cx="3015343" cy="2377440"/>
          </a:xfrm>
          <a:prstGeom prst="rect">
            <a:avLst/>
          </a:prstGeom>
        </p:spPr>
        <p:txBody>
          <a:bodyPr wrap="square">
            <a:spAutoFit/>
          </a:bodyPr>
          <a:lstStyle/>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12" name="矩形 11"/>
          <p:cNvSpPr/>
          <p:nvPr/>
        </p:nvSpPr>
        <p:spPr>
          <a:xfrm>
            <a:off x="2209798" y="3188255"/>
            <a:ext cx="3015343" cy="2377440"/>
          </a:xfrm>
          <a:prstGeom prst="rect">
            <a:avLst/>
          </a:prstGeom>
        </p:spPr>
        <p:txBody>
          <a:bodyPr wrap="square">
            <a:spAutoFit/>
          </a:bodyPr>
          <a:lstStyle/>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13" name="矩形 12"/>
          <p:cNvSpPr/>
          <p:nvPr/>
        </p:nvSpPr>
        <p:spPr>
          <a:xfrm>
            <a:off x="2209797" y="4750357"/>
            <a:ext cx="3015343" cy="2377440"/>
          </a:xfrm>
          <a:prstGeom prst="rect">
            <a:avLst/>
          </a:prstGeom>
        </p:spPr>
        <p:txBody>
          <a:bodyPr wrap="square">
            <a:spAutoFit/>
          </a:bodyPr>
          <a:lstStyle/>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pPr>
              <a:lnSpc>
                <a:spcPct val="150000"/>
              </a:lnSpc>
            </a:pPr>
            <a:r>
              <a:rPr altLang="en-US" b="1"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14" name="直角三角形 11"/>
          <p:cNvSpPr/>
          <p:nvPr/>
        </p:nvSpPr>
        <p:spPr>
          <a:xfrm rot="5400000">
            <a:off x="6317072" y="170811"/>
            <a:ext cx="834390" cy="492768"/>
          </a:xfrm>
          <a:custGeom>
            <a:gdLst>
              <a:gd fmla="*/ 0 w 834390" name="connsiteX0"/>
              <a:gd fmla="*/ 434340 h 445770" name="connsiteY0"/>
              <a:gd fmla="*/ 0 w 834390" name="connsiteX1"/>
              <a:gd fmla="*/ 0 h 445770" name="connsiteY1"/>
              <a:gd fmla="*/ 834390 w 834390" name="connsiteX2"/>
              <a:gd fmla="*/ 445770 h 445770" name="connsiteY2"/>
              <a:gd fmla="*/ 0 w 834390" name="connsiteX3"/>
              <a:gd fmla="*/ 434340 h 445770" name="connsiteY3"/>
            </a:gdLst>
            <a:cxnLst>
              <a:cxn ang="0">
                <a:pos x="connsiteX0" y="connsiteY0"/>
              </a:cxn>
              <a:cxn ang="0">
                <a:pos x="connsiteX1" y="connsiteY1"/>
              </a:cxn>
              <a:cxn ang="0">
                <a:pos x="connsiteX2" y="connsiteY2"/>
              </a:cxn>
              <a:cxn ang="0">
                <a:pos x="connsiteX3" y="connsiteY3"/>
              </a:cxn>
            </a:cxnLst>
            <a:rect b="b" l="l" r="r" t="t"/>
            <a:pathLst>
              <a:path h="445770" w="83439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5" name="直角三角形 11"/>
          <p:cNvSpPr/>
          <p:nvPr/>
        </p:nvSpPr>
        <p:spPr>
          <a:xfrm rot="16200000">
            <a:off x="11561009" y="6231303"/>
            <a:ext cx="834390" cy="445770"/>
          </a:xfrm>
          <a:custGeom>
            <a:gdLst>
              <a:gd fmla="*/ 0 w 834390" name="connsiteX0"/>
              <a:gd fmla="*/ 434340 h 445770" name="connsiteY0"/>
              <a:gd fmla="*/ 0 w 834390" name="connsiteX1"/>
              <a:gd fmla="*/ 0 h 445770" name="connsiteY1"/>
              <a:gd fmla="*/ 834390 w 834390" name="connsiteX2"/>
              <a:gd fmla="*/ 445770 h 445770" name="connsiteY2"/>
              <a:gd fmla="*/ 0 w 834390" name="connsiteX3"/>
              <a:gd fmla="*/ 434340 h 445770" name="connsiteY3"/>
            </a:gdLst>
            <a:cxnLst>
              <a:cxn ang="0">
                <a:pos x="connsiteX0" y="connsiteY0"/>
              </a:cxn>
              <a:cxn ang="0">
                <a:pos x="connsiteX1" y="connsiteY1"/>
              </a:cxn>
              <a:cxn ang="0">
                <a:pos x="connsiteX2" y="connsiteY2"/>
              </a:cxn>
              <a:cxn ang="0">
                <a:pos x="connsiteX3" y="connsiteY3"/>
              </a:cxn>
            </a:cxnLst>
            <a:rect b="b" l="l" r="r" t="t"/>
            <a:pathLst>
              <a:path h="445770" w="834390">
                <a:moveTo>
                  <a:pt x="0" y="434340"/>
                </a:moveTo>
                <a:lnTo>
                  <a:pt x="0" y="0"/>
                </a:lnTo>
                <a:lnTo>
                  <a:pt x="834390" y="445770"/>
                </a:lnTo>
                <a:lnTo>
                  <a:pt x="0" y="434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16" name="组合 15"/>
          <p:cNvGrpSpPr/>
          <p:nvPr/>
        </p:nvGrpSpPr>
        <p:grpSpPr>
          <a:xfrm>
            <a:off x="1353989" y="2082556"/>
            <a:ext cx="371941" cy="420614"/>
            <a:chOff x="3757613" y="2666471"/>
            <a:chExt cx="438150" cy="463550"/>
          </a:xfrm>
          <a:solidFill>
            <a:schemeClr val="bg1"/>
          </a:solidFill>
        </p:grpSpPr>
        <p:sp>
          <p:nvSpPr>
            <p:cNvPr id="17" name="Freeform 338"/>
            <p:cNvSpPr/>
            <p:nvPr/>
          </p:nvSpPr>
          <p:spPr bwMode="auto">
            <a:xfrm>
              <a:off x="3802063" y="2666471"/>
              <a:ext cx="192087" cy="241300"/>
            </a:xfrm>
            <a:custGeom>
              <a:gdLst>
                <a:gd fmla="*/ 13 w 51" name="T0"/>
                <a:gd fmla="*/ 26 h 64" name="T1"/>
                <a:gd fmla="*/ 25 w 51" name="T2"/>
                <a:gd fmla="*/ 14 h 64" name="T3"/>
                <a:gd fmla="*/ 37 w 51" name="T4"/>
                <a:gd fmla="*/ 26 h 64" name="T5"/>
                <a:gd fmla="*/ 37 w 51" name="T6"/>
                <a:gd fmla="*/ 38 h 64" name="T7"/>
                <a:gd fmla="*/ 51 w 51" name="T8"/>
                <a:gd fmla="*/ 38 h 64" name="T9"/>
                <a:gd fmla="*/ 51 w 51" name="T10"/>
                <a:gd fmla="*/ 26 h 64" name="T11"/>
                <a:gd fmla="*/ 25 w 51" name="T12"/>
                <a:gd fmla="*/ 0 h 64" name="T13"/>
                <a:gd fmla="*/ 0 w 51" name="T14"/>
                <a:gd fmla="*/ 26 h 64" name="T15"/>
                <a:gd fmla="*/ 0 w 51" name="T16"/>
                <a:gd fmla="*/ 64 h 64" name="T17"/>
                <a:gd fmla="*/ 13 w 51" name="T18"/>
                <a:gd fmla="*/ 64 h 64" name="T19"/>
                <a:gd fmla="*/ 13 w 51" name="T20"/>
                <a:gd fmla="*/ 26 h 64"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64" w="51">
                  <a:moveTo>
                    <a:pt x="13" y="26"/>
                  </a:moveTo>
                  <a:cubicBezTo>
                    <a:pt x="13" y="20"/>
                    <a:pt x="19" y="14"/>
                    <a:pt x="25" y="14"/>
                  </a:cubicBezTo>
                  <a:cubicBezTo>
                    <a:pt x="32" y="14"/>
                    <a:pt x="37" y="20"/>
                    <a:pt x="37" y="26"/>
                  </a:cubicBezTo>
                  <a:cubicBezTo>
                    <a:pt x="37" y="38"/>
                    <a:pt x="37" y="38"/>
                    <a:pt x="37" y="38"/>
                  </a:cubicBezTo>
                  <a:cubicBezTo>
                    <a:pt x="51" y="38"/>
                    <a:pt x="51" y="38"/>
                    <a:pt x="51" y="38"/>
                  </a:cubicBezTo>
                  <a:cubicBezTo>
                    <a:pt x="51" y="26"/>
                    <a:pt x="51" y="26"/>
                    <a:pt x="51" y="26"/>
                  </a:cubicBezTo>
                  <a:cubicBezTo>
                    <a:pt x="51" y="12"/>
                    <a:pt x="39" y="0"/>
                    <a:pt x="25" y="0"/>
                  </a:cubicBezTo>
                  <a:cubicBezTo>
                    <a:pt x="11" y="0"/>
                    <a:pt x="0" y="12"/>
                    <a:pt x="0" y="26"/>
                  </a:cubicBezTo>
                  <a:cubicBezTo>
                    <a:pt x="0" y="64"/>
                    <a:pt x="0" y="64"/>
                    <a:pt x="0" y="64"/>
                  </a:cubicBezTo>
                  <a:cubicBezTo>
                    <a:pt x="13" y="64"/>
                    <a:pt x="13" y="64"/>
                    <a:pt x="13" y="64"/>
                  </a:cubicBezTo>
                  <a:lnTo>
                    <a:pt x="13" y="26"/>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18" name="Freeform 339"/>
            <p:cNvSpPr/>
            <p:nvPr/>
          </p:nvSpPr>
          <p:spPr bwMode="auto">
            <a:xfrm>
              <a:off x="3757613" y="2918883"/>
              <a:ext cx="273050" cy="68263"/>
            </a:xfrm>
            <a:custGeom>
              <a:gdLst>
                <a:gd fmla="*/ 8 w 73" name="T0"/>
                <a:gd fmla="*/ 18 h 18" name="T1"/>
                <a:gd fmla="*/ 15 w 73" name="T2"/>
                <a:gd fmla="*/ 18 h 18" name="T3"/>
                <a:gd fmla="*/ 29 w 73" name="T4"/>
                <a:gd fmla="*/ 18 h 18" name="T5"/>
                <a:gd fmla="*/ 39 w 73" name="T6"/>
                <a:gd fmla="*/ 10 h 18" name="T7"/>
                <a:gd fmla="*/ 43 w 73" name="T8"/>
                <a:gd fmla="*/ 10 h 18" name="T9"/>
                <a:gd fmla="*/ 73 w 73" name="T10"/>
                <a:gd fmla="*/ 10 h 18" name="T11"/>
                <a:gd fmla="*/ 73 w 73" name="T12"/>
                <a:gd fmla="*/ 9 h 18" name="T13"/>
                <a:gd fmla="*/ 64 w 73" name="T14"/>
                <a:gd fmla="*/ 0 h 18" name="T15"/>
                <a:gd fmla="*/ 8 w 73" name="T16"/>
                <a:gd fmla="*/ 0 h 18" name="T17"/>
                <a:gd fmla="*/ 0 w 73" name="T18"/>
                <a:gd fmla="*/ 9 h 18" name="T19"/>
                <a:gd fmla="*/ 8 w 73" name="T20"/>
                <a:gd fmla="*/ 18 h 18"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18" w="73">
                  <a:moveTo>
                    <a:pt x="8" y="18"/>
                  </a:moveTo>
                  <a:cubicBezTo>
                    <a:pt x="15" y="18"/>
                    <a:pt x="15" y="18"/>
                    <a:pt x="15" y="18"/>
                  </a:cubicBezTo>
                  <a:cubicBezTo>
                    <a:pt x="29" y="18"/>
                    <a:pt x="29" y="18"/>
                    <a:pt x="29" y="18"/>
                  </a:cubicBezTo>
                  <a:cubicBezTo>
                    <a:pt x="30" y="13"/>
                    <a:pt x="34" y="10"/>
                    <a:pt x="39" y="10"/>
                  </a:cubicBezTo>
                  <a:cubicBezTo>
                    <a:pt x="41" y="10"/>
                    <a:pt x="42" y="10"/>
                    <a:pt x="43" y="10"/>
                  </a:cubicBezTo>
                  <a:cubicBezTo>
                    <a:pt x="73" y="10"/>
                    <a:pt x="73" y="10"/>
                    <a:pt x="73" y="10"/>
                  </a:cubicBezTo>
                  <a:cubicBezTo>
                    <a:pt x="73" y="10"/>
                    <a:pt x="73" y="9"/>
                    <a:pt x="73" y="9"/>
                  </a:cubicBezTo>
                  <a:cubicBezTo>
                    <a:pt x="73" y="4"/>
                    <a:pt x="69" y="0"/>
                    <a:pt x="64" y="0"/>
                  </a:cubicBezTo>
                  <a:cubicBezTo>
                    <a:pt x="8" y="0"/>
                    <a:pt x="8" y="0"/>
                    <a:pt x="8" y="0"/>
                  </a:cubicBezTo>
                  <a:cubicBezTo>
                    <a:pt x="3" y="0"/>
                    <a:pt x="0" y="4"/>
                    <a:pt x="0" y="9"/>
                  </a:cubicBezTo>
                  <a:cubicBezTo>
                    <a:pt x="0" y="14"/>
                    <a:pt x="3" y="18"/>
                    <a:pt x="8" y="18"/>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19" name="Freeform 340"/>
            <p:cNvSpPr/>
            <p:nvPr/>
          </p:nvSpPr>
          <p:spPr bwMode="auto">
            <a:xfrm>
              <a:off x="3757613" y="2990321"/>
              <a:ext cx="119062" cy="68263"/>
            </a:xfrm>
            <a:custGeom>
              <a:gdLst>
                <a:gd fmla="*/ 8 w 32" name="T0"/>
                <a:gd fmla="*/ 18 h 18" name="T1"/>
                <a:gd fmla="*/ 11 w 32" name="T2"/>
                <a:gd fmla="*/ 18 h 18" name="T3"/>
                <a:gd fmla="*/ 14 w 32" name="T4"/>
                <a:gd fmla="*/ 18 h 18" name="T5"/>
                <a:gd fmla="*/ 32 w 32" name="T6"/>
                <a:gd fmla="*/ 18 h 18" name="T7"/>
                <a:gd fmla="*/ 32 w 32" name="T8"/>
                <a:gd fmla="*/ 10 h 18" name="T9"/>
                <a:gd fmla="*/ 28 w 32" name="T10"/>
                <a:gd fmla="*/ 1 h 18" name="T11"/>
                <a:gd fmla="*/ 28 w 32" name="T12"/>
                <a:gd fmla="*/ 0 h 18" name="T13"/>
                <a:gd fmla="*/ 14 w 32" name="T14"/>
                <a:gd fmla="*/ 0 h 18" name="T15"/>
                <a:gd fmla="*/ 11 w 32" name="T16"/>
                <a:gd fmla="*/ 0 h 18" name="T17"/>
                <a:gd fmla="*/ 8 w 32" name="T18"/>
                <a:gd fmla="*/ 0 h 18" name="T19"/>
                <a:gd fmla="*/ 0 w 32" name="T20"/>
                <a:gd fmla="*/ 9 h 18" name="T21"/>
                <a:gd fmla="*/ 8 w 32" name="T22"/>
                <a:gd fmla="*/ 18 h 18"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18" w="32">
                  <a:moveTo>
                    <a:pt x="8" y="18"/>
                  </a:moveTo>
                  <a:cubicBezTo>
                    <a:pt x="11" y="18"/>
                    <a:pt x="11" y="18"/>
                    <a:pt x="11" y="18"/>
                  </a:cubicBezTo>
                  <a:cubicBezTo>
                    <a:pt x="14" y="18"/>
                    <a:pt x="14" y="18"/>
                    <a:pt x="14" y="18"/>
                  </a:cubicBezTo>
                  <a:cubicBezTo>
                    <a:pt x="32" y="18"/>
                    <a:pt x="32" y="18"/>
                    <a:pt x="32" y="18"/>
                  </a:cubicBezTo>
                  <a:cubicBezTo>
                    <a:pt x="32" y="10"/>
                    <a:pt x="32" y="10"/>
                    <a:pt x="32" y="10"/>
                  </a:cubicBezTo>
                  <a:cubicBezTo>
                    <a:pt x="30" y="8"/>
                    <a:pt x="28" y="5"/>
                    <a:pt x="28" y="1"/>
                  </a:cubicBezTo>
                  <a:cubicBezTo>
                    <a:pt x="28" y="1"/>
                    <a:pt x="28" y="1"/>
                    <a:pt x="28" y="0"/>
                  </a:cubicBezTo>
                  <a:cubicBezTo>
                    <a:pt x="14" y="0"/>
                    <a:pt x="14" y="0"/>
                    <a:pt x="14" y="0"/>
                  </a:cubicBezTo>
                  <a:cubicBezTo>
                    <a:pt x="11" y="0"/>
                    <a:pt x="11" y="0"/>
                    <a:pt x="11" y="0"/>
                  </a:cubicBezTo>
                  <a:cubicBezTo>
                    <a:pt x="8" y="0"/>
                    <a:pt x="8" y="0"/>
                    <a:pt x="8" y="0"/>
                  </a:cubicBezTo>
                  <a:cubicBezTo>
                    <a:pt x="3" y="0"/>
                    <a:pt x="0" y="4"/>
                    <a:pt x="0" y="9"/>
                  </a:cubicBezTo>
                  <a:cubicBezTo>
                    <a:pt x="0" y="14"/>
                    <a:pt x="3" y="18"/>
                    <a:pt x="8" y="18"/>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0" name="Freeform 341"/>
            <p:cNvSpPr/>
            <p:nvPr/>
          </p:nvSpPr>
          <p:spPr bwMode="auto">
            <a:xfrm>
              <a:off x="3929063" y="3009371"/>
              <a:ext cx="101600" cy="49213"/>
            </a:xfrm>
            <a:custGeom>
              <a:gdLst>
                <a:gd fmla="*/ 3 w 27" name="T0"/>
                <a:gd fmla="*/ 0 h 13" name="T1"/>
                <a:gd fmla="*/ 0 w 27" name="T2"/>
                <a:gd fmla="*/ 5 h 13" name="T3"/>
                <a:gd fmla="*/ 0 w 27" name="T4"/>
                <a:gd fmla="*/ 13 h 13" name="T5"/>
                <a:gd fmla="*/ 12 w 27" name="T6"/>
                <a:gd fmla="*/ 13 h 13" name="T7"/>
                <a:gd fmla="*/ 16 w 27" name="T8"/>
                <a:gd fmla="*/ 13 h 13" name="T9"/>
                <a:gd fmla="*/ 18 w 27" name="T10"/>
                <a:gd fmla="*/ 13 h 13" name="T11"/>
                <a:gd fmla="*/ 27 w 27" name="T12"/>
                <a:gd fmla="*/ 4 h 13" name="T13"/>
                <a:gd fmla="*/ 26 w 27" name="T14"/>
                <a:gd fmla="*/ 0 h 13" name="T15"/>
                <a:gd fmla="*/ 3 w 27" name="T16"/>
                <a:gd fmla="*/ 0 h 13"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3" w="27">
                  <a:moveTo>
                    <a:pt x="3" y="0"/>
                  </a:moveTo>
                  <a:cubicBezTo>
                    <a:pt x="3" y="2"/>
                    <a:pt x="1" y="4"/>
                    <a:pt x="0" y="5"/>
                  </a:cubicBezTo>
                  <a:cubicBezTo>
                    <a:pt x="0" y="13"/>
                    <a:pt x="0" y="13"/>
                    <a:pt x="0" y="13"/>
                  </a:cubicBezTo>
                  <a:cubicBezTo>
                    <a:pt x="12" y="13"/>
                    <a:pt x="12" y="13"/>
                    <a:pt x="12" y="13"/>
                  </a:cubicBezTo>
                  <a:cubicBezTo>
                    <a:pt x="16" y="13"/>
                    <a:pt x="16" y="13"/>
                    <a:pt x="16" y="13"/>
                  </a:cubicBezTo>
                  <a:cubicBezTo>
                    <a:pt x="18" y="13"/>
                    <a:pt x="18" y="13"/>
                    <a:pt x="18" y="13"/>
                  </a:cubicBezTo>
                  <a:cubicBezTo>
                    <a:pt x="23" y="13"/>
                    <a:pt x="27" y="9"/>
                    <a:pt x="27" y="4"/>
                  </a:cubicBezTo>
                  <a:cubicBezTo>
                    <a:pt x="27" y="3"/>
                    <a:pt x="27" y="1"/>
                    <a:pt x="26" y="0"/>
                  </a:cubicBezTo>
                  <a:lnTo>
                    <a:pt x="3" y="0"/>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1" name="Freeform 342"/>
            <p:cNvSpPr/>
            <p:nvPr/>
          </p:nvSpPr>
          <p:spPr bwMode="auto">
            <a:xfrm>
              <a:off x="3757613" y="3064933"/>
              <a:ext cx="273050" cy="65088"/>
            </a:xfrm>
            <a:custGeom>
              <a:gdLst>
                <a:gd fmla="*/ 64 w 73" name="T0"/>
                <a:gd fmla="*/ 0 h 17" name="T1"/>
                <a:gd fmla="*/ 61 w 73" name="T2"/>
                <a:gd fmla="*/ 0 h 17" name="T3"/>
                <a:gd fmla="*/ 57 w 73" name="T4"/>
                <a:gd fmla="*/ 0 h 17" name="T5"/>
                <a:gd fmla="*/ 46 w 73" name="T6"/>
                <a:gd fmla="*/ 0 h 17" name="T7"/>
                <a:gd fmla="*/ 46 w 73" name="T8"/>
                <a:gd fmla="*/ 2 h 17" name="T9"/>
                <a:gd fmla="*/ 39 w 73" name="T10"/>
                <a:gd fmla="*/ 9 h 17" name="T11"/>
                <a:gd fmla="*/ 32 w 73" name="T12"/>
                <a:gd fmla="*/ 2 h 17" name="T13"/>
                <a:gd fmla="*/ 32 w 73" name="T14"/>
                <a:gd fmla="*/ 0 h 17" name="T15"/>
                <a:gd fmla="*/ 15 w 73" name="T16"/>
                <a:gd fmla="*/ 0 h 17" name="T17"/>
                <a:gd fmla="*/ 10 w 73" name="T18"/>
                <a:gd fmla="*/ 0 h 17" name="T19"/>
                <a:gd fmla="*/ 8 w 73" name="T20"/>
                <a:gd fmla="*/ 0 h 17" name="T21"/>
                <a:gd fmla="*/ 0 w 73" name="T22"/>
                <a:gd fmla="*/ 9 h 17" name="T23"/>
                <a:gd fmla="*/ 8 w 73" name="T24"/>
                <a:gd fmla="*/ 17 h 17" name="T25"/>
                <a:gd fmla="*/ 64 w 73" name="T26"/>
                <a:gd fmla="*/ 17 h 17" name="T27"/>
                <a:gd fmla="*/ 73 w 73" name="T28"/>
                <a:gd fmla="*/ 9 h 17" name="T29"/>
                <a:gd fmla="*/ 64 w 73" name="T30"/>
                <a:gd fmla="*/ 0 h 17" name="T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b="b" l="0" r="r" t="0"/>
              <a:pathLst>
                <a:path h="17" w="73">
                  <a:moveTo>
                    <a:pt x="64" y="0"/>
                  </a:moveTo>
                  <a:cubicBezTo>
                    <a:pt x="61" y="0"/>
                    <a:pt x="61" y="0"/>
                    <a:pt x="61" y="0"/>
                  </a:cubicBezTo>
                  <a:cubicBezTo>
                    <a:pt x="57" y="0"/>
                    <a:pt x="57" y="0"/>
                    <a:pt x="57" y="0"/>
                  </a:cubicBezTo>
                  <a:cubicBezTo>
                    <a:pt x="46" y="0"/>
                    <a:pt x="46" y="0"/>
                    <a:pt x="46" y="0"/>
                  </a:cubicBezTo>
                  <a:cubicBezTo>
                    <a:pt x="46" y="2"/>
                    <a:pt x="46" y="2"/>
                    <a:pt x="46" y="2"/>
                  </a:cubicBezTo>
                  <a:cubicBezTo>
                    <a:pt x="46" y="6"/>
                    <a:pt x="43" y="9"/>
                    <a:pt x="39" y="9"/>
                  </a:cubicBezTo>
                  <a:cubicBezTo>
                    <a:pt x="35" y="9"/>
                    <a:pt x="32" y="6"/>
                    <a:pt x="32" y="2"/>
                  </a:cubicBezTo>
                  <a:cubicBezTo>
                    <a:pt x="32" y="0"/>
                    <a:pt x="32" y="0"/>
                    <a:pt x="32" y="0"/>
                  </a:cubicBezTo>
                  <a:cubicBezTo>
                    <a:pt x="15" y="0"/>
                    <a:pt x="15" y="0"/>
                    <a:pt x="15" y="0"/>
                  </a:cubicBezTo>
                  <a:cubicBezTo>
                    <a:pt x="10" y="0"/>
                    <a:pt x="10" y="0"/>
                    <a:pt x="10" y="0"/>
                  </a:cubicBezTo>
                  <a:cubicBezTo>
                    <a:pt x="8" y="0"/>
                    <a:pt x="8" y="0"/>
                    <a:pt x="8" y="0"/>
                  </a:cubicBezTo>
                  <a:cubicBezTo>
                    <a:pt x="3" y="0"/>
                    <a:pt x="0" y="4"/>
                    <a:pt x="0" y="9"/>
                  </a:cubicBezTo>
                  <a:cubicBezTo>
                    <a:pt x="0" y="13"/>
                    <a:pt x="3" y="17"/>
                    <a:pt x="8" y="17"/>
                  </a:cubicBezTo>
                  <a:cubicBezTo>
                    <a:pt x="64" y="17"/>
                    <a:pt x="64" y="17"/>
                    <a:pt x="64" y="17"/>
                  </a:cubicBezTo>
                  <a:cubicBezTo>
                    <a:pt x="69" y="17"/>
                    <a:pt x="73" y="13"/>
                    <a:pt x="73" y="9"/>
                  </a:cubicBezTo>
                  <a:cubicBezTo>
                    <a:pt x="73" y="4"/>
                    <a:pt x="69" y="0"/>
                    <a:pt x="64" y="0"/>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2" name="Freeform 343"/>
            <p:cNvSpPr>
              <a:spLocks noEditPoints="1"/>
            </p:cNvSpPr>
            <p:nvPr/>
          </p:nvSpPr>
          <p:spPr bwMode="auto">
            <a:xfrm>
              <a:off x="3876676" y="2907771"/>
              <a:ext cx="319087" cy="153988"/>
            </a:xfrm>
            <a:custGeom>
              <a:gdLst>
                <a:gd fmla="*/ 71 w 85" name="T0"/>
                <a:gd fmla="*/ 0 h 41" name="T1"/>
                <a:gd fmla="*/ 52 w 85" name="T2"/>
                <a:gd fmla="*/ 16 h 41" name="T3"/>
                <a:gd fmla="*/ 41 w 85" name="T4"/>
                <a:gd fmla="*/ 16 h 41" name="T5"/>
                <a:gd fmla="*/ 39 w 85" name="T6"/>
                <a:gd fmla="*/ 16 h 41" name="T7"/>
                <a:gd fmla="*/ 4 w 85" name="T8"/>
                <a:gd fmla="*/ 16 h 41" name="T9"/>
                <a:gd fmla="*/ 0 w 85" name="T10"/>
                <a:gd fmla="*/ 22 h 41" name="T11"/>
                <a:gd fmla="*/ 0 w 85" name="T12"/>
                <a:gd fmla="*/ 24 h 41" name="T13"/>
                <a:gd fmla="*/ 36 w 85" name="T14"/>
                <a:gd fmla="*/ 24 h 41" name="T15"/>
                <a:gd fmla="*/ 41 w 85" name="T16"/>
                <a:gd fmla="*/ 24 h 41" name="T17"/>
                <a:gd fmla="*/ 49 w 85" name="T18"/>
                <a:gd fmla="*/ 24 h 41" name="T19"/>
                <a:gd fmla="*/ 56 w 85" name="T20"/>
                <a:gd fmla="*/ 41 h 41" name="T21"/>
                <a:gd fmla="*/ 77 w 85" name="T22"/>
                <a:gd fmla="*/ 20 h 41" name="T23"/>
                <a:gd fmla="*/ 71 w 85" name="T24"/>
                <a:gd fmla="*/ 0 h 41" name="T25"/>
                <a:gd fmla="*/ 69 w 85" name="T26"/>
                <a:gd fmla="*/ 20 h 41" name="T27"/>
                <a:gd fmla="*/ 59 w 85" name="T28"/>
                <a:gd fmla="*/ 33 h 41" name="T29"/>
                <a:gd fmla="*/ 58 w 85" name="T30"/>
                <a:gd fmla="*/ 20 h 41" name="T31"/>
                <a:gd fmla="*/ 69 w 85" name="T32"/>
                <a:gd fmla="*/ 8 h 41" name="T33"/>
                <a:gd fmla="*/ 69 w 85" name="T34"/>
                <a:gd fmla="*/ 20 h 41"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41" w="85">
                  <a:moveTo>
                    <a:pt x="71" y="0"/>
                  </a:moveTo>
                  <a:cubicBezTo>
                    <a:pt x="60" y="0"/>
                    <a:pt x="55" y="9"/>
                    <a:pt x="52" y="16"/>
                  </a:cubicBezTo>
                  <a:cubicBezTo>
                    <a:pt x="41" y="16"/>
                    <a:pt x="41" y="16"/>
                    <a:pt x="41" y="16"/>
                  </a:cubicBezTo>
                  <a:cubicBezTo>
                    <a:pt x="39" y="16"/>
                    <a:pt x="39" y="16"/>
                    <a:pt x="39" y="16"/>
                  </a:cubicBezTo>
                  <a:cubicBezTo>
                    <a:pt x="4" y="16"/>
                    <a:pt x="4" y="16"/>
                    <a:pt x="4" y="16"/>
                  </a:cubicBezTo>
                  <a:cubicBezTo>
                    <a:pt x="3" y="18"/>
                    <a:pt x="1" y="20"/>
                    <a:pt x="0" y="22"/>
                  </a:cubicBezTo>
                  <a:cubicBezTo>
                    <a:pt x="0" y="22"/>
                    <a:pt x="0" y="23"/>
                    <a:pt x="0" y="24"/>
                  </a:cubicBezTo>
                  <a:cubicBezTo>
                    <a:pt x="36" y="24"/>
                    <a:pt x="36" y="24"/>
                    <a:pt x="36" y="24"/>
                  </a:cubicBezTo>
                  <a:cubicBezTo>
                    <a:pt x="41" y="24"/>
                    <a:pt x="41" y="24"/>
                    <a:pt x="41" y="24"/>
                  </a:cubicBezTo>
                  <a:cubicBezTo>
                    <a:pt x="49" y="24"/>
                    <a:pt x="49" y="24"/>
                    <a:pt x="49" y="24"/>
                  </a:cubicBezTo>
                  <a:cubicBezTo>
                    <a:pt x="46" y="32"/>
                    <a:pt x="45" y="41"/>
                    <a:pt x="56" y="41"/>
                  </a:cubicBezTo>
                  <a:cubicBezTo>
                    <a:pt x="70" y="41"/>
                    <a:pt x="74" y="29"/>
                    <a:pt x="77" y="20"/>
                  </a:cubicBezTo>
                  <a:cubicBezTo>
                    <a:pt x="80" y="12"/>
                    <a:pt x="85" y="0"/>
                    <a:pt x="71" y="0"/>
                  </a:cubicBezTo>
                  <a:close/>
                  <a:moveTo>
                    <a:pt x="69" y="20"/>
                  </a:moveTo>
                  <a:cubicBezTo>
                    <a:pt x="65" y="31"/>
                    <a:pt x="64" y="33"/>
                    <a:pt x="59" y="33"/>
                  </a:cubicBezTo>
                  <a:cubicBezTo>
                    <a:pt x="54" y="33"/>
                    <a:pt x="54" y="31"/>
                    <a:pt x="58" y="20"/>
                  </a:cubicBezTo>
                  <a:cubicBezTo>
                    <a:pt x="62" y="9"/>
                    <a:pt x="64" y="8"/>
                    <a:pt x="69" y="8"/>
                  </a:cubicBezTo>
                  <a:cubicBezTo>
                    <a:pt x="73" y="8"/>
                    <a:pt x="73" y="9"/>
                    <a:pt x="69" y="20"/>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grpSp>
        <p:nvGrpSpPr>
          <p:cNvPr id="23" name="组合 22"/>
          <p:cNvGrpSpPr/>
          <p:nvPr/>
        </p:nvGrpSpPr>
        <p:grpSpPr>
          <a:xfrm>
            <a:off x="1350033" y="3681739"/>
            <a:ext cx="339860" cy="398029"/>
            <a:chOff x="4365625" y="4534958"/>
            <a:chExt cx="311150" cy="349251"/>
          </a:xfrm>
          <a:solidFill>
            <a:schemeClr val="bg1"/>
          </a:solidFill>
        </p:grpSpPr>
        <p:sp>
          <p:nvSpPr>
            <p:cNvPr id="24" name="Freeform 558"/>
            <p:cNvSpPr>
              <a:spLocks noEditPoints="1"/>
            </p:cNvSpPr>
            <p:nvPr/>
          </p:nvSpPr>
          <p:spPr bwMode="auto">
            <a:xfrm>
              <a:off x="4368800" y="4730221"/>
              <a:ext cx="131762" cy="153988"/>
            </a:xfrm>
            <a:custGeom>
              <a:gdLst>
                <a:gd fmla="*/ 32 w 35" name="T0"/>
                <a:gd fmla="*/ 8 h 41" name="T1"/>
                <a:gd fmla="*/ 32 w 35" name="T2"/>
                <a:gd fmla="*/ 7 h 41" name="T3"/>
                <a:gd fmla="*/ 31 w 35" name="T4"/>
                <a:gd fmla="*/ 7 h 41" name="T5"/>
                <a:gd fmla="*/ 30 w 35" name="T6"/>
                <a:gd fmla="*/ 6 h 41" name="T7"/>
                <a:gd fmla="*/ 30 w 35" name="T8"/>
                <a:gd fmla="*/ 6 h 41" name="T9"/>
                <a:gd fmla="*/ 29 w 35" name="T10"/>
                <a:gd fmla="*/ 6 h 41" name="T11"/>
                <a:gd fmla="*/ 28 w 35" name="T12"/>
                <a:gd fmla="*/ 5 h 41" name="T13"/>
                <a:gd fmla="*/ 27 w 35" name="T14"/>
                <a:gd fmla="*/ 4 h 41" name="T15"/>
                <a:gd fmla="*/ 25 w 35" name="T16"/>
                <a:gd fmla="*/ 0 h 41" name="T17"/>
                <a:gd fmla="*/ 23 w 35" name="T18"/>
                <a:gd fmla="*/ 2 h 41" name="T19"/>
                <a:gd fmla="*/ 3 w 35" name="T20"/>
                <a:gd fmla="*/ 27 h 41" name="T21"/>
                <a:gd fmla="*/ 4 w 35" name="T22"/>
                <a:gd fmla="*/ 38 h 41" name="T23"/>
                <a:gd fmla="*/ 4 w 35" name="T24"/>
                <a:gd fmla="*/ 38 h 41" name="T25"/>
                <a:gd fmla="*/ 15 w 35" name="T26"/>
                <a:gd fmla="*/ 37 h 41" name="T27"/>
                <a:gd fmla="*/ 34 w 35" name="T28"/>
                <a:gd fmla="*/ 15 h 41" name="T29"/>
                <a:gd fmla="*/ 35 w 35" name="T30"/>
                <a:gd fmla="*/ 13 h 41" name="T31"/>
                <a:gd fmla="*/ 32 w 35" name="T32"/>
                <a:gd fmla="*/ 10 h 41" name="T33"/>
                <a:gd fmla="*/ 32 w 35" name="T34"/>
                <a:gd fmla="*/ 8 h 41" name="T35"/>
                <a:gd fmla="*/ 13 w 35" name="T36"/>
                <a:gd fmla="*/ 34 h 41" name="T37"/>
                <a:gd fmla="*/ 6 w 35" name="T38"/>
                <a:gd fmla="*/ 35 h 41" name="T39"/>
                <a:gd fmla="*/ 6 w 35" name="T40"/>
                <a:gd fmla="*/ 28 h 41" name="T41"/>
                <a:gd fmla="*/ 13 w 35" name="T42"/>
                <a:gd fmla="*/ 28 h 41" name="T43"/>
                <a:gd fmla="*/ 13 w 35" name="T44"/>
                <a:gd fmla="*/ 34 h 41" name="T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41" w="35">
                  <a:moveTo>
                    <a:pt x="32" y="8"/>
                  </a:moveTo>
                  <a:cubicBezTo>
                    <a:pt x="32" y="8"/>
                    <a:pt x="32" y="8"/>
                    <a:pt x="32" y="7"/>
                  </a:cubicBezTo>
                  <a:cubicBezTo>
                    <a:pt x="31" y="7"/>
                    <a:pt x="31" y="7"/>
                    <a:pt x="31" y="7"/>
                  </a:cubicBezTo>
                  <a:cubicBezTo>
                    <a:pt x="31" y="6"/>
                    <a:pt x="30" y="6"/>
                    <a:pt x="30" y="6"/>
                  </a:cubicBezTo>
                  <a:cubicBezTo>
                    <a:pt x="30" y="6"/>
                    <a:pt x="30" y="6"/>
                    <a:pt x="30" y="6"/>
                  </a:cubicBezTo>
                  <a:cubicBezTo>
                    <a:pt x="30" y="6"/>
                    <a:pt x="30" y="6"/>
                    <a:pt x="29" y="6"/>
                  </a:cubicBezTo>
                  <a:cubicBezTo>
                    <a:pt x="29" y="6"/>
                    <a:pt x="28" y="5"/>
                    <a:pt x="28" y="5"/>
                  </a:cubicBezTo>
                  <a:cubicBezTo>
                    <a:pt x="27" y="4"/>
                    <a:pt x="27" y="4"/>
                    <a:pt x="27" y="4"/>
                  </a:cubicBezTo>
                  <a:cubicBezTo>
                    <a:pt x="26" y="3"/>
                    <a:pt x="26" y="1"/>
                    <a:pt x="25" y="0"/>
                  </a:cubicBezTo>
                  <a:cubicBezTo>
                    <a:pt x="23" y="2"/>
                    <a:pt x="23" y="2"/>
                    <a:pt x="23" y="2"/>
                  </a:cubicBezTo>
                  <a:cubicBezTo>
                    <a:pt x="3" y="27"/>
                    <a:pt x="3" y="27"/>
                    <a:pt x="3" y="27"/>
                  </a:cubicBezTo>
                  <a:cubicBezTo>
                    <a:pt x="0" y="30"/>
                    <a:pt x="0" y="35"/>
                    <a:pt x="4" y="38"/>
                  </a:cubicBezTo>
                  <a:cubicBezTo>
                    <a:pt x="4" y="38"/>
                    <a:pt x="4" y="38"/>
                    <a:pt x="4" y="38"/>
                  </a:cubicBezTo>
                  <a:cubicBezTo>
                    <a:pt x="7" y="41"/>
                    <a:pt x="12" y="40"/>
                    <a:pt x="15" y="37"/>
                  </a:cubicBezTo>
                  <a:cubicBezTo>
                    <a:pt x="34" y="15"/>
                    <a:pt x="34" y="15"/>
                    <a:pt x="34" y="15"/>
                  </a:cubicBezTo>
                  <a:cubicBezTo>
                    <a:pt x="35" y="13"/>
                    <a:pt x="35" y="13"/>
                    <a:pt x="35" y="13"/>
                  </a:cubicBezTo>
                  <a:cubicBezTo>
                    <a:pt x="32" y="10"/>
                    <a:pt x="32" y="10"/>
                    <a:pt x="32" y="10"/>
                  </a:cubicBezTo>
                  <a:cubicBezTo>
                    <a:pt x="32" y="9"/>
                    <a:pt x="31" y="8"/>
                    <a:pt x="32" y="8"/>
                  </a:cubicBezTo>
                  <a:close/>
                  <a:moveTo>
                    <a:pt x="13" y="34"/>
                  </a:moveTo>
                  <a:cubicBezTo>
                    <a:pt x="11" y="36"/>
                    <a:pt x="8" y="37"/>
                    <a:pt x="6" y="35"/>
                  </a:cubicBezTo>
                  <a:cubicBezTo>
                    <a:pt x="4" y="33"/>
                    <a:pt x="4" y="30"/>
                    <a:pt x="6" y="28"/>
                  </a:cubicBezTo>
                  <a:cubicBezTo>
                    <a:pt x="7" y="26"/>
                    <a:pt x="10" y="26"/>
                    <a:pt x="13" y="28"/>
                  </a:cubicBezTo>
                  <a:cubicBezTo>
                    <a:pt x="15" y="29"/>
                    <a:pt x="15" y="32"/>
                    <a:pt x="13" y="34"/>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5" name="Freeform 559"/>
            <p:cNvSpPr/>
            <p:nvPr/>
          </p:nvSpPr>
          <p:spPr bwMode="auto">
            <a:xfrm>
              <a:off x="4500563" y="4534958"/>
              <a:ext cx="176212" cy="187325"/>
            </a:xfrm>
            <a:custGeom>
              <a:gdLst>
                <a:gd fmla="*/ 47 w 47" name="T0"/>
                <a:gd fmla="*/ 22 h 50" name="T1"/>
                <a:gd fmla="*/ 43 w 47" name="T2"/>
                <a:gd fmla="*/ 19 h 50" name="T3"/>
                <a:gd fmla="*/ 38 w 47" name="T4"/>
                <a:gd fmla="*/ 24 h 50" name="T5"/>
                <a:gd fmla="*/ 37 w 47" name="T6"/>
                <a:gd fmla="*/ 25 h 50" name="T7"/>
                <a:gd fmla="*/ 36 w 47" name="T8"/>
                <a:gd fmla="*/ 26 h 50" name="T9"/>
                <a:gd fmla="*/ 32 w 47" name="T10"/>
                <a:gd fmla="*/ 27 h 50" name="T11"/>
                <a:gd fmla="*/ 28 w 47" name="T12"/>
                <a:gd fmla="*/ 27 h 50" name="T13"/>
                <a:gd fmla="*/ 24 w 47" name="T14"/>
                <a:gd fmla="*/ 25 h 50" name="T15"/>
                <a:gd fmla="*/ 21 w 47" name="T16"/>
                <a:gd fmla="*/ 20 h 50" name="T17"/>
                <a:gd fmla="*/ 20 w 47" name="T18"/>
                <a:gd fmla="*/ 16 h 50" name="T19"/>
                <a:gd fmla="*/ 20 w 47" name="T20"/>
                <a:gd fmla="*/ 13 h 50" name="T21"/>
                <a:gd fmla="*/ 21 w 47" name="T22"/>
                <a:gd fmla="*/ 11 h 50" name="T23"/>
                <a:gd fmla="*/ 21 w 47" name="T24"/>
                <a:gd fmla="*/ 10 h 50" name="T25"/>
                <a:gd fmla="*/ 26 w 47" name="T26"/>
                <a:gd fmla="*/ 5 h 50" name="T27"/>
                <a:gd fmla="*/ 22 w 47" name="T28"/>
                <a:gd fmla="*/ 1 h 50" name="T29"/>
                <a:gd fmla="*/ 12 w 47" name="T30"/>
                <a:gd fmla="*/ 7 h 50" name="T31"/>
                <a:gd fmla="*/ 8 w 47" name="T32"/>
                <a:gd fmla="*/ 19 h 50" name="T33"/>
                <a:gd fmla="*/ 8 w 47" name="T34"/>
                <a:gd fmla="*/ 22 h 50" name="T35"/>
                <a:gd fmla="*/ 8 w 47" name="T36"/>
                <a:gd fmla="*/ 23 h 50" name="T37"/>
                <a:gd fmla="*/ 7 w 47" name="T38"/>
                <a:gd fmla="*/ 29 h 50" name="T39"/>
                <a:gd fmla="*/ 4 w 47" name="T40"/>
                <a:gd fmla="*/ 35 h 50" name="T41"/>
                <a:gd fmla="*/ 0 w 47" name="T42"/>
                <a:gd fmla="*/ 40 h 50" name="T43"/>
                <a:gd fmla="*/ 0 w 47" name="T44"/>
                <a:gd fmla="*/ 40 h 50" name="T45"/>
                <a:gd fmla="*/ 7 w 47" name="T46"/>
                <a:gd fmla="*/ 44 h 50" name="T47"/>
                <a:gd fmla="*/ 8 w 47" name="T48"/>
                <a:gd fmla="*/ 44 h 50" name="T49"/>
                <a:gd fmla="*/ 8 w 47" name="T50"/>
                <a:gd fmla="*/ 46 h 50" name="T51"/>
                <a:gd fmla="*/ 8 w 47" name="T52"/>
                <a:gd fmla="*/ 47 h 50" name="T53"/>
                <a:gd fmla="*/ 9 w 47" name="T54"/>
                <a:gd fmla="*/ 47 h 50" name="T55"/>
                <a:gd fmla="*/ 10 w 47" name="T56"/>
                <a:gd fmla="*/ 48 h 50" name="T57"/>
                <a:gd fmla="*/ 10 w 47" name="T58"/>
                <a:gd fmla="*/ 49 h 50" name="T59"/>
                <a:gd fmla="*/ 11 w 47" name="T60"/>
                <a:gd fmla="*/ 48 h 50" name="T61"/>
                <a:gd fmla="*/ 12 w 47" name="T62"/>
                <a:gd fmla="*/ 49 h 50" name="T63"/>
                <a:gd fmla="*/ 13 w 47" name="T64"/>
                <a:gd fmla="*/ 50 h 50" name="T65"/>
                <a:gd fmla="*/ 15 w 47" name="T66"/>
                <a:gd fmla="*/ 48 h 50" name="T67"/>
                <a:gd fmla="*/ 22 w 47" name="T68"/>
                <a:gd fmla="*/ 42 h 50" name="T69"/>
                <a:gd fmla="*/ 28 w 47" name="T70"/>
                <a:gd fmla="*/ 40 h 50" name="T71"/>
                <a:gd fmla="*/ 29 w 47" name="T72"/>
                <a:gd fmla="*/ 40 h 50" name="T73"/>
                <a:gd fmla="*/ 32 w 47" name="T74"/>
                <a:gd fmla="*/ 39 h 50" name="T75"/>
                <a:gd fmla="*/ 43 w 47" name="T76"/>
                <a:gd fmla="*/ 33 h 50" name="T77"/>
                <a:gd fmla="*/ 47 w 47" name="T78"/>
                <a:gd fmla="*/ 22 h 50" name="T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b="b" l="0" r="r" t="0"/>
              <a:pathLst>
                <a:path h="50" w="47">
                  <a:moveTo>
                    <a:pt x="47" y="22"/>
                  </a:moveTo>
                  <a:cubicBezTo>
                    <a:pt x="47" y="17"/>
                    <a:pt x="45" y="16"/>
                    <a:pt x="43" y="19"/>
                  </a:cubicBezTo>
                  <a:cubicBezTo>
                    <a:pt x="41" y="21"/>
                    <a:pt x="38" y="24"/>
                    <a:pt x="38" y="24"/>
                  </a:cubicBezTo>
                  <a:cubicBezTo>
                    <a:pt x="38" y="24"/>
                    <a:pt x="38" y="24"/>
                    <a:pt x="37" y="25"/>
                  </a:cubicBezTo>
                  <a:cubicBezTo>
                    <a:pt x="37" y="25"/>
                    <a:pt x="36" y="26"/>
                    <a:pt x="36" y="26"/>
                  </a:cubicBezTo>
                  <a:cubicBezTo>
                    <a:pt x="35" y="26"/>
                    <a:pt x="33" y="27"/>
                    <a:pt x="32" y="27"/>
                  </a:cubicBezTo>
                  <a:cubicBezTo>
                    <a:pt x="31" y="27"/>
                    <a:pt x="29" y="27"/>
                    <a:pt x="28" y="27"/>
                  </a:cubicBezTo>
                  <a:cubicBezTo>
                    <a:pt x="26" y="26"/>
                    <a:pt x="25" y="26"/>
                    <a:pt x="24" y="25"/>
                  </a:cubicBezTo>
                  <a:cubicBezTo>
                    <a:pt x="22" y="23"/>
                    <a:pt x="21" y="22"/>
                    <a:pt x="21" y="20"/>
                  </a:cubicBezTo>
                  <a:cubicBezTo>
                    <a:pt x="20" y="19"/>
                    <a:pt x="20" y="18"/>
                    <a:pt x="20" y="16"/>
                  </a:cubicBezTo>
                  <a:cubicBezTo>
                    <a:pt x="20" y="15"/>
                    <a:pt x="20" y="14"/>
                    <a:pt x="20" y="13"/>
                  </a:cubicBezTo>
                  <a:cubicBezTo>
                    <a:pt x="21" y="12"/>
                    <a:pt x="21" y="12"/>
                    <a:pt x="21" y="11"/>
                  </a:cubicBezTo>
                  <a:cubicBezTo>
                    <a:pt x="21" y="10"/>
                    <a:pt x="21" y="10"/>
                    <a:pt x="21" y="10"/>
                  </a:cubicBezTo>
                  <a:cubicBezTo>
                    <a:pt x="22" y="10"/>
                    <a:pt x="24" y="7"/>
                    <a:pt x="26" y="5"/>
                  </a:cubicBezTo>
                  <a:cubicBezTo>
                    <a:pt x="28" y="2"/>
                    <a:pt x="27" y="0"/>
                    <a:pt x="22" y="1"/>
                  </a:cubicBezTo>
                  <a:cubicBezTo>
                    <a:pt x="22" y="1"/>
                    <a:pt x="17" y="2"/>
                    <a:pt x="12" y="7"/>
                  </a:cubicBezTo>
                  <a:cubicBezTo>
                    <a:pt x="9" y="10"/>
                    <a:pt x="8" y="14"/>
                    <a:pt x="8" y="19"/>
                  </a:cubicBezTo>
                  <a:cubicBezTo>
                    <a:pt x="7" y="20"/>
                    <a:pt x="7" y="21"/>
                    <a:pt x="8" y="22"/>
                  </a:cubicBezTo>
                  <a:cubicBezTo>
                    <a:pt x="8" y="23"/>
                    <a:pt x="8" y="23"/>
                    <a:pt x="8" y="23"/>
                  </a:cubicBezTo>
                  <a:cubicBezTo>
                    <a:pt x="8" y="25"/>
                    <a:pt x="8" y="27"/>
                    <a:pt x="7" y="29"/>
                  </a:cubicBezTo>
                  <a:cubicBezTo>
                    <a:pt x="7" y="31"/>
                    <a:pt x="5" y="33"/>
                    <a:pt x="4" y="35"/>
                  </a:cubicBezTo>
                  <a:cubicBezTo>
                    <a:pt x="0" y="40"/>
                    <a:pt x="0" y="40"/>
                    <a:pt x="0" y="40"/>
                  </a:cubicBezTo>
                  <a:cubicBezTo>
                    <a:pt x="0" y="40"/>
                    <a:pt x="0" y="40"/>
                    <a:pt x="0" y="40"/>
                  </a:cubicBezTo>
                  <a:cubicBezTo>
                    <a:pt x="3" y="40"/>
                    <a:pt x="6" y="41"/>
                    <a:pt x="7" y="44"/>
                  </a:cubicBezTo>
                  <a:cubicBezTo>
                    <a:pt x="8" y="44"/>
                    <a:pt x="8" y="44"/>
                    <a:pt x="8" y="44"/>
                  </a:cubicBezTo>
                  <a:cubicBezTo>
                    <a:pt x="8" y="45"/>
                    <a:pt x="8" y="46"/>
                    <a:pt x="8" y="46"/>
                  </a:cubicBezTo>
                  <a:cubicBezTo>
                    <a:pt x="8" y="46"/>
                    <a:pt x="8" y="47"/>
                    <a:pt x="8" y="47"/>
                  </a:cubicBezTo>
                  <a:cubicBezTo>
                    <a:pt x="8" y="47"/>
                    <a:pt x="9" y="47"/>
                    <a:pt x="9" y="47"/>
                  </a:cubicBezTo>
                  <a:cubicBezTo>
                    <a:pt x="9" y="48"/>
                    <a:pt x="10" y="48"/>
                    <a:pt x="10" y="48"/>
                  </a:cubicBezTo>
                  <a:cubicBezTo>
                    <a:pt x="10" y="48"/>
                    <a:pt x="10" y="48"/>
                    <a:pt x="10" y="49"/>
                  </a:cubicBezTo>
                  <a:cubicBezTo>
                    <a:pt x="10" y="48"/>
                    <a:pt x="10" y="48"/>
                    <a:pt x="11" y="48"/>
                  </a:cubicBezTo>
                  <a:cubicBezTo>
                    <a:pt x="11" y="48"/>
                    <a:pt x="12" y="49"/>
                    <a:pt x="12" y="49"/>
                  </a:cubicBezTo>
                  <a:cubicBezTo>
                    <a:pt x="13" y="50"/>
                    <a:pt x="13" y="50"/>
                    <a:pt x="13" y="50"/>
                  </a:cubicBezTo>
                  <a:cubicBezTo>
                    <a:pt x="15" y="48"/>
                    <a:pt x="15" y="48"/>
                    <a:pt x="15" y="48"/>
                  </a:cubicBezTo>
                  <a:cubicBezTo>
                    <a:pt x="17" y="45"/>
                    <a:pt x="20" y="42"/>
                    <a:pt x="22" y="42"/>
                  </a:cubicBezTo>
                  <a:cubicBezTo>
                    <a:pt x="24" y="41"/>
                    <a:pt x="26" y="40"/>
                    <a:pt x="28" y="40"/>
                  </a:cubicBezTo>
                  <a:cubicBezTo>
                    <a:pt x="28" y="40"/>
                    <a:pt x="28" y="40"/>
                    <a:pt x="29" y="40"/>
                  </a:cubicBezTo>
                  <a:cubicBezTo>
                    <a:pt x="30" y="40"/>
                    <a:pt x="31" y="40"/>
                    <a:pt x="32" y="39"/>
                  </a:cubicBezTo>
                  <a:cubicBezTo>
                    <a:pt x="36" y="38"/>
                    <a:pt x="40" y="36"/>
                    <a:pt x="43" y="33"/>
                  </a:cubicBezTo>
                  <a:cubicBezTo>
                    <a:pt x="47" y="27"/>
                    <a:pt x="47" y="22"/>
                    <a:pt x="47" y="22"/>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6" name="Freeform 560"/>
            <p:cNvSpPr>
              <a:spLocks noEditPoints="1"/>
            </p:cNvSpPr>
            <p:nvPr/>
          </p:nvSpPr>
          <p:spPr bwMode="auto">
            <a:xfrm>
              <a:off x="4467225" y="4688946"/>
              <a:ext cx="171450" cy="187325"/>
            </a:xfrm>
            <a:custGeom>
              <a:gdLst>
                <a:gd fmla="*/ 20 w 46" name="T0"/>
                <a:gd fmla="*/ 9 h 50" name="T1"/>
                <a:gd fmla="*/ 17 w 46" name="T2"/>
                <a:gd fmla="*/ 8 h 50" name="T3"/>
                <a:gd fmla="*/ 15 w 46" name="T4"/>
                <a:gd fmla="*/ 4 h 50" name="T5"/>
                <a:gd fmla="*/ 15 w 46" name="T6"/>
                <a:gd fmla="*/ 4 h 50" name="T7"/>
                <a:gd fmla="*/ 4 w 46" name="T8"/>
                <a:gd fmla="*/ 3 h 50" name="T9"/>
                <a:gd fmla="*/ 3 w 46" name="T10"/>
                <a:gd fmla="*/ 14 h 50" name="T11"/>
                <a:gd fmla="*/ 3 w 46" name="T12"/>
                <a:gd fmla="*/ 15 h 50" name="T13"/>
                <a:gd fmla="*/ 6 w 46" name="T14"/>
                <a:gd fmla="*/ 16 h 50" name="T15"/>
                <a:gd fmla="*/ 8 w 46" name="T16"/>
                <a:gd fmla="*/ 20 h 50" name="T17"/>
                <a:gd fmla="*/ 31 w 46" name="T18"/>
                <a:gd fmla="*/ 47 h 50" name="T19"/>
                <a:gd fmla="*/ 42 w 46" name="T20"/>
                <a:gd fmla="*/ 48 h 50" name="T21"/>
                <a:gd fmla="*/ 43 w 46" name="T22"/>
                <a:gd fmla="*/ 37 h 50" name="T23"/>
                <a:gd fmla="*/ 20 w 46" name="T24"/>
                <a:gd fmla="*/ 9 h 50" name="T25"/>
                <a:gd fmla="*/ 40 w 46" name="T26"/>
                <a:gd fmla="*/ 45 h 50" name="T27"/>
                <a:gd fmla="*/ 34 w 46" name="T28"/>
                <a:gd fmla="*/ 45 h 50" name="T29"/>
                <a:gd fmla="*/ 33 w 46" name="T30"/>
                <a:gd fmla="*/ 38 h 50" name="T31"/>
                <a:gd fmla="*/ 40 w 46" name="T32"/>
                <a:gd fmla="*/ 38 h 50" name="T33"/>
                <a:gd fmla="*/ 40 w 46" name="T34"/>
                <a:gd fmla="*/ 45 h 50"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50" w="46">
                  <a:moveTo>
                    <a:pt x="20" y="9"/>
                  </a:moveTo>
                  <a:cubicBezTo>
                    <a:pt x="18" y="10"/>
                    <a:pt x="18" y="9"/>
                    <a:pt x="17" y="8"/>
                  </a:cubicBezTo>
                  <a:cubicBezTo>
                    <a:pt x="15" y="6"/>
                    <a:pt x="14" y="6"/>
                    <a:pt x="15" y="4"/>
                  </a:cubicBezTo>
                  <a:cubicBezTo>
                    <a:pt x="15" y="4"/>
                    <a:pt x="15" y="4"/>
                    <a:pt x="15" y="4"/>
                  </a:cubicBezTo>
                  <a:cubicBezTo>
                    <a:pt x="12" y="1"/>
                    <a:pt x="7" y="0"/>
                    <a:pt x="4" y="3"/>
                  </a:cubicBezTo>
                  <a:cubicBezTo>
                    <a:pt x="0" y="6"/>
                    <a:pt x="0" y="11"/>
                    <a:pt x="3" y="14"/>
                  </a:cubicBezTo>
                  <a:cubicBezTo>
                    <a:pt x="3" y="15"/>
                    <a:pt x="3" y="15"/>
                    <a:pt x="3" y="15"/>
                  </a:cubicBezTo>
                  <a:cubicBezTo>
                    <a:pt x="5" y="14"/>
                    <a:pt x="5" y="15"/>
                    <a:pt x="6" y="16"/>
                  </a:cubicBezTo>
                  <a:cubicBezTo>
                    <a:pt x="8" y="18"/>
                    <a:pt x="9" y="18"/>
                    <a:pt x="8" y="20"/>
                  </a:cubicBezTo>
                  <a:cubicBezTo>
                    <a:pt x="31" y="47"/>
                    <a:pt x="31" y="47"/>
                    <a:pt x="31" y="47"/>
                  </a:cubicBezTo>
                  <a:cubicBezTo>
                    <a:pt x="34" y="50"/>
                    <a:pt x="39" y="50"/>
                    <a:pt x="42" y="48"/>
                  </a:cubicBezTo>
                  <a:cubicBezTo>
                    <a:pt x="45" y="45"/>
                    <a:pt x="46" y="40"/>
                    <a:pt x="43" y="37"/>
                  </a:cubicBezTo>
                  <a:lnTo>
                    <a:pt x="20" y="9"/>
                  </a:lnTo>
                  <a:close/>
                  <a:moveTo>
                    <a:pt x="40" y="45"/>
                  </a:moveTo>
                  <a:cubicBezTo>
                    <a:pt x="39" y="47"/>
                    <a:pt x="36" y="47"/>
                    <a:pt x="34" y="45"/>
                  </a:cubicBezTo>
                  <a:cubicBezTo>
                    <a:pt x="32" y="44"/>
                    <a:pt x="31" y="41"/>
                    <a:pt x="33" y="38"/>
                  </a:cubicBezTo>
                  <a:cubicBezTo>
                    <a:pt x="35" y="36"/>
                    <a:pt x="38" y="36"/>
                    <a:pt x="40" y="38"/>
                  </a:cubicBezTo>
                  <a:cubicBezTo>
                    <a:pt x="42" y="40"/>
                    <a:pt x="42" y="43"/>
                    <a:pt x="40" y="45"/>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7" name="Freeform 561"/>
            <p:cNvSpPr/>
            <p:nvPr/>
          </p:nvSpPr>
          <p:spPr bwMode="auto">
            <a:xfrm>
              <a:off x="4365625" y="4565121"/>
              <a:ext cx="55562" cy="58738"/>
            </a:xfrm>
            <a:custGeom>
              <a:gdLst>
                <a:gd fmla="*/ 10 w 15" name="T0"/>
                <a:gd fmla="*/ 16 h 16" name="T1"/>
                <a:gd fmla="*/ 14 w 15" name="T2"/>
                <a:gd fmla="*/ 12 h 16" name="T3"/>
                <a:gd fmla="*/ 14 w 15" name="T4"/>
                <a:gd fmla="*/ 9 h 16" name="T5"/>
                <a:gd fmla="*/ 6 w 15" name="T6"/>
                <a:gd fmla="*/ 2 h 16" name="T7"/>
                <a:gd fmla="*/ 4 w 15" name="T8"/>
                <a:gd fmla="*/ 1 h 16" name="T9"/>
                <a:gd fmla="*/ 4 w 15" name="T10"/>
                <a:gd fmla="*/ 1 h 16" name="T11"/>
                <a:gd fmla="*/ 2 w 15" name="T12"/>
                <a:gd fmla="*/ 2 h 16" name="T13"/>
                <a:gd fmla="*/ 2 w 15" name="T14"/>
                <a:gd fmla="*/ 2 h 16" name="T15"/>
                <a:gd fmla="*/ 0 w 15" name="T16"/>
                <a:gd fmla="*/ 4 h 16" name="T17"/>
                <a:gd fmla="*/ 0 w 15" name="T18"/>
                <a:gd fmla="*/ 5 h 16" name="T19"/>
                <a:gd fmla="*/ 1 w 15" name="T20"/>
                <a:gd fmla="*/ 7 h 16" name="T21"/>
                <a:gd fmla="*/ 7 w 15" name="T22"/>
                <a:gd fmla="*/ 15 h 16" name="T23"/>
                <a:gd fmla="*/ 10 w 15" name="T24"/>
                <a:gd fmla="*/ 16 h 16" name="T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b="b" l="0" r="r" t="0"/>
              <a:pathLst>
                <a:path h="16" w="15">
                  <a:moveTo>
                    <a:pt x="10" y="16"/>
                  </a:moveTo>
                  <a:cubicBezTo>
                    <a:pt x="14" y="12"/>
                    <a:pt x="14" y="12"/>
                    <a:pt x="14" y="12"/>
                  </a:cubicBezTo>
                  <a:cubicBezTo>
                    <a:pt x="15" y="11"/>
                    <a:pt x="15" y="10"/>
                    <a:pt x="14" y="9"/>
                  </a:cubicBezTo>
                  <a:cubicBezTo>
                    <a:pt x="6" y="2"/>
                    <a:pt x="6" y="2"/>
                    <a:pt x="6" y="2"/>
                  </a:cubicBezTo>
                  <a:cubicBezTo>
                    <a:pt x="5" y="1"/>
                    <a:pt x="5" y="1"/>
                    <a:pt x="4" y="1"/>
                  </a:cubicBezTo>
                  <a:cubicBezTo>
                    <a:pt x="4" y="0"/>
                    <a:pt x="4" y="0"/>
                    <a:pt x="4" y="1"/>
                  </a:cubicBezTo>
                  <a:cubicBezTo>
                    <a:pt x="4" y="1"/>
                    <a:pt x="3" y="1"/>
                    <a:pt x="2" y="2"/>
                  </a:cubicBezTo>
                  <a:cubicBezTo>
                    <a:pt x="2" y="2"/>
                    <a:pt x="2" y="2"/>
                    <a:pt x="2" y="2"/>
                  </a:cubicBezTo>
                  <a:cubicBezTo>
                    <a:pt x="1" y="3"/>
                    <a:pt x="0" y="4"/>
                    <a:pt x="0" y="4"/>
                  </a:cubicBezTo>
                  <a:cubicBezTo>
                    <a:pt x="0" y="4"/>
                    <a:pt x="0" y="4"/>
                    <a:pt x="0" y="5"/>
                  </a:cubicBezTo>
                  <a:cubicBezTo>
                    <a:pt x="0" y="5"/>
                    <a:pt x="1" y="6"/>
                    <a:pt x="1" y="7"/>
                  </a:cubicBezTo>
                  <a:cubicBezTo>
                    <a:pt x="7" y="15"/>
                    <a:pt x="7" y="15"/>
                    <a:pt x="7" y="15"/>
                  </a:cubicBezTo>
                  <a:cubicBezTo>
                    <a:pt x="7" y="16"/>
                    <a:pt x="9" y="16"/>
                    <a:pt x="10" y="16"/>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28" name="Freeform 562"/>
            <p:cNvSpPr/>
            <p:nvPr/>
          </p:nvSpPr>
          <p:spPr bwMode="auto">
            <a:xfrm>
              <a:off x="4406900" y="4612746"/>
              <a:ext cx="79375" cy="90488"/>
            </a:xfrm>
            <a:custGeom>
              <a:gdLst>
                <a:gd fmla="*/ 0 w 21" name="T0"/>
                <a:gd fmla="*/ 4 h 24" name="T1"/>
                <a:gd fmla="*/ 17 w 21" name="T2"/>
                <a:gd fmla="*/ 24 h 24" name="T3"/>
                <a:gd fmla="*/ 19 w 21" name="T4"/>
                <a:gd fmla="*/ 22 h 24" name="T5"/>
                <a:gd fmla="*/ 21 w 21" name="T6"/>
                <a:gd fmla="*/ 20 h 24" name="T7"/>
                <a:gd fmla="*/ 4 w 21" name="T8"/>
                <a:gd fmla="*/ 0 h 24" name="T9"/>
                <a:gd fmla="*/ 4 w 21" name="T10"/>
                <a:gd fmla="*/ 1 h 24" name="T11"/>
                <a:gd fmla="*/ 0 w 21" name="T12"/>
                <a:gd fmla="*/ 4 h 24" name="T13"/>
                <a:gd fmla="*/ 0 w 21" name="T14"/>
                <a:gd fmla="*/ 4 h 24"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4" w="21">
                  <a:moveTo>
                    <a:pt x="0" y="4"/>
                  </a:moveTo>
                  <a:cubicBezTo>
                    <a:pt x="17" y="24"/>
                    <a:pt x="17" y="24"/>
                    <a:pt x="17" y="24"/>
                  </a:cubicBezTo>
                  <a:cubicBezTo>
                    <a:pt x="17" y="23"/>
                    <a:pt x="18" y="22"/>
                    <a:pt x="19" y="22"/>
                  </a:cubicBezTo>
                  <a:cubicBezTo>
                    <a:pt x="19" y="21"/>
                    <a:pt x="20" y="20"/>
                    <a:pt x="21" y="20"/>
                  </a:cubicBezTo>
                  <a:cubicBezTo>
                    <a:pt x="4" y="0"/>
                    <a:pt x="4" y="0"/>
                    <a:pt x="4" y="0"/>
                  </a:cubicBezTo>
                  <a:cubicBezTo>
                    <a:pt x="4" y="0"/>
                    <a:pt x="4" y="0"/>
                    <a:pt x="4" y="1"/>
                  </a:cubicBezTo>
                  <a:cubicBezTo>
                    <a:pt x="0" y="4"/>
                    <a:pt x="0" y="4"/>
                    <a:pt x="0" y="4"/>
                  </a:cubicBezTo>
                  <a:cubicBezTo>
                    <a:pt x="0" y="4"/>
                    <a:pt x="0" y="4"/>
                    <a:pt x="0" y="4"/>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grpSp>
        <p:nvGrpSpPr>
          <p:cNvPr id="29" name="组合 28"/>
          <p:cNvGrpSpPr/>
          <p:nvPr/>
        </p:nvGrpSpPr>
        <p:grpSpPr>
          <a:xfrm>
            <a:off x="1315742" y="5225250"/>
            <a:ext cx="390453" cy="432478"/>
            <a:chOff x="7880351" y="202671"/>
            <a:chExt cx="415925" cy="376237"/>
          </a:xfrm>
          <a:solidFill>
            <a:schemeClr val="bg1"/>
          </a:solidFill>
        </p:grpSpPr>
        <p:sp>
          <p:nvSpPr>
            <p:cNvPr id="30" name="Freeform 154"/>
            <p:cNvSpPr/>
            <p:nvPr/>
          </p:nvSpPr>
          <p:spPr bwMode="auto">
            <a:xfrm>
              <a:off x="7880351" y="413808"/>
              <a:ext cx="41275" cy="28575"/>
            </a:xfrm>
            <a:custGeom>
              <a:gdLst>
                <a:gd fmla="*/ 9 w 11" name="T0"/>
                <a:gd fmla="*/ 2 h 8" name="T1"/>
                <a:gd fmla="*/ 5 w 11" name="T2"/>
                <a:gd fmla="*/ 0 h 8" name="T3"/>
                <a:gd fmla="*/ 4 w 11" name="T4"/>
                <a:gd fmla="*/ 0 h 8" name="T5"/>
                <a:gd fmla="*/ 1 w 11" name="T6"/>
                <a:gd fmla="*/ 1 h 8" name="T7"/>
                <a:gd fmla="*/ 2 w 11" name="T8"/>
                <a:gd fmla="*/ 5 h 8" name="T9"/>
                <a:gd fmla="*/ 7 w 11" name="T10"/>
                <a:gd fmla="*/ 7 h 8" name="T11"/>
                <a:gd fmla="*/ 11 w 11" name="T12"/>
                <a:gd fmla="*/ 6 h 8" name="T13"/>
                <a:gd fmla="*/ 9 w 11" name="T14"/>
                <a:gd fmla="*/ 2 h 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8" w="11">
                  <a:moveTo>
                    <a:pt x="9" y="2"/>
                  </a:moveTo>
                  <a:cubicBezTo>
                    <a:pt x="6" y="1"/>
                    <a:pt x="5" y="0"/>
                    <a:pt x="5" y="0"/>
                  </a:cubicBezTo>
                  <a:cubicBezTo>
                    <a:pt x="4" y="0"/>
                    <a:pt x="4" y="0"/>
                    <a:pt x="4" y="0"/>
                  </a:cubicBezTo>
                  <a:cubicBezTo>
                    <a:pt x="2" y="0"/>
                    <a:pt x="1" y="0"/>
                    <a:pt x="1" y="1"/>
                  </a:cubicBezTo>
                  <a:cubicBezTo>
                    <a:pt x="0" y="3"/>
                    <a:pt x="1" y="4"/>
                    <a:pt x="2" y="5"/>
                  </a:cubicBezTo>
                  <a:cubicBezTo>
                    <a:pt x="2" y="5"/>
                    <a:pt x="4" y="6"/>
                    <a:pt x="7" y="7"/>
                  </a:cubicBezTo>
                  <a:cubicBezTo>
                    <a:pt x="8" y="8"/>
                    <a:pt x="10" y="7"/>
                    <a:pt x="11" y="6"/>
                  </a:cubicBezTo>
                  <a:cubicBezTo>
                    <a:pt x="11" y="4"/>
                    <a:pt x="11" y="2"/>
                    <a:pt x="9" y="2"/>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1" name="Freeform 155"/>
            <p:cNvSpPr/>
            <p:nvPr/>
          </p:nvSpPr>
          <p:spPr bwMode="auto">
            <a:xfrm>
              <a:off x="8007351" y="458258"/>
              <a:ext cx="60325" cy="33338"/>
            </a:xfrm>
            <a:custGeom>
              <a:gdLst>
                <a:gd fmla="*/ 14 w 16" name="T0"/>
                <a:gd fmla="*/ 2 h 9" name="T1"/>
                <a:gd fmla="*/ 4 w 16" name="T2"/>
                <a:gd fmla="*/ 0 h 9" name="T3"/>
                <a:gd fmla="*/ 3 w 16" name="T4"/>
                <a:gd fmla="*/ 0 h 9" name="T5"/>
                <a:gd fmla="*/ 0 w 16" name="T6"/>
                <a:gd fmla="*/ 2 h 9" name="T7"/>
                <a:gd fmla="*/ 2 w 16" name="T8"/>
                <a:gd fmla="*/ 6 h 9" name="T9"/>
                <a:gd fmla="*/ 12 w 16" name="T10"/>
                <a:gd fmla="*/ 8 h 9" name="T11"/>
                <a:gd fmla="*/ 16 w 16" name="T12"/>
                <a:gd fmla="*/ 6 h 9" name="T13"/>
                <a:gd fmla="*/ 14 w 16" name="T14"/>
                <a:gd fmla="*/ 2 h 9"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9" w="16">
                  <a:moveTo>
                    <a:pt x="14" y="2"/>
                  </a:moveTo>
                  <a:cubicBezTo>
                    <a:pt x="10" y="2"/>
                    <a:pt x="7" y="1"/>
                    <a:pt x="4" y="0"/>
                  </a:cubicBezTo>
                  <a:cubicBezTo>
                    <a:pt x="4" y="0"/>
                    <a:pt x="3" y="0"/>
                    <a:pt x="3" y="0"/>
                  </a:cubicBezTo>
                  <a:cubicBezTo>
                    <a:pt x="2" y="0"/>
                    <a:pt x="1" y="1"/>
                    <a:pt x="0" y="2"/>
                  </a:cubicBezTo>
                  <a:cubicBezTo>
                    <a:pt x="0" y="4"/>
                    <a:pt x="1" y="5"/>
                    <a:pt x="2" y="6"/>
                  </a:cubicBezTo>
                  <a:cubicBezTo>
                    <a:pt x="6" y="7"/>
                    <a:pt x="9" y="7"/>
                    <a:pt x="12" y="8"/>
                  </a:cubicBezTo>
                  <a:cubicBezTo>
                    <a:pt x="14" y="9"/>
                    <a:pt x="16" y="8"/>
                    <a:pt x="16" y="6"/>
                  </a:cubicBezTo>
                  <a:cubicBezTo>
                    <a:pt x="16" y="4"/>
                    <a:pt x="15" y="3"/>
                    <a:pt x="14" y="2"/>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2" name="Freeform 156"/>
            <p:cNvSpPr/>
            <p:nvPr/>
          </p:nvSpPr>
          <p:spPr bwMode="auto">
            <a:xfrm>
              <a:off x="7932738" y="431271"/>
              <a:ext cx="63500" cy="38100"/>
            </a:xfrm>
            <a:custGeom>
              <a:gdLst>
                <a:gd fmla="*/ 14 w 17" name="T0"/>
                <a:gd fmla="*/ 4 h 10" name="T1"/>
                <a:gd fmla="*/ 5 w 17" name="T2"/>
                <a:gd fmla="*/ 1 h 10" name="T3"/>
                <a:gd fmla="*/ 4 w 17" name="T4"/>
                <a:gd fmla="*/ 0 h 10" name="T5"/>
                <a:gd fmla="*/ 1 w 17" name="T6"/>
                <a:gd fmla="*/ 2 h 10" name="T7"/>
                <a:gd fmla="*/ 2 w 17" name="T8"/>
                <a:gd fmla="*/ 6 h 10" name="T9"/>
                <a:gd fmla="*/ 12 w 17" name="T10"/>
                <a:gd fmla="*/ 10 h 10" name="T11"/>
                <a:gd fmla="*/ 16 w 17" name="T12"/>
                <a:gd fmla="*/ 8 h 10" name="T13"/>
                <a:gd fmla="*/ 14 w 17" name="T14"/>
                <a:gd fmla="*/ 4 h 10"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0" w="17">
                  <a:moveTo>
                    <a:pt x="14" y="4"/>
                  </a:moveTo>
                  <a:cubicBezTo>
                    <a:pt x="11" y="3"/>
                    <a:pt x="8" y="2"/>
                    <a:pt x="5" y="1"/>
                  </a:cubicBezTo>
                  <a:cubicBezTo>
                    <a:pt x="4" y="0"/>
                    <a:pt x="4" y="0"/>
                    <a:pt x="4" y="0"/>
                  </a:cubicBezTo>
                  <a:cubicBezTo>
                    <a:pt x="2" y="0"/>
                    <a:pt x="1" y="1"/>
                    <a:pt x="1" y="2"/>
                  </a:cubicBezTo>
                  <a:cubicBezTo>
                    <a:pt x="0" y="4"/>
                    <a:pt x="1" y="6"/>
                    <a:pt x="2" y="6"/>
                  </a:cubicBezTo>
                  <a:cubicBezTo>
                    <a:pt x="6" y="7"/>
                    <a:pt x="9" y="8"/>
                    <a:pt x="12" y="10"/>
                  </a:cubicBezTo>
                  <a:cubicBezTo>
                    <a:pt x="14" y="10"/>
                    <a:pt x="16" y="9"/>
                    <a:pt x="16" y="8"/>
                  </a:cubicBezTo>
                  <a:cubicBezTo>
                    <a:pt x="17" y="6"/>
                    <a:pt x="16" y="4"/>
                    <a:pt x="14" y="4"/>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3" name="Freeform 157"/>
            <p:cNvSpPr/>
            <p:nvPr/>
          </p:nvSpPr>
          <p:spPr bwMode="auto">
            <a:xfrm>
              <a:off x="8081963" y="472546"/>
              <a:ext cx="30163" cy="15875"/>
            </a:xfrm>
            <a:custGeom>
              <a:gdLst>
                <a:gd fmla="*/ 0 w 8" name="T0"/>
                <a:gd fmla="*/ 3 h 4" name="T1"/>
                <a:gd fmla="*/ 0 w 8" name="T2"/>
                <a:gd fmla="*/ 4 h 4" name="T3"/>
                <a:gd fmla="*/ 2 w 8" name="T4"/>
                <a:gd fmla="*/ 3 h 4" name="T5"/>
                <a:gd fmla="*/ 8 w 8" name="T6"/>
                <a:gd fmla="*/ 2 h 4" name="T7"/>
                <a:gd fmla="*/ 8 w 8" name="T8"/>
                <a:gd fmla="*/ 1 h 4" name="T9"/>
                <a:gd fmla="*/ 4 w 8" name="T10"/>
                <a:gd fmla="*/ 1 h 4" name="T11"/>
                <a:gd fmla="*/ 3 w 8" name="T12"/>
                <a:gd fmla="*/ 0 h 4" name="T13"/>
                <a:gd fmla="*/ 0 w 8" name="T14"/>
                <a:gd fmla="*/ 3 h 4"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4" w="8">
                  <a:moveTo>
                    <a:pt x="0" y="3"/>
                  </a:moveTo>
                  <a:cubicBezTo>
                    <a:pt x="0" y="3"/>
                    <a:pt x="0" y="4"/>
                    <a:pt x="0" y="4"/>
                  </a:cubicBezTo>
                  <a:cubicBezTo>
                    <a:pt x="1" y="3"/>
                    <a:pt x="1" y="3"/>
                    <a:pt x="2" y="3"/>
                  </a:cubicBezTo>
                  <a:cubicBezTo>
                    <a:pt x="4" y="3"/>
                    <a:pt x="6" y="2"/>
                    <a:pt x="8" y="2"/>
                  </a:cubicBezTo>
                  <a:cubicBezTo>
                    <a:pt x="8" y="1"/>
                    <a:pt x="8" y="1"/>
                    <a:pt x="8" y="1"/>
                  </a:cubicBezTo>
                  <a:cubicBezTo>
                    <a:pt x="6" y="1"/>
                    <a:pt x="5" y="1"/>
                    <a:pt x="4" y="1"/>
                  </a:cubicBezTo>
                  <a:cubicBezTo>
                    <a:pt x="3" y="0"/>
                    <a:pt x="3" y="0"/>
                    <a:pt x="3" y="0"/>
                  </a:cubicBezTo>
                  <a:cubicBezTo>
                    <a:pt x="2" y="0"/>
                    <a:pt x="0" y="1"/>
                    <a:pt x="0" y="3"/>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4" name="Freeform 158"/>
            <p:cNvSpPr>
              <a:spLocks noEditPoints="1"/>
            </p:cNvSpPr>
            <p:nvPr/>
          </p:nvSpPr>
          <p:spPr bwMode="auto">
            <a:xfrm>
              <a:off x="7935913" y="318558"/>
              <a:ext cx="338138" cy="153988"/>
            </a:xfrm>
            <a:custGeom>
              <a:gdLst>
                <a:gd fmla="*/ 43 w 90" name="T0"/>
                <a:gd fmla="*/ 22 h 41" name="T1"/>
                <a:gd fmla="*/ 88 w 90" name="T2"/>
                <a:gd fmla="*/ 41 h 41" name="T3"/>
                <a:gd fmla="*/ 89 w 90" name="T4"/>
                <a:gd fmla="*/ 40 h 41" name="T5"/>
                <a:gd fmla="*/ 78 w 90" name="T6"/>
                <a:gd fmla="*/ 24 h 41" name="T7"/>
                <a:gd fmla="*/ 30 w 90" name="T8"/>
                <a:gd fmla="*/ 4 h 41" name="T9"/>
                <a:gd fmla="*/ 28 w 90" name="T10"/>
                <a:gd fmla="*/ 3 h 41" name="T11"/>
                <a:gd fmla="*/ 7 w 90" name="T12"/>
                <a:gd fmla="*/ 3 h 41" name="T13"/>
                <a:gd fmla="*/ 7 w 90" name="T14"/>
                <a:gd fmla="*/ 3 h 41" name="T15"/>
                <a:gd fmla="*/ 3 w 90" name="T16"/>
                <a:gd fmla="*/ 8 h 41" name="T17"/>
                <a:gd fmla="*/ 17 w 90" name="T18"/>
                <a:gd fmla="*/ 30 h 41" name="T19"/>
                <a:gd fmla="*/ 38 w 90" name="T20"/>
                <a:gd fmla="*/ 30 h 41" name="T21"/>
                <a:gd fmla="*/ 42 w 90" name="T22"/>
                <a:gd fmla="*/ 25 h 41" name="T23"/>
                <a:gd fmla="*/ 43 w 90" name="T24"/>
                <a:gd fmla="*/ 22 h 41" name="T25"/>
                <a:gd fmla="*/ 49 w 90" name="T26"/>
                <a:gd fmla="*/ 16 h 41" name="T27"/>
                <a:gd fmla="*/ 54 w 90" name="T28"/>
                <a:gd fmla="*/ 17 h 41" name="T29"/>
                <a:gd fmla="*/ 53 w 90" name="T30"/>
                <a:gd fmla="*/ 22 h 41" name="T31"/>
                <a:gd fmla="*/ 48 w 90" name="T32"/>
                <a:gd fmla="*/ 21 h 41" name="T33"/>
                <a:gd fmla="*/ 49 w 90" name="T34"/>
                <a:gd fmla="*/ 16 h 41" name="T35"/>
                <a:gd fmla="*/ 33 w 90" name="T36"/>
                <a:gd fmla="*/ 21 h 41" name="T37"/>
                <a:gd fmla="*/ 32 w 90" name="T38"/>
                <a:gd fmla="*/ 22 h 41" name="T39"/>
                <a:gd fmla="*/ 21 w 90" name="T40"/>
                <a:gd fmla="*/ 21 h 41" name="T41"/>
                <a:gd fmla="*/ 12 w 90" name="T42"/>
                <a:gd fmla="*/ 12 h 41" name="T43"/>
                <a:gd fmla="*/ 13 w 90" name="T44"/>
                <a:gd fmla="*/ 11 h 41" name="T45"/>
                <a:gd fmla="*/ 24 w 90" name="T46"/>
                <a:gd fmla="*/ 12 h 41" name="T47"/>
                <a:gd fmla="*/ 33 w 90" name="T48"/>
                <a:gd fmla="*/ 21 h 41"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41" w="90">
                  <a:moveTo>
                    <a:pt x="43" y="22"/>
                  </a:moveTo>
                  <a:cubicBezTo>
                    <a:pt x="88" y="41"/>
                    <a:pt x="88" y="41"/>
                    <a:pt x="88" y="41"/>
                  </a:cubicBezTo>
                  <a:cubicBezTo>
                    <a:pt x="89" y="40"/>
                    <a:pt x="89" y="40"/>
                    <a:pt x="89" y="40"/>
                  </a:cubicBezTo>
                  <a:cubicBezTo>
                    <a:pt x="90" y="38"/>
                    <a:pt x="89" y="29"/>
                    <a:pt x="78" y="24"/>
                  </a:cubicBezTo>
                  <a:cubicBezTo>
                    <a:pt x="30" y="4"/>
                    <a:pt x="30" y="4"/>
                    <a:pt x="30" y="4"/>
                  </a:cubicBezTo>
                  <a:cubicBezTo>
                    <a:pt x="30" y="4"/>
                    <a:pt x="29" y="3"/>
                    <a:pt x="28" y="3"/>
                  </a:cubicBezTo>
                  <a:cubicBezTo>
                    <a:pt x="21" y="0"/>
                    <a:pt x="12" y="0"/>
                    <a:pt x="7" y="3"/>
                  </a:cubicBezTo>
                  <a:cubicBezTo>
                    <a:pt x="7" y="3"/>
                    <a:pt x="7" y="3"/>
                    <a:pt x="7" y="3"/>
                  </a:cubicBezTo>
                  <a:cubicBezTo>
                    <a:pt x="5" y="5"/>
                    <a:pt x="4" y="6"/>
                    <a:pt x="3" y="8"/>
                  </a:cubicBezTo>
                  <a:cubicBezTo>
                    <a:pt x="0" y="16"/>
                    <a:pt x="6" y="26"/>
                    <a:pt x="17" y="30"/>
                  </a:cubicBezTo>
                  <a:cubicBezTo>
                    <a:pt x="24" y="34"/>
                    <a:pt x="32" y="33"/>
                    <a:pt x="38" y="30"/>
                  </a:cubicBezTo>
                  <a:cubicBezTo>
                    <a:pt x="40" y="29"/>
                    <a:pt x="41" y="27"/>
                    <a:pt x="42" y="25"/>
                  </a:cubicBezTo>
                  <a:cubicBezTo>
                    <a:pt x="42" y="24"/>
                    <a:pt x="43" y="23"/>
                    <a:pt x="43" y="22"/>
                  </a:cubicBezTo>
                  <a:close/>
                  <a:moveTo>
                    <a:pt x="49" y="16"/>
                  </a:moveTo>
                  <a:cubicBezTo>
                    <a:pt x="50" y="15"/>
                    <a:pt x="52" y="16"/>
                    <a:pt x="54" y="17"/>
                  </a:cubicBezTo>
                  <a:cubicBezTo>
                    <a:pt x="55" y="19"/>
                    <a:pt x="54" y="21"/>
                    <a:pt x="53" y="22"/>
                  </a:cubicBezTo>
                  <a:cubicBezTo>
                    <a:pt x="51" y="23"/>
                    <a:pt x="49" y="23"/>
                    <a:pt x="48" y="21"/>
                  </a:cubicBezTo>
                  <a:cubicBezTo>
                    <a:pt x="47" y="19"/>
                    <a:pt x="47" y="17"/>
                    <a:pt x="49" y="16"/>
                  </a:cubicBezTo>
                  <a:close/>
                  <a:moveTo>
                    <a:pt x="33" y="21"/>
                  </a:moveTo>
                  <a:cubicBezTo>
                    <a:pt x="33" y="21"/>
                    <a:pt x="33" y="21"/>
                    <a:pt x="32" y="22"/>
                  </a:cubicBezTo>
                  <a:cubicBezTo>
                    <a:pt x="30" y="23"/>
                    <a:pt x="26" y="23"/>
                    <a:pt x="21" y="21"/>
                  </a:cubicBezTo>
                  <a:cubicBezTo>
                    <a:pt x="14" y="18"/>
                    <a:pt x="11" y="14"/>
                    <a:pt x="12" y="12"/>
                  </a:cubicBezTo>
                  <a:cubicBezTo>
                    <a:pt x="12" y="12"/>
                    <a:pt x="12" y="12"/>
                    <a:pt x="13" y="11"/>
                  </a:cubicBezTo>
                  <a:cubicBezTo>
                    <a:pt x="15" y="10"/>
                    <a:pt x="19" y="10"/>
                    <a:pt x="24" y="12"/>
                  </a:cubicBezTo>
                  <a:cubicBezTo>
                    <a:pt x="31" y="15"/>
                    <a:pt x="34" y="20"/>
                    <a:pt x="33" y="21"/>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5" name="Freeform 159"/>
            <p:cNvSpPr/>
            <p:nvPr/>
          </p:nvSpPr>
          <p:spPr bwMode="auto">
            <a:xfrm>
              <a:off x="8108951" y="413808"/>
              <a:ext cx="55563" cy="77788"/>
            </a:xfrm>
            <a:custGeom>
              <a:gdLst>
                <a:gd fmla="*/ 13 w 15" name="T0"/>
                <a:gd fmla="*/ 6 h 21" name="T1"/>
                <a:gd fmla="*/ 0 w 15" name="T2"/>
                <a:gd fmla="*/ 0 h 21" name="T3"/>
                <a:gd fmla="*/ 4 w 15" name="T4"/>
                <a:gd fmla="*/ 18 h 21" name="T5"/>
                <a:gd fmla="*/ 6 w 15" name="T6"/>
                <a:gd fmla="*/ 17 h 21" name="T7"/>
                <a:gd fmla="*/ 11 w 15" name="T8"/>
                <a:gd fmla="*/ 21 h 21" name="T9"/>
                <a:gd fmla="*/ 12 w 15" name="T10"/>
                <a:gd fmla="*/ 21 h 21" name="T11"/>
                <a:gd fmla="*/ 15 w 15" name="T12"/>
                <a:gd fmla="*/ 17 h 21" name="T13"/>
                <a:gd fmla="*/ 13 w 15" name="T14"/>
                <a:gd fmla="*/ 6 h 21"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21" w="15">
                  <a:moveTo>
                    <a:pt x="13" y="6"/>
                  </a:moveTo>
                  <a:cubicBezTo>
                    <a:pt x="0" y="0"/>
                    <a:pt x="0" y="0"/>
                    <a:pt x="0" y="0"/>
                  </a:cubicBezTo>
                  <a:cubicBezTo>
                    <a:pt x="4" y="18"/>
                    <a:pt x="4" y="18"/>
                    <a:pt x="4" y="18"/>
                  </a:cubicBezTo>
                  <a:cubicBezTo>
                    <a:pt x="4" y="18"/>
                    <a:pt x="5" y="18"/>
                    <a:pt x="6" y="17"/>
                  </a:cubicBezTo>
                  <a:cubicBezTo>
                    <a:pt x="8" y="17"/>
                    <a:pt x="11" y="19"/>
                    <a:pt x="11" y="21"/>
                  </a:cubicBezTo>
                  <a:cubicBezTo>
                    <a:pt x="12" y="21"/>
                    <a:pt x="12" y="21"/>
                    <a:pt x="12" y="21"/>
                  </a:cubicBezTo>
                  <a:cubicBezTo>
                    <a:pt x="12" y="19"/>
                    <a:pt x="13" y="17"/>
                    <a:pt x="15" y="17"/>
                  </a:cubicBezTo>
                  <a:lnTo>
                    <a:pt x="13" y="6"/>
                  </a:ln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6" name="Freeform 160"/>
            <p:cNvSpPr>
              <a:spLocks noEditPoints="1"/>
            </p:cNvSpPr>
            <p:nvPr/>
          </p:nvSpPr>
          <p:spPr bwMode="auto">
            <a:xfrm>
              <a:off x="8078788" y="202671"/>
              <a:ext cx="120650" cy="161925"/>
            </a:xfrm>
            <a:custGeom>
              <a:gdLst>
                <a:gd fmla="*/ 2 w 32" name="T0"/>
                <a:gd fmla="*/ 28 h 43" name="T1"/>
                <a:gd fmla="*/ 4 w 32" name="T2"/>
                <a:gd fmla="*/ 38 h 43" name="T3"/>
                <a:gd fmla="*/ 17 w 32" name="T4"/>
                <a:gd fmla="*/ 43 h 43" name="T5"/>
                <a:gd fmla="*/ 17 w 32" name="T6"/>
                <a:gd fmla="*/ 43 h 43" name="T7"/>
                <a:gd fmla="*/ 20 w 32" name="T8"/>
                <a:gd fmla="*/ 43 h 43" name="T9"/>
                <a:gd fmla="*/ 26 w 32" name="T10"/>
                <a:gd fmla="*/ 39 h 43" name="T11"/>
                <a:gd fmla="*/ 30 w 32" name="T12"/>
                <a:gd fmla="*/ 19 h 43" name="T13"/>
                <a:gd fmla="*/ 11 w 32" name="T14"/>
                <a:gd fmla="*/ 1 h 43" name="T15"/>
                <a:gd fmla="*/ 6 w 32" name="T16"/>
                <a:gd fmla="*/ 4 h 43" name="T17"/>
                <a:gd fmla="*/ 6 w 32" name="T18"/>
                <a:gd fmla="*/ 4 h 43" name="T19"/>
                <a:gd fmla="*/ 1 w 32" name="T20"/>
                <a:gd fmla="*/ 25 h 43" name="T21"/>
                <a:gd fmla="*/ 2 w 32" name="T22"/>
                <a:gd fmla="*/ 28 h 43" name="T23"/>
                <a:gd fmla="*/ 13 w 32" name="T24"/>
                <a:gd fmla="*/ 11 h 43" name="T25"/>
                <a:gd fmla="*/ 13 w 32" name="T26"/>
                <a:gd fmla="*/ 11 h 43" name="T27"/>
                <a:gd fmla="*/ 21 w 32" name="T28"/>
                <a:gd fmla="*/ 21 h 43" name="T29"/>
                <a:gd fmla="*/ 19 w 32" name="T30"/>
                <a:gd fmla="*/ 32 h 43" name="T31"/>
                <a:gd fmla="*/ 18 w 32" name="T32"/>
                <a:gd fmla="*/ 33 h 43" name="T33"/>
                <a:gd fmla="*/ 11 w 32" name="T34"/>
                <a:gd fmla="*/ 23 h 43" name="T35"/>
                <a:gd fmla="*/ 13 w 32" name="T36"/>
                <a:gd fmla="*/ 11 h 43" name="T3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b="b" l="0" r="r" t="0"/>
              <a:pathLst>
                <a:path h="43" w="32">
                  <a:moveTo>
                    <a:pt x="2" y="28"/>
                  </a:moveTo>
                  <a:cubicBezTo>
                    <a:pt x="4" y="38"/>
                    <a:pt x="4" y="38"/>
                    <a:pt x="4" y="38"/>
                  </a:cubicBezTo>
                  <a:cubicBezTo>
                    <a:pt x="17" y="43"/>
                    <a:pt x="17" y="43"/>
                    <a:pt x="17" y="43"/>
                  </a:cubicBezTo>
                  <a:cubicBezTo>
                    <a:pt x="17" y="43"/>
                    <a:pt x="17" y="43"/>
                    <a:pt x="17" y="43"/>
                  </a:cubicBezTo>
                  <a:cubicBezTo>
                    <a:pt x="18" y="43"/>
                    <a:pt x="19" y="43"/>
                    <a:pt x="20" y="43"/>
                  </a:cubicBezTo>
                  <a:cubicBezTo>
                    <a:pt x="22" y="42"/>
                    <a:pt x="24" y="41"/>
                    <a:pt x="26" y="39"/>
                  </a:cubicBezTo>
                  <a:cubicBezTo>
                    <a:pt x="30" y="35"/>
                    <a:pt x="32" y="27"/>
                    <a:pt x="30" y="19"/>
                  </a:cubicBezTo>
                  <a:cubicBezTo>
                    <a:pt x="28" y="7"/>
                    <a:pt x="19" y="0"/>
                    <a:pt x="11" y="1"/>
                  </a:cubicBezTo>
                  <a:cubicBezTo>
                    <a:pt x="9" y="2"/>
                    <a:pt x="7" y="3"/>
                    <a:pt x="6" y="4"/>
                  </a:cubicBezTo>
                  <a:cubicBezTo>
                    <a:pt x="6" y="4"/>
                    <a:pt x="6" y="4"/>
                    <a:pt x="6" y="4"/>
                  </a:cubicBezTo>
                  <a:cubicBezTo>
                    <a:pt x="1" y="9"/>
                    <a:pt x="0" y="17"/>
                    <a:pt x="1" y="25"/>
                  </a:cubicBezTo>
                  <a:cubicBezTo>
                    <a:pt x="1" y="25"/>
                    <a:pt x="2" y="28"/>
                    <a:pt x="2" y="28"/>
                  </a:cubicBezTo>
                  <a:close/>
                  <a:moveTo>
                    <a:pt x="13" y="11"/>
                  </a:moveTo>
                  <a:cubicBezTo>
                    <a:pt x="13" y="11"/>
                    <a:pt x="13" y="11"/>
                    <a:pt x="13" y="11"/>
                  </a:cubicBezTo>
                  <a:cubicBezTo>
                    <a:pt x="15" y="11"/>
                    <a:pt x="19" y="14"/>
                    <a:pt x="21" y="21"/>
                  </a:cubicBezTo>
                  <a:cubicBezTo>
                    <a:pt x="22" y="26"/>
                    <a:pt x="21" y="31"/>
                    <a:pt x="19" y="32"/>
                  </a:cubicBezTo>
                  <a:cubicBezTo>
                    <a:pt x="19" y="33"/>
                    <a:pt x="18" y="33"/>
                    <a:pt x="18" y="33"/>
                  </a:cubicBezTo>
                  <a:cubicBezTo>
                    <a:pt x="16" y="33"/>
                    <a:pt x="12" y="30"/>
                    <a:pt x="11" y="23"/>
                  </a:cubicBezTo>
                  <a:cubicBezTo>
                    <a:pt x="10" y="18"/>
                    <a:pt x="11" y="13"/>
                    <a:pt x="13" y="11"/>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7" name="Freeform 161"/>
            <p:cNvSpPr/>
            <p:nvPr/>
          </p:nvSpPr>
          <p:spPr bwMode="auto">
            <a:xfrm>
              <a:off x="7880351" y="543983"/>
              <a:ext cx="41275" cy="34925"/>
            </a:xfrm>
            <a:custGeom>
              <a:gdLst>
                <a:gd fmla="*/ 7 w 11" name="T0"/>
                <a:gd fmla="*/ 1 h 9" name="T1"/>
                <a:gd fmla="*/ 2 w 11" name="T2"/>
                <a:gd fmla="*/ 3 h 9" name="T3"/>
                <a:gd fmla="*/ 1 w 11" name="T4"/>
                <a:gd fmla="*/ 7 h 9" name="T5"/>
                <a:gd fmla="*/ 4 w 11" name="T6"/>
                <a:gd fmla="*/ 9 h 9" name="T7"/>
                <a:gd fmla="*/ 5 w 11" name="T8"/>
                <a:gd fmla="*/ 8 h 9" name="T9"/>
                <a:gd fmla="*/ 9 w 11" name="T10"/>
                <a:gd fmla="*/ 6 h 9" name="T11"/>
                <a:gd fmla="*/ 11 w 11" name="T12"/>
                <a:gd fmla="*/ 3 h 9" name="T13"/>
                <a:gd fmla="*/ 7 w 11" name="T14"/>
                <a:gd fmla="*/ 1 h 9"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9" w="11">
                  <a:moveTo>
                    <a:pt x="7" y="1"/>
                  </a:moveTo>
                  <a:cubicBezTo>
                    <a:pt x="4" y="2"/>
                    <a:pt x="2" y="3"/>
                    <a:pt x="2" y="3"/>
                  </a:cubicBezTo>
                  <a:cubicBezTo>
                    <a:pt x="1" y="4"/>
                    <a:pt x="0" y="6"/>
                    <a:pt x="1" y="7"/>
                  </a:cubicBezTo>
                  <a:cubicBezTo>
                    <a:pt x="1" y="8"/>
                    <a:pt x="2" y="9"/>
                    <a:pt x="4" y="9"/>
                  </a:cubicBezTo>
                  <a:cubicBezTo>
                    <a:pt x="4" y="9"/>
                    <a:pt x="4" y="9"/>
                    <a:pt x="5" y="8"/>
                  </a:cubicBezTo>
                  <a:cubicBezTo>
                    <a:pt x="5" y="8"/>
                    <a:pt x="6" y="8"/>
                    <a:pt x="9" y="6"/>
                  </a:cubicBezTo>
                  <a:cubicBezTo>
                    <a:pt x="11" y="6"/>
                    <a:pt x="11" y="4"/>
                    <a:pt x="11" y="3"/>
                  </a:cubicBezTo>
                  <a:cubicBezTo>
                    <a:pt x="10" y="1"/>
                    <a:pt x="8" y="0"/>
                    <a:pt x="7" y="1"/>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8" name="Freeform 162"/>
            <p:cNvSpPr/>
            <p:nvPr/>
          </p:nvSpPr>
          <p:spPr bwMode="auto">
            <a:xfrm>
              <a:off x="7932738" y="518583"/>
              <a:ext cx="63500" cy="36513"/>
            </a:xfrm>
            <a:custGeom>
              <a:gdLst>
                <a:gd fmla="*/ 12 w 17" name="T0"/>
                <a:gd fmla="*/ 1 h 10" name="T1"/>
                <a:gd fmla="*/ 2 w 17" name="T2"/>
                <a:gd fmla="*/ 4 h 10" name="T3"/>
                <a:gd fmla="*/ 1 w 17" name="T4"/>
                <a:gd fmla="*/ 8 h 10" name="T5"/>
                <a:gd fmla="*/ 4 w 17" name="T6"/>
                <a:gd fmla="*/ 10 h 10" name="T7"/>
                <a:gd fmla="*/ 5 w 17" name="T8"/>
                <a:gd fmla="*/ 10 h 10" name="T9"/>
                <a:gd fmla="*/ 14 w 17" name="T10"/>
                <a:gd fmla="*/ 6 h 10" name="T11"/>
                <a:gd fmla="*/ 16 w 17" name="T12"/>
                <a:gd fmla="*/ 3 h 10" name="T13"/>
                <a:gd fmla="*/ 12 w 17" name="T14"/>
                <a:gd fmla="*/ 1 h 10"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0" w="17">
                  <a:moveTo>
                    <a:pt x="12" y="1"/>
                  </a:moveTo>
                  <a:cubicBezTo>
                    <a:pt x="9" y="2"/>
                    <a:pt x="6" y="3"/>
                    <a:pt x="2" y="4"/>
                  </a:cubicBezTo>
                  <a:cubicBezTo>
                    <a:pt x="1" y="5"/>
                    <a:pt x="0" y="6"/>
                    <a:pt x="1" y="8"/>
                  </a:cubicBezTo>
                  <a:cubicBezTo>
                    <a:pt x="1" y="9"/>
                    <a:pt x="2" y="10"/>
                    <a:pt x="4" y="10"/>
                  </a:cubicBezTo>
                  <a:cubicBezTo>
                    <a:pt x="4" y="10"/>
                    <a:pt x="4" y="10"/>
                    <a:pt x="5" y="10"/>
                  </a:cubicBezTo>
                  <a:cubicBezTo>
                    <a:pt x="8" y="8"/>
                    <a:pt x="11" y="7"/>
                    <a:pt x="14" y="6"/>
                  </a:cubicBezTo>
                  <a:cubicBezTo>
                    <a:pt x="16" y="6"/>
                    <a:pt x="17" y="4"/>
                    <a:pt x="16" y="3"/>
                  </a:cubicBezTo>
                  <a:cubicBezTo>
                    <a:pt x="16" y="1"/>
                    <a:pt x="14" y="0"/>
                    <a:pt x="12" y="1"/>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39" name="Freeform 163"/>
            <p:cNvSpPr/>
            <p:nvPr/>
          </p:nvSpPr>
          <p:spPr bwMode="auto">
            <a:xfrm>
              <a:off x="8081963" y="483658"/>
              <a:ext cx="60325" cy="30163"/>
            </a:xfrm>
            <a:custGeom>
              <a:gdLst>
                <a:gd fmla="*/ 13 w 16" name="T0"/>
                <a:gd fmla="*/ 0 h 8" name="T1"/>
                <a:gd fmla="*/ 3 w 16" name="T2"/>
                <a:gd fmla="*/ 2 h 8" name="T3"/>
                <a:gd fmla="*/ 0 w 16" name="T4"/>
                <a:gd fmla="*/ 5 h 8" name="T5"/>
                <a:gd fmla="*/ 3 w 16" name="T6"/>
                <a:gd fmla="*/ 8 h 8" name="T7"/>
                <a:gd fmla="*/ 4 w 16" name="T8"/>
                <a:gd fmla="*/ 8 h 8" name="T9"/>
                <a:gd fmla="*/ 14 w 16" name="T10"/>
                <a:gd fmla="*/ 6 h 8" name="T11"/>
                <a:gd fmla="*/ 16 w 16" name="T12"/>
                <a:gd fmla="*/ 3 h 8" name="T13"/>
                <a:gd fmla="*/ 13 w 16" name="T14"/>
                <a:gd fmla="*/ 0 h 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8" w="16">
                  <a:moveTo>
                    <a:pt x="13" y="0"/>
                  </a:moveTo>
                  <a:cubicBezTo>
                    <a:pt x="10" y="1"/>
                    <a:pt x="6" y="1"/>
                    <a:pt x="3" y="2"/>
                  </a:cubicBezTo>
                  <a:cubicBezTo>
                    <a:pt x="1" y="2"/>
                    <a:pt x="0" y="4"/>
                    <a:pt x="0" y="5"/>
                  </a:cubicBezTo>
                  <a:cubicBezTo>
                    <a:pt x="0" y="7"/>
                    <a:pt x="2" y="8"/>
                    <a:pt x="3" y="8"/>
                  </a:cubicBezTo>
                  <a:cubicBezTo>
                    <a:pt x="3" y="8"/>
                    <a:pt x="3" y="8"/>
                    <a:pt x="4" y="8"/>
                  </a:cubicBezTo>
                  <a:cubicBezTo>
                    <a:pt x="7" y="7"/>
                    <a:pt x="10" y="7"/>
                    <a:pt x="14" y="6"/>
                  </a:cubicBezTo>
                  <a:cubicBezTo>
                    <a:pt x="15" y="6"/>
                    <a:pt x="16" y="5"/>
                    <a:pt x="16" y="3"/>
                  </a:cubicBezTo>
                  <a:cubicBezTo>
                    <a:pt x="16" y="1"/>
                    <a:pt x="15" y="0"/>
                    <a:pt x="13" y="0"/>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40" name="Freeform 164"/>
            <p:cNvSpPr/>
            <p:nvPr/>
          </p:nvSpPr>
          <p:spPr bwMode="auto">
            <a:xfrm>
              <a:off x="8007351" y="499533"/>
              <a:ext cx="60325" cy="30163"/>
            </a:xfrm>
            <a:custGeom>
              <a:gdLst>
                <a:gd fmla="*/ 12 w 16" name="T0"/>
                <a:gd fmla="*/ 0 h 8" name="T1"/>
                <a:gd fmla="*/ 2 w 16" name="T2"/>
                <a:gd fmla="*/ 3 h 8" name="T3"/>
                <a:gd fmla="*/ 0 w 16" name="T4"/>
                <a:gd fmla="*/ 6 h 8" name="T5"/>
                <a:gd fmla="*/ 3 w 16" name="T6"/>
                <a:gd fmla="*/ 8 h 8" name="T7"/>
                <a:gd fmla="*/ 4 w 16" name="T8"/>
                <a:gd fmla="*/ 8 h 8" name="T9"/>
                <a:gd fmla="*/ 14 w 16" name="T10"/>
                <a:gd fmla="*/ 6 h 8" name="T11"/>
                <a:gd fmla="*/ 16 w 16" name="T12"/>
                <a:gd fmla="*/ 2 h 8" name="T13"/>
                <a:gd fmla="*/ 12 w 16" name="T14"/>
                <a:gd fmla="*/ 0 h 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8" w="16">
                  <a:moveTo>
                    <a:pt x="12" y="0"/>
                  </a:moveTo>
                  <a:cubicBezTo>
                    <a:pt x="9" y="1"/>
                    <a:pt x="6" y="2"/>
                    <a:pt x="2" y="3"/>
                  </a:cubicBezTo>
                  <a:cubicBezTo>
                    <a:pt x="1" y="3"/>
                    <a:pt x="0" y="5"/>
                    <a:pt x="0" y="6"/>
                  </a:cubicBezTo>
                  <a:cubicBezTo>
                    <a:pt x="1" y="8"/>
                    <a:pt x="2" y="8"/>
                    <a:pt x="3" y="8"/>
                  </a:cubicBezTo>
                  <a:cubicBezTo>
                    <a:pt x="3" y="8"/>
                    <a:pt x="4" y="8"/>
                    <a:pt x="4" y="8"/>
                  </a:cubicBezTo>
                  <a:cubicBezTo>
                    <a:pt x="7" y="7"/>
                    <a:pt x="10" y="7"/>
                    <a:pt x="14" y="6"/>
                  </a:cubicBezTo>
                  <a:cubicBezTo>
                    <a:pt x="15" y="5"/>
                    <a:pt x="16" y="4"/>
                    <a:pt x="16" y="2"/>
                  </a:cubicBezTo>
                  <a:cubicBezTo>
                    <a:pt x="16" y="1"/>
                    <a:pt x="14" y="0"/>
                    <a:pt x="12" y="0"/>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41" name="Freeform 165"/>
            <p:cNvSpPr/>
            <p:nvPr/>
          </p:nvSpPr>
          <p:spPr bwMode="auto">
            <a:xfrm>
              <a:off x="8158163" y="480483"/>
              <a:ext cx="63500" cy="22225"/>
            </a:xfrm>
            <a:custGeom>
              <a:gdLst>
                <a:gd fmla="*/ 14 w 17" name="T0"/>
                <a:gd fmla="*/ 0 h 6" name="T1"/>
                <a:gd fmla="*/ 9 w 17" name="T2"/>
                <a:gd fmla="*/ 0 h 6" name="T3"/>
                <a:gd fmla="*/ 3 w 17" name="T4"/>
                <a:gd fmla="*/ 1 h 6" name="T5"/>
                <a:gd fmla="*/ 1 w 17" name="T6"/>
                <a:gd fmla="*/ 4 h 6" name="T7"/>
                <a:gd fmla="*/ 4 w 17" name="T8"/>
                <a:gd fmla="*/ 6 h 6" name="T9"/>
                <a:gd fmla="*/ 4 w 17" name="T10"/>
                <a:gd fmla="*/ 6 h 6" name="T11"/>
                <a:gd fmla="*/ 9 w 17" name="T12"/>
                <a:gd fmla="*/ 6 h 6" name="T13"/>
                <a:gd fmla="*/ 14 w 17" name="T14"/>
                <a:gd fmla="*/ 6 h 6" name="T15"/>
                <a:gd fmla="*/ 17 w 17" name="T16"/>
                <a:gd fmla="*/ 3 h 6" name="T17"/>
                <a:gd fmla="*/ 14 w 17" name="T18"/>
                <a:gd fmla="*/ 0 h 6"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6" w="17">
                  <a:moveTo>
                    <a:pt x="14" y="0"/>
                  </a:moveTo>
                  <a:cubicBezTo>
                    <a:pt x="9" y="0"/>
                    <a:pt x="9" y="0"/>
                    <a:pt x="9" y="0"/>
                  </a:cubicBezTo>
                  <a:cubicBezTo>
                    <a:pt x="7" y="0"/>
                    <a:pt x="5" y="0"/>
                    <a:pt x="3" y="1"/>
                  </a:cubicBezTo>
                  <a:cubicBezTo>
                    <a:pt x="2" y="1"/>
                    <a:pt x="0" y="2"/>
                    <a:pt x="1" y="4"/>
                  </a:cubicBezTo>
                  <a:cubicBezTo>
                    <a:pt x="1" y="5"/>
                    <a:pt x="2" y="6"/>
                    <a:pt x="4" y="6"/>
                  </a:cubicBezTo>
                  <a:cubicBezTo>
                    <a:pt x="4" y="6"/>
                    <a:pt x="4" y="6"/>
                    <a:pt x="4" y="6"/>
                  </a:cubicBezTo>
                  <a:cubicBezTo>
                    <a:pt x="5" y="6"/>
                    <a:pt x="7" y="6"/>
                    <a:pt x="9" y="6"/>
                  </a:cubicBezTo>
                  <a:cubicBezTo>
                    <a:pt x="14" y="6"/>
                    <a:pt x="14" y="6"/>
                    <a:pt x="14" y="6"/>
                  </a:cubicBezTo>
                  <a:cubicBezTo>
                    <a:pt x="15" y="6"/>
                    <a:pt x="17" y="5"/>
                    <a:pt x="17" y="3"/>
                  </a:cubicBezTo>
                  <a:cubicBezTo>
                    <a:pt x="17" y="2"/>
                    <a:pt x="15" y="0"/>
                    <a:pt x="14" y="0"/>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sp>
          <p:nvSpPr>
            <p:cNvPr id="42" name="Freeform 166"/>
            <p:cNvSpPr/>
            <p:nvPr/>
          </p:nvSpPr>
          <p:spPr bwMode="auto">
            <a:xfrm>
              <a:off x="8235951" y="480483"/>
              <a:ext cx="60325" cy="22225"/>
            </a:xfrm>
            <a:custGeom>
              <a:gdLst>
                <a:gd fmla="*/ 13 w 16" name="T0"/>
                <a:gd fmla="*/ 0 h 6" name="T1"/>
                <a:gd fmla="*/ 3 w 16" name="T2"/>
                <a:gd fmla="*/ 0 h 6" name="T3"/>
                <a:gd fmla="*/ 0 w 16" name="T4"/>
                <a:gd fmla="*/ 3 h 6" name="T5"/>
                <a:gd fmla="*/ 3 w 16" name="T6"/>
                <a:gd fmla="*/ 6 h 6" name="T7"/>
                <a:gd fmla="*/ 13 w 16" name="T8"/>
                <a:gd fmla="*/ 6 h 6" name="T9"/>
                <a:gd fmla="*/ 16 w 16" name="T10"/>
                <a:gd fmla="*/ 3 h 6" name="T11"/>
                <a:gd fmla="*/ 13 w 16" name="T12"/>
                <a:gd fmla="*/ 0 h 6" name="T13"/>
              </a:gdLst>
              <a:cxnLst>
                <a:cxn ang="0">
                  <a:pos x="T0" y="T1"/>
                </a:cxn>
                <a:cxn ang="0">
                  <a:pos x="T2" y="T3"/>
                </a:cxn>
                <a:cxn ang="0">
                  <a:pos x="T4" y="T5"/>
                </a:cxn>
                <a:cxn ang="0">
                  <a:pos x="T6" y="T7"/>
                </a:cxn>
                <a:cxn ang="0">
                  <a:pos x="T8" y="T9"/>
                </a:cxn>
                <a:cxn ang="0">
                  <a:pos x="T10" y="T11"/>
                </a:cxn>
                <a:cxn ang="0">
                  <a:pos x="T12" y="T13"/>
                </a:cxn>
              </a:cxnLst>
              <a:rect b="b" l="0" r="r" t="0"/>
              <a:pathLst>
                <a:path h="6" w="16">
                  <a:moveTo>
                    <a:pt x="13" y="0"/>
                  </a:moveTo>
                  <a:cubicBezTo>
                    <a:pt x="3" y="0"/>
                    <a:pt x="3" y="0"/>
                    <a:pt x="3" y="0"/>
                  </a:cubicBezTo>
                  <a:cubicBezTo>
                    <a:pt x="1" y="0"/>
                    <a:pt x="0" y="2"/>
                    <a:pt x="0" y="3"/>
                  </a:cubicBezTo>
                  <a:cubicBezTo>
                    <a:pt x="0" y="5"/>
                    <a:pt x="1" y="6"/>
                    <a:pt x="3" y="6"/>
                  </a:cubicBezTo>
                  <a:cubicBezTo>
                    <a:pt x="13" y="6"/>
                    <a:pt x="13" y="6"/>
                    <a:pt x="13" y="6"/>
                  </a:cubicBezTo>
                  <a:cubicBezTo>
                    <a:pt x="15" y="6"/>
                    <a:pt x="16" y="5"/>
                    <a:pt x="16" y="3"/>
                  </a:cubicBezTo>
                  <a:cubicBezTo>
                    <a:pt x="16" y="2"/>
                    <a:pt x="15" y="0"/>
                    <a:pt x="13" y="0"/>
                  </a:cubicBezTo>
                  <a:close/>
                </a:path>
              </a:pathLst>
            </a:custGeom>
            <a:grpFill/>
            <a:ln>
              <a:noFill/>
            </a:ln>
            <a:extLst>
              <a:ext uri="{91240B29-F687-4F45-9708-019B960494DF}">
                <a14:hiddenLine w="9525">
                  <a:solidFill>
                    <a:srgbClr val="000000"/>
                  </a:solidFill>
                  <a:round/>
                  <a:headEnd/>
                  <a:tailEnd/>
                </a14:hiddenLine>
              </a:ext>
            </a:extLst>
          </p:spPr>
          <p:txBody>
            <a:bodyPr anchor="t" anchorCtr="0" bIns="45720" compatLnSpc="1" lIns="91440" numCol="1" rIns="91440" tIns="45720" vert="horz" wrap="square">
              <a:prstTxWarp prst="textNoShape">
                <a:avLst/>
              </a:prstTxWarp>
            </a:bodyPr>
            <a:lstStyle/>
            <a:p>
              <a:endParaRPr altLang="en-US" lang="zh-CN"/>
            </a:p>
          </p:txBody>
        </p:sp>
      </p:grpSp>
    </p:spTree>
    <p:extLst>
      <p:ext uri="{BB962C8B-B14F-4D97-AF65-F5344CB8AC3E}">
        <p14:creationId val="2789367541"/>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2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17" name="组合 416"/>
          <p:cNvGrpSpPr/>
          <p:nvPr/>
        </p:nvGrpSpPr>
        <p:grpSpPr>
          <a:xfrm>
            <a:off x="1880521" y="1142835"/>
            <a:ext cx="8388677" cy="5069410"/>
            <a:chOff x="353795" y="1475618"/>
            <a:chExt cx="8388677" cy="5069410"/>
          </a:xfrm>
        </p:grpSpPr>
        <p:sp>
          <p:nvSpPr>
            <p:cNvPr id="418" name="Freeform 375"/>
            <p:cNvSpPr/>
            <p:nvPr/>
          </p:nvSpPr>
          <p:spPr bwMode="gray">
            <a:xfrm>
              <a:off x="2171866" y="1964058"/>
              <a:ext cx="155517" cy="344128"/>
            </a:xfrm>
            <a:custGeom>
              <a:gdLst>
                <a:gd fmla="*/ 76 w 84" name="T0"/>
                <a:gd fmla="*/ 8 h 186" name="T1"/>
                <a:gd fmla="*/ 74 w 84" name="T2"/>
                <a:gd fmla="*/ 4 h 186" name="T3"/>
                <a:gd fmla="*/ 74 w 84" name="T4"/>
                <a:gd fmla="*/ 0 h 186" name="T5"/>
                <a:gd fmla="*/ 70 w 84" name="T6"/>
                <a:gd fmla="*/ 0 h 186" name="T7"/>
                <a:gd fmla="*/ 64 w 84" name="T8"/>
                <a:gd fmla="*/ 8 h 186" name="T9"/>
                <a:gd fmla="*/ 50 w 84" name="T10"/>
                <a:gd fmla="*/ 22 h 186" name="T11"/>
                <a:gd fmla="*/ 38 w 84" name="T12"/>
                <a:gd fmla="*/ 30 h 186" name="T13"/>
                <a:gd fmla="*/ 34 w 84" name="T14"/>
                <a:gd fmla="*/ 32 h 186" name="T15"/>
                <a:gd fmla="*/ 2 w 84" name="T16"/>
                <a:gd fmla="*/ 116 h 186" name="T17"/>
                <a:gd fmla="*/ 0 w 84" name="T18"/>
                <a:gd fmla="*/ 148 h 186" name="T19"/>
                <a:gd fmla="*/ 2 w 84" name="T20"/>
                <a:gd fmla="*/ 148 h 186" name="T21"/>
                <a:gd fmla="*/ 6 w 84" name="T22"/>
                <a:gd fmla="*/ 150 h 186" name="T23"/>
                <a:gd fmla="*/ 4 w 84" name="T24"/>
                <a:gd fmla="*/ 158 h 186" name="T25"/>
                <a:gd fmla="*/ 4 w 84" name="T26"/>
                <a:gd fmla="*/ 168 h 186" name="T27"/>
                <a:gd fmla="*/ 6 w 84" name="T28"/>
                <a:gd fmla="*/ 176 h 186" name="T29"/>
                <a:gd fmla="*/ 14 w 84" name="T30"/>
                <a:gd fmla="*/ 178 h 186" name="T31"/>
                <a:gd fmla="*/ 24 w 84" name="T32"/>
                <a:gd fmla="*/ 180 h 186" name="T33"/>
                <a:gd fmla="*/ 28 w 84" name="T34"/>
                <a:gd fmla="*/ 184 h 186" name="T35"/>
                <a:gd fmla="*/ 40 w 84" name="T36"/>
                <a:gd fmla="*/ 186 h 186" name="T37"/>
                <a:gd fmla="*/ 44 w 84" name="T38"/>
                <a:gd fmla="*/ 184 h 186" name="T39"/>
                <a:gd fmla="*/ 48 w 84" name="T40"/>
                <a:gd fmla="*/ 180 h 186" name="T41"/>
                <a:gd fmla="*/ 48 w 84" name="T42"/>
                <a:gd fmla="*/ 174 h 186" name="T43"/>
                <a:gd fmla="*/ 44 w 84" name="T44"/>
                <a:gd fmla="*/ 170 h 186" name="T45"/>
                <a:gd fmla="*/ 40 w 84" name="T46"/>
                <a:gd fmla="*/ 170 h 186" name="T47"/>
                <a:gd fmla="*/ 30 w 84" name="T48"/>
                <a:gd fmla="*/ 154 h 186" name="T49"/>
                <a:gd fmla="*/ 26 w 84" name="T50"/>
                <a:gd fmla="*/ 128 h 186" name="T51"/>
                <a:gd fmla="*/ 34 w 84" name="T52"/>
                <a:gd fmla="*/ 100 h 186" name="T53"/>
                <a:gd fmla="*/ 32 w 84" name="T54"/>
                <a:gd fmla="*/ 96 h 186" name="T55"/>
                <a:gd fmla="*/ 34 w 84" name="T56"/>
                <a:gd fmla="*/ 86 h 186" name="T57"/>
                <a:gd fmla="*/ 40 w 84" name="T58"/>
                <a:gd fmla="*/ 76 h 186" name="T59"/>
                <a:gd fmla="*/ 56 w 84" name="T60"/>
                <a:gd fmla="*/ 50 h 186" name="T61"/>
                <a:gd fmla="*/ 84 w 84" name="T62"/>
                <a:gd fmla="*/ 22 h 186"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186" w="84">
                  <a:moveTo>
                    <a:pt x="76" y="8"/>
                  </a:moveTo>
                  <a:lnTo>
                    <a:pt x="76" y="8"/>
                  </a:lnTo>
                  <a:lnTo>
                    <a:pt x="76" y="6"/>
                  </a:lnTo>
                  <a:lnTo>
                    <a:pt x="74" y="4"/>
                  </a:lnTo>
                  <a:lnTo>
                    <a:pt x="74" y="2"/>
                  </a:lnTo>
                  <a:lnTo>
                    <a:pt x="74" y="0"/>
                  </a:lnTo>
                  <a:lnTo>
                    <a:pt x="72" y="0"/>
                  </a:lnTo>
                  <a:lnTo>
                    <a:pt x="70" y="0"/>
                  </a:lnTo>
                  <a:lnTo>
                    <a:pt x="66" y="2"/>
                  </a:lnTo>
                  <a:lnTo>
                    <a:pt x="64" y="8"/>
                  </a:lnTo>
                  <a:lnTo>
                    <a:pt x="56" y="16"/>
                  </a:lnTo>
                  <a:lnTo>
                    <a:pt x="50" y="22"/>
                  </a:lnTo>
                  <a:lnTo>
                    <a:pt x="44" y="28"/>
                  </a:lnTo>
                  <a:lnTo>
                    <a:pt x="38" y="30"/>
                  </a:lnTo>
                  <a:lnTo>
                    <a:pt x="36" y="32"/>
                  </a:lnTo>
                  <a:lnTo>
                    <a:pt x="34" y="32"/>
                  </a:lnTo>
                  <a:lnTo>
                    <a:pt x="8" y="88"/>
                  </a:lnTo>
                  <a:lnTo>
                    <a:pt x="2" y="116"/>
                  </a:lnTo>
                  <a:lnTo>
                    <a:pt x="2" y="124"/>
                  </a:lnTo>
                  <a:lnTo>
                    <a:pt x="0" y="148"/>
                  </a:lnTo>
                  <a:lnTo>
                    <a:pt x="2" y="148"/>
                  </a:lnTo>
                  <a:lnTo>
                    <a:pt x="2" y="148"/>
                  </a:lnTo>
                  <a:lnTo>
                    <a:pt x="4" y="148"/>
                  </a:lnTo>
                  <a:lnTo>
                    <a:pt x="6" y="150"/>
                  </a:lnTo>
                  <a:lnTo>
                    <a:pt x="6" y="154"/>
                  </a:lnTo>
                  <a:lnTo>
                    <a:pt x="4" y="158"/>
                  </a:lnTo>
                  <a:lnTo>
                    <a:pt x="4" y="162"/>
                  </a:lnTo>
                  <a:lnTo>
                    <a:pt x="4" y="168"/>
                  </a:lnTo>
                  <a:lnTo>
                    <a:pt x="4" y="172"/>
                  </a:lnTo>
                  <a:lnTo>
                    <a:pt x="6" y="176"/>
                  </a:lnTo>
                  <a:lnTo>
                    <a:pt x="8" y="178"/>
                  </a:lnTo>
                  <a:lnTo>
                    <a:pt x="14" y="178"/>
                  </a:lnTo>
                  <a:lnTo>
                    <a:pt x="20" y="178"/>
                  </a:lnTo>
                  <a:lnTo>
                    <a:pt x="24" y="180"/>
                  </a:lnTo>
                  <a:lnTo>
                    <a:pt x="26" y="182"/>
                  </a:lnTo>
                  <a:lnTo>
                    <a:pt x="28" y="184"/>
                  </a:lnTo>
                  <a:lnTo>
                    <a:pt x="28" y="184"/>
                  </a:lnTo>
                  <a:lnTo>
                    <a:pt x="40" y="186"/>
                  </a:lnTo>
                  <a:lnTo>
                    <a:pt x="42" y="186"/>
                  </a:lnTo>
                  <a:lnTo>
                    <a:pt x="44" y="184"/>
                  </a:lnTo>
                  <a:lnTo>
                    <a:pt x="46" y="184"/>
                  </a:lnTo>
                  <a:lnTo>
                    <a:pt x="48" y="180"/>
                  </a:lnTo>
                  <a:lnTo>
                    <a:pt x="50" y="178"/>
                  </a:lnTo>
                  <a:lnTo>
                    <a:pt x="48" y="174"/>
                  </a:lnTo>
                  <a:lnTo>
                    <a:pt x="46" y="172"/>
                  </a:lnTo>
                  <a:lnTo>
                    <a:pt x="44" y="170"/>
                  </a:lnTo>
                  <a:lnTo>
                    <a:pt x="40" y="170"/>
                  </a:lnTo>
                  <a:lnTo>
                    <a:pt x="40" y="170"/>
                  </a:lnTo>
                  <a:lnTo>
                    <a:pt x="30" y="158"/>
                  </a:lnTo>
                  <a:lnTo>
                    <a:pt x="30" y="154"/>
                  </a:lnTo>
                  <a:lnTo>
                    <a:pt x="26" y="142"/>
                  </a:lnTo>
                  <a:lnTo>
                    <a:pt x="26" y="128"/>
                  </a:lnTo>
                  <a:lnTo>
                    <a:pt x="26" y="112"/>
                  </a:lnTo>
                  <a:lnTo>
                    <a:pt x="34" y="100"/>
                  </a:lnTo>
                  <a:lnTo>
                    <a:pt x="34" y="98"/>
                  </a:lnTo>
                  <a:lnTo>
                    <a:pt x="32" y="96"/>
                  </a:lnTo>
                  <a:lnTo>
                    <a:pt x="32" y="92"/>
                  </a:lnTo>
                  <a:lnTo>
                    <a:pt x="34" y="86"/>
                  </a:lnTo>
                  <a:lnTo>
                    <a:pt x="36" y="82"/>
                  </a:lnTo>
                  <a:lnTo>
                    <a:pt x="40" y="76"/>
                  </a:lnTo>
                  <a:lnTo>
                    <a:pt x="48" y="66"/>
                  </a:lnTo>
                  <a:lnTo>
                    <a:pt x="56" y="50"/>
                  </a:lnTo>
                  <a:lnTo>
                    <a:pt x="66" y="36"/>
                  </a:lnTo>
                  <a:lnTo>
                    <a:pt x="84" y="22"/>
                  </a:lnTo>
                  <a:lnTo>
                    <a:pt x="76" y="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19" name="Freeform 376"/>
            <p:cNvSpPr/>
            <p:nvPr/>
          </p:nvSpPr>
          <p:spPr bwMode="gray">
            <a:xfrm>
              <a:off x="1842318" y="1675434"/>
              <a:ext cx="203654" cy="129510"/>
            </a:xfrm>
            <a:custGeom>
              <a:gdLst>
                <a:gd fmla="*/ 26 w 110" name="T0"/>
                <a:gd fmla="*/ 10 h 70" name="T1"/>
                <a:gd fmla="*/ 26 w 110" name="T2"/>
                <a:gd fmla="*/ 10 h 70" name="T3"/>
                <a:gd fmla="*/ 26 w 110" name="T4"/>
                <a:gd fmla="*/ 12 h 70" name="T5"/>
                <a:gd fmla="*/ 24 w 110" name="T6"/>
                <a:gd fmla="*/ 16 h 70" name="T7"/>
                <a:gd fmla="*/ 22 w 110" name="T8"/>
                <a:gd fmla="*/ 18 h 70" name="T9"/>
                <a:gd fmla="*/ 20 w 110" name="T10"/>
                <a:gd fmla="*/ 20 h 70" name="T11"/>
                <a:gd fmla="*/ 14 w 110" name="T12"/>
                <a:gd fmla="*/ 22 h 70" name="T13"/>
                <a:gd fmla="*/ 10 w 110" name="T14"/>
                <a:gd fmla="*/ 24 h 70" name="T15"/>
                <a:gd fmla="*/ 4 w 110" name="T16"/>
                <a:gd fmla="*/ 24 h 70" name="T17"/>
                <a:gd fmla="*/ 2 w 110" name="T18"/>
                <a:gd fmla="*/ 28 h 70" name="T19"/>
                <a:gd fmla="*/ 0 w 110" name="T20"/>
                <a:gd fmla="*/ 30 h 70" name="T21"/>
                <a:gd fmla="*/ 0 w 110" name="T22"/>
                <a:gd fmla="*/ 32 h 70" name="T23"/>
                <a:gd fmla="*/ 2 w 110" name="T24"/>
                <a:gd fmla="*/ 34 h 70" name="T25"/>
                <a:gd fmla="*/ 8 w 110" name="T26"/>
                <a:gd fmla="*/ 38 h 70" name="T27"/>
                <a:gd fmla="*/ 22 w 110" name="T28"/>
                <a:gd fmla="*/ 42 h 70" name="T29"/>
                <a:gd fmla="*/ 34 w 110" name="T30"/>
                <a:gd fmla="*/ 44 h 70" name="T31"/>
                <a:gd fmla="*/ 46 w 110" name="T32"/>
                <a:gd fmla="*/ 44 h 70" name="T33"/>
                <a:gd fmla="*/ 50 w 110" name="T34"/>
                <a:gd fmla="*/ 44 h 70" name="T35"/>
                <a:gd fmla="*/ 68 w 110" name="T36"/>
                <a:gd fmla="*/ 70 h 70" name="T37"/>
                <a:gd fmla="*/ 86 w 110" name="T38"/>
                <a:gd fmla="*/ 56 h 70" name="T39"/>
                <a:gd fmla="*/ 88 w 110" name="T40"/>
                <a:gd fmla="*/ 44 h 70" name="T41"/>
                <a:gd fmla="*/ 88 w 110" name="T42"/>
                <a:gd fmla="*/ 44 h 70" name="T43"/>
                <a:gd fmla="*/ 92 w 110" name="T44"/>
                <a:gd fmla="*/ 42 h 70" name="T45"/>
                <a:gd fmla="*/ 96 w 110" name="T46"/>
                <a:gd fmla="*/ 40 h 70" name="T47"/>
                <a:gd fmla="*/ 100 w 110" name="T48"/>
                <a:gd fmla="*/ 36 h 70" name="T49"/>
                <a:gd fmla="*/ 104 w 110" name="T50"/>
                <a:gd fmla="*/ 32 h 70" name="T51"/>
                <a:gd fmla="*/ 108 w 110" name="T52"/>
                <a:gd fmla="*/ 28 h 70" name="T53"/>
                <a:gd fmla="*/ 110 w 110" name="T54"/>
                <a:gd fmla="*/ 22 h 70" name="T55"/>
                <a:gd fmla="*/ 110 w 110" name="T56"/>
                <a:gd fmla="*/ 18 h 70" name="T57"/>
                <a:gd fmla="*/ 110 w 110" name="T58"/>
                <a:gd fmla="*/ 16 h 70" name="T59"/>
                <a:gd fmla="*/ 108 w 110" name="T60"/>
                <a:gd fmla="*/ 16 h 70" name="T61"/>
                <a:gd fmla="*/ 106 w 110" name="T62"/>
                <a:gd fmla="*/ 16 h 70" name="T63"/>
                <a:gd fmla="*/ 104 w 110" name="T64"/>
                <a:gd fmla="*/ 18 h 70" name="T65"/>
                <a:gd fmla="*/ 102 w 110" name="T66"/>
                <a:gd fmla="*/ 18 h 70" name="T67"/>
                <a:gd fmla="*/ 100 w 110" name="T68"/>
                <a:gd fmla="*/ 20 h 70" name="T69"/>
                <a:gd fmla="*/ 98 w 110" name="T70"/>
                <a:gd fmla="*/ 22 h 70" name="T71"/>
                <a:gd fmla="*/ 98 w 110" name="T72"/>
                <a:gd fmla="*/ 22 h 70" name="T73"/>
                <a:gd fmla="*/ 80 w 110" name="T74"/>
                <a:gd fmla="*/ 32 h 70" name="T75"/>
                <a:gd fmla="*/ 62 w 110" name="T76"/>
                <a:gd fmla="*/ 30 h 70" name="T77"/>
                <a:gd fmla="*/ 60 w 110" name="T78"/>
                <a:gd fmla="*/ 28 h 70" name="T79"/>
                <a:gd fmla="*/ 58 w 110" name="T80"/>
                <a:gd fmla="*/ 28 h 70" name="T81"/>
                <a:gd fmla="*/ 56 w 110" name="T82"/>
                <a:gd fmla="*/ 24 h 70" name="T83"/>
                <a:gd fmla="*/ 56 w 110" name="T84"/>
                <a:gd fmla="*/ 22 h 70" name="T85"/>
                <a:gd fmla="*/ 56 w 110" name="T86"/>
                <a:gd fmla="*/ 18 h 70" name="T87"/>
                <a:gd fmla="*/ 58 w 110" name="T88"/>
                <a:gd fmla="*/ 14 h 70" name="T89"/>
                <a:gd fmla="*/ 62 w 110" name="T90"/>
                <a:gd fmla="*/ 10 h 70" name="T91"/>
                <a:gd fmla="*/ 64 w 110" name="T92"/>
                <a:gd fmla="*/ 6 h 70" name="T93"/>
                <a:gd fmla="*/ 66 w 110" name="T94"/>
                <a:gd fmla="*/ 4 h 70" name="T95"/>
                <a:gd fmla="*/ 66 w 110" name="T96"/>
                <a:gd fmla="*/ 4 h 70" name="T97"/>
                <a:gd fmla="*/ 62 w 110" name="T98"/>
                <a:gd fmla="*/ 2 h 70" name="T99"/>
                <a:gd fmla="*/ 54 w 110" name="T100"/>
                <a:gd fmla="*/ 2 h 70" name="T101"/>
                <a:gd fmla="*/ 44 w 110" name="T102"/>
                <a:gd fmla="*/ 0 h 70" name="T103"/>
                <a:gd fmla="*/ 34 w 110" name="T104"/>
                <a:gd fmla="*/ 4 h 70" name="T105"/>
                <a:gd fmla="*/ 26 w 110" name="T106"/>
                <a:gd fmla="*/ 10 h 70" name="T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b="b" l="0" r="r" t="0"/>
              <a:pathLst>
                <a:path h="70" w="110">
                  <a:moveTo>
                    <a:pt x="26" y="10"/>
                  </a:moveTo>
                  <a:lnTo>
                    <a:pt x="26" y="10"/>
                  </a:lnTo>
                  <a:lnTo>
                    <a:pt x="26" y="12"/>
                  </a:lnTo>
                  <a:lnTo>
                    <a:pt x="24" y="16"/>
                  </a:lnTo>
                  <a:lnTo>
                    <a:pt x="22" y="18"/>
                  </a:lnTo>
                  <a:lnTo>
                    <a:pt x="20" y="20"/>
                  </a:lnTo>
                  <a:lnTo>
                    <a:pt x="14" y="22"/>
                  </a:lnTo>
                  <a:lnTo>
                    <a:pt x="10" y="24"/>
                  </a:lnTo>
                  <a:lnTo>
                    <a:pt x="4" y="24"/>
                  </a:lnTo>
                  <a:lnTo>
                    <a:pt x="2" y="28"/>
                  </a:lnTo>
                  <a:lnTo>
                    <a:pt x="0" y="30"/>
                  </a:lnTo>
                  <a:lnTo>
                    <a:pt x="0" y="32"/>
                  </a:lnTo>
                  <a:lnTo>
                    <a:pt x="2" y="34"/>
                  </a:lnTo>
                  <a:lnTo>
                    <a:pt x="8" y="38"/>
                  </a:lnTo>
                  <a:lnTo>
                    <a:pt x="22" y="42"/>
                  </a:lnTo>
                  <a:lnTo>
                    <a:pt x="34" y="44"/>
                  </a:lnTo>
                  <a:lnTo>
                    <a:pt x="46" y="44"/>
                  </a:lnTo>
                  <a:lnTo>
                    <a:pt x="50" y="44"/>
                  </a:lnTo>
                  <a:lnTo>
                    <a:pt x="68" y="70"/>
                  </a:lnTo>
                  <a:lnTo>
                    <a:pt x="86" y="56"/>
                  </a:lnTo>
                  <a:lnTo>
                    <a:pt x="88" y="44"/>
                  </a:lnTo>
                  <a:lnTo>
                    <a:pt x="88" y="44"/>
                  </a:lnTo>
                  <a:lnTo>
                    <a:pt x="92" y="42"/>
                  </a:lnTo>
                  <a:lnTo>
                    <a:pt x="96" y="40"/>
                  </a:lnTo>
                  <a:lnTo>
                    <a:pt x="100" y="36"/>
                  </a:lnTo>
                  <a:lnTo>
                    <a:pt x="104" y="32"/>
                  </a:lnTo>
                  <a:lnTo>
                    <a:pt x="108" y="28"/>
                  </a:lnTo>
                  <a:lnTo>
                    <a:pt x="110" y="22"/>
                  </a:lnTo>
                  <a:lnTo>
                    <a:pt x="110" y="18"/>
                  </a:lnTo>
                  <a:lnTo>
                    <a:pt x="110" y="16"/>
                  </a:lnTo>
                  <a:lnTo>
                    <a:pt x="108" y="16"/>
                  </a:lnTo>
                  <a:lnTo>
                    <a:pt x="106" y="16"/>
                  </a:lnTo>
                  <a:lnTo>
                    <a:pt x="104" y="18"/>
                  </a:lnTo>
                  <a:lnTo>
                    <a:pt x="102" y="18"/>
                  </a:lnTo>
                  <a:lnTo>
                    <a:pt x="100" y="20"/>
                  </a:lnTo>
                  <a:lnTo>
                    <a:pt x="98" y="22"/>
                  </a:lnTo>
                  <a:lnTo>
                    <a:pt x="98" y="22"/>
                  </a:lnTo>
                  <a:lnTo>
                    <a:pt x="80" y="32"/>
                  </a:lnTo>
                  <a:lnTo>
                    <a:pt x="62" y="30"/>
                  </a:lnTo>
                  <a:lnTo>
                    <a:pt x="60" y="28"/>
                  </a:lnTo>
                  <a:lnTo>
                    <a:pt x="58" y="28"/>
                  </a:lnTo>
                  <a:lnTo>
                    <a:pt x="56" y="24"/>
                  </a:lnTo>
                  <a:lnTo>
                    <a:pt x="56" y="22"/>
                  </a:lnTo>
                  <a:lnTo>
                    <a:pt x="56" y="18"/>
                  </a:lnTo>
                  <a:lnTo>
                    <a:pt x="58" y="14"/>
                  </a:lnTo>
                  <a:lnTo>
                    <a:pt x="62" y="10"/>
                  </a:lnTo>
                  <a:lnTo>
                    <a:pt x="64" y="6"/>
                  </a:lnTo>
                  <a:lnTo>
                    <a:pt x="66" y="4"/>
                  </a:lnTo>
                  <a:lnTo>
                    <a:pt x="66" y="4"/>
                  </a:lnTo>
                  <a:lnTo>
                    <a:pt x="62" y="2"/>
                  </a:lnTo>
                  <a:lnTo>
                    <a:pt x="54" y="2"/>
                  </a:lnTo>
                  <a:lnTo>
                    <a:pt x="44" y="0"/>
                  </a:lnTo>
                  <a:lnTo>
                    <a:pt x="34" y="4"/>
                  </a:lnTo>
                  <a:lnTo>
                    <a:pt x="26" y="1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0" name="Freeform 377"/>
            <p:cNvSpPr/>
            <p:nvPr/>
          </p:nvSpPr>
          <p:spPr bwMode="gray">
            <a:xfrm>
              <a:off x="1157301" y="1705037"/>
              <a:ext cx="203654" cy="407033"/>
            </a:xfrm>
            <a:custGeom>
              <a:gdLst>
                <a:gd fmla="*/ 44 w 110" name="T0"/>
                <a:gd fmla="*/ 20 h 220" name="T1"/>
                <a:gd fmla="*/ 40 w 110" name="T2"/>
                <a:gd fmla="*/ 20 h 220" name="T3"/>
                <a:gd fmla="*/ 36 w 110" name="T4"/>
                <a:gd fmla="*/ 20 h 220" name="T5"/>
                <a:gd fmla="*/ 34 w 110" name="T6"/>
                <a:gd fmla="*/ 26 h 220" name="T7"/>
                <a:gd fmla="*/ 32 w 110" name="T8"/>
                <a:gd fmla="*/ 32 h 220" name="T9"/>
                <a:gd fmla="*/ 28 w 110" name="T10"/>
                <a:gd fmla="*/ 34 h 220" name="T11"/>
                <a:gd fmla="*/ 24 w 110" name="T12"/>
                <a:gd fmla="*/ 34 h 220" name="T13"/>
                <a:gd fmla="*/ 24 w 110" name="T14"/>
                <a:gd fmla="*/ 34 h 220" name="T15"/>
                <a:gd fmla="*/ 20 w 110" name="T16"/>
                <a:gd fmla="*/ 26 h 220" name="T17"/>
                <a:gd fmla="*/ 12 w 110" name="T18"/>
                <a:gd fmla="*/ 18 h 220" name="T19"/>
                <a:gd fmla="*/ 2 w 110" name="T20"/>
                <a:gd fmla="*/ 16 h 220" name="T21"/>
                <a:gd fmla="*/ 0 w 110" name="T22"/>
                <a:gd fmla="*/ 60 h 220" name="T23"/>
                <a:gd fmla="*/ 4 w 110" name="T24"/>
                <a:gd fmla="*/ 72 h 220" name="T25"/>
                <a:gd fmla="*/ 14 w 110" name="T26"/>
                <a:gd fmla="*/ 94 h 220" name="T27"/>
                <a:gd fmla="*/ 42 w 110" name="T28"/>
                <a:gd fmla="*/ 106 h 220" name="T29"/>
                <a:gd fmla="*/ 58 w 110" name="T30"/>
                <a:gd fmla="*/ 94 h 220" name="T31"/>
                <a:gd fmla="*/ 60 w 110" name="T32"/>
                <a:gd fmla="*/ 96 h 220" name="T33"/>
                <a:gd fmla="*/ 66 w 110" name="T34"/>
                <a:gd fmla="*/ 100 h 220" name="T35"/>
                <a:gd fmla="*/ 68 w 110" name="T36"/>
                <a:gd fmla="*/ 106 h 220" name="T37"/>
                <a:gd fmla="*/ 62 w 110" name="T38"/>
                <a:gd fmla="*/ 114 h 220" name="T39"/>
                <a:gd fmla="*/ 46 w 110" name="T40"/>
                <a:gd fmla="*/ 126 h 220" name="T41"/>
                <a:gd fmla="*/ 38 w 110" name="T42"/>
                <a:gd fmla="*/ 130 h 220" name="T43"/>
                <a:gd fmla="*/ 36 w 110" name="T44"/>
                <a:gd fmla="*/ 144 h 220" name="T45"/>
                <a:gd fmla="*/ 36 w 110" name="T46"/>
                <a:gd fmla="*/ 166 h 220" name="T47"/>
                <a:gd fmla="*/ 38 w 110" name="T48"/>
                <a:gd fmla="*/ 170 h 220" name="T49"/>
                <a:gd fmla="*/ 42 w 110" name="T50"/>
                <a:gd fmla="*/ 182 h 220" name="T51"/>
                <a:gd fmla="*/ 48 w 110" name="T52"/>
                <a:gd fmla="*/ 192 h 220" name="T53"/>
                <a:gd fmla="*/ 56 w 110" name="T54"/>
                <a:gd fmla="*/ 202 h 220" name="T55"/>
                <a:gd fmla="*/ 62 w 110" name="T56"/>
                <a:gd fmla="*/ 212 h 220" name="T57"/>
                <a:gd fmla="*/ 66 w 110" name="T58"/>
                <a:gd fmla="*/ 220 h 220" name="T59"/>
                <a:gd fmla="*/ 74 w 110" name="T60"/>
                <a:gd fmla="*/ 212 h 220" name="T61"/>
                <a:gd fmla="*/ 90 w 110" name="T62"/>
                <a:gd fmla="*/ 154 h 220" name="T63"/>
                <a:gd fmla="*/ 104 w 110" name="T64"/>
                <a:gd fmla="*/ 98 h 220" name="T65"/>
                <a:gd fmla="*/ 108 w 110" name="T66"/>
                <a:gd fmla="*/ 88 h 220" name="T67"/>
                <a:gd fmla="*/ 108 w 110" name="T68"/>
                <a:gd fmla="*/ 66 h 220" name="T69"/>
                <a:gd fmla="*/ 102 w 110" name="T70"/>
                <a:gd fmla="*/ 22 h 220" name="T71"/>
                <a:gd fmla="*/ 70 w 110" name="T72"/>
                <a:gd fmla="*/ 2 h 220" name="T73"/>
                <a:gd fmla="*/ 64 w 110" name="T74"/>
                <a:gd fmla="*/ 4 h 220" name="T75"/>
                <a:gd fmla="*/ 58 w 110" name="T76"/>
                <a:gd fmla="*/ 8 h 220" name="T77"/>
                <a:gd fmla="*/ 58 w 110" name="T78"/>
                <a:gd fmla="*/ 14 h 220" name="T79"/>
                <a:gd fmla="*/ 56 w 110" name="T80"/>
                <a:gd fmla="*/ 24 h 220" name="T81"/>
                <a:gd fmla="*/ 54 w 110" name="T82"/>
                <a:gd fmla="*/ 30 h 220" name="T83"/>
                <a:gd fmla="*/ 44 w 110" name="T84"/>
                <a:gd fmla="*/ 22 h 220"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220" w="110">
                  <a:moveTo>
                    <a:pt x="44" y="22"/>
                  </a:moveTo>
                  <a:lnTo>
                    <a:pt x="44" y="20"/>
                  </a:lnTo>
                  <a:lnTo>
                    <a:pt x="42" y="20"/>
                  </a:lnTo>
                  <a:lnTo>
                    <a:pt x="40" y="20"/>
                  </a:lnTo>
                  <a:lnTo>
                    <a:pt x="38" y="20"/>
                  </a:lnTo>
                  <a:lnTo>
                    <a:pt x="36" y="20"/>
                  </a:lnTo>
                  <a:lnTo>
                    <a:pt x="34" y="22"/>
                  </a:lnTo>
                  <a:lnTo>
                    <a:pt x="34" y="26"/>
                  </a:lnTo>
                  <a:lnTo>
                    <a:pt x="34" y="28"/>
                  </a:lnTo>
                  <a:lnTo>
                    <a:pt x="32" y="32"/>
                  </a:lnTo>
                  <a:lnTo>
                    <a:pt x="32" y="34"/>
                  </a:lnTo>
                  <a:lnTo>
                    <a:pt x="28" y="34"/>
                  </a:lnTo>
                  <a:lnTo>
                    <a:pt x="26" y="34"/>
                  </a:lnTo>
                  <a:lnTo>
                    <a:pt x="24" y="34"/>
                  </a:lnTo>
                  <a:lnTo>
                    <a:pt x="24" y="34"/>
                  </a:lnTo>
                  <a:lnTo>
                    <a:pt x="24" y="34"/>
                  </a:lnTo>
                  <a:lnTo>
                    <a:pt x="22" y="30"/>
                  </a:lnTo>
                  <a:lnTo>
                    <a:pt x="20" y="26"/>
                  </a:lnTo>
                  <a:lnTo>
                    <a:pt x="16" y="22"/>
                  </a:lnTo>
                  <a:lnTo>
                    <a:pt x="12" y="18"/>
                  </a:lnTo>
                  <a:lnTo>
                    <a:pt x="8" y="16"/>
                  </a:lnTo>
                  <a:lnTo>
                    <a:pt x="2" y="16"/>
                  </a:lnTo>
                  <a:lnTo>
                    <a:pt x="0" y="36"/>
                  </a:lnTo>
                  <a:lnTo>
                    <a:pt x="0" y="60"/>
                  </a:lnTo>
                  <a:lnTo>
                    <a:pt x="0" y="64"/>
                  </a:lnTo>
                  <a:lnTo>
                    <a:pt x="4" y="72"/>
                  </a:lnTo>
                  <a:lnTo>
                    <a:pt x="8" y="84"/>
                  </a:lnTo>
                  <a:lnTo>
                    <a:pt x="14" y="94"/>
                  </a:lnTo>
                  <a:lnTo>
                    <a:pt x="28" y="114"/>
                  </a:lnTo>
                  <a:lnTo>
                    <a:pt x="42" y="106"/>
                  </a:lnTo>
                  <a:lnTo>
                    <a:pt x="44" y="94"/>
                  </a:lnTo>
                  <a:lnTo>
                    <a:pt x="58" y="94"/>
                  </a:lnTo>
                  <a:lnTo>
                    <a:pt x="58" y="96"/>
                  </a:lnTo>
                  <a:lnTo>
                    <a:pt x="60" y="96"/>
                  </a:lnTo>
                  <a:lnTo>
                    <a:pt x="64" y="98"/>
                  </a:lnTo>
                  <a:lnTo>
                    <a:pt x="66" y="100"/>
                  </a:lnTo>
                  <a:lnTo>
                    <a:pt x="68" y="104"/>
                  </a:lnTo>
                  <a:lnTo>
                    <a:pt x="68" y="106"/>
                  </a:lnTo>
                  <a:lnTo>
                    <a:pt x="66" y="110"/>
                  </a:lnTo>
                  <a:lnTo>
                    <a:pt x="62" y="114"/>
                  </a:lnTo>
                  <a:lnTo>
                    <a:pt x="54" y="122"/>
                  </a:lnTo>
                  <a:lnTo>
                    <a:pt x="46" y="126"/>
                  </a:lnTo>
                  <a:lnTo>
                    <a:pt x="40" y="128"/>
                  </a:lnTo>
                  <a:lnTo>
                    <a:pt x="38" y="130"/>
                  </a:lnTo>
                  <a:lnTo>
                    <a:pt x="36" y="132"/>
                  </a:lnTo>
                  <a:lnTo>
                    <a:pt x="36" y="144"/>
                  </a:lnTo>
                  <a:lnTo>
                    <a:pt x="46" y="152"/>
                  </a:lnTo>
                  <a:lnTo>
                    <a:pt x="36" y="166"/>
                  </a:lnTo>
                  <a:lnTo>
                    <a:pt x="36" y="166"/>
                  </a:lnTo>
                  <a:lnTo>
                    <a:pt x="38" y="170"/>
                  </a:lnTo>
                  <a:lnTo>
                    <a:pt x="40" y="176"/>
                  </a:lnTo>
                  <a:lnTo>
                    <a:pt x="42" y="182"/>
                  </a:lnTo>
                  <a:lnTo>
                    <a:pt x="44" y="188"/>
                  </a:lnTo>
                  <a:lnTo>
                    <a:pt x="48" y="192"/>
                  </a:lnTo>
                  <a:lnTo>
                    <a:pt x="52" y="196"/>
                  </a:lnTo>
                  <a:lnTo>
                    <a:pt x="56" y="202"/>
                  </a:lnTo>
                  <a:lnTo>
                    <a:pt x="58" y="208"/>
                  </a:lnTo>
                  <a:lnTo>
                    <a:pt x="62" y="212"/>
                  </a:lnTo>
                  <a:lnTo>
                    <a:pt x="64" y="216"/>
                  </a:lnTo>
                  <a:lnTo>
                    <a:pt x="66" y="220"/>
                  </a:lnTo>
                  <a:lnTo>
                    <a:pt x="66" y="220"/>
                  </a:lnTo>
                  <a:lnTo>
                    <a:pt x="74" y="212"/>
                  </a:lnTo>
                  <a:lnTo>
                    <a:pt x="84" y="172"/>
                  </a:lnTo>
                  <a:lnTo>
                    <a:pt x="90" y="154"/>
                  </a:lnTo>
                  <a:lnTo>
                    <a:pt x="94" y="132"/>
                  </a:lnTo>
                  <a:lnTo>
                    <a:pt x="104" y="98"/>
                  </a:lnTo>
                  <a:lnTo>
                    <a:pt x="106" y="96"/>
                  </a:lnTo>
                  <a:lnTo>
                    <a:pt x="108" y="88"/>
                  </a:lnTo>
                  <a:lnTo>
                    <a:pt x="110" y="76"/>
                  </a:lnTo>
                  <a:lnTo>
                    <a:pt x="108" y="66"/>
                  </a:lnTo>
                  <a:lnTo>
                    <a:pt x="98" y="46"/>
                  </a:lnTo>
                  <a:lnTo>
                    <a:pt x="102" y="22"/>
                  </a:lnTo>
                  <a:lnTo>
                    <a:pt x="70" y="0"/>
                  </a:lnTo>
                  <a:lnTo>
                    <a:pt x="70" y="2"/>
                  </a:lnTo>
                  <a:lnTo>
                    <a:pt x="66" y="2"/>
                  </a:lnTo>
                  <a:lnTo>
                    <a:pt x="64" y="4"/>
                  </a:lnTo>
                  <a:lnTo>
                    <a:pt x="60" y="6"/>
                  </a:lnTo>
                  <a:lnTo>
                    <a:pt x="58" y="8"/>
                  </a:lnTo>
                  <a:lnTo>
                    <a:pt x="58" y="10"/>
                  </a:lnTo>
                  <a:lnTo>
                    <a:pt x="58" y="14"/>
                  </a:lnTo>
                  <a:lnTo>
                    <a:pt x="58" y="18"/>
                  </a:lnTo>
                  <a:lnTo>
                    <a:pt x="56" y="24"/>
                  </a:lnTo>
                  <a:lnTo>
                    <a:pt x="56" y="26"/>
                  </a:lnTo>
                  <a:lnTo>
                    <a:pt x="54" y="30"/>
                  </a:lnTo>
                  <a:lnTo>
                    <a:pt x="54" y="30"/>
                  </a:lnTo>
                  <a:lnTo>
                    <a:pt x="44" y="2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1" name="Freeform 378"/>
            <p:cNvSpPr/>
            <p:nvPr/>
          </p:nvSpPr>
          <p:spPr bwMode="gray">
            <a:xfrm>
              <a:off x="1320224" y="1631031"/>
              <a:ext cx="225870" cy="173914"/>
            </a:xfrm>
            <a:custGeom>
              <a:gdLst>
                <a:gd fmla="*/ 22 w 122" name="T0"/>
                <a:gd fmla="*/ 0 h 94" name="T1"/>
                <a:gd fmla="*/ 14 w 122" name="T2"/>
                <a:gd fmla="*/ 20 h 94" name="T3"/>
                <a:gd fmla="*/ 0 w 122" name="T4"/>
                <a:gd fmla="*/ 32 h 94" name="T5"/>
                <a:gd fmla="*/ 0 w 122" name="T6"/>
                <a:gd fmla="*/ 32 h 94" name="T7"/>
                <a:gd fmla="*/ 2 w 122" name="T8"/>
                <a:gd fmla="*/ 36 h 94" name="T9"/>
                <a:gd fmla="*/ 4 w 122" name="T10"/>
                <a:gd fmla="*/ 40 h 94" name="T11"/>
                <a:gd fmla="*/ 6 w 122" name="T12"/>
                <a:gd fmla="*/ 46 h 94" name="T13"/>
                <a:gd fmla="*/ 10 w 122" name="T14"/>
                <a:gd fmla="*/ 50 h 94" name="T15"/>
                <a:gd fmla="*/ 12 w 122" name="T16"/>
                <a:gd fmla="*/ 52 h 94" name="T17"/>
                <a:gd fmla="*/ 14 w 122" name="T18"/>
                <a:gd fmla="*/ 54 h 94" name="T19"/>
                <a:gd fmla="*/ 18 w 122" name="T20"/>
                <a:gd fmla="*/ 54 h 94" name="T21"/>
                <a:gd fmla="*/ 22 w 122" name="T22"/>
                <a:gd fmla="*/ 56 h 94" name="T23"/>
                <a:gd fmla="*/ 26 w 122" name="T24"/>
                <a:gd fmla="*/ 56 h 94" name="T25"/>
                <a:gd fmla="*/ 28 w 122" name="T26"/>
                <a:gd fmla="*/ 56 h 94" name="T27"/>
                <a:gd fmla="*/ 30 w 122" name="T28"/>
                <a:gd fmla="*/ 58 h 94" name="T29"/>
                <a:gd fmla="*/ 32 w 122" name="T30"/>
                <a:gd fmla="*/ 60 h 94" name="T31"/>
                <a:gd fmla="*/ 30 w 122" name="T32"/>
                <a:gd fmla="*/ 62 h 94" name="T33"/>
                <a:gd fmla="*/ 28 w 122" name="T34"/>
                <a:gd fmla="*/ 66 h 94" name="T35"/>
                <a:gd fmla="*/ 24 w 122" name="T36"/>
                <a:gd fmla="*/ 70 h 94" name="T37"/>
                <a:gd fmla="*/ 24 w 122" name="T38"/>
                <a:gd fmla="*/ 74 h 94" name="T39"/>
                <a:gd fmla="*/ 26 w 122" name="T40"/>
                <a:gd fmla="*/ 80 h 94" name="T41"/>
                <a:gd fmla="*/ 28 w 122" name="T42"/>
                <a:gd fmla="*/ 82 h 94" name="T43"/>
                <a:gd fmla="*/ 32 w 122" name="T44"/>
                <a:gd fmla="*/ 86 h 94" name="T45"/>
                <a:gd fmla="*/ 36 w 122" name="T46"/>
                <a:gd fmla="*/ 88 h 94" name="T47"/>
                <a:gd fmla="*/ 40 w 122" name="T48"/>
                <a:gd fmla="*/ 88 h 94" name="T49"/>
                <a:gd fmla="*/ 50 w 122" name="T50"/>
                <a:gd fmla="*/ 88 h 94" name="T51"/>
                <a:gd fmla="*/ 64 w 122" name="T52"/>
                <a:gd fmla="*/ 88 h 94" name="T53"/>
                <a:gd fmla="*/ 80 w 122" name="T54"/>
                <a:gd fmla="*/ 94 h 94" name="T55"/>
                <a:gd fmla="*/ 122 w 122" name="T56"/>
                <a:gd fmla="*/ 42 h 94" name="T57"/>
                <a:gd fmla="*/ 114 w 122" name="T58"/>
                <a:gd fmla="*/ 24 h 94" name="T59"/>
                <a:gd fmla="*/ 92 w 122" name="T60"/>
                <a:gd fmla="*/ 20 h 94" name="T61"/>
                <a:gd fmla="*/ 56 w 122" name="T62"/>
                <a:gd fmla="*/ 0 h 94" name="T63"/>
                <a:gd fmla="*/ 54 w 122" name="T64"/>
                <a:gd fmla="*/ 12 h 94" name="T65"/>
                <a:gd fmla="*/ 40 w 122" name="T66"/>
                <a:gd fmla="*/ 10 h 94" name="T67"/>
                <a:gd fmla="*/ 22 w 122" name="T68"/>
                <a:gd fmla="*/ 0 h 94"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94" w="122">
                  <a:moveTo>
                    <a:pt x="22" y="0"/>
                  </a:moveTo>
                  <a:lnTo>
                    <a:pt x="14" y="20"/>
                  </a:lnTo>
                  <a:lnTo>
                    <a:pt x="0" y="32"/>
                  </a:lnTo>
                  <a:lnTo>
                    <a:pt x="0" y="32"/>
                  </a:lnTo>
                  <a:lnTo>
                    <a:pt x="2" y="36"/>
                  </a:lnTo>
                  <a:lnTo>
                    <a:pt x="4" y="40"/>
                  </a:lnTo>
                  <a:lnTo>
                    <a:pt x="6" y="46"/>
                  </a:lnTo>
                  <a:lnTo>
                    <a:pt x="10" y="50"/>
                  </a:lnTo>
                  <a:lnTo>
                    <a:pt x="12" y="52"/>
                  </a:lnTo>
                  <a:lnTo>
                    <a:pt x="14" y="54"/>
                  </a:lnTo>
                  <a:lnTo>
                    <a:pt x="18" y="54"/>
                  </a:lnTo>
                  <a:lnTo>
                    <a:pt x="22" y="56"/>
                  </a:lnTo>
                  <a:lnTo>
                    <a:pt x="26" y="56"/>
                  </a:lnTo>
                  <a:lnTo>
                    <a:pt x="28" y="56"/>
                  </a:lnTo>
                  <a:lnTo>
                    <a:pt x="30" y="58"/>
                  </a:lnTo>
                  <a:lnTo>
                    <a:pt x="32" y="60"/>
                  </a:lnTo>
                  <a:lnTo>
                    <a:pt x="30" y="62"/>
                  </a:lnTo>
                  <a:lnTo>
                    <a:pt x="28" y="66"/>
                  </a:lnTo>
                  <a:lnTo>
                    <a:pt x="24" y="70"/>
                  </a:lnTo>
                  <a:lnTo>
                    <a:pt x="24" y="74"/>
                  </a:lnTo>
                  <a:lnTo>
                    <a:pt x="26" y="80"/>
                  </a:lnTo>
                  <a:lnTo>
                    <a:pt x="28" y="82"/>
                  </a:lnTo>
                  <a:lnTo>
                    <a:pt x="32" y="86"/>
                  </a:lnTo>
                  <a:lnTo>
                    <a:pt x="36" y="88"/>
                  </a:lnTo>
                  <a:lnTo>
                    <a:pt x="40" y="88"/>
                  </a:lnTo>
                  <a:lnTo>
                    <a:pt x="50" y="88"/>
                  </a:lnTo>
                  <a:lnTo>
                    <a:pt x="64" y="88"/>
                  </a:lnTo>
                  <a:lnTo>
                    <a:pt x="80" y="94"/>
                  </a:lnTo>
                  <a:lnTo>
                    <a:pt x="122" y="42"/>
                  </a:lnTo>
                  <a:lnTo>
                    <a:pt x="114" y="24"/>
                  </a:lnTo>
                  <a:lnTo>
                    <a:pt x="92" y="20"/>
                  </a:lnTo>
                  <a:lnTo>
                    <a:pt x="56" y="0"/>
                  </a:lnTo>
                  <a:lnTo>
                    <a:pt x="54" y="12"/>
                  </a:lnTo>
                  <a:lnTo>
                    <a:pt x="40" y="10"/>
                  </a:lnTo>
                  <a:lnTo>
                    <a:pt x="22"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2" name="Freeform 379"/>
            <p:cNvSpPr/>
            <p:nvPr/>
          </p:nvSpPr>
          <p:spPr bwMode="gray">
            <a:xfrm>
              <a:off x="1372063" y="1934455"/>
              <a:ext cx="85164" cy="85107"/>
            </a:xfrm>
            <a:custGeom>
              <a:gdLst>
                <a:gd fmla="*/ 28 w 46" name="T0"/>
                <a:gd fmla="*/ 8 h 46" name="T1"/>
                <a:gd fmla="*/ 28 w 46" name="T2"/>
                <a:gd fmla="*/ 6 h 46" name="T3"/>
                <a:gd fmla="*/ 26 w 46" name="T4"/>
                <a:gd fmla="*/ 4 h 46" name="T5"/>
                <a:gd fmla="*/ 22 w 46" name="T6"/>
                <a:gd fmla="*/ 2 h 46" name="T7"/>
                <a:gd fmla="*/ 20 w 46" name="T8"/>
                <a:gd fmla="*/ 0 h 46" name="T9"/>
                <a:gd fmla="*/ 16 w 46" name="T10"/>
                <a:gd fmla="*/ 0 h 46" name="T11"/>
                <a:gd fmla="*/ 12 w 46" name="T12"/>
                <a:gd fmla="*/ 0 h 46" name="T13"/>
                <a:gd fmla="*/ 10 w 46" name="T14"/>
                <a:gd fmla="*/ 0 h 46" name="T15"/>
                <a:gd fmla="*/ 8 w 46" name="T16"/>
                <a:gd fmla="*/ 4 h 46" name="T17"/>
                <a:gd fmla="*/ 4 w 46" name="T18"/>
                <a:gd fmla="*/ 8 h 46" name="T19"/>
                <a:gd fmla="*/ 2 w 46" name="T20"/>
                <a:gd fmla="*/ 12 h 46" name="T21"/>
                <a:gd fmla="*/ 2 w 46" name="T22"/>
                <a:gd fmla="*/ 16 h 46" name="T23"/>
                <a:gd fmla="*/ 0 w 46" name="T24"/>
                <a:gd fmla="*/ 20 h 46" name="T25"/>
                <a:gd fmla="*/ 2 w 46" name="T26"/>
                <a:gd fmla="*/ 24 h 46" name="T27"/>
                <a:gd fmla="*/ 4 w 46" name="T28"/>
                <a:gd fmla="*/ 26 h 46" name="T29"/>
                <a:gd fmla="*/ 8 w 46" name="T30"/>
                <a:gd fmla="*/ 30 h 46" name="T31"/>
                <a:gd fmla="*/ 12 w 46" name="T32"/>
                <a:gd fmla="*/ 34 h 46" name="T33"/>
                <a:gd fmla="*/ 16 w 46" name="T34"/>
                <a:gd fmla="*/ 36 h 46" name="T35"/>
                <a:gd fmla="*/ 20 w 46" name="T36"/>
                <a:gd fmla="*/ 40 h 46" name="T37"/>
                <a:gd fmla="*/ 24 w 46" name="T38"/>
                <a:gd fmla="*/ 42 h 46" name="T39"/>
                <a:gd fmla="*/ 28 w 46" name="T40"/>
                <a:gd fmla="*/ 44 h 46" name="T41"/>
                <a:gd fmla="*/ 28 w 46" name="T42"/>
                <a:gd fmla="*/ 46 h 46" name="T43"/>
                <a:gd fmla="*/ 28 w 46" name="T44"/>
                <a:gd fmla="*/ 44 h 46" name="T45"/>
                <a:gd fmla="*/ 32 w 46" name="T46"/>
                <a:gd fmla="*/ 44 h 46" name="T47"/>
                <a:gd fmla="*/ 36 w 46" name="T48"/>
                <a:gd fmla="*/ 40 h 46" name="T49"/>
                <a:gd fmla="*/ 40 w 46" name="T50"/>
                <a:gd fmla="*/ 38 h 46" name="T51"/>
                <a:gd fmla="*/ 42 w 46" name="T52"/>
                <a:gd fmla="*/ 34 h 46" name="T53"/>
                <a:gd fmla="*/ 46 w 46" name="T54"/>
                <a:gd fmla="*/ 32 h 46" name="T55"/>
                <a:gd fmla="*/ 46 w 46" name="T56"/>
                <a:gd fmla="*/ 28 h 46" name="T57"/>
                <a:gd fmla="*/ 46 w 46" name="T58"/>
                <a:gd fmla="*/ 24 h 46" name="T59"/>
                <a:gd fmla="*/ 42 w 46" name="T60"/>
                <a:gd fmla="*/ 20 h 46" name="T61"/>
                <a:gd fmla="*/ 38 w 46" name="T62"/>
                <a:gd fmla="*/ 16 h 46" name="T63"/>
                <a:gd fmla="*/ 34 w 46" name="T64"/>
                <a:gd fmla="*/ 12 h 46" name="T65"/>
                <a:gd fmla="*/ 32 w 46" name="T66"/>
                <a:gd fmla="*/ 10 h 46" name="T67"/>
                <a:gd fmla="*/ 28 w 46" name="T68"/>
                <a:gd fmla="*/ 8 h 46" name="T69"/>
                <a:gd fmla="*/ 28 w 46" name="T70"/>
                <a:gd fmla="*/ 8 h 46"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46" w="46">
                  <a:moveTo>
                    <a:pt x="28" y="8"/>
                  </a:moveTo>
                  <a:lnTo>
                    <a:pt x="28" y="6"/>
                  </a:lnTo>
                  <a:lnTo>
                    <a:pt x="26" y="4"/>
                  </a:lnTo>
                  <a:lnTo>
                    <a:pt x="22" y="2"/>
                  </a:lnTo>
                  <a:lnTo>
                    <a:pt x="20" y="0"/>
                  </a:lnTo>
                  <a:lnTo>
                    <a:pt x="16" y="0"/>
                  </a:lnTo>
                  <a:lnTo>
                    <a:pt x="12" y="0"/>
                  </a:lnTo>
                  <a:lnTo>
                    <a:pt x="10" y="0"/>
                  </a:lnTo>
                  <a:lnTo>
                    <a:pt x="8" y="4"/>
                  </a:lnTo>
                  <a:lnTo>
                    <a:pt x="4" y="8"/>
                  </a:lnTo>
                  <a:lnTo>
                    <a:pt x="2" y="12"/>
                  </a:lnTo>
                  <a:lnTo>
                    <a:pt x="2" y="16"/>
                  </a:lnTo>
                  <a:lnTo>
                    <a:pt x="0" y="20"/>
                  </a:lnTo>
                  <a:lnTo>
                    <a:pt x="2" y="24"/>
                  </a:lnTo>
                  <a:lnTo>
                    <a:pt x="4" y="26"/>
                  </a:lnTo>
                  <a:lnTo>
                    <a:pt x="8" y="30"/>
                  </a:lnTo>
                  <a:lnTo>
                    <a:pt x="12" y="34"/>
                  </a:lnTo>
                  <a:lnTo>
                    <a:pt x="16" y="36"/>
                  </a:lnTo>
                  <a:lnTo>
                    <a:pt x="20" y="40"/>
                  </a:lnTo>
                  <a:lnTo>
                    <a:pt x="24" y="42"/>
                  </a:lnTo>
                  <a:lnTo>
                    <a:pt x="28" y="44"/>
                  </a:lnTo>
                  <a:lnTo>
                    <a:pt x="28" y="46"/>
                  </a:lnTo>
                  <a:lnTo>
                    <a:pt x="28" y="44"/>
                  </a:lnTo>
                  <a:lnTo>
                    <a:pt x="32" y="44"/>
                  </a:lnTo>
                  <a:lnTo>
                    <a:pt x="36" y="40"/>
                  </a:lnTo>
                  <a:lnTo>
                    <a:pt x="40" y="38"/>
                  </a:lnTo>
                  <a:lnTo>
                    <a:pt x="42" y="34"/>
                  </a:lnTo>
                  <a:lnTo>
                    <a:pt x="46" y="32"/>
                  </a:lnTo>
                  <a:lnTo>
                    <a:pt x="46" y="28"/>
                  </a:lnTo>
                  <a:lnTo>
                    <a:pt x="46" y="24"/>
                  </a:lnTo>
                  <a:lnTo>
                    <a:pt x="42" y="20"/>
                  </a:lnTo>
                  <a:lnTo>
                    <a:pt x="38" y="16"/>
                  </a:lnTo>
                  <a:lnTo>
                    <a:pt x="34" y="12"/>
                  </a:lnTo>
                  <a:lnTo>
                    <a:pt x="32" y="10"/>
                  </a:lnTo>
                  <a:lnTo>
                    <a:pt x="28" y="8"/>
                  </a:lnTo>
                  <a:lnTo>
                    <a:pt x="28" y="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3" name="Freeform 380"/>
            <p:cNvSpPr/>
            <p:nvPr/>
          </p:nvSpPr>
          <p:spPr bwMode="gray">
            <a:xfrm>
              <a:off x="4101021" y="3155554"/>
              <a:ext cx="59245" cy="303425"/>
            </a:xfrm>
            <a:custGeom>
              <a:gdLst>
                <a:gd fmla="*/ 26 w 32" name="T0"/>
                <a:gd fmla="*/ 8 h 164" name="T1"/>
                <a:gd fmla="*/ 26 w 32" name="T2"/>
                <a:gd fmla="*/ 6 h 164" name="T3"/>
                <a:gd fmla="*/ 24 w 32" name="T4"/>
                <a:gd fmla="*/ 6 h 164" name="T5"/>
                <a:gd fmla="*/ 22 w 32" name="T6"/>
                <a:gd fmla="*/ 2 h 164" name="T7"/>
                <a:gd fmla="*/ 20 w 32" name="T8"/>
                <a:gd fmla="*/ 2 h 164" name="T9"/>
                <a:gd fmla="*/ 18 w 32" name="T10"/>
                <a:gd fmla="*/ 0 h 164" name="T11"/>
                <a:gd fmla="*/ 16 w 32" name="T12"/>
                <a:gd fmla="*/ 2 h 164" name="T13"/>
                <a:gd fmla="*/ 14 w 32" name="T14"/>
                <a:gd fmla="*/ 6 h 164" name="T15"/>
                <a:gd fmla="*/ 12 w 32" name="T16"/>
                <a:gd fmla="*/ 10 h 164" name="T17"/>
                <a:gd fmla="*/ 10 w 32" name="T18"/>
                <a:gd fmla="*/ 14 h 164" name="T19"/>
                <a:gd fmla="*/ 8 w 32" name="T20"/>
                <a:gd fmla="*/ 18 h 164" name="T21"/>
                <a:gd fmla="*/ 8 w 32" name="T22"/>
                <a:gd fmla="*/ 22 h 164" name="T23"/>
                <a:gd fmla="*/ 8 w 32" name="T24"/>
                <a:gd fmla="*/ 22 h 164" name="T25"/>
                <a:gd fmla="*/ 2 w 32" name="T26"/>
                <a:gd fmla="*/ 42 h 164" name="T27"/>
                <a:gd fmla="*/ 2 w 32" name="T28"/>
                <a:gd fmla="*/ 44 h 164" name="T29"/>
                <a:gd fmla="*/ 2 w 32" name="T30"/>
                <a:gd fmla="*/ 46 h 164" name="T31"/>
                <a:gd fmla="*/ 4 w 32" name="T32"/>
                <a:gd fmla="*/ 52 h 164" name="T33"/>
                <a:gd fmla="*/ 4 w 32" name="T34"/>
                <a:gd fmla="*/ 56 h 164" name="T35"/>
                <a:gd fmla="*/ 6 w 32" name="T36"/>
                <a:gd fmla="*/ 60 h 164" name="T37"/>
                <a:gd fmla="*/ 6 w 32" name="T38"/>
                <a:gd fmla="*/ 66 h 164" name="T39"/>
                <a:gd fmla="*/ 8 w 32" name="T40"/>
                <a:gd fmla="*/ 82 h 164" name="T41"/>
                <a:gd fmla="*/ 6 w 32" name="T42"/>
                <a:gd fmla="*/ 100 h 164" name="T43"/>
                <a:gd fmla="*/ 6 w 32" name="T44"/>
                <a:gd fmla="*/ 118 h 164" name="T45"/>
                <a:gd fmla="*/ 6 w 32" name="T46"/>
                <a:gd fmla="*/ 132 h 164" name="T47"/>
                <a:gd fmla="*/ 6 w 32" name="T48"/>
                <a:gd fmla="*/ 140 h 164" name="T49"/>
                <a:gd fmla="*/ 6 w 32" name="T50"/>
                <a:gd fmla="*/ 142 h 164" name="T51"/>
                <a:gd fmla="*/ 4 w 32" name="T52"/>
                <a:gd fmla="*/ 146 h 164" name="T53"/>
                <a:gd fmla="*/ 2 w 32" name="T54"/>
                <a:gd fmla="*/ 150 h 164" name="T55"/>
                <a:gd fmla="*/ 0 w 32" name="T56"/>
                <a:gd fmla="*/ 156 h 164" name="T57"/>
                <a:gd fmla="*/ 0 w 32" name="T58"/>
                <a:gd fmla="*/ 158 h 164" name="T59"/>
                <a:gd fmla="*/ 0 w 32" name="T60"/>
                <a:gd fmla="*/ 160 h 164" name="T61"/>
                <a:gd fmla="*/ 8 w 32" name="T62"/>
                <a:gd fmla="*/ 164 h 164" name="T63"/>
                <a:gd fmla="*/ 12 w 32" name="T64"/>
                <a:gd fmla="*/ 152 h 164" name="T65"/>
                <a:gd fmla="*/ 22 w 32" name="T66"/>
                <a:gd fmla="*/ 162 h 164" name="T67"/>
                <a:gd fmla="*/ 22 w 32" name="T68"/>
                <a:gd fmla="*/ 160 h 164" name="T69"/>
                <a:gd fmla="*/ 22 w 32" name="T70"/>
                <a:gd fmla="*/ 158 h 164" name="T71"/>
                <a:gd fmla="*/ 22 w 32" name="T72"/>
                <a:gd fmla="*/ 152 h 164" name="T73"/>
                <a:gd fmla="*/ 22 w 32" name="T74"/>
                <a:gd fmla="*/ 146 h 164" name="T75"/>
                <a:gd fmla="*/ 20 w 32" name="T76"/>
                <a:gd fmla="*/ 140 h 164" name="T77"/>
                <a:gd fmla="*/ 16 w 32" name="T78"/>
                <a:gd fmla="*/ 130 h 164" name="T79"/>
                <a:gd fmla="*/ 16 w 32" name="T80"/>
                <a:gd fmla="*/ 118 h 164" name="T81"/>
                <a:gd fmla="*/ 24 w 32" name="T82"/>
                <a:gd fmla="*/ 106 h 164" name="T83"/>
                <a:gd fmla="*/ 28 w 32" name="T84"/>
                <a:gd fmla="*/ 102 h 164" name="T85"/>
                <a:gd fmla="*/ 32 w 32" name="T86"/>
                <a:gd fmla="*/ 96 h 164" name="T87"/>
                <a:gd fmla="*/ 32 w 32" name="T88"/>
                <a:gd fmla="*/ 92 h 164" name="T89"/>
                <a:gd fmla="*/ 32 w 32" name="T90"/>
                <a:gd fmla="*/ 88 h 164" name="T91"/>
                <a:gd fmla="*/ 30 w 32" name="T92"/>
                <a:gd fmla="*/ 84 h 164" name="T93"/>
                <a:gd fmla="*/ 30 w 32" name="T94"/>
                <a:gd fmla="*/ 80 h 164" name="T95"/>
                <a:gd fmla="*/ 30 w 32" name="T96"/>
                <a:gd fmla="*/ 74 h 164" name="T97"/>
                <a:gd fmla="*/ 28 w 32" name="T98"/>
                <a:gd fmla="*/ 62 h 164" name="T99"/>
                <a:gd fmla="*/ 26 w 32" name="T100"/>
                <a:gd fmla="*/ 50 h 164" name="T101"/>
                <a:gd fmla="*/ 24 w 32" name="T102"/>
                <a:gd fmla="*/ 40 h 164" name="T103"/>
                <a:gd fmla="*/ 24 w 32" name="T104"/>
                <a:gd fmla="*/ 36 h 164" name="T105"/>
                <a:gd fmla="*/ 24 w 32" name="T106"/>
                <a:gd fmla="*/ 36 h 164" name="T107"/>
                <a:gd fmla="*/ 22 w 32" name="T108"/>
                <a:gd fmla="*/ 32 h 164" name="T109"/>
                <a:gd fmla="*/ 22 w 32" name="T110"/>
                <a:gd fmla="*/ 28 h 164" name="T111"/>
                <a:gd fmla="*/ 22 w 32" name="T112"/>
                <a:gd fmla="*/ 22 h 164" name="T113"/>
                <a:gd fmla="*/ 22 w 32" name="T114"/>
                <a:gd fmla="*/ 16 h 164" name="T115"/>
                <a:gd fmla="*/ 24 w 32" name="T116"/>
                <a:gd fmla="*/ 12 h 164" name="T117"/>
                <a:gd fmla="*/ 26 w 32" name="T118"/>
                <a:gd fmla="*/ 8 h 164" name="T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b="b" l="0" r="r" t="0"/>
              <a:pathLst>
                <a:path h="164" w="32">
                  <a:moveTo>
                    <a:pt x="26" y="8"/>
                  </a:moveTo>
                  <a:lnTo>
                    <a:pt x="26" y="6"/>
                  </a:lnTo>
                  <a:lnTo>
                    <a:pt x="24" y="6"/>
                  </a:lnTo>
                  <a:lnTo>
                    <a:pt x="22" y="2"/>
                  </a:lnTo>
                  <a:lnTo>
                    <a:pt x="20" y="2"/>
                  </a:lnTo>
                  <a:lnTo>
                    <a:pt x="18" y="0"/>
                  </a:lnTo>
                  <a:lnTo>
                    <a:pt x="16" y="2"/>
                  </a:lnTo>
                  <a:lnTo>
                    <a:pt x="14" y="6"/>
                  </a:lnTo>
                  <a:lnTo>
                    <a:pt x="12" y="10"/>
                  </a:lnTo>
                  <a:lnTo>
                    <a:pt x="10" y="14"/>
                  </a:lnTo>
                  <a:lnTo>
                    <a:pt x="8" y="18"/>
                  </a:lnTo>
                  <a:lnTo>
                    <a:pt x="8" y="22"/>
                  </a:lnTo>
                  <a:lnTo>
                    <a:pt x="8" y="22"/>
                  </a:lnTo>
                  <a:lnTo>
                    <a:pt x="2" y="42"/>
                  </a:lnTo>
                  <a:lnTo>
                    <a:pt x="2" y="44"/>
                  </a:lnTo>
                  <a:lnTo>
                    <a:pt x="2" y="46"/>
                  </a:lnTo>
                  <a:lnTo>
                    <a:pt x="4" y="52"/>
                  </a:lnTo>
                  <a:lnTo>
                    <a:pt x="4" y="56"/>
                  </a:lnTo>
                  <a:lnTo>
                    <a:pt x="6" y="60"/>
                  </a:lnTo>
                  <a:lnTo>
                    <a:pt x="6" y="66"/>
                  </a:lnTo>
                  <a:lnTo>
                    <a:pt x="8" y="82"/>
                  </a:lnTo>
                  <a:lnTo>
                    <a:pt x="6" y="100"/>
                  </a:lnTo>
                  <a:lnTo>
                    <a:pt x="6" y="118"/>
                  </a:lnTo>
                  <a:lnTo>
                    <a:pt x="6" y="132"/>
                  </a:lnTo>
                  <a:lnTo>
                    <a:pt x="6" y="140"/>
                  </a:lnTo>
                  <a:lnTo>
                    <a:pt x="6" y="142"/>
                  </a:lnTo>
                  <a:lnTo>
                    <a:pt x="4" y="146"/>
                  </a:lnTo>
                  <a:lnTo>
                    <a:pt x="2" y="150"/>
                  </a:lnTo>
                  <a:lnTo>
                    <a:pt x="0" y="156"/>
                  </a:lnTo>
                  <a:lnTo>
                    <a:pt x="0" y="158"/>
                  </a:lnTo>
                  <a:lnTo>
                    <a:pt x="0" y="160"/>
                  </a:lnTo>
                  <a:lnTo>
                    <a:pt x="8" y="164"/>
                  </a:lnTo>
                  <a:lnTo>
                    <a:pt x="12" y="152"/>
                  </a:lnTo>
                  <a:lnTo>
                    <a:pt x="22" y="162"/>
                  </a:lnTo>
                  <a:lnTo>
                    <a:pt x="22" y="160"/>
                  </a:lnTo>
                  <a:lnTo>
                    <a:pt x="22" y="158"/>
                  </a:lnTo>
                  <a:lnTo>
                    <a:pt x="22" y="152"/>
                  </a:lnTo>
                  <a:lnTo>
                    <a:pt x="22" y="146"/>
                  </a:lnTo>
                  <a:lnTo>
                    <a:pt x="20" y="140"/>
                  </a:lnTo>
                  <a:lnTo>
                    <a:pt x="16" y="130"/>
                  </a:lnTo>
                  <a:lnTo>
                    <a:pt x="16" y="118"/>
                  </a:lnTo>
                  <a:lnTo>
                    <a:pt x="24" y="106"/>
                  </a:lnTo>
                  <a:lnTo>
                    <a:pt x="28" y="102"/>
                  </a:lnTo>
                  <a:lnTo>
                    <a:pt x="32" y="96"/>
                  </a:lnTo>
                  <a:lnTo>
                    <a:pt x="32" y="92"/>
                  </a:lnTo>
                  <a:lnTo>
                    <a:pt x="32" y="88"/>
                  </a:lnTo>
                  <a:lnTo>
                    <a:pt x="30" y="84"/>
                  </a:lnTo>
                  <a:lnTo>
                    <a:pt x="30" y="80"/>
                  </a:lnTo>
                  <a:lnTo>
                    <a:pt x="30" y="74"/>
                  </a:lnTo>
                  <a:lnTo>
                    <a:pt x="28" y="62"/>
                  </a:lnTo>
                  <a:lnTo>
                    <a:pt x="26" y="50"/>
                  </a:lnTo>
                  <a:lnTo>
                    <a:pt x="24" y="40"/>
                  </a:lnTo>
                  <a:lnTo>
                    <a:pt x="24" y="36"/>
                  </a:lnTo>
                  <a:lnTo>
                    <a:pt x="24" y="36"/>
                  </a:lnTo>
                  <a:lnTo>
                    <a:pt x="22" y="32"/>
                  </a:lnTo>
                  <a:lnTo>
                    <a:pt x="22" y="28"/>
                  </a:lnTo>
                  <a:lnTo>
                    <a:pt x="22" y="22"/>
                  </a:lnTo>
                  <a:lnTo>
                    <a:pt x="22" y="16"/>
                  </a:lnTo>
                  <a:lnTo>
                    <a:pt x="24" y="12"/>
                  </a:lnTo>
                  <a:lnTo>
                    <a:pt x="26" y="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4" name="Freeform 381"/>
            <p:cNvSpPr/>
            <p:nvPr/>
          </p:nvSpPr>
          <p:spPr bwMode="gray">
            <a:xfrm>
              <a:off x="1286899" y="1664333"/>
              <a:ext cx="3947177" cy="2146174"/>
            </a:xfrm>
            <a:custGeom>
              <a:gdLst>
                <a:gd fmla="*/ 1494 w 2132" name="T0"/>
                <a:gd fmla="*/ 916 h 1160" name="T1"/>
                <a:gd fmla="*/ 1558 w 2132" name="T2"/>
                <a:gd fmla="*/ 688 h 1160" name="T3"/>
                <a:gd fmla="*/ 1762 w 2132" name="T4"/>
                <a:gd fmla="*/ 626 h 1160" name="T5"/>
                <a:gd fmla="*/ 1698 w 2132" name="T6"/>
                <a:gd fmla="*/ 776 h 1160" name="T7"/>
                <a:gd fmla="*/ 1790 w 2132" name="T8"/>
                <a:gd fmla="*/ 726 h 1160" name="T9"/>
                <a:gd fmla="*/ 1876 w 2132" name="T10"/>
                <a:gd fmla="*/ 654 h 1160" name="T11"/>
                <a:gd fmla="*/ 1998 w 2132" name="T12"/>
                <a:gd fmla="*/ 586 h 1160" name="T13"/>
                <a:gd fmla="*/ 2084 w 2132" name="T14"/>
                <a:gd fmla="*/ 548 h 1160" name="T15"/>
                <a:gd fmla="*/ 2074 w 2132" name="T16"/>
                <a:gd fmla="*/ 480 h 1160" name="T17"/>
                <a:gd fmla="*/ 1880 w 2132" name="T18"/>
                <a:gd fmla="*/ 370 h 1160" name="T19"/>
                <a:gd fmla="*/ 1640 w 2132" name="T20"/>
                <a:gd fmla="*/ 308 h 1160" name="T21"/>
                <a:gd fmla="*/ 1578 w 2132" name="T22"/>
                <a:gd fmla="*/ 268 h 1160" name="T23"/>
                <a:gd fmla="*/ 1412 w 2132" name="T24"/>
                <a:gd fmla="*/ 308 h 1160" name="T25"/>
                <a:gd fmla="*/ 1338 w 2132" name="T26"/>
                <a:gd fmla="*/ 230 h 1160" name="T27"/>
                <a:gd fmla="*/ 1160 w 2132" name="T28"/>
                <a:gd fmla="*/ 170 h 1160" name="T29"/>
                <a:gd fmla="*/ 1134 w 2132" name="T30"/>
                <a:gd fmla="*/ 160 h 1160" name="T31"/>
                <a:gd fmla="*/ 1086 w 2132" name="T32"/>
                <a:gd fmla="*/ 8 h 1160" name="T33"/>
                <a:gd fmla="*/ 1020 w 2132" name="T34"/>
                <a:gd fmla="*/ 108 h 1160" name="T35"/>
                <a:gd fmla="*/ 906 w 2132" name="T36"/>
                <a:gd fmla="*/ 98 h 1160" name="T37"/>
                <a:gd fmla="*/ 764 w 2132" name="T38"/>
                <a:gd fmla="*/ 244 h 1160" name="T39"/>
                <a:gd fmla="*/ 812 w 2132" name="T40"/>
                <a:gd fmla="*/ 382 h 1160" name="T41"/>
                <a:gd fmla="*/ 778 w 2132" name="T42"/>
                <a:gd fmla="*/ 298 h 1160" name="T43"/>
                <a:gd fmla="*/ 706 w 2132" name="T44"/>
                <a:gd fmla="*/ 244 h 1160" name="T45"/>
                <a:gd fmla="*/ 670 w 2132" name="T46"/>
                <a:gd fmla="*/ 318 h 1160" name="T47"/>
                <a:gd fmla="*/ 726 w 2132" name="T48"/>
                <a:gd fmla="*/ 416 h 1160" name="T49"/>
                <a:gd fmla="*/ 756 w 2132" name="T50"/>
                <a:gd fmla="*/ 470 h 1160" name="T51"/>
                <a:gd fmla="*/ 712 w 2132" name="T52"/>
                <a:gd fmla="*/ 492 h 1160" name="T53"/>
                <a:gd fmla="*/ 676 w 2132" name="T54"/>
                <a:gd fmla="*/ 424 h 1160" name="T55"/>
                <a:gd fmla="*/ 648 w 2132" name="T56"/>
                <a:gd fmla="*/ 466 h 1160" name="T57"/>
                <a:gd fmla="*/ 656 w 2132" name="T58"/>
                <a:gd fmla="*/ 368 h 1160" name="T59"/>
                <a:gd fmla="*/ 610 w 2132" name="T60"/>
                <a:gd fmla="*/ 280 h 1160" name="T61"/>
                <a:gd fmla="*/ 552 w 2132" name="T62"/>
                <a:gd fmla="*/ 374 h 1160" name="T63"/>
                <a:gd fmla="*/ 390 w 2132" name="T64"/>
                <a:gd fmla="*/ 422 h 1160" name="T65"/>
                <a:gd fmla="*/ 328 w 2132" name="T66"/>
                <a:gd fmla="*/ 410 h 1160" name="T67"/>
                <a:gd fmla="*/ 302 w 2132" name="T68"/>
                <a:gd fmla="*/ 490 h 1160" name="T69"/>
                <a:gd fmla="*/ 208 w 2132" name="T70"/>
                <a:gd fmla="*/ 560 h 1160" name="T71"/>
                <a:gd fmla="*/ 258 w 2132" name="T72"/>
                <a:gd fmla="*/ 480 h 1160" name="T73"/>
                <a:gd fmla="*/ 162 w 2132" name="T74"/>
                <a:gd fmla="*/ 368 h 1160" name="T75"/>
                <a:gd fmla="*/ 134 w 2132" name="T76"/>
                <a:gd fmla="*/ 606 h 1160" name="T77"/>
                <a:gd fmla="*/ 54 w 2132" name="T78"/>
                <a:gd fmla="*/ 674 h 1160" name="T79"/>
                <a:gd fmla="*/ 28 w 2132" name="T80"/>
                <a:gd fmla="*/ 730 h 1160" name="T81"/>
                <a:gd fmla="*/ 42 w 2132" name="T82"/>
                <a:gd fmla="*/ 810 h 1160" name="T83"/>
                <a:gd fmla="*/ 38 w 2132" name="T84"/>
                <a:gd fmla="*/ 892 h 1160" name="T85"/>
                <a:gd fmla="*/ 60 w 2132" name="T86"/>
                <a:gd fmla="*/ 918 h 1160" name="T87"/>
                <a:gd fmla="*/ 114 w 2132" name="T88"/>
                <a:gd fmla="*/ 970 h 1160" name="T89"/>
                <a:gd fmla="*/ 174 w 2132" name="T90"/>
                <a:gd fmla="*/ 998 h 1160" name="T91"/>
                <a:gd fmla="*/ 212 w 2132" name="T92"/>
                <a:gd fmla="*/ 974 h 1160" name="T93"/>
                <a:gd fmla="*/ 236 w 2132" name="T94"/>
                <a:gd fmla="*/ 1020 h 1160" name="T95"/>
                <a:gd fmla="*/ 316 w 2132" name="T96"/>
                <a:gd fmla="*/ 1092 h 1160" name="T97"/>
                <a:gd fmla="*/ 348 w 2132" name="T98"/>
                <a:gd fmla="*/ 1034 h 1160" name="T99"/>
                <a:gd fmla="*/ 390 w 2132" name="T100"/>
                <a:gd fmla="*/ 992 h 1160" name="T101"/>
                <a:gd fmla="*/ 410 w 2132" name="T102"/>
                <a:gd fmla="*/ 1058 h 1160" name="T103"/>
                <a:gd fmla="*/ 452 w 2132" name="T104"/>
                <a:gd fmla="*/ 1122 h 1160" name="T105"/>
                <a:gd fmla="*/ 560 w 2132" name="T106"/>
                <a:gd fmla="*/ 1128 h 1160" name="T107"/>
                <a:gd fmla="*/ 660 w 2132" name="T108"/>
                <a:gd fmla="*/ 1104 h 1160" name="T109"/>
                <a:gd fmla="*/ 732 w 2132" name="T110"/>
                <a:gd fmla="*/ 1050 h 1160" name="T111"/>
                <a:gd fmla="*/ 752 w 2132" name="T112"/>
                <a:gd fmla="*/ 994 h 1160" name="T113"/>
                <a:gd fmla="*/ 834 w 2132" name="T114"/>
                <a:gd fmla="*/ 912 h 1160" name="T115"/>
                <a:gd fmla="*/ 964 w 2132" name="T116"/>
                <a:gd fmla="*/ 912 h 1160" name="T117"/>
                <a:gd fmla="*/ 1168 w 2132" name="T118"/>
                <a:gd fmla="*/ 880 h 1160" name="T119"/>
                <a:gd fmla="*/ 1354 w 2132" name="T120"/>
                <a:gd fmla="*/ 904 h 1160" name="T121"/>
                <a:gd fmla="*/ 1432 w 2132" name="T122"/>
                <a:gd fmla="*/ 908 h 1160"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1160" w="2132">
                  <a:moveTo>
                    <a:pt x="1396" y="998"/>
                  </a:moveTo>
                  <a:lnTo>
                    <a:pt x="1398" y="994"/>
                  </a:lnTo>
                  <a:lnTo>
                    <a:pt x="1398" y="994"/>
                  </a:lnTo>
                  <a:lnTo>
                    <a:pt x="1398" y="994"/>
                  </a:lnTo>
                  <a:lnTo>
                    <a:pt x="1398" y="996"/>
                  </a:lnTo>
                  <a:lnTo>
                    <a:pt x="1396" y="1000"/>
                  </a:lnTo>
                  <a:lnTo>
                    <a:pt x="1396" y="1002"/>
                  </a:lnTo>
                  <a:lnTo>
                    <a:pt x="1394" y="1006"/>
                  </a:lnTo>
                  <a:lnTo>
                    <a:pt x="1394" y="1010"/>
                  </a:lnTo>
                  <a:lnTo>
                    <a:pt x="1394" y="1012"/>
                  </a:lnTo>
                  <a:lnTo>
                    <a:pt x="1392" y="1012"/>
                  </a:lnTo>
                  <a:lnTo>
                    <a:pt x="1394" y="1018"/>
                  </a:lnTo>
                  <a:lnTo>
                    <a:pt x="1398" y="1024"/>
                  </a:lnTo>
                  <a:lnTo>
                    <a:pt x="1402" y="1028"/>
                  </a:lnTo>
                  <a:lnTo>
                    <a:pt x="1406" y="1030"/>
                  </a:lnTo>
                  <a:lnTo>
                    <a:pt x="1410" y="1032"/>
                  </a:lnTo>
                  <a:lnTo>
                    <a:pt x="1412" y="1034"/>
                  </a:lnTo>
                  <a:lnTo>
                    <a:pt x="1414" y="1034"/>
                  </a:lnTo>
                  <a:lnTo>
                    <a:pt x="1424" y="1026"/>
                  </a:lnTo>
                  <a:lnTo>
                    <a:pt x="1436" y="1010"/>
                  </a:lnTo>
                  <a:lnTo>
                    <a:pt x="1450" y="992"/>
                  </a:lnTo>
                  <a:lnTo>
                    <a:pt x="1464" y="970"/>
                  </a:lnTo>
                  <a:lnTo>
                    <a:pt x="1476" y="950"/>
                  </a:lnTo>
                  <a:lnTo>
                    <a:pt x="1486" y="932"/>
                  </a:lnTo>
                  <a:lnTo>
                    <a:pt x="1492" y="920"/>
                  </a:lnTo>
                  <a:lnTo>
                    <a:pt x="1494" y="916"/>
                  </a:lnTo>
                  <a:lnTo>
                    <a:pt x="1496" y="898"/>
                  </a:lnTo>
                  <a:lnTo>
                    <a:pt x="1502" y="884"/>
                  </a:lnTo>
                  <a:lnTo>
                    <a:pt x="1506" y="876"/>
                  </a:lnTo>
                  <a:lnTo>
                    <a:pt x="1510" y="872"/>
                  </a:lnTo>
                  <a:lnTo>
                    <a:pt x="1512" y="846"/>
                  </a:lnTo>
                  <a:lnTo>
                    <a:pt x="1514" y="842"/>
                  </a:lnTo>
                  <a:lnTo>
                    <a:pt x="1516" y="830"/>
                  </a:lnTo>
                  <a:lnTo>
                    <a:pt x="1514" y="818"/>
                  </a:lnTo>
                  <a:lnTo>
                    <a:pt x="1510" y="808"/>
                  </a:lnTo>
                  <a:lnTo>
                    <a:pt x="1500" y="804"/>
                  </a:lnTo>
                  <a:lnTo>
                    <a:pt x="1494" y="804"/>
                  </a:lnTo>
                  <a:lnTo>
                    <a:pt x="1486" y="806"/>
                  </a:lnTo>
                  <a:lnTo>
                    <a:pt x="1478" y="808"/>
                  </a:lnTo>
                  <a:lnTo>
                    <a:pt x="1472" y="808"/>
                  </a:lnTo>
                  <a:lnTo>
                    <a:pt x="1466" y="806"/>
                  </a:lnTo>
                  <a:lnTo>
                    <a:pt x="1462" y="802"/>
                  </a:lnTo>
                  <a:lnTo>
                    <a:pt x="1460" y="800"/>
                  </a:lnTo>
                  <a:lnTo>
                    <a:pt x="1458" y="798"/>
                  </a:lnTo>
                  <a:lnTo>
                    <a:pt x="1456" y="798"/>
                  </a:lnTo>
                  <a:lnTo>
                    <a:pt x="1444" y="794"/>
                  </a:lnTo>
                  <a:lnTo>
                    <a:pt x="1470" y="770"/>
                  </a:lnTo>
                  <a:lnTo>
                    <a:pt x="1472" y="762"/>
                  </a:lnTo>
                  <a:lnTo>
                    <a:pt x="1494" y="738"/>
                  </a:lnTo>
                  <a:lnTo>
                    <a:pt x="1542" y="686"/>
                  </a:lnTo>
                  <a:lnTo>
                    <a:pt x="1546" y="686"/>
                  </a:lnTo>
                  <a:lnTo>
                    <a:pt x="1558" y="688"/>
                  </a:lnTo>
                  <a:lnTo>
                    <a:pt x="1572" y="692"/>
                  </a:lnTo>
                  <a:lnTo>
                    <a:pt x="1588" y="694"/>
                  </a:lnTo>
                  <a:lnTo>
                    <a:pt x="1602" y="698"/>
                  </a:lnTo>
                  <a:lnTo>
                    <a:pt x="1608" y="698"/>
                  </a:lnTo>
                  <a:lnTo>
                    <a:pt x="1612" y="698"/>
                  </a:lnTo>
                  <a:lnTo>
                    <a:pt x="1612" y="694"/>
                  </a:lnTo>
                  <a:lnTo>
                    <a:pt x="1612" y="692"/>
                  </a:lnTo>
                  <a:lnTo>
                    <a:pt x="1612" y="688"/>
                  </a:lnTo>
                  <a:lnTo>
                    <a:pt x="1612" y="686"/>
                  </a:lnTo>
                  <a:lnTo>
                    <a:pt x="1612" y="686"/>
                  </a:lnTo>
                  <a:lnTo>
                    <a:pt x="1622" y="680"/>
                  </a:lnTo>
                  <a:lnTo>
                    <a:pt x="1634" y="682"/>
                  </a:lnTo>
                  <a:lnTo>
                    <a:pt x="1642" y="682"/>
                  </a:lnTo>
                  <a:lnTo>
                    <a:pt x="1650" y="700"/>
                  </a:lnTo>
                  <a:lnTo>
                    <a:pt x="1694" y="686"/>
                  </a:lnTo>
                  <a:lnTo>
                    <a:pt x="1694" y="676"/>
                  </a:lnTo>
                  <a:lnTo>
                    <a:pt x="1732" y="642"/>
                  </a:lnTo>
                  <a:lnTo>
                    <a:pt x="1734" y="642"/>
                  </a:lnTo>
                  <a:lnTo>
                    <a:pt x="1736" y="640"/>
                  </a:lnTo>
                  <a:lnTo>
                    <a:pt x="1738" y="636"/>
                  </a:lnTo>
                  <a:lnTo>
                    <a:pt x="1742" y="634"/>
                  </a:lnTo>
                  <a:lnTo>
                    <a:pt x="1746" y="630"/>
                  </a:lnTo>
                  <a:lnTo>
                    <a:pt x="1750" y="628"/>
                  </a:lnTo>
                  <a:lnTo>
                    <a:pt x="1756" y="626"/>
                  </a:lnTo>
                  <a:lnTo>
                    <a:pt x="1760" y="624"/>
                  </a:lnTo>
                  <a:lnTo>
                    <a:pt x="1762" y="626"/>
                  </a:lnTo>
                  <a:lnTo>
                    <a:pt x="1764" y="628"/>
                  </a:lnTo>
                  <a:lnTo>
                    <a:pt x="1764" y="632"/>
                  </a:lnTo>
                  <a:lnTo>
                    <a:pt x="1760" y="638"/>
                  </a:lnTo>
                  <a:lnTo>
                    <a:pt x="1758" y="644"/>
                  </a:lnTo>
                  <a:lnTo>
                    <a:pt x="1754" y="648"/>
                  </a:lnTo>
                  <a:lnTo>
                    <a:pt x="1754" y="652"/>
                  </a:lnTo>
                  <a:lnTo>
                    <a:pt x="1754" y="654"/>
                  </a:lnTo>
                  <a:lnTo>
                    <a:pt x="1758" y="654"/>
                  </a:lnTo>
                  <a:lnTo>
                    <a:pt x="1760" y="654"/>
                  </a:lnTo>
                  <a:lnTo>
                    <a:pt x="1764" y="654"/>
                  </a:lnTo>
                  <a:lnTo>
                    <a:pt x="1768" y="652"/>
                  </a:lnTo>
                  <a:lnTo>
                    <a:pt x="1770" y="650"/>
                  </a:lnTo>
                  <a:lnTo>
                    <a:pt x="1776" y="644"/>
                  </a:lnTo>
                  <a:lnTo>
                    <a:pt x="1784" y="634"/>
                  </a:lnTo>
                  <a:lnTo>
                    <a:pt x="1790" y="624"/>
                  </a:lnTo>
                  <a:lnTo>
                    <a:pt x="1796" y="616"/>
                  </a:lnTo>
                  <a:lnTo>
                    <a:pt x="1798" y="614"/>
                  </a:lnTo>
                  <a:lnTo>
                    <a:pt x="1792" y="626"/>
                  </a:lnTo>
                  <a:lnTo>
                    <a:pt x="1792" y="638"/>
                  </a:lnTo>
                  <a:lnTo>
                    <a:pt x="1794" y="648"/>
                  </a:lnTo>
                  <a:lnTo>
                    <a:pt x="1796" y="652"/>
                  </a:lnTo>
                  <a:lnTo>
                    <a:pt x="1762" y="676"/>
                  </a:lnTo>
                  <a:lnTo>
                    <a:pt x="1752" y="706"/>
                  </a:lnTo>
                  <a:lnTo>
                    <a:pt x="1714" y="736"/>
                  </a:lnTo>
                  <a:lnTo>
                    <a:pt x="1698" y="776"/>
                  </a:lnTo>
                  <a:lnTo>
                    <a:pt x="1698" y="776"/>
                  </a:lnTo>
                  <a:lnTo>
                    <a:pt x="1696" y="780"/>
                  </a:lnTo>
                  <a:lnTo>
                    <a:pt x="1696" y="784"/>
                  </a:lnTo>
                  <a:lnTo>
                    <a:pt x="1694" y="790"/>
                  </a:lnTo>
                  <a:lnTo>
                    <a:pt x="1696" y="798"/>
                  </a:lnTo>
                  <a:lnTo>
                    <a:pt x="1698" y="806"/>
                  </a:lnTo>
                  <a:lnTo>
                    <a:pt x="1702" y="820"/>
                  </a:lnTo>
                  <a:lnTo>
                    <a:pt x="1708" y="838"/>
                  </a:lnTo>
                  <a:lnTo>
                    <a:pt x="1712" y="854"/>
                  </a:lnTo>
                  <a:lnTo>
                    <a:pt x="1718" y="868"/>
                  </a:lnTo>
                  <a:lnTo>
                    <a:pt x="1718" y="874"/>
                  </a:lnTo>
                  <a:lnTo>
                    <a:pt x="1736" y="848"/>
                  </a:lnTo>
                  <a:lnTo>
                    <a:pt x="1766" y="802"/>
                  </a:lnTo>
                  <a:lnTo>
                    <a:pt x="1782" y="798"/>
                  </a:lnTo>
                  <a:lnTo>
                    <a:pt x="1780" y="794"/>
                  </a:lnTo>
                  <a:lnTo>
                    <a:pt x="1780" y="784"/>
                  </a:lnTo>
                  <a:lnTo>
                    <a:pt x="1782" y="772"/>
                  </a:lnTo>
                  <a:lnTo>
                    <a:pt x="1786" y="758"/>
                  </a:lnTo>
                  <a:lnTo>
                    <a:pt x="1790" y="750"/>
                  </a:lnTo>
                  <a:lnTo>
                    <a:pt x="1792" y="744"/>
                  </a:lnTo>
                  <a:lnTo>
                    <a:pt x="1792" y="740"/>
                  </a:lnTo>
                  <a:lnTo>
                    <a:pt x="1792" y="736"/>
                  </a:lnTo>
                  <a:lnTo>
                    <a:pt x="1792" y="732"/>
                  </a:lnTo>
                  <a:lnTo>
                    <a:pt x="1792" y="730"/>
                  </a:lnTo>
                  <a:lnTo>
                    <a:pt x="1790" y="730"/>
                  </a:lnTo>
                  <a:lnTo>
                    <a:pt x="1790" y="728"/>
                  </a:lnTo>
                  <a:lnTo>
                    <a:pt x="1790" y="726"/>
                  </a:lnTo>
                  <a:lnTo>
                    <a:pt x="1788" y="724"/>
                  </a:lnTo>
                  <a:lnTo>
                    <a:pt x="1786" y="720"/>
                  </a:lnTo>
                  <a:lnTo>
                    <a:pt x="1786" y="716"/>
                  </a:lnTo>
                  <a:lnTo>
                    <a:pt x="1786" y="712"/>
                  </a:lnTo>
                  <a:lnTo>
                    <a:pt x="1790" y="708"/>
                  </a:lnTo>
                  <a:lnTo>
                    <a:pt x="1792" y="704"/>
                  </a:lnTo>
                  <a:lnTo>
                    <a:pt x="1796" y="702"/>
                  </a:lnTo>
                  <a:lnTo>
                    <a:pt x="1802" y="702"/>
                  </a:lnTo>
                  <a:lnTo>
                    <a:pt x="1812" y="700"/>
                  </a:lnTo>
                  <a:lnTo>
                    <a:pt x="1816" y="698"/>
                  </a:lnTo>
                  <a:lnTo>
                    <a:pt x="1818" y="696"/>
                  </a:lnTo>
                  <a:lnTo>
                    <a:pt x="1820" y="692"/>
                  </a:lnTo>
                  <a:lnTo>
                    <a:pt x="1820" y="688"/>
                  </a:lnTo>
                  <a:lnTo>
                    <a:pt x="1820" y="684"/>
                  </a:lnTo>
                  <a:lnTo>
                    <a:pt x="1820" y="680"/>
                  </a:lnTo>
                  <a:lnTo>
                    <a:pt x="1820" y="678"/>
                  </a:lnTo>
                  <a:lnTo>
                    <a:pt x="1822" y="676"/>
                  </a:lnTo>
                  <a:lnTo>
                    <a:pt x="1824" y="676"/>
                  </a:lnTo>
                  <a:lnTo>
                    <a:pt x="1832" y="676"/>
                  </a:lnTo>
                  <a:lnTo>
                    <a:pt x="1838" y="674"/>
                  </a:lnTo>
                  <a:lnTo>
                    <a:pt x="1846" y="670"/>
                  </a:lnTo>
                  <a:lnTo>
                    <a:pt x="1858" y="660"/>
                  </a:lnTo>
                  <a:lnTo>
                    <a:pt x="1862" y="656"/>
                  </a:lnTo>
                  <a:lnTo>
                    <a:pt x="1868" y="654"/>
                  </a:lnTo>
                  <a:lnTo>
                    <a:pt x="1872" y="654"/>
                  </a:lnTo>
                  <a:lnTo>
                    <a:pt x="1876" y="654"/>
                  </a:lnTo>
                  <a:lnTo>
                    <a:pt x="1880" y="656"/>
                  </a:lnTo>
                  <a:lnTo>
                    <a:pt x="1882" y="660"/>
                  </a:lnTo>
                  <a:lnTo>
                    <a:pt x="1884" y="662"/>
                  </a:lnTo>
                  <a:lnTo>
                    <a:pt x="1884" y="664"/>
                  </a:lnTo>
                  <a:lnTo>
                    <a:pt x="1884" y="664"/>
                  </a:lnTo>
                  <a:lnTo>
                    <a:pt x="1906" y="656"/>
                  </a:lnTo>
                  <a:lnTo>
                    <a:pt x="1914" y="642"/>
                  </a:lnTo>
                  <a:lnTo>
                    <a:pt x="1926" y="630"/>
                  </a:lnTo>
                  <a:lnTo>
                    <a:pt x="1944" y="622"/>
                  </a:lnTo>
                  <a:lnTo>
                    <a:pt x="1948" y="610"/>
                  </a:lnTo>
                  <a:lnTo>
                    <a:pt x="1964" y="610"/>
                  </a:lnTo>
                  <a:lnTo>
                    <a:pt x="1966" y="610"/>
                  </a:lnTo>
                  <a:lnTo>
                    <a:pt x="1970" y="610"/>
                  </a:lnTo>
                  <a:lnTo>
                    <a:pt x="1974" y="610"/>
                  </a:lnTo>
                  <a:lnTo>
                    <a:pt x="1978" y="610"/>
                  </a:lnTo>
                  <a:lnTo>
                    <a:pt x="1982" y="612"/>
                  </a:lnTo>
                  <a:lnTo>
                    <a:pt x="1986" y="612"/>
                  </a:lnTo>
                  <a:lnTo>
                    <a:pt x="1988" y="610"/>
                  </a:lnTo>
                  <a:lnTo>
                    <a:pt x="1992" y="608"/>
                  </a:lnTo>
                  <a:lnTo>
                    <a:pt x="1996" y="604"/>
                  </a:lnTo>
                  <a:lnTo>
                    <a:pt x="2000" y="602"/>
                  </a:lnTo>
                  <a:lnTo>
                    <a:pt x="2002" y="598"/>
                  </a:lnTo>
                  <a:lnTo>
                    <a:pt x="2004" y="596"/>
                  </a:lnTo>
                  <a:lnTo>
                    <a:pt x="2006" y="596"/>
                  </a:lnTo>
                  <a:lnTo>
                    <a:pt x="2004" y="592"/>
                  </a:lnTo>
                  <a:lnTo>
                    <a:pt x="1998" y="586"/>
                  </a:lnTo>
                  <a:lnTo>
                    <a:pt x="1990" y="576"/>
                  </a:lnTo>
                  <a:lnTo>
                    <a:pt x="1984" y="568"/>
                  </a:lnTo>
                  <a:lnTo>
                    <a:pt x="1978" y="562"/>
                  </a:lnTo>
                  <a:lnTo>
                    <a:pt x="1974" y="560"/>
                  </a:lnTo>
                  <a:lnTo>
                    <a:pt x="1972" y="556"/>
                  </a:lnTo>
                  <a:lnTo>
                    <a:pt x="1972" y="552"/>
                  </a:lnTo>
                  <a:lnTo>
                    <a:pt x="1972" y="550"/>
                  </a:lnTo>
                  <a:lnTo>
                    <a:pt x="1972" y="546"/>
                  </a:lnTo>
                  <a:lnTo>
                    <a:pt x="1974" y="546"/>
                  </a:lnTo>
                  <a:lnTo>
                    <a:pt x="1978" y="546"/>
                  </a:lnTo>
                  <a:lnTo>
                    <a:pt x="1982" y="546"/>
                  </a:lnTo>
                  <a:lnTo>
                    <a:pt x="1986" y="546"/>
                  </a:lnTo>
                  <a:lnTo>
                    <a:pt x="1988" y="544"/>
                  </a:lnTo>
                  <a:lnTo>
                    <a:pt x="1992" y="542"/>
                  </a:lnTo>
                  <a:lnTo>
                    <a:pt x="1994" y="540"/>
                  </a:lnTo>
                  <a:lnTo>
                    <a:pt x="1994" y="540"/>
                  </a:lnTo>
                  <a:lnTo>
                    <a:pt x="2016" y="518"/>
                  </a:lnTo>
                  <a:lnTo>
                    <a:pt x="2014" y="502"/>
                  </a:lnTo>
                  <a:lnTo>
                    <a:pt x="2024" y="494"/>
                  </a:lnTo>
                  <a:lnTo>
                    <a:pt x="2032" y="512"/>
                  </a:lnTo>
                  <a:lnTo>
                    <a:pt x="2050" y="518"/>
                  </a:lnTo>
                  <a:lnTo>
                    <a:pt x="2054" y="520"/>
                  </a:lnTo>
                  <a:lnTo>
                    <a:pt x="2060" y="526"/>
                  </a:lnTo>
                  <a:lnTo>
                    <a:pt x="2068" y="534"/>
                  </a:lnTo>
                  <a:lnTo>
                    <a:pt x="2076" y="542"/>
                  </a:lnTo>
                  <a:lnTo>
                    <a:pt x="2084" y="548"/>
                  </a:lnTo>
                  <a:lnTo>
                    <a:pt x="2088" y="550"/>
                  </a:lnTo>
                  <a:lnTo>
                    <a:pt x="2090" y="552"/>
                  </a:lnTo>
                  <a:lnTo>
                    <a:pt x="2094" y="550"/>
                  </a:lnTo>
                  <a:lnTo>
                    <a:pt x="2094" y="550"/>
                  </a:lnTo>
                  <a:lnTo>
                    <a:pt x="2096" y="550"/>
                  </a:lnTo>
                  <a:lnTo>
                    <a:pt x="2100" y="524"/>
                  </a:lnTo>
                  <a:lnTo>
                    <a:pt x="2100" y="518"/>
                  </a:lnTo>
                  <a:lnTo>
                    <a:pt x="2102" y="518"/>
                  </a:lnTo>
                  <a:lnTo>
                    <a:pt x="2106" y="518"/>
                  </a:lnTo>
                  <a:lnTo>
                    <a:pt x="2110" y="518"/>
                  </a:lnTo>
                  <a:lnTo>
                    <a:pt x="2116" y="518"/>
                  </a:lnTo>
                  <a:lnTo>
                    <a:pt x="2122" y="516"/>
                  </a:lnTo>
                  <a:lnTo>
                    <a:pt x="2126" y="512"/>
                  </a:lnTo>
                  <a:lnTo>
                    <a:pt x="2130" y="508"/>
                  </a:lnTo>
                  <a:lnTo>
                    <a:pt x="2132" y="500"/>
                  </a:lnTo>
                  <a:lnTo>
                    <a:pt x="2124" y="494"/>
                  </a:lnTo>
                  <a:lnTo>
                    <a:pt x="2114" y="488"/>
                  </a:lnTo>
                  <a:lnTo>
                    <a:pt x="2102" y="482"/>
                  </a:lnTo>
                  <a:lnTo>
                    <a:pt x="2092" y="476"/>
                  </a:lnTo>
                  <a:lnTo>
                    <a:pt x="2088" y="472"/>
                  </a:lnTo>
                  <a:lnTo>
                    <a:pt x="2084" y="472"/>
                  </a:lnTo>
                  <a:lnTo>
                    <a:pt x="2080" y="474"/>
                  </a:lnTo>
                  <a:lnTo>
                    <a:pt x="2078" y="474"/>
                  </a:lnTo>
                  <a:lnTo>
                    <a:pt x="2076" y="478"/>
                  </a:lnTo>
                  <a:lnTo>
                    <a:pt x="2074" y="478"/>
                  </a:lnTo>
                  <a:lnTo>
                    <a:pt x="2074" y="480"/>
                  </a:lnTo>
                  <a:lnTo>
                    <a:pt x="2066" y="464"/>
                  </a:lnTo>
                  <a:lnTo>
                    <a:pt x="2054" y="446"/>
                  </a:lnTo>
                  <a:lnTo>
                    <a:pt x="2040" y="432"/>
                  </a:lnTo>
                  <a:lnTo>
                    <a:pt x="2024" y="420"/>
                  </a:lnTo>
                  <a:lnTo>
                    <a:pt x="2010" y="412"/>
                  </a:lnTo>
                  <a:lnTo>
                    <a:pt x="1998" y="408"/>
                  </a:lnTo>
                  <a:lnTo>
                    <a:pt x="1994" y="406"/>
                  </a:lnTo>
                  <a:lnTo>
                    <a:pt x="1960" y="376"/>
                  </a:lnTo>
                  <a:lnTo>
                    <a:pt x="1954" y="376"/>
                  </a:lnTo>
                  <a:lnTo>
                    <a:pt x="1942" y="376"/>
                  </a:lnTo>
                  <a:lnTo>
                    <a:pt x="1930" y="374"/>
                  </a:lnTo>
                  <a:lnTo>
                    <a:pt x="1922" y="372"/>
                  </a:lnTo>
                  <a:lnTo>
                    <a:pt x="1920" y="370"/>
                  </a:lnTo>
                  <a:lnTo>
                    <a:pt x="1916" y="366"/>
                  </a:lnTo>
                  <a:lnTo>
                    <a:pt x="1910" y="366"/>
                  </a:lnTo>
                  <a:lnTo>
                    <a:pt x="1906" y="364"/>
                  </a:lnTo>
                  <a:lnTo>
                    <a:pt x="1902" y="364"/>
                  </a:lnTo>
                  <a:lnTo>
                    <a:pt x="1902" y="364"/>
                  </a:lnTo>
                  <a:lnTo>
                    <a:pt x="1900" y="388"/>
                  </a:lnTo>
                  <a:lnTo>
                    <a:pt x="1900" y="406"/>
                  </a:lnTo>
                  <a:lnTo>
                    <a:pt x="1896" y="414"/>
                  </a:lnTo>
                  <a:lnTo>
                    <a:pt x="1884" y="416"/>
                  </a:lnTo>
                  <a:lnTo>
                    <a:pt x="1884" y="408"/>
                  </a:lnTo>
                  <a:lnTo>
                    <a:pt x="1866" y="386"/>
                  </a:lnTo>
                  <a:lnTo>
                    <a:pt x="1880" y="376"/>
                  </a:lnTo>
                  <a:lnTo>
                    <a:pt x="1880" y="370"/>
                  </a:lnTo>
                  <a:lnTo>
                    <a:pt x="1842" y="386"/>
                  </a:lnTo>
                  <a:lnTo>
                    <a:pt x="1834" y="382"/>
                  </a:lnTo>
                  <a:lnTo>
                    <a:pt x="1790" y="378"/>
                  </a:lnTo>
                  <a:lnTo>
                    <a:pt x="1774" y="398"/>
                  </a:lnTo>
                  <a:lnTo>
                    <a:pt x="1762" y="380"/>
                  </a:lnTo>
                  <a:lnTo>
                    <a:pt x="1762" y="378"/>
                  </a:lnTo>
                  <a:lnTo>
                    <a:pt x="1764" y="370"/>
                  </a:lnTo>
                  <a:lnTo>
                    <a:pt x="1762" y="358"/>
                  </a:lnTo>
                  <a:lnTo>
                    <a:pt x="1758" y="342"/>
                  </a:lnTo>
                  <a:lnTo>
                    <a:pt x="1748" y="332"/>
                  </a:lnTo>
                  <a:lnTo>
                    <a:pt x="1734" y="326"/>
                  </a:lnTo>
                  <a:lnTo>
                    <a:pt x="1722" y="326"/>
                  </a:lnTo>
                  <a:lnTo>
                    <a:pt x="1712" y="326"/>
                  </a:lnTo>
                  <a:lnTo>
                    <a:pt x="1710" y="328"/>
                  </a:lnTo>
                  <a:lnTo>
                    <a:pt x="1704" y="328"/>
                  </a:lnTo>
                  <a:lnTo>
                    <a:pt x="1690" y="330"/>
                  </a:lnTo>
                  <a:lnTo>
                    <a:pt x="1676" y="330"/>
                  </a:lnTo>
                  <a:lnTo>
                    <a:pt x="1664" y="328"/>
                  </a:lnTo>
                  <a:lnTo>
                    <a:pt x="1660" y="324"/>
                  </a:lnTo>
                  <a:lnTo>
                    <a:pt x="1654" y="322"/>
                  </a:lnTo>
                  <a:lnTo>
                    <a:pt x="1650" y="322"/>
                  </a:lnTo>
                  <a:lnTo>
                    <a:pt x="1648" y="324"/>
                  </a:lnTo>
                  <a:lnTo>
                    <a:pt x="1646" y="324"/>
                  </a:lnTo>
                  <a:lnTo>
                    <a:pt x="1646" y="314"/>
                  </a:lnTo>
                  <a:lnTo>
                    <a:pt x="1638" y="310"/>
                  </a:lnTo>
                  <a:lnTo>
                    <a:pt x="1640" y="308"/>
                  </a:lnTo>
                  <a:lnTo>
                    <a:pt x="1640" y="304"/>
                  </a:lnTo>
                  <a:lnTo>
                    <a:pt x="1638" y="298"/>
                  </a:lnTo>
                  <a:lnTo>
                    <a:pt x="1636" y="290"/>
                  </a:lnTo>
                  <a:lnTo>
                    <a:pt x="1634" y="282"/>
                  </a:lnTo>
                  <a:lnTo>
                    <a:pt x="1630" y="278"/>
                  </a:lnTo>
                  <a:lnTo>
                    <a:pt x="1626" y="276"/>
                  </a:lnTo>
                  <a:lnTo>
                    <a:pt x="1622" y="276"/>
                  </a:lnTo>
                  <a:lnTo>
                    <a:pt x="1618" y="278"/>
                  </a:lnTo>
                  <a:lnTo>
                    <a:pt x="1614" y="280"/>
                  </a:lnTo>
                  <a:lnTo>
                    <a:pt x="1610" y="282"/>
                  </a:lnTo>
                  <a:lnTo>
                    <a:pt x="1606" y="286"/>
                  </a:lnTo>
                  <a:lnTo>
                    <a:pt x="1604" y="288"/>
                  </a:lnTo>
                  <a:lnTo>
                    <a:pt x="1604" y="288"/>
                  </a:lnTo>
                  <a:lnTo>
                    <a:pt x="1602" y="288"/>
                  </a:lnTo>
                  <a:lnTo>
                    <a:pt x="1600" y="288"/>
                  </a:lnTo>
                  <a:lnTo>
                    <a:pt x="1598" y="290"/>
                  </a:lnTo>
                  <a:lnTo>
                    <a:pt x="1596" y="288"/>
                  </a:lnTo>
                  <a:lnTo>
                    <a:pt x="1594" y="288"/>
                  </a:lnTo>
                  <a:lnTo>
                    <a:pt x="1592" y="286"/>
                  </a:lnTo>
                  <a:lnTo>
                    <a:pt x="1592" y="282"/>
                  </a:lnTo>
                  <a:lnTo>
                    <a:pt x="1592" y="280"/>
                  </a:lnTo>
                  <a:lnTo>
                    <a:pt x="1592" y="276"/>
                  </a:lnTo>
                  <a:lnTo>
                    <a:pt x="1590" y="272"/>
                  </a:lnTo>
                  <a:lnTo>
                    <a:pt x="1588" y="270"/>
                  </a:lnTo>
                  <a:lnTo>
                    <a:pt x="1584" y="268"/>
                  </a:lnTo>
                  <a:lnTo>
                    <a:pt x="1578" y="268"/>
                  </a:lnTo>
                  <a:lnTo>
                    <a:pt x="1566" y="266"/>
                  </a:lnTo>
                  <a:lnTo>
                    <a:pt x="1552" y="264"/>
                  </a:lnTo>
                  <a:lnTo>
                    <a:pt x="1538" y="260"/>
                  </a:lnTo>
                  <a:lnTo>
                    <a:pt x="1528" y="256"/>
                  </a:lnTo>
                  <a:lnTo>
                    <a:pt x="1524" y="256"/>
                  </a:lnTo>
                  <a:lnTo>
                    <a:pt x="1528" y="260"/>
                  </a:lnTo>
                  <a:lnTo>
                    <a:pt x="1526" y="264"/>
                  </a:lnTo>
                  <a:lnTo>
                    <a:pt x="1524" y="268"/>
                  </a:lnTo>
                  <a:lnTo>
                    <a:pt x="1518" y="270"/>
                  </a:lnTo>
                  <a:lnTo>
                    <a:pt x="1512" y="272"/>
                  </a:lnTo>
                  <a:lnTo>
                    <a:pt x="1504" y="276"/>
                  </a:lnTo>
                  <a:lnTo>
                    <a:pt x="1502" y="286"/>
                  </a:lnTo>
                  <a:lnTo>
                    <a:pt x="1502" y="296"/>
                  </a:lnTo>
                  <a:lnTo>
                    <a:pt x="1502" y="306"/>
                  </a:lnTo>
                  <a:lnTo>
                    <a:pt x="1502" y="310"/>
                  </a:lnTo>
                  <a:lnTo>
                    <a:pt x="1494" y="312"/>
                  </a:lnTo>
                  <a:lnTo>
                    <a:pt x="1482" y="318"/>
                  </a:lnTo>
                  <a:lnTo>
                    <a:pt x="1460" y="304"/>
                  </a:lnTo>
                  <a:lnTo>
                    <a:pt x="1452" y="310"/>
                  </a:lnTo>
                  <a:lnTo>
                    <a:pt x="1438" y="310"/>
                  </a:lnTo>
                  <a:lnTo>
                    <a:pt x="1422" y="294"/>
                  </a:lnTo>
                  <a:lnTo>
                    <a:pt x="1422" y="294"/>
                  </a:lnTo>
                  <a:lnTo>
                    <a:pt x="1420" y="296"/>
                  </a:lnTo>
                  <a:lnTo>
                    <a:pt x="1418" y="300"/>
                  </a:lnTo>
                  <a:lnTo>
                    <a:pt x="1416" y="304"/>
                  </a:lnTo>
                  <a:lnTo>
                    <a:pt x="1412" y="308"/>
                  </a:lnTo>
                  <a:lnTo>
                    <a:pt x="1410" y="312"/>
                  </a:lnTo>
                  <a:lnTo>
                    <a:pt x="1410" y="316"/>
                  </a:lnTo>
                  <a:lnTo>
                    <a:pt x="1408" y="320"/>
                  </a:lnTo>
                  <a:lnTo>
                    <a:pt x="1404" y="324"/>
                  </a:lnTo>
                  <a:lnTo>
                    <a:pt x="1402" y="328"/>
                  </a:lnTo>
                  <a:lnTo>
                    <a:pt x="1398" y="330"/>
                  </a:lnTo>
                  <a:lnTo>
                    <a:pt x="1396" y="334"/>
                  </a:lnTo>
                  <a:lnTo>
                    <a:pt x="1396" y="334"/>
                  </a:lnTo>
                  <a:lnTo>
                    <a:pt x="1392" y="320"/>
                  </a:lnTo>
                  <a:lnTo>
                    <a:pt x="1384" y="304"/>
                  </a:lnTo>
                  <a:lnTo>
                    <a:pt x="1384" y="274"/>
                  </a:lnTo>
                  <a:lnTo>
                    <a:pt x="1388" y="254"/>
                  </a:lnTo>
                  <a:lnTo>
                    <a:pt x="1386" y="248"/>
                  </a:lnTo>
                  <a:lnTo>
                    <a:pt x="1384" y="246"/>
                  </a:lnTo>
                  <a:lnTo>
                    <a:pt x="1382" y="244"/>
                  </a:lnTo>
                  <a:lnTo>
                    <a:pt x="1378" y="242"/>
                  </a:lnTo>
                  <a:lnTo>
                    <a:pt x="1374" y="242"/>
                  </a:lnTo>
                  <a:lnTo>
                    <a:pt x="1372" y="244"/>
                  </a:lnTo>
                  <a:lnTo>
                    <a:pt x="1370" y="244"/>
                  </a:lnTo>
                  <a:lnTo>
                    <a:pt x="1368" y="244"/>
                  </a:lnTo>
                  <a:lnTo>
                    <a:pt x="1368" y="244"/>
                  </a:lnTo>
                  <a:lnTo>
                    <a:pt x="1366" y="240"/>
                  </a:lnTo>
                  <a:lnTo>
                    <a:pt x="1362" y="238"/>
                  </a:lnTo>
                  <a:lnTo>
                    <a:pt x="1356" y="234"/>
                  </a:lnTo>
                  <a:lnTo>
                    <a:pt x="1348" y="232"/>
                  </a:lnTo>
                  <a:lnTo>
                    <a:pt x="1338" y="230"/>
                  </a:lnTo>
                  <a:lnTo>
                    <a:pt x="1332" y="230"/>
                  </a:lnTo>
                  <a:lnTo>
                    <a:pt x="1326" y="228"/>
                  </a:lnTo>
                  <a:lnTo>
                    <a:pt x="1322" y="228"/>
                  </a:lnTo>
                  <a:lnTo>
                    <a:pt x="1320" y="230"/>
                  </a:lnTo>
                  <a:lnTo>
                    <a:pt x="1316" y="232"/>
                  </a:lnTo>
                  <a:lnTo>
                    <a:pt x="1312" y="234"/>
                  </a:lnTo>
                  <a:lnTo>
                    <a:pt x="1308" y="238"/>
                  </a:lnTo>
                  <a:lnTo>
                    <a:pt x="1296" y="242"/>
                  </a:lnTo>
                  <a:lnTo>
                    <a:pt x="1284" y="240"/>
                  </a:lnTo>
                  <a:lnTo>
                    <a:pt x="1272" y="238"/>
                  </a:lnTo>
                  <a:lnTo>
                    <a:pt x="1262" y="236"/>
                  </a:lnTo>
                  <a:lnTo>
                    <a:pt x="1258" y="234"/>
                  </a:lnTo>
                  <a:lnTo>
                    <a:pt x="1224" y="216"/>
                  </a:lnTo>
                  <a:lnTo>
                    <a:pt x="1210" y="216"/>
                  </a:lnTo>
                  <a:lnTo>
                    <a:pt x="1194" y="214"/>
                  </a:lnTo>
                  <a:lnTo>
                    <a:pt x="1182" y="208"/>
                  </a:lnTo>
                  <a:lnTo>
                    <a:pt x="1172" y="204"/>
                  </a:lnTo>
                  <a:lnTo>
                    <a:pt x="1168" y="202"/>
                  </a:lnTo>
                  <a:lnTo>
                    <a:pt x="1160" y="196"/>
                  </a:lnTo>
                  <a:lnTo>
                    <a:pt x="1156" y="190"/>
                  </a:lnTo>
                  <a:lnTo>
                    <a:pt x="1164" y="186"/>
                  </a:lnTo>
                  <a:lnTo>
                    <a:pt x="1166" y="184"/>
                  </a:lnTo>
                  <a:lnTo>
                    <a:pt x="1166" y="182"/>
                  </a:lnTo>
                  <a:lnTo>
                    <a:pt x="1166" y="178"/>
                  </a:lnTo>
                  <a:lnTo>
                    <a:pt x="1164" y="172"/>
                  </a:lnTo>
                  <a:lnTo>
                    <a:pt x="1160" y="170"/>
                  </a:lnTo>
                  <a:lnTo>
                    <a:pt x="1158" y="168"/>
                  </a:lnTo>
                  <a:lnTo>
                    <a:pt x="1156" y="168"/>
                  </a:lnTo>
                  <a:lnTo>
                    <a:pt x="1152" y="170"/>
                  </a:lnTo>
                  <a:lnTo>
                    <a:pt x="1150" y="170"/>
                  </a:lnTo>
                  <a:lnTo>
                    <a:pt x="1148" y="172"/>
                  </a:lnTo>
                  <a:lnTo>
                    <a:pt x="1148" y="172"/>
                  </a:lnTo>
                  <a:lnTo>
                    <a:pt x="1146" y="174"/>
                  </a:lnTo>
                  <a:lnTo>
                    <a:pt x="1144" y="176"/>
                  </a:lnTo>
                  <a:lnTo>
                    <a:pt x="1142" y="180"/>
                  </a:lnTo>
                  <a:lnTo>
                    <a:pt x="1140" y="184"/>
                  </a:lnTo>
                  <a:lnTo>
                    <a:pt x="1136" y="190"/>
                  </a:lnTo>
                  <a:lnTo>
                    <a:pt x="1132" y="194"/>
                  </a:lnTo>
                  <a:lnTo>
                    <a:pt x="1128" y="198"/>
                  </a:lnTo>
                  <a:lnTo>
                    <a:pt x="1126" y="200"/>
                  </a:lnTo>
                  <a:lnTo>
                    <a:pt x="1120" y="202"/>
                  </a:lnTo>
                  <a:lnTo>
                    <a:pt x="1116" y="206"/>
                  </a:lnTo>
                  <a:lnTo>
                    <a:pt x="1112" y="210"/>
                  </a:lnTo>
                  <a:lnTo>
                    <a:pt x="1110" y="216"/>
                  </a:lnTo>
                  <a:lnTo>
                    <a:pt x="1108" y="220"/>
                  </a:lnTo>
                  <a:lnTo>
                    <a:pt x="1106" y="222"/>
                  </a:lnTo>
                  <a:lnTo>
                    <a:pt x="1104" y="224"/>
                  </a:lnTo>
                  <a:lnTo>
                    <a:pt x="1096" y="224"/>
                  </a:lnTo>
                  <a:lnTo>
                    <a:pt x="1092" y="204"/>
                  </a:lnTo>
                  <a:lnTo>
                    <a:pt x="1084" y="194"/>
                  </a:lnTo>
                  <a:lnTo>
                    <a:pt x="1108" y="192"/>
                  </a:lnTo>
                  <a:lnTo>
                    <a:pt x="1134" y="160"/>
                  </a:lnTo>
                  <a:lnTo>
                    <a:pt x="1150" y="144"/>
                  </a:lnTo>
                  <a:lnTo>
                    <a:pt x="1158" y="130"/>
                  </a:lnTo>
                  <a:lnTo>
                    <a:pt x="1162" y="122"/>
                  </a:lnTo>
                  <a:lnTo>
                    <a:pt x="1164" y="120"/>
                  </a:lnTo>
                  <a:lnTo>
                    <a:pt x="1164" y="96"/>
                  </a:lnTo>
                  <a:lnTo>
                    <a:pt x="1166" y="78"/>
                  </a:lnTo>
                  <a:lnTo>
                    <a:pt x="1160" y="64"/>
                  </a:lnTo>
                  <a:lnTo>
                    <a:pt x="1148" y="54"/>
                  </a:lnTo>
                  <a:lnTo>
                    <a:pt x="1134" y="52"/>
                  </a:lnTo>
                  <a:lnTo>
                    <a:pt x="1122" y="56"/>
                  </a:lnTo>
                  <a:lnTo>
                    <a:pt x="1108" y="64"/>
                  </a:lnTo>
                  <a:lnTo>
                    <a:pt x="1098" y="68"/>
                  </a:lnTo>
                  <a:lnTo>
                    <a:pt x="1090" y="70"/>
                  </a:lnTo>
                  <a:lnTo>
                    <a:pt x="1084" y="70"/>
                  </a:lnTo>
                  <a:lnTo>
                    <a:pt x="1080" y="70"/>
                  </a:lnTo>
                  <a:lnTo>
                    <a:pt x="1080" y="70"/>
                  </a:lnTo>
                  <a:lnTo>
                    <a:pt x="1078" y="52"/>
                  </a:lnTo>
                  <a:lnTo>
                    <a:pt x="1070" y="46"/>
                  </a:lnTo>
                  <a:lnTo>
                    <a:pt x="1080" y="20"/>
                  </a:lnTo>
                  <a:lnTo>
                    <a:pt x="1082" y="20"/>
                  </a:lnTo>
                  <a:lnTo>
                    <a:pt x="1084" y="18"/>
                  </a:lnTo>
                  <a:lnTo>
                    <a:pt x="1086" y="18"/>
                  </a:lnTo>
                  <a:lnTo>
                    <a:pt x="1088" y="16"/>
                  </a:lnTo>
                  <a:lnTo>
                    <a:pt x="1088" y="14"/>
                  </a:lnTo>
                  <a:lnTo>
                    <a:pt x="1088" y="10"/>
                  </a:lnTo>
                  <a:lnTo>
                    <a:pt x="1086" y="8"/>
                  </a:lnTo>
                  <a:lnTo>
                    <a:pt x="1080" y="4"/>
                  </a:lnTo>
                  <a:lnTo>
                    <a:pt x="1068" y="0"/>
                  </a:lnTo>
                  <a:lnTo>
                    <a:pt x="1056" y="4"/>
                  </a:lnTo>
                  <a:lnTo>
                    <a:pt x="1048" y="10"/>
                  </a:lnTo>
                  <a:lnTo>
                    <a:pt x="1042" y="16"/>
                  </a:lnTo>
                  <a:lnTo>
                    <a:pt x="1038" y="22"/>
                  </a:lnTo>
                  <a:lnTo>
                    <a:pt x="1030" y="32"/>
                  </a:lnTo>
                  <a:lnTo>
                    <a:pt x="1022" y="42"/>
                  </a:lnTo>
                  <a:lnTo>
                    <a:pt x="1016" y="50"/>
                  </a:lnTo>
                  <a:lnTo>
                    <a:pt x="1012" y="54"/>
                  </a:lnTo>
                  <a:lnTo>
                    <a:pt x="1016" y="62"/>
                  </a:lnTo>
                  <a:lnTo>
                    <a:pt x="1008" y="76"/>
                  </a:lnTo>
                  <a:lnTo>
                    <a:pt x="990" y="68"/>
                  </a:lnTo>
                  <a:lnTo>
                    <a:pt x="988" y="68"/>
                  </a:lnTo>
                  <a:lnTo>
                    <a:pt x="986" y="68"/>
                  </a:lnTo>
                  <a:lnTo>
                    <a:pt x="986" y="68"/>
                  </a:lnTo>
                  <a:lnTo>
                    <a:pt x="986" y="70"/>
                  </a:lnTo>
                  <a:lnTo>
                    <a:pt x="988" y="72"/>
                  </a:lnTo>
                  <a:lnTo>
                    <a:pt x="990" y="74"/>
                  </a:lnTo>
                  <a:lnTo>
                    <a:pt x="992" y="76"/>
                  </a:lnTo>
                  <a:lnTo>
                    <a:pt x="992" y="78"/>
                  </a:lnTo>
                  <a:lnTo>
                    <a:pt x="994" y="78"/>
                  </a:lnTo>
                  <a:lnTo>
                    <a:pt x="1020" y="98"/>
                  </a:lnTo>
                  <a:lnTo>
                    <a:pt x="1020" y="100"/>
                  </a:lnTo>
                  <a:lnTo>
                    <a:pt x="1020" y="102"/>
                  </a:lnTo>
                  <a:lnTo>
                    <a:pt x="1020" y="108"/>
                  </a:lnTo>
                  <a:lnTo>
                    <a:pt x="1020" y="114"/>
                  </a:lnTo>
                  <a:lnTo>
                    <a:pt x="1020" y="122"/>
                  </a:lnTo>
                  <a:lnTo>
                    <a:pt x="1018" y="126"/>
                  </a:lnTo>
                  <a:lnTo>
                    <a:pt x="1014" y="130"/>
                  </a:lnTo>
                  <a:lnTo>
                    <a:pt x="1010" y="128"/>
                  </a:lnTo>
                  <a:lnTo>
                    <a:pt x="1006" y="126"/>
                  </a:lnTo>
                  <a:lnTo>
                    <a:pt x="1002" y="120"/>
                  </a:lnTo>
                  <a:lnTo>
                    <a:pt x="998" y="112"/>
                  </a:lnTo>
                  <a:lnTo>
                    <a:pt x="992" y="100"/>
                  </a:lnTo>
                  <a:lnTo>
                    <a:pt x="980" y="92"/>
                  </a:lnTo>
                  <a:lnTo>
                    <a:pt x="966" y="90"/>
                  </a:lnTo>
                  <a:lnTo>
                    <a:pt x="952" y="92"/>
                  </a:lnTo>
                  <a:lnTo>
                    <a:pt x="944" y="92"/>
                  </a:lnTo>
                  <a:lnTo>
                    <a:pt x="940" y="92"/>
                  </a:lnTo>
                  <a:lnTo>
                    <a:pt x="936" y="92"/>
                  </a:lnTo>
                  <a:lnTo>
                    <a:pt x="932" y="90"/>
                  </a:lnTo>
                  <a:lnTo>
                    <a:pt x="930" y="88"/>
                  </a:lnTo>
                  <a:lnTo>
                    <a:pt x="930" y="86"/>
                  </a:lnTo>
                  <a:lnTo>
                    <a:pt x="930" y="84"/>
                  </a:lnTo>
                  <a:lnTo>
                    <a:pt x="930" y="84"/>
                  </a:lnTo>
                  <a:lnTo>
                    <a:pt x="928" y="84"/>
                  </a:lnTo>
                  <a:lnTo>
                    <a:pt x="924" y="86"/>
                  </a:lnTo>
                  <a:lnTo>
                    <a:pt x="920" y="88"/>
                  </a:lnTo>
                  <a:lnTo>
                    <a:pt x="914" y="92"/>
                  </a:lnTo>
                  <a:lnTo>
                    <a:pt x="910" y="94"/>
                  </a:lnTo>
                  <a:lnTo>
                    <a:pt x="906" y="98"/>
                  </a:lnTo>
                  <a:lnTo>
                    <a:pt x="902" y="100"/>
                  </a:lnTo>
                  <a:lnTo>
                    <a:pt x="898" y="104"/>
                  </a:lnTo>
                  <a:lnTo>
                    <a:pt x="892" y="110"/>
                  </a:lnTo>
                  <a:lnTo>
                    <a:pt x="884" y="114"/>
                  </a:lnTo>
                  <a:lnTo>
                    <a:pt x="872" y="116"/>
                  </a:lnTo>
                  <a:lnTo>
                    <a:pt x="864" y="122"/>
                  </a:lnTo>
                  <a:lnTo>
                    <a:pt x="856" y="132"/>
                  </a:lnTo>
                  <a:lnTo>
                    <a:pt x="850" y="146"/>
                  </a:lnTo>
                  <a:lnTo>
                    <a:pt x="846" y="158"/>
                  </a:lnTo>
                  <a:lnTo>
                    <a:pt x="844" y="162"/>
                  </a:lnTo>
                  <a:lnTo>
                    <a:pt x="842" y="168"/>
                  </a:lnTo>
                  <a:lnTo>
                    <a:pt x="836" y="172"/>
                  </a:lnTo>
                  <a:lnTo>
                    <a:pt x="830" y="176"/>
                  </a:lnTo>
                  <a:lnTo>
                    <a:pt x="826" y="180"/>
                  </a:lnTo>
                  <a:lnTo>
                    <a:pt x="822" y="182"/>
                  </a:lnTo>
                  <a:lnTo>
                    <a:pt x="818" y="184"/>
                  </a:lnTo>
                  <a:lnTo>
                    <a:pt x="818" y="188"/>
                  </a:lnTo>
                  <a:lnTo>
                    <a:pt x="820" y="190"/>
                  </a:lnTo>
                  <a:lnTo>
                    <a:pt x="822" y="192"/>
                  </a:lnTo>
                  <a:lnTo>
                    <a:pt x="822" y="196"/>
                  </a:lnTo>
                  <a:lnTo>
                    <a:pt x="818" y="202"/>
                  </a:lnTo>
                  <a:lnTo>
                    <a:pt x="804" y="208"/>
                  </a:lnTo>
                  <a:lnTo>
                    <a:pt x="782" y="214"/>
                  </a:lnTo>
                  <a:lnTo>
                    <a:pt x="772" y="220"/>
                  </a:lnTo>
                  <a:lnTo>
                    <a:pt x="768" y="232"/>
                  </a:lnTo>
                  <a:lnTo>
                    <a:pt x="764" y="244"/>
                  </a:lnTo>
                  <a:lnTo>
                    <a:pt x="766" y="256"/>
                  </a:lnTo>
                  <a:lnTo>
                    <a:pt x="766" y="266"/>
                  </a:lnTo>
                  <a:lnTo>
                    <a:pt x="766" y="272"/>
                  </a:lnTo>
                  <a:lnTo>
                    <a:pt x="768" y="276"/>
                  </a:lnTo>
                  <a:lnTo>
                    <a:pt x="772" y="276"/>
                  </a:lnTo>
                  <a:lnTo>
                    <a:pt x="776" y="278"/>
                  </a:lnTo>
                  <a:lnTo>
                    <a:pt x="782" y="278"/>
                  </a:lnTo>
                  <a:lnTo>
                    <a:pt x="784" y="278"/>
                  </a:lnTo>
                  <a:lnTo>
                    <a:pt x="786" y="278"/>
                  </a:lnTo>
                  <a:lnTo>
                    <a:pt x="786" y="282"/>
                  </a:lnTo>
                  <a:lnTo>
                    <a:pt x="788" y="284"/>
                  </a:lnTo>
                  <a:lnTo>
                    <a:pt x="792" y="288"/>
                  </a:lnTo>
                  <a:lnTo>
                    <a:pt x="796" y="292"/>
                  </a:lnTo>
                  <a:lnTo>
                    <a:pt x="800" y="294"/>
                  </a:lnTo>
                  <a:lnTo>
                    <a:pt x="802" y="296"/>
                  </a:lnTo>
                  <a:lnTo>
                    <a:pt x="804" y="298"/>
                  </a:lnTo>
                  <a:lnTo>
                    <a:pt x="804" y="344"/>
                  </a:lnTo>
                  <a:lnTo>
                    <a:pt x="800" y="352"/>
                  </a:lnTo>
                  <a:lnTo>
                    <a:pt x="800" y="358"/>
                  </a:lnTo>
                  <a:lnTo>
                    <a:pt x="800" y="364"/>
                  </a:lnTo>
                  <a:lnTo>
                    <a:pt x="802" y="368"/>
                  </a:lnTo>
                  <a:lnTo>
                    <a:pt x="806" y="372"/>
                  </a:lnTo>
                  <a:lnTo>
                    <a:pt x="808" y="374"/>
                  </a:lnTo>
                  <a:lnTo>
                    <a:pt x="810" y="376"/>
                  </a:lnTo>
                  <a:lnTo>
                    <a:pt x="812" y="376"/>
                  </a:lnTo>
                  <a:lnTo>
                    <a:pt x="812" y="382"/>
                  </a:lnTo>
                  <a:lnTo>
                    <a:pt x="800" y="380"/>
                  </a:lnTo>
                  <a:lnTo>
                    <a:pt x="796" y="378"/>
                  </a:lnTo>
                  <a:lnTo>
                    <a:pt x="792" y="374"/>
                  </a:lnTo>
                  <a:lnTo>
                    <a:pt x="788" y="370"/>
                  </a:lnTo>
                  <a:lnTo>
                    <a:pt x="784" y="366"/>
                  </a:lnTo>
                  <a:lnTo>
                    <a:pt x="782" y="360"/>
                  </a:lnTo>
                  <a:lnTo>
                    <a:pt x="782" y="356"/>
                  </a:lnTo>
                  <a:lnTo>
                    <a:pt x="782" y="352"/>
                  </a:lnTo>
                  <a:lnTo>
                    <a:pt x="784" y="348"/>
                  </a:lnTo>
                  <a:lnTo>
                    <a:pt x="784" y="344"/>
                  </a:lnTo>
                  <a:lnTo>
                    <a:pt x="782" y="340"/>
                  </a:lnTo>
                  <a:lnTo>
                    <a:pt x="778" y="338"/>
                  </a:lnTo>
                  <a:lnTo>
                    <a:pt x="776" y="338"/>
                  </a:lnTo>
                  <a:lnTo>
                    <a:pt x="776" y="336"/>
                  </a:lnTo>
                  <a:lnTo>
                    <a:pt x="776" y="334"/>
                  </a:lnTo>
                  <a:lnTo>
                    <a:pt x="778" y="332"/>
                  </a:lnTo>
                  <a:lnTo>
                    <a:pt x="782" y="326"/>
                  </a:lnTo>
                  <a:lnTo>
                    <a:pt x="784" y="322"/>
                  </a:lnTo>
                  <a:lnTo>
                    <a:pt x="788" y="316"/>
                  </a:lnTo>
                  <a:lnTo>
                    <a:pt x="790" y="308"/>
                  </a:lnTo>
                  <a:lnTo>
                    <a:pt x="790" y="304"/>
                  </a:lnTo>
                  <a:lnTo>
                    <a:pt x="788" y="300"/>
                  </a:lnTo>
                  <a:lnTo>
                    <a:pt x="788" y="298"/>
                  </a:lnTo>
                  <a:lnTo>
                    <a:pt x="786" y="298"/>
                  </a:lnTo>
                  <a:lnTo>
                    <a:pt x="782" y="298"/>
                  </a:lnTo>
                  <a:lnTo>
                    <a:pt x="778" y="298"/>
                  </a:lnTo>
                  <a:lnTo>
                    <a:pt x="774" y="298"/>
                  </a:lnTo>
                  <a:lnTo>
                    <a:pt x="768" y="296"/>
                  </a:lnTo>
                  <a:lnTo>
                    <a:pt x="766" y="294"/>
                  </a:lnTo>
                  <a:lnTo>
                    <a:pt x="764" y="292"/>
                  </a:lnTo>
                  <a:lnTo>
                    <a:pt x="762" y="290"/>
                  </a:lnTo>
                  <a:lnTo>
                    <a:pt x="762" y="290"/>
                  </a:lnTo>
                  <a:lnTo>
                    <a:pt x="758" y="290"/>
                  </a:lnTo>
                  <a:lnTo>
                    <a:pt x="754" y="290"/>
                  </a:lnTo>
                  <a:lnTo>
                    <a:pt x="750" y="288"/>
                  </a:lnTo>
                  <a:lnTo>
                    <a:pt x="744" y="286"/>
                  </a:lnTo>
                  <a:lnTo>
                    <a:pt x="738" y="284"/>
                  </a:lnTo>
                  <a:lnTo>
                    <a:pt x="732" y="280"/>
                  </a:lnTo>
                  <a:lnTo>
                    <a:pt x="728" y="276"/>
                  </a:lnTo>
                  <a:lnTo>
                    <a:pt x="726" y="276"/>
                  </a:lnTo>
                  <a:lnTo>
                    <a:pt x="724" y="274"/>
                  </a:lnTo>
                  <a:lnTo>
                    <a:pt x="722" y="276"/>
                  </a:lnTo>
                  <a:lnTo>
                    <a:pt x="720" y="278"/>
                  </a:lnTo>
                  <a:lnTo>
                    <a:pt x="718" y="280"/>
                  </a:lnTo>
                  <a:lnTo>
                    <a:pt x="718" y="282"/>
                  </a:lnTo>
                  <a:lnTo>
                    <a:pt x="716" y="282"/>
                  </a:lnTo>
                  <a:lnTo>
                    <a:pt x="712" y="278"/>
                  </a:lnTo>
                  <a:lnTo>
                    <a:pt x="710" y="270"/>
                  </a:lnTo>
                  <a:lnTo>
                    <a:pt x="710" y="260"/>
                  </a:lnTo>
                  <a:lnTo>
                    <a:pt x="710" y="250"/>
                  </a:lnTo>
                  <a:lnTo>
                    <a:pt x="708" y="246"/>
                  </a:lnTo>
                  <a:lnTo>
                    <a:pt x="706" y="244"/>
                  </a:lnTo>
                  <a:lnTo>
                    <a:pt x="704" y="244"/>
                  </a:lnTo>
                  <a:lnTo>
                    <a:pt x="700" y="242"/>
                  </a:lnTo>
                  <a:lnTo>
                    <a:pt x="696" y="242"/>
                  </a:lnTo>
                  <a:lnTo>
                    <a:pt x="694" y="244"/>
                  </a:lnTo>
                  <a:lnTo>
                    <a:pt x="692" y="244"/>
                  </a:lnTo>
                  <a:lnTo>
                    <a:pt x="690" y="244"/>
                  </a:lnTo>
                  <a:lnTo>
                    <a:pt x="688" y="246"/>
                  </a:lnTo>
                  <a:lnTo>
                    <a:pt x="684" y="248"/>
                  </a:lnTo>
                  <a:lnTo>
                    <a:pt x="684" y="250"/>
                  </a:lnTo>
                  <a:lnTo>
                    <a:pt x="684" y="254"/>
                  </a:lnTo>
                  <a:lnTo>
                    <a:pt x="684" y="258"/>
                  </a:lnTo>
                  <a:lnTo>
                    <a:pt x="686" y="262"/>
                  </a:lnTo>
                  <a:lnTo>
                    <a:pt x="686" y="266"/>
                  </a:lnTo>
                  <a:lnTo>
                    <a:pt x="688" y="270"/>
                  </a:lnTo>
                  <a:lnTo>
                    <a:pt x="690" y="274"/>
                  </a:lnTo>
                  <a:lnTo>
                    <a:pt x="690" y="278"/>
                  </a:lnTo>
                  <a:lnTo>
                    <a:pt x="690" y="282"/>
                  </a:lnTo>
                  <a:lnTo>
                    <a:pt x="690" y="284"/>
                  </a:lnTo>
                  <a:lnTo>
                    <a:pt x="686" y="288"/>
                  </a:lnTo>
                  <a:lnTo>
                    <a:pt x="682" y="290"/>
                  </a:lnTo>
                  <a:lnTo>
                    <a:pt x="676" y="292"/>
                  </a:lnTo>
                  <a:lnTo>
                    <a:pt x="672" y="298"/>
                  </a:lnTo>
                  <a:lnTo>
                    <a:pt x="670" y="304"/>
                  </a:lnTo>
                  <a:lnTo>
                    <a:pt x="668" y="308"/>
                  </a:lnTo>
                  <a:lnTo>
                    <a:pt x="670" y="314"/>
                  </a:lnTo>
                  <a:lnTo>
                    <a:pt x="670" y="318"/>
                  </a:lnTo>
                  <a:lnTo>
                    <a:pt x="672" y="320"/>
                  </a:lnTo>
                  <a:lnTo>
                    <a:pt x="674" y="322"/>
                  </a:lnTo>
                  <a:lnTo>
                    <a:pt x="678" y="324"/>
                  </a:lnTo>
                  <a:lnTo>
                    <a:pt x="680" y="326"/>
                  </a:lnTo>
                  <a:lnTo>
                    <a:pt x="680" y="330"/>
                  </a:lnTo>
                  <a:lnTo>
                    <a:pt x="682" y="332"/>
                  </a:lnTo>
                  <a:lnTo>
                    <a:pt x="680" y="338"/>
                  </a:lnTo>
                  <a:lnTo>
                    <a:pt x="680" y="344"/>
                  </a:lnTo>
                  <a:lnTo>
                    <a:pt x="678" y="350"/>
                  </a:lnTo>
                  <a:lnTo>
                    <a:pt x="674" y="354"/>
                  </a:lnTo>
                  <a:lnTo>
                    <a:pt x="670" y="364"/>
                  </a:lnTo>
                  <a:lnTo>
                    <a:pt x="670" y="378"/>
                  </a:lnTo>
                  <a:lnTo>
                    <a:pt x="668" y="392"/>
                  </a:lnTo>
                  <a:lnTo>
                    <a:pt x="668" y="398"/>
                  </a:lnTo>
                  <a:lnTo>
                    <a:pt x="684" y="400"/>
                  </a:lnTo>
                  <a:lnTo>
                    <a:pt x="698" y="390"/>
                  </a:lnTo>
                  <a:lnTo>
                    <a:pt x="704" y="390"/>
                  </a:lnTo>
                  <a:lnTo>
                    <a:pt x="710" y="390"/>
                  </a:lnTo>
                  <a:lnTo>
                    <a:pt x="714" y="392"/>
                  </a:lnTo>
                  <a:lnTo>
                    <a:pt x="716" y="394"/>
                  </a:lnTo>
                  <a:lnTo>
                    <a:pt x="718" y="398"/>
                  </a:lnTo>
                  <a:lnTo>
                    <a:pt x="720" y="400"/>
                  </a:lnTo>
                  <a:lnTo>
                    <a:pt x="722" y="402"/>
                  </a:lnTo>
                  <a:lnTo>
                    <a:pt x="722" y="404"/>
                  </a:lnTo>
                  <a:lnTo>
                    <a:pt x="724" y="406"/>
                  </a:lnTo>
                  <a:lnTo>
                    <a:pt x="726" y="416"/>
                  </a:lnTo>
                  <a:lnTo>
                    <a:pt x="730" y="428"/>
                  </a:lnTo>
                  <a:lnTo>
                    <a:pt x="732" y="438"/>
                  </a:lnTo>
                  <a:lnTo>
                    <a:pt x="732" y="444"/>
                  </a:lnTo>
                  <a:lnTo>
                    <a:pt x="734" y="446"/>
                  </a:lnTo>
                  <a:lnTo>
                    <a:pt x="736" y="448"/>
                  </a:lnTo>
                  <a:lnTo>
                    <a:pt x="738" y="450"/>
                  </a:lnTo>
                  <a:lnTo>
                    <a:pt x="740" y="450"/>
                  </a:lnTo>
                  <a:lnTo>
                    <a:pt x="742" y="450"/>
                  </a:lnTo>
                  <a:lnTo>
                    <a:pt x="742" y="450"/>
                  </a:lnTo>
                  <a:lnTo>
                    <a:pt x="742" y="450"/>
                  </a:lnTo>
                  <a:lnTo>
                    <a:pt x="746" y="448"/>
                  </a:lnTo>
                  <a:lnTo>
                    <a:pt x="748" y="448"/>
                  </a:lnTo>
                  <a:lnTo>
                    <a:pt x="752" y="448"/>
                  </a:lnTo>
                  <a:lnTo>
                    <a:pt x="754" y="450"/>
                  </a:lnTo>
                  <a:lnTo>
                    <a:pt x="758" y="452"/>
                  </a:lnTo>
                  <a:lnTo>
                    <a:pt x="760" y="454"/>
                  </a:lnTo>
                  <a:lnTo>
                    <a:pt x="766" y="456"/>
                  </a:lnTo>
                  <a:lnTo>
                    <a:pt x="770" y="458"/>
                  </a:lnTo>
                  <a:lnTo>
                    <a:pt x="774" y="458"/>
                  </a:lnTo>
                  <a:lnTo>
                    <a:pt x="774" y="458"/>
                  </a:lnTo>
                  <a:lnTo>
                    <a:pt x="772" y="462"/>
                  </a:lnTo>
                  <a:lnTo>
                    <a:pt x="768" y="466"/>
                  </a:lnTo>
                  <a:lnTo>
                    <a:pt x="764" y="468"/>
                  </a:lnTo>
                  <a:lnTo>
                    <a:pt x="760" y="468"/>
                  </a:lnTo>
                  <a:lnTo>
                    <a:pt x="758" y="470"/>
                  </a:lnTo>
                  <a:lnTo>
                    <a:pt x="756" y="470"/>
                  </a:lnTo>
                  <a:lnTo>
                    <a:pt x="752" y="470"/>
                  </a:lnTo>
                  <a:lnTo>
                    <a:pt x="750" y="472"/>
                  </a:lnTo>
                  <a:lnTo>
                    <a:pt x="748" y="476"/>
                  </a:lnTo>
                  <a:lnTo>
                    <a:pt x="746" y="480"/>
                  </a:lnTo>
                  <a:lnTo>
                    <a:pt x="746" y="484"/>
                  </a:lnTo>
                  <a:lnTo>
                    <a:pt x="748" y="486"/>
                  </a:lnTo>
                  <a:lnTo>
                    <a:pt x="752" y="496"/>
                  </a:lnTo>
                  <a:lnTo>
                    <a:pt x="752" y="510"/>
                  </a:lnTo>
                  <a:lnTo>
                    <a:pt x="752" y="520"/>
                  </a:lnTo>
                  <a:lnTo>
                    <a:pt x="750" y="522"/>
                  </a:lnTo>
                  <a:lnTo>
                    <a:pt x="746" y="524"/>
                  </a:lnTo>
                  <a:lnTo>
                    <a:pt x="744" y="522"/>
                  </a:lnTo>
                  <a:lnTo>
                    <a:pt x="740" y="520"/>
                  </a:lnTo>
                  <a:lnTo>
                    <a:pt x="738" y="516"/>
                  </a:lnTo>
                  <a:lnTo>
                    <a:pt x="738" y="510"/>
                  </a:lnTo>
                  <a:lnTo>
                    <a:pt x="736" y="498"/>
                  </a:lnTo>
                  <a:lnTo>
                    <a:pt x="730" y="484"/>
                  </a:lnTo>
                  <a:lnTo>
                    <a:pt x="726" y="476"/>
                  </a:lnTo>
                  <a:lnTo>
                    <a:pt x="724" y="474"/>
                  </a:lnTo>
                  <a:lnTo>
                    <a:pt x="722" y="474"/>
                  </a:lnTo>
                  <a:lnTo>
                    <a:pt x="720" y="476"/>
                  </a:lnTo>
                  <a:lnTo>
                    <a:pt x="718" y="480"/>
                  </a:lnTo>
                  <a:lnTo>
                    <a:pt x="716" y="482"/>
                  </a:lnTo>
                  <a:lnTo>
                    <a:pt x="716" y="484"/>
                  </a:lnTo>
                  <a:lnTo>
                    <a:pt x="714" y="488"/>
                  </a:lnTo>
                  <a:lnTo>
                    <a:pt x="712" y="492"/>
                  </a:lnTo>
                  <a:lnTo>
                    <a:pt x="710" y="494"/>
                  </a:lnTo>
                  <a:lnTo>
                    <a:pt x="706" y="494"/>
                  </a:lnTo>
                  <a:lnTo>
                    <a:pt x="704" y="494"/>
                  </a:lnTo>
                  <a:lnTo>
                    <a:pt x="704" y="492"/>
                  </a:lnTo>
                  <a:lnTo>
                    <a:pt x="704" y="490"/>
                  </a:lnTo>
                  <a:lnTo>
                    <a:pt x="704" y="488"/>
                  </a:lnTo>
                  <a:lnTo>
                    <a:pt x="706" y="486"/>
                  </a:lnTo>
                  <a:lnTo>
                    <a:pt x="706" y="486"/>
                  </a:lnTo>
                  <a:lnTo>
                    <a:pt x="708" y="476"/>
                  </a:lnTo>
                  <a:lnTo>
                    <a:pt x="710" y="460"/>
                  </a:lnTo>
                  <a:lnTo>
                    <a:pt x="712" y="442"/>
                  </a:lnTo>
                  <a:lnTo>
                    <a:pt x="712" y="424"/>
                  </a:lnTo>
                  <a:lnTo>
                    <a:pt x="712" y="412"/>
                  </a:lnTo>
                  <a:lnTo>
                    <a:pt x="710" y="408"/>
                  </a:lnTo>
                  <a:lnTo>
                    <a:pt x="706" y="398"/>
                  </a:lnTo>
                  <a:lnTo>
                    <a:pt x="698" y="408"/>
                  </a:lnTo>
                  <a:lnTo>
                    <a:pt x="698" y="408"/>
                  </a:lnTo>
                  <a:lnTo>
                    <a:pt x="696" y="410"/>
                  </a:lnTo>
                  <a:lnTo>
                    <a:pt x="692" y="410"/>
                  </a:lnTo>
                  <a:lnTo>
                    <a:pt x="686" y="410"/>
                  </a:lnTo>
                  <a:lnTo>
                    <a:pt x="682" y="412"/>
                  </a:lnTo>
                  <a:lnTo>
                    <a:pt x="680" y="414"/>
                  </a:lnTo>
                  <a:lnTo>
                    <a:pt x="678" y="416"/>
                  </a:lnTo>
                  <a:lnTo>
                    <a:pt x="678" y="418"/>
                  </a:lnTo>
                  <a:lnTo>
                    <a:pt x="678" y="418"/>
                  </a:lnTo>
                  <a:lnTo>
                    <a:pt x="676" y="424"/>
                  </a:lnTo>
                  <a:lnTo>
                    <a:pt x="676" y="440"/>
                  </a:lnTo>
                  <a:lnTo>
                    <a:pt x="676" y="456"/>
                  </a:lnTo>
                  <a:lnTo>
                    <a:pt x="676" y="468"/>
                  </a:lnTo>
                  <a:lnTo>
                    <a:pt x="674" y="474"/>
                  </a:lnTo>
                  <a:lnTo>
                    <a:pt x="674" y="478"/>
                  </a:lnTo>
                  <a:lnTo>
                    <a:pt x="670" y="482"/>
                  </a:lnTo>
                  <a:lnTo>
                    <a:pt x="666" y="486"/>
                  </a:lnTo>
                  <a:lnTo>
                    <a:pt x="662" y="486"/>
                  </a:lnTo>
                  <a:lnTo>
                    <a:pt x="658" y="486"/>
                  </a:lnTo>
                  <a:lnTo>
                    <a:pt x="652" y="488"/>
                  </a:lnTo>
                  <a:lnTo>
                    <a:pt x="648" y="490"/>
                  </a:lnTo>
                  <a:lnTo>
                    <a:pt x="646" y="492"/>
                  </a:lnTo>
                  <a:lnTo>
                    <a:pt x="646" y="492"/>
                  </a:lnTo>
                  <a:lnTo>
                    <a:pt x="632" y="494"/>
                  </a:lnTo>
                  <a:lnTo>
                    <a:pt x="618" y="490"/>
                  </a:lnTo>
                  <a:lnTo>
                    <a:pt x="606" y="486"/>
                  </a:lnTo>
                  <a:lnTo>
                    <a:pt x="602" y="484"/>
                  </a:lnTo>
                  <a:lnTo>
                    <a:pt x="610" y="480"/>
                  </a:lnTo>
                  <a:lnTo>
                    <a:pt x="622" y="478"/>
                  </a:lnTo>
                  <a:lnTo>
                    <a:pt x="636" y="476"/>
                  </a:lnTo>
                  <a:lnTo>
                    <a:pt x="642" y="476"/>
                  </a:lnTo>
                  <a:lnTo>
                    <a:pt x="646" y="474"/>
                  </a:lnTo>
                  <a:lnTo>
                    <a:pt x="648" y="472"/>
                  </a:lnTo>
                  <a:lnTo>
                    <a:pt x="648" y="468"/>
                  </a:lnTo>
                  <a:lnTo>
                    <a:pt x="648" y="466"/>
                  </a:lnTo>
                  <a:lnTo>
                    <a:pt x="648" y="466"/>
                  </a:lnTo>
                  <a:lnTo>
                    <a:pt x="646" y="462"/>
                  </a:lnTo>
                  <a:lnTo>
                    <a:pt x="646" y="458"/>
                  </a:lnTo>
                  <a:lnTo>
                    <a:pt x="646" y="456"/>
                  </a:lnTo>
                  <a:lnTo>
                    <a:pt x="646" y="454"/>
                  </a:lnTo>
                  <a:lnTo>
                    <a:pt x="648" y="452"/>
                  </a:lnTo>
                  <a:lnTo>
                    <a:pt x="650" y="448"/>
                  </a:lnTo>
                  <a:lnTo>
                    <a:pt x="652" y="444"/>
                  </a:lnTo>
                  <a:lnTo>
                    <a:pt x="656" y="440"/>
                  </a:lnTo>
                  <a:lnTo>
                    <a:pt x="660" y="434"/>
                  </a:lnTo>
                  <a:lnTo>
                    <a:pt x="662" y="430"/>
                  </a:lnTo>
                  <a:lnTo>
                    <a:pt x="664" y="428"/>
                  </a:lnTo>
                  <a:lnTo>
                    <a:pt x="664" y="426"/>
                  </a:lnTo>
                  <a:lnTo>
                    <a:pt x="668" y="422"/>
                  </a:lnTo>
                  <a:lnTo>
                    <a:pt x="668" y="418"/>
                  </a:lnTo>
                  <a:lnTo>
                    <a:pt x="668" y="416"/>
                  </a:lnTo>
                  <a:lnTo>
                    <a:pt x="666" y="416"/>
                  </a:lnTo>
                  <a:lnTo>
                    <a:pt x="666" y="414"/>
                  </a:lnTo>
                  <a:lnTo>
                    <a:pt x="664" y="414"/>
                  </a:lnTo>
                  <a:lnTo>
                    <a:pt x="662" y="414"/>
                  </a:lnTo>
                  <a:lnTo>
                    <a:pt x="660" y="412"/>
                  </a:lnTo>
                  <a:lnTo>
                    <a:pt x="658" y="412"/>
                  </a:lnTo>
                  <a:lnTo>
                    <a:pt x="656" y="410"/>
                  </a:lnTo>
                  <a:lnTo>
                    <a:pt x="656" y="408"/>
                  </a:lnTo>
                  <a:lnTo>
                    <a:pt x="656" y="400"/>
                  </a:lnTo>
                  <a:lnTo>
                    <a:pt x="656" y="384"/>
                  </a:lnTo>
                  <a:lnTo>
                    <a:pt x="656" y="368"/>
                  </a:lnTo>
                  <a:lnTo>
                    <a:pt x="656" y="354"/>
                  </a:lnTo>
                  <a:lnTo>
                    <a:pt x="656" y="348"/>
                  </a:lnTo>
                  <a:lnTo>
                    <a:pt x="658" y="342"/>
                  </a:lnTo>
                  <a:lnTo>
                    <a:pt x="658" y="336"/>
                  </a:lnTo>
                  <a:lnTo>
                    <a:pt x="656" y="330"/>
                  </a:lnTo>
                  <a:lnTo>
                    <a:pt x="654" y="324"/>
                  </a:lnTo>
                  <a:lnTo>
                    <a:pt x="652" y="320"/>
                  </a:lnTo>
                  <a:lnTo>
                    <a:pt x="650" y="318"/>
                  </a:lnTo>
                  <a:lnTo>
                    <a:pt x="650" y="318"/>
                  </a:lnTo>
                  <a:lnTo>
                    <a:pt x="650" y="292"/>
                  </a:lnTo>
                  <a:lnTo>
                    <a:pt x="656" y="286"/>
                  </a:lnTo>
                  <a:lnTo>
                    <a:pt x="658" y="274"/>
                  </a:lnTo>
                  <a:lnTo>
                    <a:pt x="670" y="262"/>
                  </a:lnTo>
                  <a:lnTo>
                    <a:pt x="672" y="258"/>
                  </a:lnTo>
                  <a:lnTo>
                    <a:pt x="670" y="256"/>
                  </a:lnTo>
                  <a:lnTo>
                    <a:pt x="666" y="252"/>
                  </a:lnTo>
                  <a:lnTo>
                    <a:pt x="664" y="250"/>
                  </a:lnTo>
                  <a:lnTo>
                    <a:pt x="660" y="250"/>
                  </a:lnTo>
                  <a:lnTo>
                    <a:pt x="660" y="248"/>
                  </a:lnTo>
                  <a:lnTo>
                    <a:pt x="634" y="252"/>
                  </a:lnTo>
                  <a:lnTo>
                    <a:pt x="630" y="246"/>
                  </a:lnTo>
                  <a:lnTo>
                    <a:pt x="620" y="250"/>
                  </a:lnTo>
                  <a:lnTo>
                    <a:pt x="614" y="258"/>
                  </a:lnTo>
                  <a:lnTo>
                    <a:pt x="610" y="268"/>
                  </a:lnTo>
                  <a:lnTo>
                    <a:pt x="610" y="278"/>
                  </a:lnTo>
                  <a:lnTo>
                    <a:pt x="610" y="280"/>
                  </a:lnTo>
                  <a:lnTo>
                    <a:pt x="608" y="286"/>
                  </a:lnTo>
                  <a:lnTo>
                    <a:pt x="604" y="292"/>
                  </a:lnTo>
                  <a:lnTo>
                    <a:pt x="602" y="296"/>
                  </a:lnTo>
                  <a:lnTo>
                    <a:pt x="598" y="300"/>
                  </a:lnTo>
                  <a:lnTo>
                    <a:pt x="594" y="302"/>
                  </a:lnTo>
                  <a:lnTo>
                    <a:pt x="592" y="304"/>
                  </a:lnTo>
                  <a:lnTo>
                    <a:pt x="592" y="304"/>
                  </a:lnTo>
                  <a:lnTo>
                    <a:pt x="584" y="316"/>
                  </a:lnTo>
                  <a:lnTo>
                    <a:pt x="580" y="332"/>
                  </a:lnTo>
                  <a:lnTo>
                    <a:pt x="580" y="350"/>
                  </a:lnTo>
                  <a:lnTo>
                    <a:pt x="582" y="364"/>
                  </a:lnTo>
                  <a:lnTo>
                    <a:pt x="582" y="370"/>
                  </a:lnTo>
                  <a:lnTo>
                    <a:pt x="582" y="370"/>
                  </a:lnTo>
                  <a:lnTo>
                    <a:pt x="584" y="374"/>
                  </a:lnTo>
                  <a:lnTo>
                    <a:pt x="586" y="376"/>
                  </a:lnTo>
                  <a:lnTo>
                    <a:pt x="586" y="382"/>
                  </a:lnTo>
                  <a:lnTo>
                    <a:pt x="588" y="386"/>
                  </a:lnTo>
                  <a:lnTo>
                    <a:pt x="590" y="392"/>
                  </a:lnTo>
                  <a:lnTo>
                    <a:pt x="590" y="396"/>
                  </a:lnTo>
                  <a:lnTo>
                    <a:pt x="590" y="400"/>
                  </a:lnTo>
                  <a:lnTo>
                    <a:pt x="588" y="402"/>
                  </a:lnTo>
                  <a:lnTo>
                    <a:pt x="586" y="404"/>
                  </a:lnTo>
                  <a:lnTo>
                    <a:pt x="584" y="404"/>
                  </a:lnTo>
                  <a:lnTo>
                    <a:pt x="584" y="404"/>
                  </a:lnTo>
                  <a:lnTo>
                    <a:pt x="584" y="404"/>
                  </a:lnTo>
                  <a:lnTo>
                    <a:pt x="552" y="374"/>
                  </a:lnTo>
                  <a:lnTo>
                    <a:pt x="516" y="370"/>
                  </a:lnTo>
                  <a:lnTo>
                    <a:pt x="512" y="380"/>
                  </a:lnTo>
                  <a:lnTo>
                    <a:pt x="516" y="388"/>
                  </a:lnTo>
                  <a:lnTo>
                    <a:pt x="516" y="404"/>
                  </a:lnTo>
                  <a:lnTo>
                    <a:pt x="494" y="420"/>
                  </a:lnTo>
                  <a:lnTo>
                    <a:pt x="496" y="410"/>
                  </a:lnTo>
                  <a:lnTo>
                    <a:pt x="496" y="402"/>
                  </a:lnTo>
                  <a:lnTo>
                    <a:pt x="498" y="398"/>
                  </a:lnTo>
                  <a:lnTo>
                    <a:pt x="498" y="396"/>
                  </a:lnTo>
                  <a:lnTo>
                    <a:pt x="490" y="396"/>
                  </a:lnTo>
                  <a:lnTo>
                    <a:pt x="482" y="404"/>
                  </a:lnTo>
                  <a:lnTo>
                    <a:pt x="478" y="414"/>
                  </a:lnTo>
                  <a:lnTo>
                    <a:pt x="456" y="412"/>
                  </a:lnTo>
                  <a:lnTo>
                    <a:pt x="448" y="412"/>
                  </a:lnTo>
                  <a:lnTo>
                    <a:pt x="442" y="414"/>
                  </a:lnTo>
                  <a:lnTo>
                    <a:pt x="438" y="416"/>
                  </a:lnTo>
                  <a:lnTo>
                    <a:pt x="434" y="418"/>
                  </a:lnTo>
                  <a:lnTo>
                    <a:pt x="432" y="420"/>
                  </a:lnTo>
                  <a:lnTo>
                    <a:pt x="432" y="420"/>
                  </a:lnTo>
                  <a:lnTo>
                    <a:pt x="432" y="400"/>
                  </a:lnTo>
                  <a:lnTo>
                    <a:pt x="426" y="400"/>
                  </a:lnTo>
                  <a:lnTo>
                    <a:pt x="420" y="404"/>
                  </a:lnTo>
                  <a:lnTo>
                    <a:pt x="410" y="410"/>
                  </a:lnTo>
                  <a:lnTo>
                    <a:pt x="400" y="416"/>
                  </a:lnTo>
                  <a:lnTo>
                    <a:pt x="392" y="420"/>
                  </a:lnTo>
                  <a:lnTo>
                    <a:pt x="390" y="422"/>
                  </a:lnTo>
                  <a:lnTo>
                    <a:pt x="372" y="428"/>
                  </a:lnTo>
                  <a:lnTo>
                    <a:pt x="360" y="436"/>
                  </a:lnTo>
                  <a:lnTo>
                    <a:pt x="352" y="448"/>
                  </a:lnTo>
                  <a:lnTo>
                    <a:pt x="350" y="456"/>
                  </a:lnTo>
                  <a:lnTo>
                    <a:pt x="350" y="458"/>
                  </a:lnTo>
                  <a:lnTo>
                    <a:pt x="348" y="466"/>
                  </a:lnTo>
                  <a:lnTo>
                    <a:pt x="348" y="470"/>
                  </a:lnTo>
                  <a:lnTo>
                    <a:pt x="346" y="470"/>
                  </a:lnTo>
                  <a:lnTo>
                    <a:pt x="344" y="472"/>
                  </a:lnTo>
                  <a:lnTo>
                    <a:pt x="342" y="470"/>
                  </a:lnTo>
                  <a:lnTo>
                    <a:pt x="340" y="470"/>
                  </a:lnTo>
                  <a:lnTo>
                    <a:pt x="340" y="468"/>
                  </a:lnTo>
                  <a:lnTo>
                    <a:pt x="338" y="466"/>
                  </a:lnTo>
                  <a:lnTo>
                    <a:pt x="338" y="466"/>
                  </a:lnTo>
                  <a:lnTo>
                    <a:pt x="324" y="460"/>
                  </a:lnTo>
                  <a:lnTo>
                    <a:pt x="324" y="446"/>
                  </a:lnTo>
                  <a:lnTo>
                    <a:pt x="330" y="440"/>
                  </a:lnTo>
                  <a:lnTo>
                    <a:pt x="334" y="436"/>
                  </a:lnTo>
                  <a:lnTo>
                    <a:pt x="336" y="432"/>
                  </a:lnTo>
                  <a:lnTo>
                    <a:pt x="336" y="428"/>
                  </a:lnTo>
                  <a:lnTo>
                    <a:pt x="336" y="426"/>
                  </a:lnTo>
                  <a:lnTo>
                    <a:pt x="336" y="424"/>
                  </a:lnTo>
                  <a:lnTo>
                    <a:pt x="334" y="424"/>
                  </a:lnTo>
                  <a:lnTo>
                    <a:pt x="334" y="418"/>
                  </a:lnTo>
                  <a:lnTo>
                    <a:pt x="330" y="414"/>
                  </a:lnTo>
                  <a:lnTo>
                    <a:pt x="328" y="410"/>
                  </a:lnTo>
                  <a:lnTo>
                    <a:pt x="322" y="408"/>
                  </a:lnTo>
                  <a:lnTo>
                    <a:pt x="318" y="406"/>
                  </a:lnTo>
                  <a:lnTo>
                    <a:pt x="314" y="404"/>
                  </a:lnTo>
                  <a:lnTo>
                    <a:pt x="310" y="404"/>
                  </a:lnTo>
                  <a:lnTo>
                    <a:pt x="308" y="404"/>
                  </a:lnTo>
                  <a:lnTo>
                    <a:pt x="306" y="404"/>
                  </a:lnTo>
                  <a:lnTo>
                    <a:pt x="304" y="406"/>
                  </a:lnTo>
                  <a:lnTo>
                    <a:pt x="300" y="406"/>
                  </a:lnTo>
                  <a:lnTo>
                    <a:pt x="296" y="408"/>
                  </a:lnTo>
                  <a:lnTo>
                    <a:pt x="292" y="408"/>
                  </a:lnTo>
                  <a:lnTo>
                    <a:pt x="290" y="408"/>
                  </a:lnTo>
                  <a:lnTo>
                    <a:pt x="288" y="408"/>
                  </a:lnTo>
                  <a:lnTo>
                    <a:pt x="300" y="416"/>
                  </a:lnTo>
                  <a:lnTo>
                    <a:pt x="300" y="440"/>
                  </a:lnTo>
                  <a:lnTo>
                    <a:pt x="300" y="454"/>
                  </a:lnTo>
                  <a:lnTo>
                    <a:pt x="302" y="454"/>
                  </a:lnTo>
                  <a:lnTo>
                    <a:pt x="302" y="456"/>
                  </a:lnTo>
                  <a:lnTo>
                    <a:pt x="304" y="460"/>
                  </a:lnTo>
                  <a:lnTo>
                    <a:pt x="306" y="462"/>
                  </a:lnTo>
                  <a:lnTo>
                    <a:pt x="306" y="464"/>
                  </a:lnTo>
                  <a:lnTo>
                    <a:pt x="308" y="466"/>
                  </a:lnTo>
                  <a:lnTo>
                    <a:pt x="306" y="476"/>
                  </a:lnTo>
                  <a:lnTo>
                    <a:pt x="306" y="482"/>
                  </a:lnTo>
                  <a:lnTo>
                    <a:pt x="304" y="486"/>
                  </a:lnTo>
                  <a:lnTo>
                    <a:pt x="302" y="490"/>
                  </a:lnTo>
                  <a:lnTo>
                    <a:pt x="302" y="490"/>
                  </a:lnTo>
                  <a:lnTo>
                    <a:pt x="292" y="486"/>
                  </a:lnTo>
                  <a:lnTo>
                    <a:pt x="284" y="480"/>
                  </a:lnTo>
                  <a:lnTo>
                    <a:pt x="278" y="480"/>
                  </a:lnTo>
                  <a:lnTo>
                    <a:pt x="262" y="498"/>
                  </a:lnTo>
                  <a:lnTo>
                    <a:pt x="246" y="510"/>
                  </a:lnTo>
                  <a:lnTo>
                    <a:pt x="244" y="514"/>
                  </a:lnTo>
                  <a:lnTo>
                    <a:pt x="244" y="518"/>
                  </a:lnTo>
                  <a:lnTo>
                    <a:pt x="248" y="522"/>
                  </a:lnTo>
                  <a:lnTo>
                    <a:pt x="250" y="524"/>
                  </a:lnTo>
                  <a:lnTo>
                    <a:pt x="254" y="528"/>
                  </a:lnTo>
                  <a:lnTo>
                    <a:pt x="256" y="530"/>
                  </a:lnTo>
                  <a:lnTo>
                    <a:pt x="258" y="530"/>
                  </a:lnTo>
                  <a:lnTo>
                    <a:pt x="256" y="538"/>
                  </a:lnTo>
                  <a:lnTo>
                    <a:pt x="232" y="540"/>
                  </a:lnTo>
                  <a:lnTo>
                    <a:pt x="220" y="526"/>
                  </a:lnTo>
                  <a:lnTo>
                    <a:pt x="216" y="514"/>
                  </a:lnTo>
                  <a:lnTo>
                    <a:pt x="206" y="508"/>
                  </a:lnTo>
                  <a:lnTo>
                    <a:pt x="202" y="518"/>
                  </a:lnTo>
                  <a:lnTo>
                    <a:pt x="208" y="534"/>
                  </a:lnTo>
                  <a:lnTo>
                    <a:pt x="218" y="554"/>
                  </a:lnTo>
                  <a:lnTo>
                    <a:pt x="218" y="558"/>
                  </a:lnTo>
                  <a:lnTo>
                    <a:pt x="216" y="560"/>
                  </a:lnTo>
                  <a:lnTo>
                    <a:pt x="216" y="562"/>
                  </a:lnTo>
                  <a:lnTo>
                    <a:pt x="212" y="562"/>
                  </a:lnTo>
                  <a:lnTo>
                    <a:pt x="210" y="560"/>
                  </a:lnTo>
                  <a:lnTo>
                    <a:pt x="208" y="560"/>
                  </a:lnTo>
                  <a:lnTo>
                    <a:pt x="208" y="560"/>
                  </a:lnTo>
                  <a:lnTo>
                    <a:pt x="198" y="548"/>
                  </a:lnTo>
                  <a:lnTo>
                    <a:pt x="182" y="540"/>
                  </a:lnTo>
                  <a:lnTo>
                    <a:pt x="182" y="540"/>
                  </a:lnTo>
                  <a:lnTo>
                    <a:pt x="182" y="536"/>
                  </a:lnTo>
                  <a:lnTo>
                    <a:pt x="182" y="532"/>
                  </a:lnTo>
                  <a:lnTo>
                    <a:pt x="182" y="528"/>
                  </a:lnTo>
                  <a:lnTo>
                    <a:pt x="182" y="524"/>
                  </a:lnTo>
                  <a:lnTo>
                    <a:pt x="184" y="520"/>
                  </a:lnTo>
                  <a:lnTo>
                    <a:pt x="186" y="518"/>
                  </a:lnTo>
                  <a:lnTo>
                    <a:pt x="186" y="514"/>
                  </a:lnTo>
                  <a:lnTo>
                    <a:pt x="186" y="510"/>
                  </a:lnTo>
                  <a:lnTo>
                    <a:pt x="186" y="508"/>
                  </a:lnTo>
                  <a:lnTo>
                    <a:pt x="186" y="504"/>
                  </a:lnTo>
                  <a:lnTo>
                    <a:pt x="186" y="504"/>
                  </a:lnTo>
                  <a:lnTo>
                    <a:pt x="162" y="484"/>
                  </a:lnTo>
                  <a:lnTo>
                    <a:pt x="156" y="468"/>
                  </a:lnTo>
                  <a:lnTo>
                    <a:pt x="176" y="476"/>
                  </a:lnTo>
                  <a:lnTo>
                    <a:pt x="182" y="482"/>
                  </a:lnTo>
                  <a:lnTo>
                    <a:pt x="198" y="488"/>
                  </a:lnTo>
                  <a:lnTo>
                    <a:pt x="210" y="498"/>
                  </a:lnTo>
                  <a:lnTo>
                    <a:pt x="220" y="502"/>
                  </a:lnTo>
                  <a:lnTo>
                    <a:pt x="232" y="500"/>
                  </a:lnTo>
                  <a:lnTo>
                    <a:pt x="242" y="496"/>
                  </a:lnTo>
                  <a:lnTo>
                    <a:pt x="246" y="494"/>
                  </a:lnTo>
                  <a:lnTo>
                    <a:pt x="258" y="480"/>
                  </a:lnTo>
                  <a:lnTo>
                    <a:pt x="266" y="466"/>
                  </a:lnTo>
                  <a:lnTo>
                    <a:pt x="268" y="452"/>
                  </a:lnTo>
                  <a:lnTo>
                    <a:pt x="268" y="446"/>
                  </a:lnTo>
                  <a:lnTo>
                    <a:pt x="266" y="442"/>
                  </a:lnTo>
                  <a:lnTo>
                    <a:pt x="262" y="438"/>
                  </a:lnTo>
                  <a:lnTo>
                    <a:pt x="256" y="436"/>
                  </a:lnTo>
                  <a:lnTo>
                    <a:pt x="252" y="432"/>
                  </a:lnTo>
                  <a:lnTo>
                    <a:pt x="246" y="432"/>
                  </a:lnTo>
                  <a:lnTo>
                    <a:pt x="242" y="430"/>
                  </a:lnTo>
                  <a:lnTo>
                    <a:pt x="238" y="430"/>
                  </a:lnTo>
                  <a:lnTo>
                    <a:pt x="236" y="428"/>
                  </a:lnTo>
                  <a:lnTo>
                    <a:pt x="230" y="412"/>
                  </a:lnTo>
                  <a:lnTo>
                    <a:pt x="218" y="396"/>
                  </a:lnTo>
                  <a:lnTo>
                    <a:pt x="204" y="388"/>
                  </a:lnTo>
                  <a:lnTo>
                    <a:pt x="190" y="384"/>
                  </a:lnTo>
                  <a:lnTo>
                    <a:pt x="176" y="382"/>
                  </a:lnTo>
                  <a:lnTo>
                    <a:pt x="168" y="382"/>
                  </a:lnTo>
                  <a:lnTo>
                    <a:pt x="164" y="382"/>
                  </a:lnTo>
                  <a:lnTo>
                    <a:pt x="162" y="380"/>
                  </a:lnTo>
                  <a:lnTo>
                    <a:pt x="160" y="376"/>
                  </a:lnTo>
                  <a:lnTo>
                    <a:pt x="156" y="374"/>
                  </a:lnTo>
                  <a:lnTo>
                    <a:pt x="154" y="372"/>
                  </a:lnTo>
                  <a:lnTo>
                    <a:pt x="150" y="372"/>
                  </a:lnTo>
                  <a:lnTo>
                    <a:pt x="150" y="370"/>
                  </a:lnTo>
                  <a:lnTo>
                    <a:pt x="152" y="364"/>
                  </a:lnTo>
                  <a:lnTo>
                    <a:pt x="162" y="368"/>
                  </a:lnTo>
                  <a:lnTo>
                    <a:pt x="168" y="364"/>
                  </a:lnTo>
                  <a:lnTo>
                    <a:pt x="148" y="354"/>
                  </a:lnTo>
                  <a:lnTo>
                    <a:pt x="140" y="364"/>
                  </a:lnTo>
                  <a:lnTo>
                    <a:pt x="132" y="364"/>
                  </a:lnTo>
                  <a:lnTo>
                    <a:pt x="132" y="370"/>
                  </a:lnTo>
                  <a:lnTo>
                    <a:pt x="130" y="374"/>
                  </a:lnTo>
                  <a:lnTo>
                    <a:pt x="128" y="378"/>
                  </a:lnTo>
                  <a:lnTo>
                    <a:pt x="124" y="380"/>
                  </a:lnTo>
                  <a:lnTo>
                    <a:pt x="122" y="382"/>
                  </a:lnTo>
                  <a:lnTo>
                    <a:pt x="120" y="384"/>
                  </a:lnTo>
                  <a:lnTo>
                    <a:pt x="118" y="384"/>
                  </a:lnTo>
                  <a:lnTo>
                    <a:pt x="110" y="402"/>
                  </a:lnTo>
                  <a:lnTo>
                    <a:pt x="110" y="420"/>
                  </a:lnTo>
                  <a:lnTo>
                    <a:pt x="130" y="440"/>
                  </a:lnTo>
                  <a:lnTo>
                    <a:pt x="130" y="470"/>
                  </a:lnTo>
                  <a:lnTo>
                    <a:pt x="118" y="484"/>
                  </a:lnTo>
                  <a:lnTo>
                    <a:pt x="126" y="502"/>
                  </a:lnTo>
                  <a:lnTo>
                    <a:pt x="122" y="556"/>
                  </a:lnTo>
                  <a:lnTo>
                    <a:pt x="122" y="562"/>
                  </a:lnTo>
                  <a:lnTo>
                    <a:pt x="122" y="568"/>
                  </a:lnTo>
                  <a:lnTo>
                    <a:pt x="124" y="572"/>
                  </a:lnTo>
                  <a:lnTo>
                    <a:pt x="126" y="574"/>
                  </a:lnTo>
                  <a:lnTo>
                    <a:pt x="126" y="576"/>
                  </a:lnTo>
                  <a:lnTo>
                    <a:pt x="126" y="576"/>
                  </a:lnTo>
                  <a:lnTo>
                    <a:pt x="132" y="592"/>
                  </a:lnTo>
                  <a:lnTo>
                    <a:pt x="134" y="606"/>
                  </a:lnTo>
                  <a:lnTo>
                    <a:pt x="132" y="614"/>
                  </a:lnTo>
                  <a:lnTo>
                    <a:pt x="130" y="616"/>
                  </a:lnTo>
                  <a:lnTo>
                    <a:pt x="96" y="650"/>
                  </a:lnTo>
                  <a:lnTo>
                    <a:pt x="100" y="654"/>
                  </a:lnTo>
                  <a:lnTo>
                    <a:pt x="106" y="658"/>
                  </a:lnTo>
                  <a:lnTo>
                    <a:pt x="110" y="660"/>
                  </a:lnTo>
                  <a:lnTo>
                    <a:pt x="116" y="662"/>
                  </a:lnTo>
                  <a:lnTo>
                    <a:pt x="122" y="662"/>
                  </a:lnTo>
                  <a:lnTo>
                    <a:pt x="124" y="662"/>
                  </a:lnTo>
                  <a:lnTo>
                    <a:pt x="126" y="662"/>
                  </a:lnTo>
                  <a:lnTo>
                    <a:pt x="122" y="662"/>
                  </a:lnTo>
                  <a:lnTo>
                    <a:pt x="118" y="664"/>
                  </a:lnTo>
                  <a:lnTo>
                    <a:pt x="114" y="666"/>
                  </a:lnTo>
                  <a:lnTo>
                    <a:pt x="112" y="668"/>
                  </a:lnTo>
                  <a:lnTo>
                    <a:pt x="110" y="668"/>
                  </a:lnTo>
                  <a:lnTo>
                    <a:pt x="104" y="668"/>
                  </a:lnTo>
                  <a:lnTo>
                    <a:pt x="98" y="670"/>
                  </a:lnTo>
                  <a:lnTo>
                    <a:pt x="94" y="672"/>
                  </a:lnTo>
                  <a:lnTo>
                    <a:pt x="90" y="674"/>
                  </a:lnTo>
                  <a:lnTo>
                    <a:pt x="86" y="676"/>
                  </a:lnTo>
                  <a:lnTo>
                    <a:pt x="84" y="678"/>
                  </a:lnTo>
                  <a:lnTo>
                    <a:pt x="84" y="678"/>
                  </a:lnTo>
                  <a:lnTo>
                    <a:pt x="78" y="674"/>
                  </a:lnTo>
                  <a:lnTo>
                    <a:pt x="68" y="672"/>
                  </a:lnTo>
                  <a:lnTo>
                    <a:pt x="60" y="672"/>
                  </a:lnTo>
                  <a:lnTo>
                    <a:pt x="54" y="674"/>
                  </a:lnTo>
                  <a:lnTo>
                    <a:pt x="50" y="678"/>
                  </a:lnTo>
                  <a:lnTo>
                    <a:pt x="46" y="680"/>
                  </a:lnTo>
                  <a:lnTo>
                    <a:pt x="44" y="682"/>
                  </a:lnTo>
                  <a:lnTo>
                    <a:pt x="44" y="684"/>
                  </a:lnTo>
                  <a:lnTo>
                    <a:pt x="42" y="686"/>
                  </a:lnTo>
                  <a:lnTo>
                    <a:pt x="42" y="686"/>
                  </a:lnTo>
                  <a:lnTo>
                    <a:pt x="40" y="690"/>
                  </a:lnTo>
                  <a:lnTo>
                    <a:pt x="40" y="694"/>
                  </a:lnTo>
                  <a:lnTo>
                    <a:pt x="40" y="698"/>
                  </a:lnTo>
                  <a:lnTo>
                    <a:pt x="40" y="702"/>
                  </a:lnTo>
                  <a:lnTo>
                    <a:pt x="40" y="704"/>
                  </a:lnTo>
                  <a:lnTo>
                    <a:pt x="40" y="706"/>
                  </a:lnTo>
                  <a:lnTo>
                    <a:pt x="46" y="710"/>
                  </a:lnTo>
                  <a:lnTo>
                    <a:pt x="48" y="720"/>
                  </a:lnTo>
                  <a:lnTo>
                    <a:pt x="48" y="726"/>
                  </a:lnTo>
                  <a:lnTo>
                    <a:pt x="48" y="730"/>
                  </a:lnTo>
                  <a:lnTo>
                    <a:pt x="46" y="734"/>
                  </a:lnTo>
                  <a:lnTo>
                    <a:pt x="46" y="736"/>
                  </a:lnTo>
                  <a:lnTo>
                    <a:pt x="44" y="738"/>
                  </a:lnTo>
                  <a:lnTo>
                    <a:pt x="44" y="738"/>
                  </a:lnTo>
                  <a:lnTo>
                    <a:pt x="42" y="738"/>
                  </a:lnTo>
                  <a:lnTo>
                    <a:pt x="38" y="736"/>
                  </a:lnTo>
                  <a:lnTo>
                    <a:pt x="34" y="734"/>
                  </a:lnTo>
                  <a:lnTo>
                    <a:pt x="30" y="732"/>
                  </a:lnTo>
                  <a:lnTo>
                    <a:pt x="30" y="730"/>
                  </a:lnTo>
                  <a:lnTo>
                    <a:pt x="28" y="730"/>
                  </a:lnTo>
                  <a:lnTo>
                    <a:pt x="20" y="722"/>
                  </a:lnTo>
                  <a:lnTo>
                    <a:pt x="8" y="736"/>
                  </a:lnTo>
                  <a:lnTo>
                    <a:pt x="4" y="738"/>
                  </a:lnTo>
                  <a:lnTo>
                    <a:pt x="4" y="744"/>
                  </a:lnTo>
                  <a:lnTo>
                    <a:pt x="2" y="750"/>
                  </a:lnTo>
                  <a:lnTo>
                    <a:pt x="2" y="756"/>
                  </a:lnTo>
                  <a:lnTo>
                    <a:pt x="0" y="764"/>
                  </a:lnTo>
                  <a:lnTo>
                    <a:pt x="0" y="778"/>
                  </a:lnTo>
                  <a:lnTo>
                    <a:pt x="2" y="780"/>
                  </a:lnTo>
                  <a:lnTo>
                    <a:pt x="4" y="782"/>
                  </a:lnTo>
                  <a:lnTo>
                    <a:pt x="8" y="782"/>
                  </a:lnTo>
                  <a:lnTo>
                    <a:pt x="8" y="782"/>
                  </a:lnTo>
                  <a:lnTo>
                    <a:pt x="14" y="782"/>
                  </a:lnTo>
                  <a:lnTo>
                    <a:pt x="18" y="782"/>
                  </a:lnTo>
                  <a:lnTo>
                    <a:pt x="20" y="780"/>
                  </a:lnTo>
                  <a:lnTo>
                    <a:pt x="22" y="780"/>
                  </a:lnTo>
                  <a:lnTo>
                    <a:pt x="22" y="782"/>
                  </a:lnTo>
                  <a:lnTo>
                    <a:pt x="24" y="784"/>
                  </a:lnTo>
                  <a:lnTo>
                    <a:pt x="26" y="786"/>
                  </a:lnTo>
                  <a:lnTo>
                    <a:pt x="30" y="788"/>
                  </a:lnTo>
                  <a:lnTo>
                    <a:pt x="32" y="790"/>
                  </a:lnTo>
                  <a:lnTo>
                    <a:pt x="34" y="792"/>
                  </a:lnTo>
                  <a:lnTo>
                    <a:pt x="36" y="796"/>
                  </a:lnTo>
                  <a:lnTo>
                    <a:pt x="38" y="802"/>
                  </a:lnTo>
                  <a:lnTo>
                    <a:pt x="40" y="806"/>
                  </a:lnTo>
                  <a:lnTo>
                    <a:pt x="42" y="810"/>
                  </a:lnTo>
                  <a:lnTo>
                    <a:pt x="44" y="814"/>
                  </a:lnTo>
                  <a:lnTo>
                    <a:pt x="44" y="814"/>
                  </a:lnTo>
                  <a:lnTo>
                    <a:pt x="46" y="820"/>
                  </a:lnTo>
                  <a:lnTo>
                    <a:pt x="44" y="824"/>
                  </a:lnTo>
                  <a:lnTo>
                    <a:pt x="42" y="828"/>
                  </a:lnTo>
                  <a:lnTo>
                    <a:pt x="40" y="830"/>
                  </a:lnTo>
                  <a:lnTo>
                    <a:pt x="38" y="832"/>
                  </a:lnTo>
                  <a:lnTo>
                    <a:pt x="36" y="832"/>
                  </a:lnTo>
                  <a:lnTo>
                    <a:pt x="36" y="832"/>
                  </a:lnTo>
                  <a:lnTo>
                    <a:pt x="40" y="834"/>
                  </a:lnTo>
                  <a:lnTo>
                    <a:pt x="42" y="838"/>
                  </a:lnTo>
                  <a:lnTo>
                    <a:pt x="46" y="842"/>
                  </a:lnTo>
                  <a:lnTo>
                    <a:pt x="50" y="846"/>
                  </a:lnTo>
                  <a:lnTo>
                    <a:pt x="52" y="852"/>
                  </a:lnTo>
                  <a:lnTo>
                    <a:pt x="54" y="856"/>
                  </a:lnTo>
                  <a:lnTo>
                    <a:pt x="56" y="858"/>
                  </a:lnTo>
                  <a:lnTo>
                    <a:pt x="56" y="860"/>
                  </a:lnTo>
                  <a:lnTo>
                    <a:pt x="58" y="866"/>
                  </a:lnTo>
                  <a:lnTo>
                    <a:pt x="60" y="872"/>
                  </a:lnTo>
                  <a:lnTo>
                    <a:pt x="62" y="874"/>
                  </a:lnTo>
                  <a:lnTo>
                    <a:pt x="62" y="876"/>
                  </a:lnTo>
                  <a:lnTo>
                    <a:pt x="60" y="878"/>
                  </a:lnTo>
                  <a:lnTo>
                    <a:pt x="60" y="878"/>
                  </a:lnTo>
                  <a:lnTo>
                    <a:pt x="60" y="878"/>
                  </a:lnTo>
                  <a:lnTo>
                    <a:pt x="60" y="878"/>
                  </a:lnTo>
                  <a:lnTo>
                    <a:pt x="38" y="892"/>
                  </a:lnTo>
                  <a:lnTo>
                    <a:pt x="38" y="894"/>
                  </a:lnTo>
                  <a:lnTo>
                    <a:pt x="36" y="894"/>
                  </a:lnTo>
                  <a:lnTo>
                    <a:pt x="34" y="894"/>
                  </a:lnTo>
                  <a:lnTo>
                    <a:pt x="32" y="892"/>
                  </a:lnTo>
                  <a:lnTo>
                    <a:pt x="32" y="894"/>
                  </a:lnTo>
                  <a:lnTo>
                    <a:pt x="30" y="898"/>
                  </a:lnTo>
                  <a:lnTo>
                    <a:pt x="28" y="902"/>
                  </a:lnTo>
                  <a:lnTo>
                    <a:pt x="30" y="906"/>
                  </a:lnTo>
                  <a:lnTo>
                    <a:pt x="30" y="908"/>
                  </a:lnTo>
                  <a:lnTo>
                    <a:pt x="32" y="908"/>
                  </a:lnTo>
                  <a:lnTo>
                    <a:pt x="32" y="908"/>
                  </a:lnTo>
                  <a:lnTo>
                    <a:pt x="28" y="908"/>
                  </a:lnTo>
                  <a:lnTo>
                    <a:pt x="26" y="910"/>
                  </a:lnTo>
                  <a:lnTo>
                    <a:pt x="24" y="910"/>
                  </a:lnTo>
                  <a:lnTo>
                    <a:pt x="22" y="912"/>
                  </a:lnTo>
                  <a:lnTo>
                    <a:pt x="22" y="912"/>
                  </a:lnTo>
                  <a:lnTo>
                    <a:pt x="28" y="918"/>
                  </a:lnTo>
                  <a:lnTo>
                    <a:pt x="28" y="918"/>
                  </a:lnTo>
                  <a:lnTo>
                    <a:pt x="30" y="916"/>
                  </a:lnTo>
                  <a:lnTo>
                    <a:pt x="34" y="914"/>
                  </a:lnTo>
                  <a:lnTo>
                    <a:pt x="40" y="914"/>
                  </a:lnTo>
                  <a:lnTo>
                    <a:pt x="46" y="914"/>
                  </a:lnTo>
                  <a:lnTo>
                    <a:pt x="50" y="914"/>
                  </a:lnTo>
                  <a:lnTo>
                    <a:pt x="56" y="916"/>
                  </a:lnTo>
                  <a:lnTo>
                    <a:pt x="58" y="916"/>
                  </a:lnTo>
                  <a:lnTo>
                    <a:pt x="60" y="918"/>
                  </a:lnTo>
                  <a:lnTo>
                    <a:pt x="64" y="918"/>
                  </a:lnTo>
                  <a:lnTo>
                    <a:pt x="68" y="918"/>
                  </a:lnTo>
                  <a:lnTo>
                    <a:pt x="74" y="918"/>
                  </a:lnTo>
                  <a:lnTo>
                    <a:pt x="76" y="916"/>
                  </a:lnTo>
                  <a:lnTo>
                    <a:pt x="78" y="916"/>
                  </a:lnTo>
                  <a:lnTo>
                    <a:pt x="80" y="912"/>
                  </a:lnTo>
                  <a:lnTo>
                    <a:pt x="80" y="912"/>
                  </a:lnTo>
                  <a:lnTo>
                    <a:pt x="84" y="914"/>
                  </a:lnTo>
                  <a:lnTo>
                    <a:pt x="88" y="916"/>
                  </a:lnTo>
                  <a:lnTo>
                    <a:pt x="92" y="918"/>
                  </a:lnTo>
                  <a:lnTo>
                    <a:pt x="96" y="922"/>
                  </a:lnTo>
                  <a:lnTo>
                    <a:pt x="100" y="926"/>
                  </a:lnTo>
                  <a:lnTo>
                    <a:pt x="100" y="928"/>
                  </a:lnTo>
                  <a:lnTo>
                    <a:pt x="102" y="930"/>
                  </a:lnTo>
                  <a:lnTo>
                    <a:pt x="104" y="934"/>
                  </a:lnTo>
                  <a:lnTo>
                    <a:pt x="106" y="940"/>
                  </a:lnTo>
                  <a:lnTo>
                    <a:pt x="106" y="946"/>
                  </a:lnTo>
                  <a:lnTo>
                    <a:pt x="106" y="952"/>
                  </a:lnTo>
                  <a:lnTo>
                    <a:pt x="104" y="960"/>
                  </a:lnTo>
                  <a:lnTo>
                    <a:pt x="104" y="966"/>
                  </a:lnTo>
                  <a:lnTo>
                    <a:pt x="104" y="970"/>
                  </a:lnTo>
                  <a:lnTo>
                    <a:pt x="106" y="972"/>
                  </a:lnTo>
                  <a:lnTo>
                    <a:pt x="108" y="974"/>
                  </a:lnTo>
                  <a:lnTo>
                    <a:pt x="110" y="976"/>
                  </a:lnTo>
                  <a:lnTo>
                    <a:pt x="112" y="972"/>
                  </a:lnTo>
                  <a:lnTo>
                    <a:pt x="114" y="970"/>
                  </a:lnTo>
                  <a:lnTo>
                    <a:pt x="114" y="970"/>
                  </a:lnTo>
                  <a:lnTo>
                    <a:pt x="116" y="970"/>
                  </a:lnTo>
                  <a:lnTo>
                    <a:pt x="120" y="968"/>
                  </a:lnTo>
                  <a:lnTo>
                    <a:pt x="124" y="966"/>
                  </a:lnTo>
                  <a:lnTo>
                    <a:pt x="128" y="966"/>
                  </a:lnTo>
                  <a:lnTo>
                    <a:pt x="130" y="966"/>
                  </a:lnTo>
                  <a:lnTo>
                    <a:pt x="140" y="964"/>
                  </a:lnTo>
                  <a:lnTo>
                    <a:pt x="150" y="968"/>
                  </a:lnTo>
                  <a:lnTo>
                    <a:pt x="158" y="972"/>
                  </a:lnTo>
                  <a:lnTo>
                    <a:pt x="162" y="974"/>
                  </a:lnTo>
                  <a:lnTo>
                    <a:pt x="158" y="976"/>
                  </a:lnTo>
                  <a:lnTo>
                    <a:pt x="164" y="976"/>
                  </a:lnTo>
                  <a:lnTo>
                    <a:pt x="170" y="974"/>
                  </a:lnTo>
                  <a:lnTo>
                    <a:pt x="174" y="974"/>
                  </a:lnTo>
                  <a:lnTo>
                    <a:pt x="176" y="976"/>
                  </a:lnTo>
                  <a:lnTo>
                    <a:pt x="180" y="976"/>
                  </a:lnTo>
                  <a:lnTo>
                    <a:pt x="180" y="978"/>
                  </a:lnTo>
                  <a:lnTo>
                    <a:pt x="182" y="978"/>
                  </a:lnTo>
                  <a:lnTo>
                    <a:pt x="180" y="978"/>
                  </a:lnTo>
                  <a:lnTo>
                    <a:pt x="178" y="980"/>
                  </a:lnTo>
                  <a:lnTo>
                    <a:pt x="176" y="984"/>
                  </a:lnTo>
                  <a:lnTo>
                    <a:pt x="174" y="986"/>
                  </a:lnTo>
                  <a:lnTo>
                    <a:pt x="174" y="988"/>
                  </a:lnTo>
                  <a:lnTo>
                    <a:pt x="174" y="990"/>
                  </a:lnTo>
                  <a:lnTo>
                    <a:pt x="174" y="992"/>
                  </a:lnTo>
                  <a:lnTo>
                    <a:pt x="174" y="998"/>
                  </a:lnTo>
                  <a:lnTo>
                    <a:pt x="178" y="1000"/>
                  </a:lnTo>
                  <a:lnTo>
                    <a:pt x="182" y="998"/>
                  </a:lnTo>
                  <a:lnTo>
                    <a:pt x="186" y="996"/>
                  </a:lnTo>
                  <a:lnTo>
                    <a:pt x="190" y="992"/>
                  </a:lnTo>
                  <a:lnTo>
                    <a:pt x="192" y="988"/>
                  </a:lnTo>
                  <a:lnTo>
                    <a:pt x="194" y="986"/>
                  </a:lnTo>
                  <a:lnTo>
                    <a:pt x="194" y="984"/>
                  </a:lnTo>
                  <a:lnTo>
                    <a:pt x="192" y="984"/>
                  </a:lnTo>
                  <a:lnTo>
                    <a:pt x="190" y="982"/>
                  </a:lnTo>
                  <a:lnTo>
                    <a:pt x="188" y="980"/>
                  </a:lnTo>
                  <a:lnTo>
                    <a:pt x="186" y="978"/>
                  </a:lnTo>
                  <a:lnTo>
                    <a:pt x="186" y="974"/>
                  </a:lnTo>
                  <a:lnTo>
                    <a:pt x="186" y="972"/>
                  </a:lnTo>
                  <a:lnTo>
                    <a:pt x="186" y="970"/>
                  </a:lnTo>
                  <a:lnTo>
                    <a:pt x="188" y="966"/>
                  </a:lnTo>
                  <a:lnTo>
                    <a:pt x="192" y="964"/>
                  </a:lnTo>
                  <a:lnTo>
                    <a:pt x="196" y="962"/>
                  </a:lnTo>
                  <a:lnTo>
                    <a:pt x="200" y="960"/>
                  </a:lnTo>
                  <a:lnTo>
                    <a:pt x="202" y="960"/>
                  </a:lnTo>
                  <a:lnTo>
                    <a:pt x="206" y="958"/>
                  </a:lnTo>
                  <a:lnTo>
                    <a:pt x="210" y="960"/>
                  </a:lnTo>
                  <a:lnTo>
                    <a:pt x="214" y="962"/>
                  </a:lnTo>
                  <a:lnTo>
                    <a:pt x="216" y="968"/>
                  </a:lnTo>
                  <a:lnTo>
                    <a:pt x="216" y="972"/>
                  </a:lnTo>
                  <a:lnTo>
                    <a:pt x="214" y="974"/>
                  </a:lnTo>
                  <a:lnTo>
                    <a:pt x="212" y="974"/>
                  </a:lnTo>
                  <a:lnTo>
                    <a:pt x="210" y="976"/>
                  </a:lnTo>
                  <a:lnTo>
                    <a:pt x="210" y="976"/>
                  </a:lnTo>
                  <a:lnTo>
                    <a:pt x="206" y="976"/>
                  </a:lnTo>
                  <a:lnTo>
                    <a:pt x="202" y="976"/>
                  </a:lnTo>
                  <a:lnTo>
                    <a:pt x="200" y="978"/>
                  </a:lnTo>
                  <a:lnTo>
                    <a:pt x="200" y="980"/>
                  </a:lnTo>
                  <a:lnTo>
                    <a:pt x="200" y="980"/>
                  </a:lnTo>
                  <a:lnTo>
                    <a:pt x="198" y="984"/>
                  </a:lnTo>
                  <a:lnTo>
                    <a:pt x="200" y="988"/>
                  </a:lnTo>
                  <a:lnTo>
                    <a:pt x="200" y="990"/>
                  </a:lnTo>
                  <a:lnTo>
                    <a:pt x="202" y="992"/>
                  </a:lnTo>
                  <a:lnTo>
                    <a:pt x="204" y="994"/>
                  </a:lnTo>
                  <a:lnTo>
                    <a:pt x="208" y="996"/>
                  </a:lnTo>
                  <a:lnTo>
                    <a:pt x="210" y="998"/>
                  </a:lnTo>
                  <a:lnTo>
                    <a:pt x="214" y="1000"/>
                  </a:lnTo>
                  <a:lnTo>
                    <a:pt x="216" y="1002"/>
                  </a:lnTo>
                  <a:lnTo>
                    <a:pt x="218" y="1002"/>
                  </a:lnTo>
                  <a:lnTo>
                    <a:pt x="218" y="1004"/>
                  </a:lnTo>
                  <a:lnTo>
                    <a:pt x="220" y="1008"/>
                  </a:lnTo>
                  <a:lnTo>
                    <a:pt x="222" y="1010"/>
                  </a:lnTo>
                  <a:lnTo>
                    <a:pt x="224" y="1012"/>
                  </a:lnTo>
                  <a:lnTo>
                    <a:pt x="226" y="1014"/>
                  </a:lnTo>
                  <a:lnTo>
                    <a:pt x="228" y="1014"/>
                  </a:lnTo>
                  <a:lnTo>
                    <a:pt x="228" y="1016"/>
                  </a:lnTo>
                  <a:lnTo>
                    <a:pt x="232" y="1018"/>
                  </a:lnTo>
                  <a:lnTo>
                    <a:pt x="236" y="1020"/>
                  </a:lnTo>
                  <a:lnTo>
                    <a:pt x="242" y="1024"/>
                  </a:lnTo>
                  <a:lnTo>
                    <a:pt x="246" y="1028"/>
                  </a:lnTo>
                  <a:lnTo>
                    <a:pt x="250" y="1030"/>
                  </a:lnTo>
                  <a:lnTo>
                    <a:pt x="254" y="1032"/>
                  </a:lnTo>
                  <a:lnTo>
                    <a:pt x="254" y="1032"/>
                  </a:lnTo>
                  <a:lnTo>
                    <a:pt x="256" y="1040"/>
                  </a:lnTo>
                  <a:lnTo>
                    <a:pt x="256" y="1046"/>
                  </a:lnTo>
                  <a:lnTo>
                    <a:pt x="256" y="1052"/>
                  </a:lnTo>
                  <a:lnTo>
                    <a:pt x="252" y="1058"/>
                  </a:lnTo>
                  <a:lnTo>
                    <a:pt x="250" y="1062"/>
                  </a:lnTo>
                  <a:lnTo>
                    <a:pt x="250" y="1062"/>
                  </a:lnTo>
                  <a:lnTo>
                    <a:pt x="252" y="1064"/>
                  </a:lnTo>
                  <a:lnTo>
                    <a:pt x="256" y="1066"/>
                  </a:lnTo>
                  <a:lnTo>
                    <a:pt x="260" y="1068"/>
                  </a:lnTo>
                  <a:lnTo>
                    <a:pt x="264" y="1070"/>
                  </a:lnTo>
                  <a:lnTo>
                    <a:pt x="266" y="1072"/>
                  </a:lnTo>
                  <a:lnTo>
                    <a:pt x="268" y="1072"/>
                  </a:lnTo>
                  <a:lnTo>
                    <a:pt x="270" y="1074"/>
                  </a:lnTo>
                  <a:lnTo>
                    <a:pt x="274" y="1076"/>
                  </a:lnTo>
                  <a:lnTo>
                    <a:pt x="278" y="1080"/>
                  </a:lnTo>
                  <a:lnTo>
                    <a:pt x="282" y="1086"/>
                  </a:lnTo>
                  <a:lnTo>
                    <a:pt x="304" y="1090"/>
                  </a:lnTo>
                  <a:lnTo>
                    <a:pt x="306" y="1092"/>
                  </a:lnTo>
                  <a:lnTo>
                    <a:pt x="310" y="1094"/>
                  </a:lnTo>
                  <a:lnTo>
                    <a:pt x="312" y="1094"/>
                  </a:lnTo>
                  <a:lnTo>
                    <a:pt x="316" y="1092"/>
                  </a:lnTo>
                  <a:lnTo>
                    <a:pt x="318" y="1092"/>
                  </a:lnTo>
                  <a:lnTo>
                    <a:pt x="320" y="1092"/>
                  </a:lnTo>
                  <a:lnTo>
                    <a:pt x="334" y="1076"/>
                  </a:lnTo>
                  <a:lnTo>
                    <a:pt x="336" y="1080"/>
                  </a:lnTo>
                  <a:lnTo>
                    <a:pt x="338" y="1082"/>
                  </a:lnTo>
                  <a:lnTo>
                    <a:pt x="340" y="1086"/>
                  </a:lnTo>
                  <a:lnTo>
                    <a:pt x="344" y="1088"/>
                  </a:lnTo>
                  <a:lnTo>
                    <a:pt x="344" y="1088"/>
                  </a:lnTo>
                  <a:lnTo>
                    <a:pt x="350" y="1098"/>
                  </a:lnTo>
                  <a:lnTo>
                    <a:pt x="350" y="1096"/>
                  </a:lnTo>
                  <a:lnTo>
                    <a:pt x="348" y="1088"/>
                  </a:lnTo>
                  <a:lnTo>
                    <a:pt x="346" y="1078"/>
                  </a:lnTo>
                  <a:lnTo>
                    <a:pt x="346" y="1070"/>
                  </a:lnTo>
                  <a:lnTo>
                    <a:pt x="346" y="1064"/>
                  </a:lnTo>
                  <a:lnTo>
                    <a:pt x="352" y="1062"/>
                  </a:lnTo>
                  <a:lnTo>
                    <a:pt x="352" y="1062"/>
                  </a:lnTo>
                  <a:lnTo>
                    <a:pt x="350" y="1060"/>
                  </a:lnTo>
                  <a:lnTo>
                    <a:pt x="348" y="1056"/>
                  </a:lnTo>
                  <a:lnTo>
                    <a:pt x="346" y="1052"/>
                  </a:lnTo>
                  <a:lnTo>
                    <a:pt x="346" y="1048"/>
                  </a:lnTo>
                  <a:lnTo>
                    <a:pt x="344" y="1044"/>
                  </a:lnTo>
                  <a:lnTo>
                    <a:pt x="346" y="1040"/>
                  </a:lnTo>
                  <a:lnTo>
                    <a:pt x="348" y="1036"/>
                  </a:lnTo>
                  <a:lnTo>
                    <a:pt x="350" y="1034"/>
                  </a:lnTo>
                  <a:lnTo>
                    <a:pt x="350" y="1034"/>
                  </a:lnTo>
                  <a:lnTo>
                    <a:pt x="348" y="1034"/>
                  </a:lnTo>
                  <a:lnTo>
                    <a:pt x="346" y="1032"/>
                  </a:lnTo>
                  <a:lnTo>
                    <a:pt x="342" y="1030"/>
                  </a:lnTo>
                  <a:lnTo>
                    <a:pt x="338" y="1028"/>
                  </a:lnTo>
                  <a:lnTo>
                    <a:pt x="334" y="1022"/>
                  </a:lnTo>
                  <a:lnTo>
                    <a:pt x="332" y="1016"/>
                  </a:lnTo>
                  <a:lnTo>
                    <a:pt x="330" y="1008"/>
                  </a:lnTo>
                  <a:lnTo>
                    <a:pt x="326" y="992"/>
                  </a:lnTo>
                  <a:lnTo>
                    <a:pt x="330" y="976"/>
                  </a:lnTo>
                  <a:lnTo>
                    <a:pt x="334" y="972"/>
                  </a:lnTo>
                  <a:lnTo>
                    <a:pt x="344" y="964"/>
                  </a:lnTo>
                  <a:lnTo>
                    <a:pt x="358" y="956"/>
                  </a:lnTo>
                  <a:lnTo>
                    <a:pt x="378" y="952"/>
                  </a:lnTo>
                  <a:lnTo>
                    <a:pt x="382" y="954"/>
                  </a:lnTo>
                  <a:lnTo>
                    <a:pt x="390" y="956"/>
                  </a:lnTo>
                  <a:lnTo>
                    <a:pt x="400" y="960"/>
                  </a:lnTo>
                  <a:lnTo>
                    <a:pt x="408" y="966"/>
                  </a:lnTo>
                  <a:lnTo>
                    <a:pt x="410" y="976"/>
                  </a:lnTo>
                  <a:lnTo>
                    <a:pt x="410" y="976"/>
                  </a:lnTo>
                  <a:lnTo>
                    <a:pt x="410" y="978"/>
                  </a:lnTo>
                  <a:lnTo>
                    <a:pt x="408" y="982"/>
                  </a:lnTo>
                  <a:lnTo>
                    <a:pt x="406" y="984"/>
                  </a:lnTo>
                  <a:lnTo>
                    <a:pt x="404" y="988"/>
                  </a:lnTo>
                  <a:lnTo>
                    <a:pt x="400" y="990"/>
                  </a:lnTo>
                  <a:lnTo>
                    <a:pt x="394" y="992"/>
                  </a:lnTo>
                  <a:lnTo>
                    <a:pt x="392" y="992"/>
                  </a:lnTo>
                  <a:lnTo>
                    <a:pt x="390" y="992"/>
                  </a:lnTo>
                  <a:lnTo>
                    <a:pt x="384" y="992"/>
                  </a:lnTo>
                  <a:lnTo>
                    <a:pt x="380" y="992"/>
                  </a:lnTo>
                  <a:lnTo>
                    <a:pt x="374" y="994"/>
                  </a:lnTo>
                  <a:lnTo>
                    <a:pt x="372" y="996"/>
                  </a:lnTo>
                  <a:lnTo>
                    <a:pt x="370" y="998"/>
                  </a:lnTo>
                  <a:lnTo>
                    <a:pt x="370" y="1000"/>
                  </a:lnTo>
                  <a:lnTo>
                    <a:pt x="368" y="1004"/>
                  </a:lnTo>
                  <a:lnTo>
                    <a:pt x="368" y="1008"/>
                  </a:lnTo>
                  <a:lnTo>
                    <a:pt x="378" y="1026"/>
                  </a:lnTo>
                  <a:lnTo>
                    <a:pt x="384" y="1028"/>
                  </a:lnTo>
                  <a:lnTo>
                    <a:pt x="386" y="1028"/>
                  </a:lnTo>
                  <a:lnTo>
                    <a:pt x="388" y="1030"/>
                  </a:lnTo>
                  <a:lnTo>
                    <a:pt x="390" y="1032"/>
                  </a:lnTo>
                  <a:lnTo>
                    <a:pt x="390" y="1036"/>
                  </a:lnTo>
                  <a:lnTo>
                    <a:pt x="390" y="1050"/>
                  </a:lnTo>
                  <a:lnTo>
                    <a:pt x="390" y="1050"/>
                  </a:lnTo>
                  <a:lnTo>
                    <a:pt x="392" y="1052"/>
                  </a:lnTo>
                  <a:lnTo>
                    <a:pt x="394" y="1054"/>
                  </a:lnTo>
                  <a:lnTo>
                    <a:pt x="396" y="1054"/>
                  </a:lnTo>
                  <a:lnTo>
                    <a:pt x="398" y="1052"/>
                  </a:lnTo>
                  <a:lnTo>
                    <a:pt x="400" y="1050"/>
                  </a:lnTo>
                  <a:lnTo>
                    <a:pt x="402" y="1050"/>
                  </a:lnTo>
                  <a:lnTo>
                    <a:pt x="404" y="1050"/>
                  </a:lnTo>
                  <a:lnTo>
                    <a:pt x="406" y="1052"/>
                  </a:lnTo>
                  <a:lnTo>
                    <a:pt x="408" y="1054"/>
                  </a:lnTo>
                  <a:lnTo>
                    <a:pt x="410" y="1058"/>
                  </a:lnTo>
                  <a:lnTo>
                    <a:pt x="412" y="1060"/>
                  </a:lnTo>
                  <a:lnTo>
                    <a:pt x="412" y="1062"/>
                  </a:lnTo>
                  <a:lnTo>
                    <a:pt x="410" y="1070"/>
                  </a:lnTo>
                  <a:lnTo>
                    <a:pt x="410" y="1070"/>
                  </a:lnTo>
                  <a:lnTo>
                    <a:pt x="406" y="1070"/>
                  </a:lnTo>
                  <a:lnTo>
                    <a:pt x="402" y="1070"/>
                  </a:lnTo>
                  <a:lnTo>
                    <a:pt x="402" y="1070"/>
                  </a:lnTo>
                  <a:lnTo>
                    <a:pt x="400" y="1070"/>
                  </a:lnTo>
                  <a:lnTo>
                    <a:pt x="398" y="1072"/>
                  </a:lnTo>
                  <a:lnTo>
                    <a:pt x="396" y="1072"/>
                  </a:lnTo>
                  <a:lnTo>
                    <a:pt x="394" y="1076"/>
                  </a:lnTo>
                  <a:lnTo>
                    <a:pt x="394" y="1078"/>
                  </a:lnTo>
                  <a:lnTo>
                    <a:pt x="396" y="1084"/>
                  </a:lnTo>
                  <a:lnTo>
                    <a:pt x="398" y="1086"/>
                  </a:lnTo>
                  <a:lnTo>
                    <a:pt x="400" y="1088"/>
                  </a:lnTo>
                  <a:lnTo>
                    <a:pt x="400" y="1088"/>
                  </a:lnTo>
                  <a:lnTo>
                    <a:pt x="402" y="1104"/>
                  </a:lnTo>
                  <a:lnTo>
                    <a:pt x="402" y="1104"/>
                  </a:lnTo>
                  <a:lnTo>
                    <a:pt x="404" y="1106"/>
                  </a:lnTo>
                  <a:lnTo>
                    <a:pt x="406" y="1108"/>
                  </a:lnTo>
                  <a:lnTo>
                    <a:pt x="408" y="1110"/>
                  </a:lnTo>
                  <a:lnTo>
                    <a:pt x="408" y="1114"/>
                  </a:lnTo>
                  <a:lnTo>
                    <a:pt x="408" y="1130"/>
                  </a:lnTo>
                  <a:lnTo>
                    <a:pt x="426" y="1120"/>
                  </a:lnTo>
                  <a:lnTo>
                    <a:pt x="442" y="1120"/>
                  </a:lnTo>
                  <a:lnTo>
                    <a:pt x="452" y="1122"/>
                  </a:lnTo>
                  <a:lnTo>
                    <a:pt x="454" y="1124"/>
                  </a:lnTo>
                  <a:lnTo>
                    <a:pt x="458" y="1124"/>
                  </a:lnTo>
                  <a:lnTo>
                    <a:pt x="462" y="1126"/>
                  </a:lnTo>
                  <a:lnTo>
                    <a:pt x="464" y="1126"/>
                  </a:lnTo>
                  <a:lnTo>
                    <a:pt x="466" y="1128"/>
                  </a:lnTo>
                  <a:lnTo>
                    <a:pt x="478" y="1130"/>
                  </a:lnTo>
                  <a:lnTo>
                    <a:pt x="488" y="1138"/>
                  </a:lnTo>
                  <a:lnTo>
                    <a:pt x="494" y="1146"/>
                  </a:lnTo>
                  <a:lnTo>
                    <a:pt x="496" y="1152"/>
                  </a:lnTo>
                  <a:lnTo>
                    <a:pt x="498" y="1156"/>
                  </a:lnTo>
                  <a:lnTo>
                    <a:pt x="498" y="1160"/>
                  </a:lnTo>
                  <a:lnTo>
                    <a:pt x="508" y="1160"/>
                  </a:lnTo>
                  <a:lnTo>
                    <a:pt x="516" y="1158"/>
                  </a:lnTo>
                  <a:lnTo>
                    <a:pt x="520" y="1150"/>
                  </a:lnTo>
                  <a:lnTo>
                    <a:pt x="522" y="1148"/>
                  </a:lnTo>
                  <a:lnTo>
                    <a:pt x="524" y="1148"/>
                  </a:lnTo>
                  <a:lnTo>
                    <a:pt x="530" y="1144"/>
                  </a:lnTo>
                  <a:lnTo>
                    <a:pt x="534" y="1142"/>
                  </a:lnTo>
                  <a:lnTo>
                    <a:pt x="540" y="1138"/>
                  </a:lnTo>
                  <a:lnTo>
                    <a:pt x="542" y="1132"/>
                  </a:lnTo>
                  <a:lnTo>
                    <a:pt x="546" y="1126"/>
                  </a:lnTo>
                  <a:lnTo>
                    <a:pt x="546" y="1126"/>
                  </a:lnTo>
                  <a:lnTo>
                    <a:pt x="550" y="1126"/>
                  </a:lnTo>
                  <a:lnTo>
                    <a:pt x="554" y="1128"/>
                  </a:lnTo>
                  <a:lnTo>
                    <a:pt x="556" y="1128"/>
                  </a:lnTo>
                  <a:lnTo>
                    <a:pt x="560" y="1128"/>
                  </a:lnTo>
                  <a:lnTo>
                    <a:pt x="566" y="1128"/>
                  </a:lnTo>
                  <a:lnTo>
                    <a:pt x="580" y="1130"/>
                  </a:lnTo>
                  <a:lnTo>
                    <a:pt x="594" y="1128"/>
                  </a:lnTo>
                  <a:lnTo>
                    <a:pt x="610" y="1118"/>
                  </a:lnTo>
                  <a:lnTo>
                    <a:pt x="618" y="1118"/>
                  </a:lnTo>
                  <a:lnTo>
                    <a:pt x="626" y="1126"/>
                  </a:lnTo>
                  <a:lnTo>
                    <a:pt x="628" y="1126"/>
                  </a:lnTo>
                  <a:lnTo>
                    <a:pt x="630" y="1128"/>
                  </a:lnTo>
                  <a:lnTo>
                    <a:pt x="632" y="1130"/>
                  </a:lnTo>
                  <a:lnTo>
                    <a:pt x="636" y="1134"/>
                  </a:lnTo>
                  <a:lnTo>
                    <a:pt x="640" y="1136"/>
                  </a:lnTo>
                  <a:lnTo>
                    <a:pt x="644" y="1138"/>
                  </a:lnTo>
                  <a:lnTo>
                    <a:pt x="650" y="1138"/>
                  </a:lnTo>
                  <a:lnTo>
                    <a:pt x="682" y="1138"/>
                  </a:lnTo>
                  <a:lnTo>
                    <a:pt x="680" y="1138"/>
                  </a:lnTo>
                  <a:lnTo>
                    <a:pt x="678" y="1136"/>
                  </a:lnTo>
                  <a:lnTo>
                    <a:pt x="676" y="1132"/>
                  </a:lnTo>
                  <a:lnTo>
                    <a:pt x="674" y="1128"/>
                  </a:lnTo>
                  <a:lnTo>
                    <a:pt x="672" y="1124"/>
                  </a:lnTo>
                  <a:lnTo>
                    <a:pt x="670" y="1118"/>
                  </a:lnTo>
                  <a:lnTo>
                    <a:pt x="672" y="1114"/>
                  </a:lnTo>
                  <a:lnTo>
                    <a:pt x="670" y="1114"/>
                  </a:lnTo>
                  <a:lnTo>
                    <a:pt x="670" y="1110"/>
                  </a:lnTo>
                  <a:lnTo>
                    <a:pt x="666" y="1108"/>
                  </a:lnTo>
                  <a:lnTo>
                    <a:pt x="664" y="1106"/>
                  </a:lnTo>
                  <a:lnTo>
                    <a:pt x="660" y="1104"/>
                  </a:lnTo>
                  <a:lnTo>
                    <a:pt x="658" y="1104"/>
                  </a:lnTo>
                  <a:lnTo>
                    <a:pt x="656" y="1102"/>
                  </a:lnTo>
                  <a:lnTo>
                    <a:pt x="654" y="1096"/>
                  </a:lnTo>
                  <a:lnTo>
                    <a:pt x="654" y="1096"/>
                  </a:lnTo>
                  <a:lnTo>
                    <a:pt x="654" y="1094"/>
                  </a:lnTo>
                  <a:lnTo>
                    <a:pt x="654" y="1090"/>
                  </a:lnTo>
                  <a:lnTo>
                    <a:pt x="654" y="1088"/>
                  </a:lnTo>
                  <a:lnTo>
                    <a:pt x="656" y="1084"/>
                  </a:lnTo>
                  <a:lnTo>
                    <a:pt x="658" y="1080"/>
                  </a:lnTo>
                  <a:lnTo>
                    <a:pt x="662" y="1078"/>
                  </a:lnTo>
                  <a:lnTo>
                    <a:pt x="666" y="1076"/>
                  </a:lnTo>
                  <a:lnTo>
                    <a:pt x="672" y="1076"/>
                  </a:lnTo>
                  <a:lnTo>
                    <a:pt x="682" y="1078"/>
                  </a:lnTo>
                  <a:lnTo>
                    <a:pt x="694" y="1070"/>
                  </a:lnTo>
                  <a:lnTo>
                    <a:pt x="694" y="1070"/>
                  </a:lnTo>
                  <a:lnTo>
                    <a:pt x="696" y="1068"/>
                  </a:lnTo>
                  <a:lnTo>
                    <a:pt x="700" y="1066"/>
                  </a:lnTo>
                  <a:lnTo>
                    <a:pt x="704" y="1064"/>
                  </a:lnTo>
                  <a:lnTo>
                    <a:pt x="708" y="1064"/>
                  </a:lnTo>
                  <a:lnTo>
                    <a:pt x="708" y="1064"/>
                  </a:lnTo>
                  <a:lnTo>
                    <a:pt x="712" y="1064"/>
                  </a:lnTo>
                  <a:lnTo>
                    <a:pt x="714" y="1064"/>
                  </a:lnTo>
                  <a:lnTo>
                    <a:pt x="720" y="1062"/>
                  </a:lnTo>
                  <a:lnTo>
                    <a:pt x="724" y="1060"/>
                  </a:lnTo>
                  <a:lnTo>
                    <a:pt x="728" y="1056"/>
                  </a:lnTo>
                  <a:lnTo>
                    <a:pt x="732" y="1050"/>
                  </a:lnTo>
                  <a:lnTo>
                    <a:pt x="736" y="1044"/>
                  </a:lnTo>
                  <a:lnTo>
                    <a:pt x="736" y="1042"/>
                  </a:lnTo>
                  <a:lnTo>
                    <a:pt x="736" y="1040"/>
                  </a:lnTo>
                  <a:lnTo>
                    <a:pt x="738" y="1038"/>
                  </a:lnTo>
                  <a:lnTo>
                    <a:pt x="738" y="1034"/>
                  </a:lnTo>
                  <a:lnTo>
                    <a:pt x="740" y="1032"/>
                  </a:lnTo>
                  <a:lnTo>
                    <a:pt x="738" y="1028"/>
                  </a:lnTo>
                  <a:lnTo>
                    <a:pt x="738" y="1026"/>
                  </a:lnTo>
                  <a:lnTo>
                    <a:pt x="734" y="1026"/>
                  </a:lnTo>
                  <a:lnTo>
                    <a:pt x="732" y="1022"/>
                  </a:lnTo>
                  <a:lnTo>
                    <a:pt x="730" y="1020"/>
                  </a:lnTo>
                  <a:lnTo>
                    <a:pt x="728" y="1016"/>
                  </a:lnTo>
                  <a:lnTo>
                    <a:pt x="728" y="1012"/>
                  </a:lnTo>
                  <a:lnTo>
                    <a:pt x="728" y="1010"/>
                  </a:lnTo>
                  <a:lnTo>
                    <a:pt x="734" y="1006"/>
                  </a:lnTo>
                  <a:lnTo>
                    <a:pt x="738" y="1006"/>
                  </a:lnTo>
                  <a:lnTo>
                    <a:pt x="740" y="1006"/>
                  </a:lnTo>
                  <a:lnTo>
                    <a:pt x="742" y="1004"/>
                  </a:lnTo>
                  <a:lnTo>
                    <a:pt x="742" y="1004"/>
                  </a:lnTo>
                  <a:lnTo>
                    <a:pt x="744" y="1002"/>
                  </a:lnTo>
                  <a:lnTo>
                    <a:pt x="744" y="1000"/>
                  </a:lnTo>
                  <a:lnTo>
                    <a:pt x="744" y="998"/>
                  </a:lnTo>
                  <a:lnTo>
                    <a:pt x="744" y="996"/>
                  </a:lnTo>
                  <a:lnTo>
                    <a:pt x="746" y="996"/>
                  </a:lnTo>
                  <a:lnTo>
                    <a:pt x="748" y="994"/>
                  </a:lnTo>
                  <a:lnTo>
                    <a:pt x="752" y="994"/>
                  </a:lnTo>
                  <a:lnTo>
                    <a:pt x="756" y="994"/>
                  </a:lnTo>
                  <a:lnTo>
                    <a:pt x="760" y="992"/>
                  </a:lnTo>
                  <a:lnTo>
                    <a:pt x="764" y="988"/>
                  </a:lnTo>
                  <a:lnTo>
                    <a:pt x="768" y="982"/>
                  </a:lnTo>
                  <a:lnTo>
                    <a:pt x="770" y="976"/>
                  </a:lnTo>
                  <a:lnTo>
                    <a:pt x="770" y="970"/>
                  </a:lnTo>
                  <a:lnTo>
                    <a:pt x="772" y="964"/>
                  </a:lnTo>
                  <a:lnTo>
                    <a:pt x="774" y="960"/>
                  </a:lnTo>
                  <a:lnTo>
                    <a:pt x="778" y="956"/>
                  </a:lnTo>
                  <a:lnTo>
                    <a:pt x="784" y="954"/>
                  </a:lnTo>
                  <a:lnTo>
                    <a:pt x="788" y="954"/>
                  </a:lnTo>
                  <a:lnTo>
                    <a:pt x="794" y="954"/>
                  </a:lnTo>
                  <a:lnTo>
                    <a:pt x="798" y="952"/>
                  </a:lnTo>
                  <a:lnTo>
                    <a:pt x="800" y="948"/>
                  </a:lnTo>
                  <a:lnTo>
                    <a:pt x="802" y="942"/>
                  </a:lnTo>
                  <a:lnTo>
                    <a:pt x="804" y="938"/>
                  </a:lnTo>
                  <a:lnTo>
                    <a:pt x="808" y="934"/>
                  </a:lnTo>
                  <a:lnTo>
                    <a:pt x="814" y="928"/>
                  </a:lnTo>
                  <a:lnTo>
                    <a:pt x="818" y="926"/>
                  </a:lnTo>
                  <a:lnTo>
                    <a:pt x="826" y="924"/>
                  </a:lnTo>
                  <a:lnTo>
                    <a:pt x="830" y="924"/>
                  </a:lnTo>
                  <a:lnTo>
                    <a:pt x="832" y="922"/>
                  </a:lnTo>
                  <a:lnTo>
                    <a:pt x="834" y="920"/>
                  </a:lnTo>
                  <a:lnTo>
                    <a:pt x="834" y="918"/>
                  </a:lnTo>
                  <a:lnTo>
                    <a:pt x="834" y="914"/>
                  </a:lnTo>
                  <a:lnTo>
                    <a:pt x="834" y="912"/>
                  </a:lnTo>
                  <a:lnTo>
                    <a:pt x="836" y="910"/>
                  </a:lnTo>
                  <a:lnTo>
                    <a:pt x="836" y="908"/>
                  </a:lnTo>
                  <a:lnTo>
                    <a:pt x="838" y="904"/>
                  </a:lnTo>
                  <a:lnTo>
                    <a:pt x="840" y="902"/>
                  </a:lnTo>
                  <a:lnTo>
                    <a:pt x="844" y="900"/>
                  </a:lnTo>
                  <a:lnTo>
                    <a:pt x="850" y="898"/>
                  </a:lnTo>
                  <a:lnTo>
                    <a:pt x="872" y="898"/>
                  </a:lnTo>
                  <a:lnTo>
                    <a:pt x="872" y="898"/>
                  </a:lnTo>
                  <a:lnTo>
                    <a:pt x="872" y="896"/>
                  </a:lnTo>
                  <a:lnTo>
                    <a:pt x="874" y="894"/>
                  </a:lnTo>
                  <a:lnTo>
                    <a:pt x="876" y="892"/>
                  </a:lnTo>
                  <a:lnTo>
                    <a:pt x="878" y="890"/>
                  </a:lnTo>
                  <a:lnTo>
                    <a:pt x="882" y="888"/>
                  </a:lnTo>
                  <a:lnTo>
                    <a:pt x="886" y="888"/>
                  </a:lnTo>
                  <a:lnTo>
                    <a:pt x="894" y="890"/>
                  </a:lnTo>
                  <a:lnTo>
                    <a:pt x="902" y="892"/>
                  </a:lnTo>
                  <a:lnTo>
                    <a:pt x="904" y="892"/>
                  </a:lnTo>
                  <a:lnTo>
                    <a:pt x="914" y="892"/>
                  </a:lnTo>
                  <a:lnTo>
                    <a:pt x="924" y="896"/>
                  </a:lnTo>
                  <a:lnTo>
                    <a:pt x="934" y="902"/>
                  </a:lnTo>
                  <a:lnTo>
                    <a:pt x="952" y="920"/>
                  </a:lnTo>
                  <a:lnTo>
                    <a:pt x="952" y="920"/>
                  </a:lnTo>
                  <a:lnTo>
                    <a:pt x="954" y="918"/>
                  </a:lnTo>
                  <a:lnTo>
                    <a:pt x="958" y="918"/>
                  </a:lnTo>
                  <a:lnTo>
                    <a:pt x="960" y="914"/>
                  </a:lnTo>
                  <a:lnTo>
                    <a:pt x="964" y="912"/>
                  </a:lnTo>
                  <a:lnTo>
                    <a:pt x="966" y="906"/>
                  </a:lnTo>
                  <a:lnTo>
                    <a:pt x="966" y="900"/>
                  </a:lnTo>
                  <a:lnTo>
                    <a:pt x="968" y="898"/>
                  </a:lnTo>
                  <a:lnTo>
                    <a:pt x="972" y="896"/>
                  </a:lnTo>
                  <a:lnTo>
                    <a:pt x="974" y="896"/>
                  </a:lnTo>
                  <a:lnTo>
                    <a:pt x="978" y="896"/>
                  </a:lnTo>
                  <a:lnTo>
                    <a:pt x="982" y="892"/>
                  </a:lnTo>
                  <a:lnTo>
                    <a:pt x="990" y="884"/>
                  </a:lnTo>
                  <a:lnTo>
                    <a:pt x="1000" y="878"/>
                  </a:lnTo>
                  <a:lnTo>
                    <a:pt x="1012" y="878"/>
                  </a:lnTo>
                  <a:lnTo>
                    <a:pt x="1024" y="882"/>
                  </a:lnTo>
                  <a:lnTo>
                    <a:pt x="1036" y="882"/>
                  </a:lnTo>
                  <a:lnTo>
                    <a:pt x="1046" y="880"/>
                  </a:lnTo>
                  <a:lnTo>
                    <a:pt x="1062" y="882"/>
                  </a:lnTo>
                  <a:lnTo>
                    <a:pt x="1080" y="890"/>
                  </a:lnTo>
                  <a:lnTo>
                    <a:pt x="1100" y="902"/>
                  </a:lnTo>
                  <a:lnTo>
                    <a:pt x="1102" y="902"/>
                  </a:lnTo>
                  <a:lnTo>
                    <a:pt x="1108" y="904"/>
                  </a:lnTo>
                  <a:lnTo>
                    <a:pt x="1120" y="904"/>
                  </a:lnTo>
                  <a:lnTo>
                    <a:pt x="1138" y="900"/>
                  </a:lnTo>
                  <a:lnTo>
                    <a:pt x="1150" y="896"/>
                  </a:lnTo>
                  <a:lnTo>
                    <a:pt x="1158" y="892"/>
                  </a:lnTo>
                  <a:lnTo>
                    <a:pt x="1164" y="888"/>
                  </a:lnTo>
                  <a:lnTo>
                    <a:pt x="1166" y="884"/>
                  </a:lnTo>
                  <a:lnTo>
                    <a:pt x="1168" y="882"/>
                  </a:lnTo>
                  <a:lnTo>
                    <a:pt x="1168" y="880"/>
                  </a:lnTo>
                  <a:lnTo>
                    <a:pt x="1168" y="880"/>
                  </a:lnTo>
                  <a:lnTo>
                    <a:pt x="1176" y="880"/>
                  </a:lnTo>
                  <a:lnTo>
                    <a:pt x="1188" y="884"/>
                  </a:lnTo>
                  <a:lnTo>
                    <a:pt x="1202" y="892"/>
                  </a:lnTo>
                  <a:lnTo>
                    <a:pt x="1224" y="900"/>
                  </a:lnTo>
                  <a:lnTo>
                    <a:pt x="1244" y="884"/>
                  </a:lnTo>
                  <a:lnTo>
                    <a:pt x="1244" y="880"/>
                  </a:lnTo>
                  <a:lnTo>
                    <a:pt x="1244" y="870"/>
                  </a:lnTo>
                  <a:lnTo>
                    <a:pt x="1244" y="858"/>
                  </a:lnTo>
                  <a:lnTo>
                    <a:pt x="1250" y="844"/>
                  </a:lnTo>
                  <a:lnTo>
                    <a:pt x="1256" y="832"/>
                  </a:lnTo>
                  <a:lnTo>
                    <a:pt x="1270" y="826"/>
                  </a:lnTo>
                  <a:lnTo>
                    <a:pt x="1288" y="824"/>
                  </a:lnTo>
                  <a:lnTo>
                    <a:pt x="1304" y="826"/>
                  </a:lnTo>
                  <a:lnTo>
                    <a:pt x="1312" y="832"/>
                  </a:lnTo>
                  <a:lnTo>
                    <a:pt x="1320" y="844"/>
                  </a:lnTo>
                  <a:lnTo>
                    <a:pt x="1320" y="844"/>
                  </a:lnTo>
                  <a:lnTo>
                    <a:pt x="1322" y="848"/>
                  </a:lnTo>
                  <a:lnTo>
                    <a:pt x="1324" y="852"/>
                  </a:lnTo>
                  <a:lnTo>
                    <a:pt x="1326" y="858"/>
                  </a:lnTo>
                  <a:lnTo>
                    <a:pt x="1328" y="866"/>
                  </a:lnTo>
                  <a:lnTo>
                    <a:pt x="1330" y="874"/>
                  </a:lnTo>
                  <a:lnTo>
                    <a:pt x="1332" y="876"/>
                  </a:lnTo>
                  <a:lnTo>
                    <a:pt x="1340" y="884"/>
                  </a:lnTo>
                  <a:lnTo>
                    <a:pt x="1348" y="894"/>
                  </a:lnTo>
                  <a:lnTo>
                    <a:pt x="1354" y="904"/>
                  </a:lnTo>
                  <a:lnTo>
                    <a:pt x="1358" y="916"/>
                  </a:lnTo>
                  <a:lnTo>
                    <a:pt x="1358" y="916"/>
                  </a:lnTo>
                  <a:lnTo>
                    <a:pt x="1360" y="914"/>
                  </a:lnTo>
                  <a:lnTo>
                    <a:pt x="1364" y="914"/>
                  </a:lnTo>
                  <a:lnTo>
                    <a:pt x="1368" y="914"/>
                  </a:lnTo>
                  <a:lnTo>
                    <a:pt x="1372" y="914"/>
                  </a:lnTo>
                  <a:lnTo>
                    <a:pt x="1376" y="914"/>
                  </a:lnTo>
                  <a:lnTo>
                    <a:pt x="1380" y="918"/>
                  </a:lnTo>
                  <a:lnTo>
                    <a:pt x="1384" y="922"/>
                  </a:lnTo>
                  <a:lnTo>
                    <a:pt x="1388" y="928"/>
                  </a:lnTo>
                  <a:lnTo>
                    <a:pt x="1388" y="928"/>
                  </a:lnTo>
                  <a:lnTo>
                    <a:pt x="1388" y="930"/>
                  </a:lnTo>
                  <a:lnTo>
                    <a:pt x="1388" y="932"/>
                  </a:lnTo>
                  <a:lnTo>
                    <a:pt x="1390" y="934"/>
                  </a:lnTo>
                  <a:lnTo>
                    <a:pt x="1392" y="936"/>
                  </a:lnTo>
                  <a:lnTo>
                    <a:pt x="1394" y="938"/>
                  </a:lnTo>
                  <a:lnTo>
                    <a:pt x="1398" y="938"/>
                  </a:lnTo>
                  <a:lnTo>
                    <a:pt x="1402" y="938"/>
                  </a:lnTo>
                  <a:lnTo>
                    <a:pt x="1408" y="936"/>
                  </a:lnTo>
                  <a:lnTo>
                    <a:pt x="1414" y="932"/>
                  </a:lnTo>
                  <a:lnTo>
                    <a:pt x="1414" y="930"/>
                  </a:lnTo>
                  <a:lnTo>
                    <a:pt x="1416" y="928"/>
                  </a:lnTo>
                  <a:lnTo>
                    <a:pt x="1418" y="924"/>
                  </a:lnTo>
                  <a:lnTo>
                    <a:pt x="1422" y="918"/>
                  </a:lnTo>
                  <a:lnTo>
                    <a:pt x="1428" y="914"/>
                  </a:lnTo>
                  <a:lnTo>
                    <a:pt x="1432" y="908"/>
                  </a:lnTo>
                  <a:lnTo>
                    <a:pt x="1438" y="904"/>
                  </a:lnTo>
                  <a:lnTo>
                    <a:pt x="1444" y="902"/>
                  </a:lnTo>
                  <a:lnTo>
                    <a:pt x="1444" y="902"/>
                  </a:lnTo>
                  <a:lnTo>
                    <a:pt x="1444" y="902"/>
                  </a:lnTo>
                  <a:lnTo>
                    <a:pt x="1444" y="904"/>
                  </a:lnTo>
                  <a:lnTo>
                    <a:pt x="1444" y="906"/>
                  </a:lnTo>
                  <a:lnTo>
                    <a:pt x="1444" y="908"/>
                  </a:lnTo>
                  <a:lnTo>
                    <a:pt x="1444" y="914"/>
                  </a:lnTo>
                  <a:lnTo>
                    <a:pt x="1442" y="920"/>
                  </a:lnTo>
                  <a:lnTo>
                    <a:pt x="1440" y="928"/>
                  </a:lnTo>
                  <a:lnTo>
                    <a:pt x="1438" y="932"/>
                  </a:lnTo>
                  <a:lnTo>
                    <a:pt x="1432" y="944"/>
                  </a:lnTo>
                  <a:lnTo>
                    <a:pt x="1426" y="956"/>
                  </a:lnTo>
                  <a:lnTo>
                    <a:pt x="1418" y="968"/>
                  </a:lnTo>
                  <a:lnTo>
                    <a:pt x="1400" y="988"/>
                  </a:lnTo>
                  <a:lnTo>
                    <a:pt x="1396" y="99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5" name="Freeform 382"/>
            <p:cNvSpPr/>
            <p:nvPr/>
          </p:nvSpPr>
          <p:spPr bwMode="gray">
            <a:xfrm>
              <a:off x="3112376" y="4154635"/>
              <a:ext cx="159220" cy="214617"/>
            </a:xfrm>
            <a:custGeom>
              <a:gdLst>
                <a:gd fmla="*/ 2 w 86" name="T0"/>
                <a:gd fmla="*/ 26 h 116" name="T1"/>
                <a:gd fmla="*/ 8 w 86" name="T2"/>
                <a:gd fmla="*/ 28 h 116" name="T3"/>
                <a:gd fmla="*/ 10 w 86" name="T4"/>
                <a:gd fmla="*/ 32 h 116" name="T5"/>
                <a:gd fmla="*/ 10 w 86" name="T6"/>
                <a:gd fmla="*/ 36 h 116" name="T7"/>
                <a:gd fmla="*/ 22 w 86" name="T8"/>
                <a:gd fmla="*/ 40 h 116" name="T9"/>
                <a:gd fmla="*/ 22 w 86" name="T10"/>
                <a:gd fmla="*/ 48 h 116" name="T11"/>
                <a:gd fmla="*/ 20 w 86" name="T12"/>
                <a:gd fmla="*/ 58 h 116" name="T13"/>
                <a:gd fmla="*/ 18 w 86" name="T14"/>
                <a:gd fmla="*/ 60 h 116" name="T15"/>
                <a:gd fmla="*/ 20 w 86" name="T16"/>
                <a:gd fmla="*/ 62 h 116" name="T17"/>
                <a:gd fmla="*/ 26 w 86" name="T18"/>
                <a:gd fmla="*/ 60 h 116" name="T19"/>
                <a:gd fmla="*/ 32 w 86" name="T20"/>
                <a:gd fmla="*/ 56 h 116" name="T21"/>
                <a:gd fmla="*/ 38 w 86" name="T22"/>
                <a:gd fmla="*/ 56 h 116" name="T23"/>
                <a:gd fmla="*/ 42 w 86" name="T24"/>
                <a:gd fmla="*/ 58 h 116" name="T25"/>
                <a:gd fmla="*/ 50 w 86" name="T26"/>
                <a:gd fmla="*/ 66 h 116" name="T27"/>
                <a:gd fmla="*/ 58 w 86" name="T28"/>
                <a:gd fmla="*/ 78 h 116" name="T29"/>
                <a:gd fmla="*/ 60 w 86" name="T30"/>
                <a:gd fmla="*/ 86 h 116" name="T31"/>
                <a:gd fmla="*/ 62 w 86" name="T32"/>
                <a:gd fmla="*/ 94 h 116" name="T33"/>
                <a:gd fmla="*/ 62 w 86" name="T34"/>
                <a:gd fmla="*/ 104 h 116" name="T35"/>
                <a:gd fmla="*/ 60 w 86" name="T36"/>
                <a:gd fmla="*/ 110 h 116" name="T37"/>
                <a:gd fmla="*/ 70 w 86" name="T38"/>
                <a:gd fmla="*/ 114 h 116" name="T39"/>
                <a:gd fmla="*/ 78 w 86" name="T40"/>
                <a:gd fmla="*/ 114 h 116" name="T41"/>
                <a:gd fmla="*/ 86 w 86" name="T42"/>
                <a:gd fmla="*/ 114 h 116" name="T43"/>
                <a:gd fmla="*/ 86 w 86" name="T44"/>
                <a:gd fmla="*/ 100 h 116" name="T45"/>
                <a:gd fmla="*/ 80 w 86" name="T46"/>
                <a:gd fmla="*/ 78 h 116" name="T47"/>
                <a:gd fmla="*/ 72 w 86" name="T48"/>
                <a:gd fmla="*/ 70 h 116" name="T49"/>
                <a:gd fmla="*/ 64 w 86" name="T50"/>
                <a:gd fmla="*/ 62 h 116" name="T51"/>
                <a:gd fmla="*/ 60 w 86" name="T52"/>
                <a:gd fmla="*/ 58 h 116" name="T53"/>
                <a:gd fmla="*/ 58 w 86" name="T54"/>
                <a:gd fmla="*/ 56 h 116" name="T55"/>
                <a:gd fmla="*/ 52 w 86" name="T56"/>
                <a:gd fmla="*/ 50 h 116" name="T57"/>
                <a:gd fmla="*/ 46 w 86" name="T58"/>
                <a:gd fmla="*/ 44 h 116" name="T59"/>
                <a:gd fmla="*/ 50 w 86" name="T60"/>
                <a:gd fmla="*/ 38 h 116" name="T61"/>
                <a:gd fmla="*/ 52 w 86" name="T62"/>
                <a:gd fmla="*/ 36 h 116" name="T63"/>
                <a:gd fmla="*/ 54 w 86" name="T64"/>
                <a:gd fmla="*/ 30 h 116" name="T65"/>
                <a:gd fmla="*/ 52 w 86" name="T66"/>
                <a:gd fmla="*/ 24 h 116" name="T67"/>
                <a:gd fmla="*/ 40 w 86" name="T68"/>
                <a:gd fmla="*/ 16 h 116" name="T69"/>
                <a:gd fmla="*/ 36 w 86" name="T70"/>
                <a:gd fmla="*/ 4 h 116" name="T71"/>
                <a:gd fmla="*/ 34 w 86" name="T72"/>
                <a:gd fmla="*/ 0 h 116" name="T73"/>
                <a:gd fmla="*/ 28 w 86" name="T74"/>
                <a:gd fmla="*/ 0 h 116" name="T75"/>
                <a:gd fmla="*/ 24 w 86" name="T76"/>
                <a:gd fmla="*/ 4 h 116" name="T77"/>
                <a:gd fmla="*/ 24 w 86" name="T78"/>
                <a:gd fmla="*/ 10 h 116" name="T79"/>
                <a:gd fmla="*/ 24 w 86" name="T80"/>
                <a:gd fmla="*/ 18 h 116" name="T81"/>
                <a:gd fmla="*/ 22 w 86" name="T82"/>
                <a:gd fmla="*/ 20 h 116" name="T83"/>
                <a:gd fmla="*/ 18 w 86" name="T84"/>
                <a:gd fmla="*/ 20 h 116" name="T85"/>
                <a:gd fmla="*/ 12 w 86" name="T86"/>
                <a:gd fmla="*/ 22 h 116" name="T87"/>
                <a:gd fmla="*/ 0 w 86" name="T88"/>
                <a:gd fmla="*/ 26 h 116" name="T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b="b" l="0" r="r" t="0"/>
              <a:pathLst>
                <a:path h="115" w="86">
                  <a:moveTo>
                    <a:pt x="0" y="26"/>
                  </a:moveTo>
                  <a:lnTo>
                    <a:pt x="2" y="26"/>
                  </a:lnTo>
                  <a:lnTo>
                    <a:pt x="4" y="26"/>
                  </a:lnTo>
                  <a:lnTo>
                    <a:pt x="8" y="28"/>
                  </a:lnTo>
                  <a:lnTo>
                    <a:pt x="8" y="30"/>
                  </a:lnTo>
                  <a:lnTo>
                    <a:pt x="10" y="32"/>
                  </a:lnTo>
                  <a:lnTo>
                    <a:pt x="10" y="36"/>
                  </a:lnTo>
                  <a:lnTo>
                    <a:pt x="10" y="36"/>
                  </a:lnTo>
                  <a:lnTo>
                    <a:pt x="20" y="36"/>
                  </a:lnTo>
                  <a:lnTo>
                    <a:pt x="22" y="40"/>
                  </a:lnTo>
                  <a:lnTo>
                    <a:pt x="22" y="44"/>
                  </a:lnTo>
                  <a:lnTo>
                    <a:pt x="22" y="48"/>
                  </a:lnTo>
                  <a:lnTo>
                    <a:pt x="20" y="54"/>
                  </a:lnTo>
                  <a:lnTo>
                    <a:pt x="20" y="58"/>
                  </a:lnTo>
                  <a:lnTo>
                    <a:pt x="18" y="60"/>
                  </a:lnTo>
                  <a:lnTo>
                    <a:pt x="18" y="60"/>
                  </a:lnTo>
                  <a:lnTo>
                    <a:pt x="18" y="62"/>
                  </a:lnTo>
                  <a:lnTo>
                    <a:pt x="20" y="62"/>
                  </a:lnTo>
                  <a:lnTo>
                    <a:pt x="24" y="62"/>
                  </a:lnTo>
                  <a:lnTo>
                    <a:pt x="26" y="60"/>
                  </a:lnTo>
                  <a:lnTo>
                    <a:pt x="30" y="58"/>
                  </a:lnTo>
                  <a:lnTo>
                    <a:pt x="32" y="56"/>
                  </a:lnTo>
                  <a:lnTo>
                    <a:pt x="34" y="56"/>
                  </a:lnTo>
                  <a:lnTo>
                    <a:pt x="38" y="56"/>
                  </a:lnTo>
                  <a:lnTo>
                    <a:pt x="40" y="58"/>
                  </a:lnTo>
                  <a:lnTo>
                    <a:pt x="42" y="58"/>
                  </a:lnTo>
                  <a:lnTo>
                    <a:pt x="44" y="60"/>
                  </a:lnTo>
                  <a:lnTo>
                    <a:pt x="50" y="66"/>
                  </a:lnTo>
                  <a:lnTo>
                    <a:pt x="54" y="72"/>
                  </a:lnTo>
                  <a:lnTo>
                    <a:pt x="58" y="78"/>
                  </a:lnTo>
                  <a:lnTo>
                    <a:pt x="60" y="84"/>
                  </a:lnTo>
                  <a:lnTo>
                    <a:pt x="60" y="86"/>
                  </a:lnTo>
                  <a:lnTo>
                    <a:pt x="60" y="88"/>
                  </a:lnTo>
                  <a:lnTo>
                    <a:pt x="62" y="94"/>
                  </a:lnTo>
                  <a:lnTo>
                    <a:pt x="62" y="100"/>
                  </a:lnTo>
                  <a:lnTo>
                    <a:pt x="62" y="104"/>
                  </a:lnTo>
                  <a:lnTo>
                    <a:pt x="62" y="108"/>
                  </a:lnTo>
                  <a:lnTo>
                    <a:pt x="60" y="110"/>
                  </a:lnTo>
                  <a:lnTo>
                    <a:pt x="68" y="116"/>
                  </a:lnTo>
                  <a:lnTo>
                    <a:pt x="70" y="114"/>
                  </a:lnTo>
                  <a:lnTo>
                    <a:pt x="72" y="114"/>
                  </a:lnTo>
                  <a:lnTo>
                    <a:pt x="78" y="114"/>
                  </a:lnTo>
                  <a:lnTo>
                    <a:pt x="82" y="114"/>
                  </a:lnTo>
                  <a:lnTo>
                    <a:pt x="86" y="114"/>
                  </a:lnTo>
                  <a:lnTo>
                    <a:pt x="86" y="110"/>
                  </a:lnTo>
                  <a:lnTo>
                    <a:pt x="86" y="100"/>
                  </a:lnTo>
                  <a:lnTo>
                    <a:pt x="84" y="88"/>
                  </a:lnTo>
                  <a:lnTo>
                    <a:pt x="80" y="78"/>
                  </a:lnTo>
                  <a:lnTo>
                    <a:pt x="76" y="74"/>
                  </a:lnTo>
                  <a:lnTo>
                    <a:pt x="72" y="70"/>
                  </a:lnTo>
                  <a:lnTo>
                    <a:pt x="68" y="66"/>
                  </a:lnTo>
                  <a:lnTo>
                    <a:pt x="64" y="62"/>
                  </a:lnTo>
                  <a:lnTo>
                    <a:pt x="62" y="60"/>
                  </a:lnTo>
                  <a:lnTo>
                    <a:pt x="60" y="58"/>
                  </a:lnTo>
                  <a:lnTo>
                    <a:pt x="60" y="58"/>
                  </a:lnTo>
                  <a:lnTo>
                    <a:pt x="58" y="56"/>
                  </a:lnTo>
                  <a:lnTo>
                    <a:pt x="54" y="54"/>
                  </a:lnTo>
                  <a:lnTo>
                    <a:pt x="52" y="50"/>
                  </a:lnTo>
                  <a:lnTo>
                    <a:pt x="48" y="48"/>
                  </a:lnTo>
                  <a:lnTo>
                    <a:pt x="46" y="44"/>
                  </a:lnTo>
                  <a:lnTo>
                    <a:pt x="48" y="40"/>
                  </a:lnTo>
                  <a:lnTo>
                    <a:pt x="50" y="38"/>
                  </a:lnTo>
                  <a:lnTo>
                    <a:pt x="50" y="38"/>
                  </a:lnTo>
                  <a:lnTo>
                    <a:pt x="52" y="36"/>
                  </a:lnTo>
                  <a:lnTo>
                    <a:pt x="52" y="34"/>
                  </a:lnTo>
                  <a:lnTo>
                    <a:pt x="54" y="30"/>
                  </a:lnTo>
                  <a:lnTo>
                    <a:pt x="54" y="26"/>
                  </a:lnTo>
                  <a:lnTo>
                    <a:pt x="52" y="24"/>
                  </a:lnTo>
                  <a:lnTo>
                    <a:pt x="50" y="20"/>
                  </a:lnTo>
                  <a:lnTo>
                    <a:pt x="40" y="16"/>
                  </a:lnTo>
                  <a:lnTo>
                    <a:pt x="38" y="4"/>
                  </a:lnTo>
                  <a:lnTo>
                    <a:pt x="36" y="4"/>
                  </a:lnTo>
                  <a:lnTo>
                    <a:pt x="36" y="2"/>
                  </a:lnTo>
                  <a:lnTo>
                    <a:pt x="34" y="0"/>
                  </a:lnTo>
                  <a:lnTo>
                    <a:pt x="30" y="0"/>
                  </a:lnTo>
                  <a:lnTo>
                    <a:pt x="28" y="0"/>
                  </a:lnTo>
                  <a:lnTo>
                    <a:pt x="24" y="2"/>
                  </a:lnTo>
                  <a:lnTo>
                    <a:pt x="24" y="4"/>
                  </a:lnTo>
                  <a:lnTo>
                    <a:pt x="24" y="6"/>
                  </a:lnTo>
                  <a:lnTo>
                    <a:pt x="24" y="10"/>
                  </a:lnTo>
                  <a:lnTo>
                    <a:pt x="24" y="14"/>
                  </a:lnTo>
                  <a:lnTo>
                    <a:pt x="24" y="18"/>
                  </a:lnTo>
                  <a:lnTo>
                    <a:pt x="24" y="20"/>
                  </a:lnTo>
                  <a:lnTo>
                    <a:pt x="22" y="20"/>
                  </a:lnTo>
                  <a:lnTo>
                    <a:pt x="20" y="20"/>
                  </a:lnTo>
                  <a:lnTo>
                    <a:pt x="18" y="20"/>
                  </a:lnTo>
                  <a:lnTo>
                    <a:pt x="14" y="22"/>
                  </a:lnTo>
                  <a:lnTo>
                    <a:pt x="12" y="22"/>
                  </a:lnTo>
                  <a:lnTo>
                    <a:pt x="12" y="22"/>
                  </a:lnTo>
                  <a:lnTo>
                    <a:pt x="0" y="2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6" name="Freeform 383"/>
            <p:cNvSpPr/>
            <p:nvPr/>
          </p:nvSpPr>
          <p:spPr bwMode="gray">
            <a:xfrm>
              <a:off x="2212597" y="3799406"/>
              <a:ext cx="370279" cy="321926"/>
            </a:xfrm>
            <a:custGeom>
              <a:gdLst>
                <a:gd fmla="*/ 150 w 200" name="T0"/>
                <a:gd fmla="*/ 2 h 174" name="T1"/>
                <a:gd fmla="*/ 142 w 200" name="T2"/>
                <a:gd fmla="*/ 10 h 174" name="T3"/>
                <a:gd fmla="*/ 122 w 200" name="T4"/>
                <a:gd fmla="*/ 28 h 174" name="T5"/>
                <a:gd fmla="*/ 118 w 200" name="T6"/>
                <a:gd fmla="*/ 30 h 174" name="T7"/>
                <a:gd fmla="*/ 110 w 200" name="T8"/>
                <a:gd fmla="*/ 36 h 174" name="T9"/>
                <a:gd fmla="*/ 92 w 200" name="T10"/>
                <a:gd fmla="*/ 66 h 174" name="T11"/>
                <a:gd fmla="*/ 82 w 200" name="T12"/>
                <a:gd fmla="*/ 66 h 174" name="T13"/>
                <a:gd fmla="*/ 66 w 200" name="T14"/>
                <a:gd fmla="*/ 70 h 174" name="T15"/>
                <a:gd fmla="*/ 56 w 200" name="T16"/>
                <a:gd fmla="*/ 82 h 174" name="T17"/>
                <a:gd fmla="*/ 46 w 200" name="T18"/>
                <a:gd fmla="*/ 90 h 174" name="T19"/>
                <a:gd fmla="*/ 40 w 200" name="T20"/>
                <a:gd fmla="*/ 94 h 174" name="T21"/>
                <a:gd fmla="*/ 8 w 200" name="T22"/>
                <a:gd fmla="*/ 98 h 174" name="T23"/>
                <a:gd fmla="*/ 14 w 200" name="T24"/>
                <a:gd fmla="*/ 120 h 174" name="T25"/>
                <a:gd fmla="*/ 12 w 200" name="T26"/>
                <a:gd fmla="*/ 132 h 174" name="T27"/>
                <a:gd fmla="*/ 4 w 200" name="T28"/>
                <a:gd fmla="*/ 144 h 174" name="T29"/>
                <a:gd fmla="*/ 4 w 200" name="T30"/>
                <a:gd fmla="*/ 154 h 174" name="T31"/>
                <a:gd fmla="*/ 8 w 200" name="T32"/>
                <a:gd fmla="*/ 162 h 174" name="T33"/>
                <a:gd fmla="*/ 18 w 200" name="T34"/>
                <a:gd fmla="*/ 158 h 174" name="T35"/>
                <a:gd fmla="*/ 30 w 200" name="T36"/>
                <a:gd fmla="*/ 156 h 174" name="T37"/>
                <a:gd fmla="*/ 44 w 200" name="T38"/>
                <a:gd fmla="*/ 158 h 174" name="T39"/>
                <a:gd fmla="*/ 48 w 200" name="T40"/>
                <a:gd fmla="*/ 158 h 174" name="T41"/>
                <a:gd fmla="*/ 60 w 200" name="T42"/>
                <a:gd fmla="*/ 160 h 174" name="T43"/>
                <a:gd fmla="*/ 76 w 200" name="T44"/>
                <a:gd fmla="*/ 174 h 174" name="T45"/>
                <a:gd fmla="*/ 94 w 200" name="T46"/>
                <a:gd fmla="*/ 156 h 174" name="T47"/>
                <a:gd fmla="*/ 114 w 200" name="T48"/>
                <a:gd fmla="*/ 154 h 174" name="T49"/>
                <a:gd fmla="*/ 114 w 200" name="T50"/>
                <a:gd fmla="*/ 130 h 174" name="T51"/>
                <a:gd fmla="*/ 116 w 200" name="T52"/>
                <a:gd fmla="*/ 112 h 174" name="T53"/>
                <a:gd fmla="*/ 152 w 200" name="T54"/>
                <a:gd fmla="*/ 82 h 174" name="T55"/>
                <a:gd fmla="*/ 156 w 200" name="T56"/>
                <a:gd fmla="*/ 76 h 174" name="T57"/>
                <a:gd fmla="*/ 164 w 200" name="T58"/>
                <a:gd fmla="*/ 66 h 174" name="T59"/>
                <a:gd fmla="*/ 172 w 200" name="T60"/>
                <a:gd fmla="*/ 60 h 174" name="T61"/>
                <a:gd fmla="*/ 172 w 200" name="T62"/>
                <a:gd fmla="*/ 52 h 174" name="T63"/>
                <a:gd fmla="*/ 178 w 200" name="T64"/>
                <a:gd fmla="*/ 46 h 174" name="T65"/>
                <a:gd fmla="*/ 188 w 200" name="T66"/>
                <a:gd fmla="*/ 44 h 174" name="T67"/>
                <a:gd fmla="*/ 200 w 200" name="T68"/>
                <a:gd fmla="*/ 46 h 174" name="T69"/>
                <a:gd fmla="*/ 198 w 200" name="T70"/>
                <a:gd fmla="*/ 42 h 174" name="T71"/>
                <a:gd fmla="*/ 192 w 200" name="T72"/>
                <a:gd fmla="*/ 38 h 174" name="T73"/>
                <a:gd fmla="*/ 184 w 200" name="T74"/>
                <a:gd fmla="*/ 36 h 174" name="T75"/>
                <a:gd fmla="*/ 180 w 200" name="T76"/>
                <a:gd fmla="*/ 32 h 174" name="T77"/>
                <a:gd fmla="*/ 172 w 200" name="T78"/>
                <a:gd fmla="*/ 26 h 174" name="T79"/>
                <a:gd fmla="*/ 160 w 200" name="T80"/>
                <a:gd fmla="*/ 28 h 174" name="T81"/>
                <a:gd fmla="*/ 156 w 200" name="T82"/>
                <a:gd fmla="*/ 18 h 174" name="T83"/>
                <a:gd fmla="*/ 154 w 200" name="T84"/>
                <a:gd fmla="*/ 0 h 174"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174" w="200">
                  <a:moveTo>
                    <a:pt x="154" y="0"/>
                  </a:moveTo>
                  <a:lnTo>
                    <a:pt x="154" y="2"/>
                  </a:lnTo>
                  <a:lnTo>
                    <a:pt x="150" y="2"/>
                  </a:lnTo>
                  <a:lnTo>
                    <a:pt x="148" y="4"/>
                  </a:lnTo>
                  <a:lnTo>
                    <a:pt x="144" y="8"/>
                  </a:lnTo>
                  <a:lnTo>
                    <a:pt x="142" y="10"/>
                  </a:lnTo>
                  <a:lnTo>
                    <a:pt x="142" y="14"/>
                  </a:lnTo>
                  <a:lnTo>
                    <a:pt x="126" y="18"/>
                  </a:lnTo>
                  <a:lnTo>
                    <a:pt x="122" y="28"/>
                  </a:lnTo>
                  <a:lnTo>
                    <a:pt x="122" y="28"/>
                  </a:lnTo>
                  <a:lnTo>
                    <a:pt x="120" y="28"/>
                  </a:lnTo>
                  <a:lnTo>
                    <a:pt x="118" y="30"/>
                  </a:lnTo>
                  <a:lnTo>
                    <a:pt x="116" y="30"/>
                  </a:lnTo>
                  <a:lnTo>
                    <a:pt x="112" y="32"/>
                  </a:lnTo>
                  <a:lnTo>
                    <a:pt x="110" y="36"/>
                  </a:lnTo>
                  <a:lnTo>
                    <a:pt x="110" y="40"/>
                  </a:lnTo>
                  <a:lnTo>
                    <a:pt x="110" y="46"/>
                  </a:lnTo>
                  <a:lnTo>
                    <a:pt x="92" y="66"/>
                  </a:lnTo>
                  <a:lnTo>
                    <a:pt x="90" y="66"/>
                  </a:lnTo>
                  <a:lnTo>
                    <a:pt x="86" y="66"/>
                  </a:lnTo>
                  <a:lnTo>
                    <a:pt x="82" y="66"/>
                  </a:lnTo>
                  <a:lnTo>
                    <a:pt x="76" y="66"/>
                  </a:lnTo>
                  <a:lnTo>
                    <a:pt x="72" y="68"/>
                  </a:lnTo>
                  <a:lnTo>
                    <a:pt x="66" y="70"/>
                  </a:lnTo>
                  <a:lnTo>
                    <a:pt x="62" y="74"/>
                  </a:lnTo>
                  <a:lnTo>
                    <a:pt x="60" y="78"/>
                  </a:lnTo>
                  <a:lnTo>
                    <a:pt x="56" y="82"/>
                  </a:lnTo>
                  <a:lnTo>
                    <a:pt x="52" y="86"/>
                  </a:lnTo>
                  <a:lnTo>
                    <a:pt x="48" y="88"/>
                  </a:lnTo>
                  <a:lnTo>
                    <a:pt x="46" y="90"/>
                  </a:lnTo>
                  <a:lnTo>
                    <a:pt x="44" y="92"/>
                  </a:lnTo>
                  <a:lnTo>
                    <a:pt x="42" y="92"/>
                  </a:lnTo>
                  <a:lnTo>
                    <a:pt x="40" y="94"/>
                  </a:lnTo>
                  <a:lnTo>
                    <a:pt x="32" y="96"/>
                  </a:lnTo>
                  <a:lnTo>
                    <a:pt x="20" y="98"/>
                  </a:lnTo>
                  <a:lnTo>
                    <a:pt x="8" y="98"/>
                  </a:lnTo>
                  <a:lnTo>
                    <a:pt x="0" y="96"/>
                  </a:lnTo>
                  <a:lnTo>
                    <a:pt x="12" y="116"/>
                  </a:lnTo>
                  <a:lnTo>
                    <a:pt x="14" y="120"/>
                  </a:lnTo>
                  <a:lnTo>
                    <a:pt x="14" y="130"/>
                  </a:lnTo>
                  <a:lnTo>
                    <a:pt x="14" y="130"/>
                  </a:lnTo>
                  <a:lnTo>
                    <a:pt x="12" y="132"/>
                  </a:lnTo>
                  <a:lnTo>
                    <a:pt x="8" y="134"/>
                  </a:lnTo>
                  <a:lnTo>
                    <a:pt x="6" y="138"/>
                  </a:lnTo>
                  <a:lnTo>
                    <a:pt x="4" y="144"/>
                  </a:lnTo>
                  <a:lnTo>
                    <a:pt x="4" y="146"/>
                  </a:lnTo>
                  <a:lnTo>
                    <a:pt x="4" y="150"/>
                  </a:lnTo>
                  <a:lnTo>
                    <a:pt x="4" y="154"/>
                  </a:lnTo>
                  <a:lnTo>
                    <a:pt x="6" y="158"/>
                  </a:lnTo>
                  <a:lnTo>
                    <a:pt x="8" y="162"/>
                  </a:lnTo>
                  <a:lnTo>
                    <a:pt x="8" y="162"/>
                  </a:lnTo>
                  <a:lnTo>
                    <a:pt x="10" y="160"/>
                  </a:lnTo>
                  <a:lnTo>
                    <a:pt x="14" y="160"/>
                  </a:lnTo>
                  <a:lnTo>
                    <a:pt x="18" y="158"/>
                  </a:lnTo>
                  <a:lnTo>
                    <a:pt x="22" y="158"/>
                  </a:lnTo>
                  <a:lnTo>
                    <a:pt x="24" y="156"/>
                  </a:lnTo>
                  <a:lnTo>
                    <a:pt x="30" y="156"/>
                  </a:lnTo>
                  <a:lnTo>
                    <a:pt x="34" y="158"/>
                  </a:lnTo>
                  <a:lnTo>
                    <a:pt x="40" y="158"/>
                  </a:lnTo>
                  <a:lnTo>
                    <a:pt x="44" y="158"/>
                  </a:lnTo>
                  <a:lnTo>
                    <a:pt x="44" y="158"/>
                  </a:lnTo>
                  <a:lnTo>
                    <a:pt x="46" y="158"/>
                  </a:lnTo>
                  <a:lnTo>
                    <a:pt x="48" y="158"/>
                  </a:lnTo>
                  <a:lnTo>
                    <a:pt x="52" y="158"/>
                  </a:lnTo>
                  <a:lnTo>
                    <a:pt x="56" y="160"/>
                  </a:lnTo>
                  <a:lnTo>
                    <a:pt x="60" y="160"/>
                  </a:lnTo>
                  <a:lnTo>
                    <a:pt x="64" y="162"/>
                  </a:lnTo>
                  <a:lnTo>
                    <a:pt x="66" y="166"/>
                  </a:lnTo>
                  <a:lnTo>
                    <a:pt x="76" y="174"/>
                  </a:lnTo>
                  <a:lnTo>
                    <a:pt x="92" y="156"/>
                  </a:lnTo>
                  <a:lnTo>
                    <a:pt x="92" y="156"/>
                  </a:lnTo>
                  <a:lnTo>
                    <a:pt x="94" y="156"/>
                  </a:lnTo>
                  <a:lnTo>
                    <a:pt x="96" y="154"/>
                  </a:lnTo>
                  <a:lnTo>
                    <a:pt x="100" y="154"/>
                  </a:lnTo>
                  <a:lnTo>
                    <a:pt x="114" y="154"/>
                  </a:lnTo>
                  <a:lnTo>
                    <a:pt x="120" y="154"/>
                  </a:lnTo>
                  <a:lnTo>
                    <a:pt x="122" y="134"/>
                  </a:lnTo>
                  <a:lnTo>
                    <a:pt x="114" y="130"/>
                  </a:lnTo>
                  <a:lnTo>
                    <a:pt x="114" y="128"/>
                  </a:lnTo>
                  <a:lnTo>
                    <a:pt x="114" y="122"/>
                  </a:lnTo>
                  <a:lnTo>
                    <a:pt x="116" y="112"/>
                  </a:lnTo>
                  <a:lnTo>
                    <a:pt x="120" y="102"/>
                  </a:lnTo>
                  <a:lnTo>
                    <a:pt x="132" y="92"/>
                  </a:lnTo>
                  <a:lnTo>
                    <a:pt x="152" y="82"/>
                  </a:lnTo>
                  <a:lnTo>
                    <a:pt x="152" y="82"/>
                  </a:lnTo>
                  <a:lnTo>
                    <a:pt x="154" y="80"/>
                  </a:lnTo>
                  <a:lnTo>
                    <a:pt x="156" y="76"/>
                  </a:lnTo>
                  <a:lnTo>
                    <a:pt x="160" y="72"/>
                  </a:lnTo>
                  <a:lnTo>
                    <a:pt x="162" y="70"/>
                  </a:lnTo>
                  <a:lnTo>
                    <a:pt x="164" y="66"/>
                  </a:lnTo>
                  <a:lnTo>
                    <a:pt x="164" y="62"/>
                  </a:lnTo>
                  <a:lnTo>
                    <a:pt x="172" y="62"/>
                  </a:lnTo>
                  <a:lnTo>
                    <a:pt x="172" y="60"/>
                  </a:lnTo>
                  <a:lnTo>
                    <a:pt x="170" y="58"/>
                  </a:lnTo>
                  <a:lnTo>
                    <a:pt x="170" y="56"/>
                  </a:lnTo>
                  <a:lnTo>
                    <a:pt x="172" y="52"/>
                  </a:lnTo>
                  <a:lnTo>
                    <a:pt x="174" y="50"/>
                  </a:lnTo>
                  <a:lnTo>
                    <a:pt x="176" y="46"/>
                  </a:lnTo>
                  <a:lnTo>
                    <a:pt x="178" y="46"/>
                  </a:lnTo>
                  <a:lnTo>
                    <a:pt x="180" y="46"/>
                  </a:lnTo>
                  <a:lnTo>
                    <a:pt x="184" y="44"/>
                  </a:lnTo>
                  <a:lnTo>
                    <a:pt x="188" y="44"/>
                  </a:lnTo>
                  <a:lnTo>
                    <a:pt x="192" y="44"/>
                  </a:lnTo>
                  <a:lnTo>
                    <a:pt x="196" y="46"/>
                  </a:lnTo>
                  <a:lnTo>
                    <a:pt x="200" y="46"/>
                  </a:lnTo>
                  <a:lnTo>
                    <a:pt x="200" y="46"/>
                  </a:lnTo>
                  <a:lnTo>
                    <a:pt x="200" y="44"/>
                  </a:lnTo>
                  <a:lnTo>
                    <a:pt x="198" y="42"/>
                  </a:lnTo>
                  <a:lnTo>
                    <a:pt x="196" y="40"/>
                  </a:lnTo>
                  <a:lnTo>
                    <a:pt x="192" y="38"/>
                  </a:lnTo>
                  <a:lnTo>
                    <a:pt x="192" y="38"/>
                  </a:lnTo>
                  <a:lnTo>
                    <a:pt x="190" y="38"/>
                  </a:lnTo>
                  <a:lnTo>
                    <a:pt x="186" y="36"/>
                  </a:lnTo>
                  <a:lnTo>
                    <a:pt x="184" y="36"/>
                  </a:lnTo>
                  <a:lnTo>
                    <a:pt x="182" y="34"/>
                  </a:lnTo>
                  <a:lnTo>
                    <a:pt x="182" y="32"/>
                  </a:lnTo>
                  <a:lnTo>
                    <a:pt x="180" y="32"/>
                  </a:lnTo>
                  <a:lnTo>
                    <a:pt x="178" y="30"/>
                  </a:lnTo>
                  <a:lnTo>
                    <a:pt x="176" y="28"/>
                  </a:lnTo>
                  <a:lnTo>
                    <a:pt x="172" y="26"/>
                  </a:lnTo>
                  <a:lnTo>
                    <a:pt x="166" y="26"/>
                  </a:lnTo>
                  <a:lnTo>
                    <a:pt x="160" y="28"/>
                  </a:lnTo>
                  <a:lnTo>
                    <a:pt x="160" y="28"/>
                  </a:lnTo>
                  <a:lnTo>
                    <a:pt x="158" y="26"/>
                  </a:lnTo>
                  <a:lnTo>
                    <a:pt x="156" y="22"/>
                  </a:lnTo>
                  <a:lnTo>
                    <a:pt x="156" y="18"/>
                  </a:lnTo>
                  <a:lnTo>
                    <a:pt x="156" y="14"/>
                  </a:lnTo>
                  <a:lnTo>
                    <a:pt x="172" y="0"/>
                  </a:lnTo>
                  <a:lnTo>
                    <a:pt x="154"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7" name="Freeform 384"/>
            <p:cNvSpPr/>
            <p:nvPr/>
          </p:nvSpPr>
          <p:spPr bwMode="gray">
            <a:xfrm>
              <a:off x="3097564" y="4561668"/>
              <a:ext cx="125895" cy="122110"/>
            </a:xfrm>
            <a:custGeom>
              <a:gdLst>
                <a:gd fmla="*/ 0 w 68" name="T0"/>
                <a:gd fmla="*/ 0 h 66" name="T1"/>
                <a:gd fmla="*/ 16 w 68" name="T2"/>
                <a:gd fmla="*/ 26 h 66" name="T3"/>
                <a:gd fmla="*/ 18 w 68" name="T4"/>
                <a:gd fmla="*/ 28 h 66" name="T5"/>
                <a:gd fmla="*/ 28 w 68" name="T6"/>
                <a:gd fmla="*/ 36 h 66" name="T7"/>
                <a:gd fmla="*/ 38 w 68" name="T8"/>
                <a:gd fmla="*/ 44 h 66" name="T9"/>
                <a:gd fmla="*/ 50 w 68" name="T10"/>
                <a:gd fmla="*/ 54 h 66" name="T11"/>
                <a:gd fmla="*/ 60 w 68" name="T12"/>
                <a:gd fmla="*/ 62 h 66" name="T13"/>
                <a:gd fmla="*/ 66 w 68" name="T14"/>
                <a:gd fmla="*/ 66 h 66" name="T15"/>
                <a:gd fmla="*/ 68 w 68" name="T16"/>
                <a:gd fmla="*/ 66 h 66" name="T17"/>
                <a:gd fmla="*/ 68 w 68" name="T18"/>
                <a:gd fmla="*/ 62 h 66" name="T19"/>
                <a:gd fmla="*/ 68 w 68" name="T20"/>
                <a:gd fmla="*/ 60 h 66" name="T21"/>
                <a:gd fmla="*/ 68 w 68" name="T22"/>
                <a:gd fmla="*/ 58 h 66" name="T23"/>
                <a:gd fmla="*/ 66 w 68" name="T24"/>
                <a:gd fmla="*/ 56 h 66" name="T25"/>
                <a:gd fmla="*/ 66 w 68" name="T26"/>
                <a:gd fmla="*/ 54 h 66" name="T27"/>
                <a:gd fmla="*/ 58 w 68" name="T28"/>
                <a:gd fmla="*/ 42 h 66" name="T29"/>
                <a:gd fmla="*/ 58 w 68" name="T30"/>
                <a:gd fmla="*/ 40 h 66" name="T31"/>
                <a:gd fmla="*/ 58 w 68" name="T32"/>
                <a:gd fmla="*/ 36 h 66" name="T33"/>
                <a:gd fmla="*/ 56 w 68" name="T34"/>
                <a:gd fmla="*/ 32 h 66" name="T35"/>
                <a:gd fmla="*/ 56 w 68" name="T36"/>
                <a:gd fmla="*/ 26 h 66" name="T37"/>
                <a:gd fmla="*/ 54 w 68" name="T38"/>
                <a:gd fmla="*/ 24 h 66" name="T39"/>
                <a:gd fmla="*/ 46 w 68" name="T40"/>
                <a:gd fmla="*/ 12 h 66" name="T41"/>
                <a:gd fmla="*/ 38 w 68" name="T42"/>
                <a:gd fmla="*/ 14 h 66" name="T43"/>
                <a:gd fmla="*/ 30 w 68" name="T44"/>
                <a:gd fmla="*/ 4 h 66" name="T45"/>
                <a:gd fmla="*/ 12 w 68" name="T46"/>
                <a:gd fmla="*/ 6 h 66" name="T47"/>
                <a:gd fmla="*/ 0 w 68" name="T48"/>
                <a:gd fmla="*/ 0 h 66"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66" w="68">
                  <a:moveTo>
                    <a:pt x="0" y="0"/>
                  </a:moveTo>
                  <a:lnTo>
                    <a:pt x="16" y="26"/>
                  </a:lnTo>
                  <a:lnTo>
                    <a:pt x="18" y="28"/>
                  </a:lnTo>
                  <a:lnTo>
                    <a:pt x="28" y="36"/>
                  </a:lnTo>
                  <a:lnTo>
                    <a:pt x="38" y="44"/>
                  </a:lnTo>
                  <a:lnTo>
                    <a:pt x="50" y="54"/>
                  </a:lnTo>
                  <a:lnTo>
                    <a:pt x="60" y="62"/>
                  </a:lnTo>
                  <a:lnTo>
                    <a:pt x="66" y="66"/>
                  </a:lnTo>
                  <a:lnTo>
                    <a:pt x="68" y="66"/>
                  </a:lnTo>
                  <a:lnTo>
                    <a:pt x="68" y="62"/>
                  </a:lnTo>
                  <a:lnTo>
                    <a:pt x="68" y="60"/>
                  </a:lnTo>
                  <a:lnTo>
                    <a:pt x="68" y="58"/>
                  </a:lnTo>
                  <a:lnTo>
                    <a:pt x="66" y="56"/>
                  </a:lnTo>
                  <a:lnTo>
                    <a:pt x="66" y="54"/>
                  </a:lnTo>
                  <a:lnTo>
                    <a:pt x="58" y="42"/>
                  </a:lnTo>
                  <a:lnTo>
                    <a:pt x="58" y="40"/>
                  </a:lnTo>
                  <a:lnTo>
                    <a:pt x="58" y="36"/>
                  </a:lnTo>
                  <a:lnTo>
                    <a:pt x="56" y="32"/>
                  </a:lnTo>
                  <a:lnTo>
                    <a:pt x="56" y="26"/>
                  </a:lnTo>
                  <a:lnTo>
                    <a:pt x="54" y="24"/>
                  </a:lnTo>
                  <a:lnTo>
                    <a:pt x="46" y="12"/>
                  </a:lnTo>
                  <a:lnTo>
                    <a:pt x="38" y="14"/>
                  </a:lnTo>
                  <a:lnTo>
                    <a:pt x="30" y="4"/>
                  </a:lnTo>
                  <a:lnTo>
                    <a:pt x="12" y="6"/>
                  </a:lnTo>
                  <a:lnTo>
                    <a:pt x="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8" name="Freeform 385"/>
            <p:cNvSpPr/>
            <p:nvPr/>
          </p:nvSpPr>
          <p:spPr bwMode="gray">
            <a:xfrm>
              <a:off x="2842072" y="4091730"/>
              <a:ext cx="99975" cy="103608"/>
            </a:xfrm>
            <a:custGeom>
              <a:gdLst>
                <a:gd fmla="*/ 54 w 54" name="T0"/>
                <a:gd fmla="*/ 56 h 56" name="T1"/>
                <a:gd fmla="*/ 48 w 54" name="T2"/>
                <a:gd fmla="*/ 44 h 56" name="T3"/>
                <a:gd fmla="*/ 48 w 54" name="T4"/>
                <a:gd fmla="*/ 44 h 56" name="T5"/>
                <a:gd fmla="*/ 48 w 54" name="T6"/>
                <a:gd fmla="*/ 42 h 56" name="T7"/>
                <a:gd fmla="*/ 44 w 54" name="T8"/>
                <a:gd fmla="*/ 40 h 56" name="T9"/>
                <a:gd fmla="*/ 40 w 54" name="T10"/>
                <a:gd fmla="*/ 38 h 56" name="T11"/>
                <a:gd fmla="*/ 40 w 54" name="T12"/>
                <a:gd fmla="*/ 38 h 56" name="T13"/>
                <a:gd fmla="*/ 38 w 54" name="T14"/>
                <a:gd fmla="*/ 36 h 56" name="T15"/>
                <a:gd fmla="*/ 34 w 54" name="T16"/>
                <a:gd fmla="*/ 36 h 56" name="T17"/>
                <a:gd fmla="*/ 28 w 54" name="T18"/>
                <a:gd fmla="*/ 36 h 56" name="T19"/>
                <a:gd fmla="*/ 24 w 54" name="T20"/>
                <a:gd fmla="*/ 38 h 56" name="T21"/>
                <a:gd fmla="*/ 20 w 54" name="T22"/>
                <a:gd fmla="*/ 40 h 56" name="T23"/>
                <a:gd fmla="*/ 20 w 54" name="T24"/>
                <a:gd fmla="*/ 42 h 56" name="T25"/>
                <a:gd fmla="*/ 18 w 54" name="T26"/>
                <a:gd fmla="*/ 42 h 56" name="T27"/>
                <a:gd fmla="*/ 18 w 54" name="T28"/>
                <a:gd fmla="*/ 44 h 56" name="T29"/>
                <a:gd fmla="*/ 16 w 54" name="T30"/>
                <a:gd fmla="*/ 44 h 56" name="T31"/>
                <a:gd fmla="*/ 12 w 54" name="T32"/>
                <a:gd fmla="*/ 46 h 56" name="T33"/>
                <a:gd fmla="*/ 6 w 54" name="T34"/>
                <a:gd fmla="*/ 46 h 56" name="T35"/>
                <a:gd fmla="*/ 6 w 54" name="T36"/>
                <a:gd fmla="*/ 32 h 56" name="T37"/>
                <a:gd fmla="*/ 6 w 54" name="T38"/>
                <a:gd fmla="*/ 32 h 56" name="T39"/>
                <a:gd fmla="*/ 6 w 54" name="T40"/>
                <a:gd fmla="*/ 30 h 56" name="T41"/>
                <a:gd fmla="*/ 4 w 54" name="T42"/>
                <a:gd fmla="*/ 26 h 56" name="T43"/>
                <a:gd fmla="*/ 2 w 54" name="T44"/>
                <a:gd fmla="*/ 26 h 56" name="T45"/>
                <a:gd fmla="*/ 2 w 54" name="T46"/>
                <a:gd fmla="*/ 24 h 56" name="T47"/>
                <a:gd fmla="*/ 0 w 54" name="T48"/>
                <a:gd fmla="*/ 22 h 56" name="T49"/>
                <a:gd fmla="*/ 0 w 54" name="T50"/>
                <a:gd fmla="*/ 18 h 56" name="T51"/>
                <a:gd fmla="*/ 0 w 54" name="T52"/>
                <a:gd fmla="*/ 14 h 56" name="T53"/>
                <a:gd fmla="*/ 2 w 54" name="T54"/>
                <a:gd fmla="*/ 12 h 56" name="T55"/>
                <a:gd fmla="*/ 2 w 54" name="T56"/>
                <a:gd fmla="*/ 10 h 56" name="T57"/>
                <a:gd fmla="*/ 2 w 54" name="T58"/>
                <a:gd fmla="*/ 8 h 56" name="T59"/>
                <a:gd fmla="*/ 4 w 54" name="T60"/>
                <a:gd fmla="*/ 4 h 56" name="T61"/>
                <a:gd fmla="*/ 4 w 54" name="T62"/>
                <a:gd fmla="*/ 2 h 56" name="T63"/>
                <a:gd fmla="*/ 6 w 54" name="T64"/>
                <a:gd fmla="*/ 0 h 56" name="T65"/>
                <a:gd fmla="*/ 10 w 54" name="T66"/>
                <a:gd fmla="*/ 0 h 56" name="T67"/>
                <a:gd fmla="*/ 18 w 54" name="T68"/>
                <a:gd fmla="*/ 0 h 56" name="T69"/>
                <a:gd fmla="*/ 24 w 54" name="T70"/>
                <a:gd fmla="*/ 0 h 56" name="T71"/>
                <a:gd fmla="*/ 24 w 54" name="T72"/>
                <a:gd fmla="*/ 0 h 56" name="T73"/>
                <a:gd fmla="*/ 26 w 54" name="T74"/>
                <a:gd fmla="*/ 0 h 56" name="T75"/>
                <a:gd fmla="*/ 26 w 54" name="T76"/>
                <a:gd fmla="*/ 0 h 56" name="T77"/>
                <a:gd fmla="*/ 28 w 54" name="T78"/>
                <a:gd fmla="*/ 2 h 56" name="T79"/>
                <a:gd fmla="*/ 30 w 54" name="T80"/>
                <a:gd fmla="*/ 6 h 56" name="T81"/>
                <a:gd fmla="*/ 30 w 54" name="T82"/>
                <a:gd fmla="*/ 14 h 56" name="T83"/>
                <a:gd fmla="*/ 34 w 54" name="T84"/>
                <a:gd fmla="*/ 28 h 56" name="T85"/>
                <a:gd fmla="*/ 36 w 54" name="T86"/>
                <a:gd fmla="*/ 26 h 56" name="T87"/>
                <a:gd fmla="*/ 36 w 54" name="T88"/>
                <a:gd fmla="*/ 26 h 56" name="T89"/>
                <a:gd fmla="*/ 38 w 54" name="T90"/>
                <a:gd fmla="*/ 24 h 56" name="T91"/>
                <a:gd fmla="*/ 40 w 54" name="T92"/>
                <a:gd fmla="*/ 20 h 56" name="T93"/>
                <a:gd fmla="*/ 40 w 54" name="T94"/>
                <a:gd fmla="*/ 18 h 56" name="T95"/>
                <a:gd fmla="*/ 42 w 54" name="T96"/>
                <a:gd fmla="*/ 14 h 56" name="T97"/>
                <a:gd fmla="*/ 44 w 54" name="T98"/>
                <a:gd fmla="*/ 12 h 56" name="T99"/>
                <a:gd fmla="*/ 44 w 54" name="T100"/>
                <a:gd fmla="*/ 12 h 56" name="T101"/>
                <a:gd fmla="*/ 46 w 54" name="T102"/>
                <a:gd fmla="*/ 12 h 56" name="T103"/>
                <a:gd fmla="*/ 48 w 54" name="T104"/>
                <a:gd fmla="*/ 14 h 56" name="T105"/>
                <a:gd fmla="*/ 48 w 54" name="T106"/>
                <a:gd fmla="*/ 18 h 56" name="T107"/>
                <a:gd fmla="*/ 52 w 54" name="T108"/>
                <a:gd fmla="*/ 34 h 56" name="T109"/>
                <a:gd fmla="*/ 54 w 54" name="T110"/>
                <a:gd fmla="*/ 46 h 56" name="T111"/>
                <a:gd fmla="*/ 54 w 54" name="T112"/>
                <a:gd fmla="*/ 56 h 56"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56" w="54">
                  <a:moveTo>
                    <a:pt x="54" y="56"/>
                  </a:moveTo>
                  <a:lnTo>
                    <a:pt x="48" y="44"/>
                  </a:lnTo>
                  <a:lnTo>
                    <a:pt x="48" y="44"/>
                  </a:lnTo>
                  <a:lnTo>
                    <a:pt x="48" y="42"/>
                  </a:lnTo>
                  <a:lnTo>
                    <a:pt x="44" y="40"/>
                  </a:lnTo>
                  <a:lnTo>
                    <a:pt x="40" y="38"/>
                  </a:lnTo>
                  <a:lnTo>
                    <a:pt x="40" y="38"/>
                  </a:lnTo>
                  <a:lnTo>
                    <a:pt x="38" y="36"/>
                  </a:lnTo>
                  <a:lnTo>
                    <a:pt x="34" y="36"/>
                  </a:lnTo>
                  <a:lnTo>
                    <a:pt x="28" y="36"/>
                  </a:lnTo>
                  <a:lnTo>
                    <a:pt x="24" y="38"/>
                  </a:lnTo>
                  <a:lnTo>
                    <a:pt x="20" y="40"/>
                  </a:lnTo>
                  <a:lnTo>
                    <a:pt x="20" y="42"/>
                  </a:lnTo>
                  <a:lnTo>
                    <a:pt x="18" y="42"/>
                  </a:lnTo>
                  <a:lnTo>
                    <a:pt x="18" y="44"/>
                  </a:lnTo>
                  <a:lnTo>
                    <a:pt x="16" y="44"/>
                  </a:lnTo>
                  <a:lnTo>
                    <a:pt x="12" y="46"/>
                  </a:lnTo>
                  <a:lnTo>
                    <a:pt x="6" y="46"/>
                  </a:lnTo>
                  <a:lnTo>
                    <a:pt x="6" y="32"/>
                  </a:lnTo>
                  <a:lnTo>
                    <a:pt x="6" y="32"/>
                  </a:lnTo>
                  <a:lnTo>
                    <a:pt x="6" y="30"/>
                  </a:lnTo>
                  <a:lnTo>
                    <a:pt x="4" y="26"/>
                  </a:lnTo>
                  <a:lnTo>
                    <a:pt x="2" y="26"/>
                  </a:lnTo>
                  <a:lnTo>
                    <a:pt x="2" y="24"/>
                  </a:lnTo>
                  <a:lnTo>
                    <a:pt x="0" y="22"/>
                  </a:lnTo>
                  <a:lnTo>
                    <a:pt x="0" y="18"/>
                  </a:lnTo>
                  <a:lnTo>
                    <a:pt x="0" y="14"/>
                  </a:lnTo>
                  <a:lnTo>
                    <a:pt x="2" y="12"/>
                  </a:lnTo>
                  <a:lnTo>
                    <a:pt x="2" y="10"/>
                  </a:lnTo>
                  <a:lnTo>
                    <a:pt x="2" y="8"/>
                  </a:lnTo>
                  <a:lnTo>
                    <a:pt x="4" y="4"/>
                  </a:lnTo>
                  <a:lnTo>
                    <a:pt x="4" y="2"/>
                  </a:lnTo>
                  <a:lnTo>
                    <a:pt x="6" y="0"/>
                  </a:lnTo>
                  <a:lnTo>
                    <a:pt x="10" y="0"/>
                  </a:lnTo>
                  <a:lnTo>
                    <a:pt x="18" y="0"/>
                  </a:lnTo>
                  <a:lnTo>
                    <a:pt x="24" y="0"/>
                  </a:lnTo>
                  <a:lnTo>
                    <a:pt x="24" y="0"/>
                  </a:lnTo>
                  <a:lnTo>
                    <a:pt x="26" y="0"/>
                  </a:lnTo>
                  <a:lnTo>
                    <a:pt x="26" y="0"/>
                  </a:lnTo>
                  <a:lnTo>
                    <a:pt x="28" y="2"/>
                  </a:lnTo>
                  <a:lnTo>
                    <a:pt x="30" y="6"/>
                  </a:lnTo>
                  <a:lnTo>
                    <a:pt x="30" y="14"/>
                  </a:lnTo>
                  <a:lnTo>
                    <a:pt x="34" y="28"/>
                  </a:lnTo>
                  <a:lnTo>
                    <a:pt x="36" y="26"/>
                  </a:lnTo>
                  <a:lnTo>
                    <a:pt x="36" y="26"/>
                  </a:lnTo>
                  <a:lnTo>
                    <a:pt x="38" y="24"/>
                  </a:lnTo>
                  <a:lnTo>
                    <a:pt x="40" y="20"/>
                  </a:lnTo>
                  <a:lnTo>
                    <a:pt x="40" y="18"/>
                  </a:lnTo>
                  <a:lnTo>
                    <a:pt x="42" y="14"/>
                  </a:lnTo>
                  <a:lnTo>
                    <a:pt x="44" y="12"/>
                  </a:lnTo>
                  <a:lnTo>
                    <a:pt x="44" y="12"/>
                  </a:lnTo>
                  <a:lnTo>
                    <a:pt x="46" y="12"/>
                  </a:lnTo>
                  <a:lnTo>
                    <a:pt x="48" y="14"/>
                  </a:lnTo>
                  <a:lnTo>
                    <a:pt x="48" y="18"/>
                  </a:lnTo>
                  <a:lnTo>
                    <a:pt x="52" y="34"/>
                  </a:lnTo>
                  <a:lnTo>
                    <a:pt x="54" y="46"/>
                  </a:lnTo>
                  <a:lnTo>
                    <a:pt x="54" y="5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29" name="Freeform 386"/>
            <p:cNvSpPr/>
            <p:nvPr/>
          </p:nvSpPr>
          <p:spPr bwMode="gray">
            <a:xfrm>
              <a:off x="2934642" y="4021424"/>
              <a:ext cx="185140" cy="503241"/>
            </a:xfrm>
            <a:custGeom>
              <a:gdLst>
                <a:gd fmla="*/ 40 w 100" name="T0"/>
                <a:gd fmla="*/ 170 h 272" name="T1"/>
                <a:gd fmla="*/ 26 w 100" name="T2"/>
                <a:gd fmla="*/ 166 h 272" name="T3"/>
                <a:gd fmla="*/ 26 w 100" name="T4"/>
                <a:gd fmla="*/ 156 h 272" name="T5"/>
                <a:gd fmla="*/ 26 w 100" name="T6"/>
                <a:gd fmla="*/ 142 h 272" name="T7"/>
                <a:gd fmla="*/ 24 w 100" name="T8"/>
                <a:gd fmla="*/ 136 h 272" name="T9"/>
                <a:gd fmla="*/ 20 w 100" name="T10"/>
                <a:gd fmla="*/ 130 h 272" name="T11"/>
                <a:gd fmla="*/ 16 w 100" name="T12"/>
                <a:gd fmla="*/ 120 h 272" name="T13"/>
                <a:gd fmla="*/ 10 w 100" name="T14"/>
                <a:gd fmla="*/ 112 h 272" name="T15"/>
                <a:gd fmla="*/ 8 w 100" name="T16"/>
                <a:gd fmla="*/ 108 h 272" name="T17"/>
                <a:gd fmla="*/ 4 w 100" name="T18"/>
                <a:gd fmla="*/ 102 h 272" name="T19"/>
                <a:gd fmla="*/ 2 w 100" name="T20"/>
                <a:gd fmla="*/ 94 h 272" name="T21"/>
                <a:gd fmla="*/ 2 w 100" name="T22"/>
                <a:gd fmla="*/ 90 h 272" name="T23"/>
                <a:gd fmla="*/ 4 w 100" name="T24"/>
                <a:gd fmla="*/ 82 h 272" name="T25"/>
                <a:gd fmla="*/ 2 w 100" name="T26"/>
                <a:gd fmla="*/ 78 h 272" name="T27"/>
                <a:gd fmla="*/ 0 w 100" name="T28"/>
                <a:gd fmla="*/ 74 h 272" name="T29"/>
                <a:gd fmla="*/ 2 w 100" name="T30"/>
                <a:gd fmla="*/ 70 h 272" name="T31"/>
                <a:gd fmla="*/ 4 w 100" name="T32"/>
                <a:gd fmla="*/ 72 h 272" name="T33"/>
                <a:gd fmla="*/ 6 w 100" name="T34"/>
                <a:gd fmla="*/ 72 h 272" name="T35"/>
                <a:gd fmla="*/ 8 w 100" name="T36"/>
                <a:gd fmla="*/ 74 h 272" name="T37"/>
                <a:gd fmla="*/ 10 w 100" name="T38"/>
                <a:gd fmla="*/ 70 h 272" name="T39"/>
                <a:gd fmla="*/ 6 w 100" name="T40"/>
                <a:gd fmla="*/ 56 h 272" name="T41"/>
                <a:gd fmla="*/ 8 w 100" name="T42"/>
                <a:gd fmla="*/ 56 h 272" name="T43"/>
                <a:gd fmla="*/ 10 w 100" name="T44"/>
                <a:gd fmla="*/ 58 h 272" name="T45"/>
                <a:gd fmla="*/ 16 w 100" name="T46"/>
                <a:gd fmla="*/ 60 h 272" name="T47"/>
                <a:gd fmla="*/ 22 w 100" name="T48"/>
                <a:gd fmla="*/ 58 h 272" name="T49"/>
                <a:gd fmla="*/ 22 w 100" name="T50"/>
                <a:gd fmla="*/ 56 h 272" name="T51"/>
                <a:gd fmla="*/ 26 w 100" name="T52"/>
                <a:gd fmla="*/ 54 h 272" name="T53"/>
                <a:gd fmla="*/ 28 w 100" name="T54"/>
                <a:gd fmla="*/ 48 h 272" name="T55"/>
                <a:gd fmla="*/ 32 w 100" name="T56"/>
                <a:gd fmla="*/ 40 h 272" name="T57"/>
                <a:gd fmla="*/ 36 w 100" name="T58"/>
                <a:gd fmla="*/ 34 h 272" name="T59"/>
                <a:gd fmla="*/ 36 w 100" name="T60"/>
                <a:gd fmla="*/ 30 h 272" name="T61"/>
                <a:gd fmla="*/ 40 w 100" name="T62"/>
                <a:gd fmla="*/ 26 h 272" name="T63"/>
                <a:gd fmla="*/ 66 w 100" name="T64"/>
                <a:gd fmla="*/ 0 h 272" name="T65"/>
                <a:gd fmla="*/ 74 w 100" name="T66"/>
                <a:gd fmla="*/ 8 h 272" name="T67"/>
                <a:gd fmla="*/ 84 w 100" name="T68"/>
                <a:gd fmla="*/ 34 h 272" name="T69"/>
                <a:gd fmla="*/ 82 w 100" name="T70"/>
                <a:gd fmla="*/ 36 h 272" name="T71"/>
                <a:gd fmla="*/ 76 w 100" name="T72"/>
                <a:gd fmla="*/ 52 h 272" name="T73"/>
                <a:gd fmla="*/ 72 w 100" name="T74"/>
                <a:gd fmla="*/ 72 h 272" name="T75"/>
                <a:gd fmla="*/ 76 w 100" name="T76"/>
                <a:gd fmla="*/ 76 h 272" name="T77"/>
                <a:gd fmla="*/ 80 w 100" name="T78"/>
                <a:gd fmla="*/ 80 h 272" name="T79"/>
                <a:gd fmla="*/ 90 w 100" name="T80"/>
                <a:gd fmla="*/ 78 h 272" name="T81"/>
                <a:gd fmla="*/ 96 w 100" name="T82"/>
                <a:gd fmla="*/ 98 h 272" name="T83"/>
                <a:gd fmla="*/ 90 w 100" name="T84"/>
                <a:gd fmla="*/ 102 h 272" name="T85"/>
                <a:gd fmla="*/ 82 w 100" name="T86"/>
                <a:gd fmla="*/ 112 h 272" name="T87"/>
                <a:gd fmla="*/ 84 w 100" name="T88"/>
                <a:gd fmla="*/ 138 h 272" name="T89"/>
                <a:gd fmla="*/ 82 w 100" name="T90"/>
                <a:gd fmla="*/ 138 h 272" name="T91"/>
                <a:gd fmla="*/ 80 w 100" name="T92"/>
                <a:gd fmla="*/ 142 h 272" name="T93"/>
                <a:gd fmla="*/ 80 w 100" name="T94"/>
                <a:gd fmla="*/ 150 h 272" name="T95"/>
                <a:gd fmla="*/ 80 w 100" name="T96"/>
                <a:gd fmla="*/ 158 h 272" name="T97"/>
                <a:gd fmla="*/ 80 w 100" name="T98"/>
                <a:gd fmla="*/ 168 h 272" name="T99"/>
                <a:gd fmla="*/ 84 w 100" name="T100"/>
                <a:gd fmla="*/ 182 h 272" name="T101"/>
                <a:gd fmla="*/ 84 w 100" name="T102"/>
                <a:gd fmla="*/ 210 h 272" name="T103"/>
                <a:gd fmla="*/ 84 w 100" name="T104"/>
                <a:gd fmla="*/ 224 h 272" name="T105"/>
                <a:gd fmla="*/ 82 w 100" name="T106"/>
                <a:gd fmla="*/ 244 h 272" name="T107"/>
                <a:gd fmla="*/ 76 w 100" name="T108"/>
                <a:gd fmla="*/ 272 h 272" name="T109"/>
                <a:gd fmla="*/ 72 w 100" name="T110"/>
                <a:gd fmla="*/ 262 h 272" name="T111"/>
                <a:gd fmla="*/ 74 w 100" name="T112"/>
                <a:gd fmla="*/ 226 h 272" name="T113"/>
                <a:gd fmla="*/ 74 w 100" name="T114"/>
                <a:gd fmla="*/ 206 h 272" name="T115"/>
                <a:gd fmla="*/ 70 w 100" name="T116"/>
                <a:gd fmla="*/ 168 h 272"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272" w="100">
                  <a:moveTo>
                    <a:pt x="62" y="154"/>
                  </a:moveTo>
                  <a:lnTo>
                    <a:pt x="40" y="170"/>
                  </a:lnTo>
                  <a:lnTo>
                    <a:pt x="26" y="168"/>
                  </a:lnTo>
                  <a:lnTo>
                    <a:pt x="26" y="166"/>
                  </a:lnTo>
                  <a:lnTo>
                    <a:pt x="26" y="162"/>
                  </a:lnTo>
                  <a:lnTo>
                    <a:pt x="26" y="156"/>
                  </a:lnTo>
                  <a:lnTo>
                    <a:pt x="26" y="148"/>
                  </a:lnTo>
                  <a:lnTo>
                    <a:pt x="26" y="142"/>
                  </a:lnTo>
                  <a:lnTo>
                    <a:pt x="24" y="138"/>
                  </a:lnTo>
                  <a:lnTo>
                    <a:pt x="24" y="136"/>
                  </a:lnTo>
                  <a:lnTo>
                    <a:pt x="22" y="134"/>
                  </a:lnTo>
                  <a:lnTo>
                    <a:pt x="20" y="130"/>
                  </a:lnTo>
                  <a:lnTo>
                    <a:pt x="18" y="126"/>
                  </a:lnTo>
                  <a:lnTo>
                    <a:pt x="16" y="120"/>
                  </a:lnTo>
                  <a:lnTo>
                    <a:pt x="12" y="116"/>
                  </a:lnTo>
                  <a:lnTo>
                    <a:pt x="10" y="112"/>
                  </a:lnTo>
                  <a:lnTo>
                    <a:pt x="10" y="108"/>
                  </a:lnTo>
                  <a:lnTo>
                    <a:pt x="8" y="108"/>
                  </a:lnTo>
                  <a:lnTo>
                    <a:pt x="6" y="106"/>
                  </a:lnTo>
                  <a:lnTo>
                    <a:pt x="4" y="102"/>
                  </a:lnTo>
                  <a:lnTo>
                    <a:pt x="4" y="98"/>
                  </a:lnTo>
                  <a:lnTo>
                    <a:pt x="2" y="94"/>
                  </a:lnTo>
                  <a:lnTo>
                    <a:pt x="2" y="92"/>
                  </a:lnTo>
                  <a:lnTo>
                    <a:pt x="2" y="90"/>
                  </a:lnTo>
                  <a:lnTo>
                    <a:pt x="4" y="86"/>
                  </a:lnTo>
                  <a:lnTo>
                    <a:pt x="4" y="82"/>
                  </a:lnTo>
                  <a:lnTo>
                    <a:pt x="2" y="78"/>
                  </a:lnTo>
                  <a:lnTo>
                    <a:pt x="2" y="78"/>
                  </a:lnTo>
                  <a:lnTo>
                    <a:pt x="2" y="76"/>
                  </a:lnTo>
                  <a:lnTo>
                    <a:pt x="0" y="74"/>
                  </a:lnTo>
                  <a:lnTo>
                    <a:pt x="0" y="72"/>
                  </a:lnTo>
                  <a:lnTo>
                    <a:pt x="2" y="70"/>
                  </a:lnTo>
                  <a:lnTo>
                    <a:pt x="2" y="70"/>
                  </a:lnTo>
                  <a:lnTo>
                    <a:pt x="4" y="72"/>
                  </a:lnTo>
                  <a:lnTo>
                    <a:pt x="6" y="72"/>
                  </a:lnTo>
                  <a:lnTo>
                    <a:pt x="6" y="72"/>
                  </a:lnTo>
                  <a:lnTo>
                    <a:pt x="8" y="74"/>
                  </a:lnTo>
                  <a:lnTo>
                    <a:pt x="8" y="74"/>
                  </a:lnTo>
                  <a:lnTo>
                    <a:pt x="10" y="72"/>
                  </a:lnTo>
                  <a:lnTo>
                    <a:pt x="10" y="70"/>
                  </a:lnTo>
                  <a:lnTo>
                    <a:pt x="8" y="56"/>
                  </a:lnTo>
                  <a:lnTo>
                    <a:pt x="6" y="56"/>
                  </a:lnTo>
                  <a:lnTo>
                    <a:pt x="6" y="56"/>
                  </a:lnTo>
                  <a:lnTo>
                    <a:pt x="8" y="56"/>
                  </a:lnTo>
                  <a:lnTo>
                    <a:pt x="8" y="56"/>
                  </a:lnTo>
                  <a:lnTo>
                    <a:pt x="10" y="58"/>
                  </a:lnTo>
                  <a:lnTo>
                    <a:pt x="14" y="60"/>
                  </a:lnTo>
                  <a:lnTo>
                    <a:pt x="16" y="60"/>
                  </a:lnTo>
                  <a:lnTo>
                    <a:pt x="16" y="60"/>
                  </a:lnTo>
                  <a:lnTo>
                    <a:pt x="22" y="58"/>
                  </a:lnTo>
                  <a:lnTo>
                    <a:pt x="22" y="56"/>
                  </a:lnTo>
                  <a:lnTo>
                    <a:pt x="22" y="56"/>
                  </a:lnTo>
                  <a:lnTo>
                    <a:pt x="24" y="54"/>
                  </a:lnTo>
                  <a:lnTo>
                    <a:pt x="26" y="54"/>
                  </a:lnTo>
                  <a:lnTo>
                    <a:pt x="28" y="50"/>
                  </a:lnTo>
                  <a:lnTo>
                    <a:pt x="28" y="48"/>
                  </a:lnTo>
                  <a:lnTo>
                    <a:pt x="30" y="46"/>
                  </a:lnTo>
                  <a:lnTo>
                    <a:pt x="32" y="40"/>
                  </a:lnTo>
                  <a:lnTo>
                    <a:pt x="34" y="36"/>
                  </a:lnTo>
                  <a:lnTo>
                    <a:pt x="36" y="34"/>
                  </a:lnTo>
                  <a:lnTo>
                    <a:pt x="36" y="32"/>
                  </a:lnTo>
                  <a:lnTo>
                    <a:pt x="36" y="30"/>
                  </a:lnTo>
                  <a:lnTo>
                    <a:pt x="38" y="28"/>
                  </a:lnTo>
                  <a:lnTo>
                    <a:pt x="40" y="26"/>
                  </a:lnTo>
                  <a:lnTo>
                    <a:pt x="54" y="24"/>
                  </a:lnTo>
                  <a:lnTo>
                    <a:pt x="66" y="0"/>
                  </a:lnTo>
                  <a:lnTo>
                    <a:pt x="68" y="2"/>
                  </a:lnTo>
                  <a:lnTo>
                    <a:pt x="74" y="8"/>
                  </a:lnTo>
                  <a:lnTo>
                    <a:pt x="80" y="20"/>
                  </a:lnTo>
                  <a:lnTo>
                    <a:pt x="84" y="34"/>
                  </a:lnTo>
                  <a:lnTo>
                    <a:pt x="84" y="34"/>
                  </a:lnTo>
                  <a:lnTo>
                    <a:pt x="82" y="36"/>
                  </a:lnTo>
                  <a:lnTo>
                    <a:pt x="78" y="40"/>
                  </a:lnTo>
                  <a:lnTo>
                    <a:pt x="76" y="52"/>
                  </a:lnTo>
                  <a:lnTo>
                    <a:pt x="72" y="70"/>
                  </a:lnTo>
                  <a:lnTo>
                    <a:pt x="72" y="72"/>
                  </a:lnTo>
                  <a:lnTo>
                    <a:pt x="74" y="74"/>
                  </a:lnTo>
                  <a:lnTo>
                    <a:pt x="76" y="76"/>
                  </a:lnTo>
                  <a:lnTo>
                    <a:pt x="78" y="78"/>
                  </a:lnTo>
                  <a:lnTo>
                    <a:pt x="80" y="80"/>
                  </a:lnTo>
                  <a:lnTo>
                    <a:pt x="84" y="80"/>
                  </a:lnTo>
                  <a:lnTo>
                    <a:pt x="90" y="78"/>
                  </a:lnTo>
                  <a:lnTo>
                    <a:pt x="100" y="84"/>
                  </a:lnTo>
                  <a:lnTo>
                    <a:pt x="96" y="98"/>
                  </a:lnTo>
                  <a:lnTo>
                    <a:pt x="94" y="100"/>
                  </a:lnTo>
                  <a:lnTo>
                    <a:pt x="90" y="102"/>
                  </a:lnTo>
                  <a:lnTo>
                    <a:pt x="86" y="104"/>
                  </a:lnTo>
                  <a:lnTo>
                    <a:pt x="82" y="112"/>
                  </a:lnTo>
                  <a:lnTo>
                    <a:pt x="80" y="122"/>
                  </a:lnTo>
                  <a:lnTo>
                    <a:pt x="84" y="138"/>
                  </a:lnTo>
                  <a:lnTo>
                    <a:pt x="82" y="138"/>
                  </a:lnTo>
                  <a:lnTo>
                    <a:pt x="82" y="138"/>
                  </a:lnTo>
                  <a:lnTo>
                    <a:pt x="80" y="140"/>
                  </a:lnTo>
                  <a:lnTo>
                    <a:pt x="80" y="142"/>
                  </a:lnTo>
                  <a:lnTo>
                    <a:pt x="78" y="146"/>
                  </a:lnTo>
                  <a:lnTo>
                    <a:pt x="80" y="150"/>
                  </a:lnTo>
                  <a:lnTo>
                    <a:pt x="80" y="156"/>
                  </a:lnTo>
                  <a:lnTo>
                    <a:pt x="80" y="158"/>
                  </a:lnTo>
                  <a:lnTo>
                    <a:pt x="80" y="162"/>
                  </a:lnTo>
                  <a:lnTo>
                    <a:pt x="80" y="168"/>
                  </a:lnTo>
                  <a:lnTo>
                    <a:pt x="82" y="174"/>
                  </a:lnTo>
                  <a:lnTo>
                    <a:pt x="84" y="182"/>
                  </a:lnTo>
                  <a:lnTo>
                    <a:pt x="88" y="188"/>
                  </a:lnTo>
                  <a:lnTo>
                    <a:pt x="84" y="210"/>
                  </a:lnTo>
                  <a:lnTo>
                    <a:pt x="84" y="218"/>
                  </a:lnTo>
                  <a:lnTo>
                    <a:pt x="84" y="224"/>
                  </a:lnTo>
                  <a:lnTo>
                    <a:pt x="84" y="230"/>
                  </a:lnTo>
                  <a:lnTo>
                    <a:pt x="82" y="244"/>
                  </a:lnTo>
                  <a:lnTo>
                    <a:pt x="80" y="260"/>
                  </a:lnTo>
                  <a:lnTo>
                    <a:pt x="76" y="272"/>
                  </a:lnTo>
                  <a:lnTo>
                    <a:pt x="74" y="270"/>
                  </a:lnTo>
                  <a:lnTo>
                    <a:pt x="72" y="262"/>
                  </a:lnTo>
                  <a:lnTo>
                    <a:pt x="72" y="248"/>
                  </a:lnTo>
                  <a:lnTo>
                    <a:pt x="74" y="226"/>
                  </a:lnTo>
                  <a:lnTo>
                    <a:pt x="74" y="220"/>
                  </a:lnTo>
                  <a:lnTo>
                    <a:pt x="74" y="206"/>
                  </a:lnTo>
                  <a:lnTo>
                    <a:pt x="74" y="188"/>
                  </a:lnTo>
                  <a:lnTo>
                    <a:pt x="70" y="168"/>
                  </a:lnTo>
                  <a:lnTo>
                    <a:pt x="62" y="15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0" name="Freeform 387"/>
            <p:cNvSpPr/>
            <p:nvPr/>
          </p:nvSpPr>
          <p:spPr bwMode="gray">
            <a:xfrm>
              <a:off x="3167917" y="4136133"/>
              <a:ext cx="166626" cy="310825"/>
            </a:xfrm>
            <a:custGeom>
              <a:gdLst>
                <a:gd fmla="*/ 58 w 90" name="T0"/>
                <a:gd fmla="*/ 124 h 168" name="T1"/>
                <a:gd fmla="*/ 62 w 90" name="T2"/>
                <a:gd fmla="*/ 128 h 168" name="T3"/>
                <a:gd fmla="*/ 64 w 90" name="T4"/>
                <a:gd fmla="*/ 132 h 168" name="T5"/>
                <a:gd fmla="*/ 50 w 90" name="T6"/>
                <a:gd fmla="*/ 154 h 168" name="T7"/>
                <a:gd fmla="*/ 42 w 90" name="T8"/>
                <a:gd fmla="*/ 158 h 168" name="T9"/>
                <a:gd fmla="*/ 46 w 90" name="T10"/>
                <a:gd fmla="*/ 166 h 168" name="T11"/>
                <a:gd fmla="*/ 64 w 90" name="T12"/>
                <a:gd fmla="*/ 164 h 168" name="T13"/>
                <a:gd fmla="*/ 78 w 90" name="T14"/>
                <a:gd fmla="*/ 150 h 168" name="T15"/>
                <a:gd fmla="*/ 88 w 90" name="T16"/>
                <a:gd fmla="*/ 134 h 168" name="T17"/>
                <a:gd fmla="*/ 90 w 90" name="T18"/>
                <a:gd fmla="*/ 126 h 168" name="T19"/>
                <a:gd fmla="*/ 84 w 90" name="T20"/>
                <a:gd fmla="*/ 102 h 168" name="T21"/>
                <a:gd fmla="*/ 84 w 90" name="T22"/>
                <a:gd fmla="*/ 98 h 168" name="T23"/>
                <a:gd fmla="*/ 82 w 90" name="T24"/>
                <a:gd fmla="*/ 90 h 168" name="T25"/>
                <a:gd fmla="*/ 76 w 90" name="T26"/>
                <a:gd fmla="*/ 82 h 168" name="T27"/>
                <a:gd fmla="*/ 60 w 90" name="T28"/>
                <a:gd fmla="*/ 74 h 168" name="T29"/>
                <a:gd fmla="*/ 46 w 90" name="T30"/>
                <a:gd fmla="*/ 46 h 168" name="T31"/>
                <a:gd fmla="*/ 48 w 90" name="T32"/>
                <a:gd fmla="*/ 42 h 168" name="T33"/>
                <a:gd fmla="*/ 52 w 90" name="T34"/>
                <a:gd fmla="*/ 36 h 168" name="T35"/>
                <a:gd fmla="*/ 60 w 90" name="T36"/>
                <a:gd fmla="*/ 32 h 168" name="T37"/>
                <a:gd fmla="*/ 64 w 90" name="T38"/>
                <a:gd fmla="*/ 30 h 168" name="T39"/>
                <a:gd fmla="*/ 72 w 90" name="T40"/>
                <a:gd fmla="*/ 26 h 168" name="T41"/>
                <a:gd fmla="*/ 70 w 90" name="T42"/>
                <a:gd fmla="*/ 22 h 168" name="T43"/>
                <a:gd fmla="*/ 68 w 90" name="T44"/>
                <a:gd fmla="*/ 16 h 168" name="T45"/>
                <a:gd fmla="*/ 64 w 90" name="T46"/>
                <a:gd fmla="*/ 12 h 168" name="T47"/>
                <a:gd fmla="*/ 60 w 90" name="T48"/>
                <a:gd fmla="*/ 6 h 168" name="T49"/>
                <a:gd fmla="*/ 50 w 90" name="T50"/>
                <a:gd fmla="*/ 2 h 168" name="T51"/>
                <a:gd fmla="*/ 48 w 90" name="T52"/>
                <a:gd fmla="*/ 4 h 168" name="T53"/>
                <a:gd fmla="*/ 40 w 90" name="T54"/>
                <a:gd fmla="*/ 4 h 168" name="T55"/>
                <a:gd fmla="*/ 28 w 90" name="T56"/>
                <a:gd fmla="*/ 2 h 168" name="T57"/>
                <a:gd fmla="*/ 20 w 90" name="T58"/>
                <a:gd fmla="*/ 0 h 168" name="T59"/>
                <a:gd fmla="*/ 14 w 90" name="T60"/>
                <a:gd fmla="*/ 2 h 168" name="T61"/>
                <a:gd fmla="*/ 8 w 90" name="T62"/>
                <a:gd fmla="*/ 2 h 168" name="T63"/>
                <a:gd fmla="*/ 2 w 90" name="T64"/>
                <a:gd fmla="*/ 4 h 168" name="T65"/>
                <a:gd fmla="*/ 0 w 90" name="T66"/>
                <a:gd fmla="*/ 10 h 168" name="T67"/>
                <a:gd fmla="*/ 4 w 90" name="T68"/>
                <a:gd fmla="*/ 10 h 168" name="T69"/>
                <a:gd fmla="*/ 8 w 90" name="T70"/>
                <a:gd fmla="*/ 14 h 168" name="T71"/>
                <a:gd fmla="*/ 20 w 90" name="T72"/>
                <a:gd fmla="*/ 30 h 168" name="T73"/>
                <a:gd fmla="*/ 24 w 90" name="T74"/>
                <a:gd fmla="*/ 36 h 168" name="T75"/>
                <a:gd fmla="*/ 22 w 90" name="T76"/>
                <a:gd fmla="*/ 44 h 168" name="T77"/>
                <a:gd fmla="*/ 20 w 90" name="T78"/>
                <a:gd fmla="*/ 48 h 168" name="T79"/>
                <a:gd fmla="*/ 18 w 90" name="T80"/>
                <a:gd fmla="*/ 50 h 168" name="T81"/>
                <a:gd fmla="*/ 18 w 90" name="T82"/>
                <a:gd fmla="*/ 58 h 168" name="T83"/>
                <a:gd fmla="*/ 24 w 90" name="T84"/>
                <a:gd fmla="*/ 64 h 168" name="T85"/>
                <a:gd fmla="*/ 30 w 90" name="T86"/>
                <a:gd fmla="*/ 68 h 168" name="T87"/>
                <a:gd fmla="*/ 32 w 90" name="T88"/>
                <a:gd fmla="*/ 70 h 168" name="T89"/>
                <a:gd fmla="*/ 38 w 90" name="T90"/>
                <a:gd fmla="*/ 76 h 168" name="T91"/>
                <a:gd fmla="*/ 46 w 90" name="T92"/>
                <a:gd fmla="*/ 84 h 168" name="T93"/>
                <a:gd fmla="*/ 52 w 90" name="T94"/>
                <a:gd fmla="*/ 94 h 168" name="T95"/>
                <a:gd fmla="*/ 56 w 90" name="T96"/>
                <a:gd fmla="*/ 106 h 168" name="T97"/>
                <a:gd fmla="*/ 56 w 90" name="T98"/>
                <a:gd fmla="*/ 116 h 168" name="T99"/>
                <a:gd fmla="*/ 56 w 90" name="T100"/>
                <a:gd fmla="*/ 124 h 168" name="T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b="b" l="0" r="r" t="0"/>
              <a:pathLst>
                <a:path h="168" w="90">
                  <a:moveTo>
                    <a:pt x="56" y="124"/>
                  </a:moveTo>
                  <a:lnTo>
                    <a:pt x="58" y="124"/>
                  </a:lnTo>
                  <a:lnTo>
                    <a:pt x="60" y="126"/>
                  </a:lnTo>
                  <a:lnTo>
                    <a:pt x="62" y="128"/>
                  </a:lnTo>
                  <a:lnTo>
                    <a:pt x="64" y="132"/>
                  </a:lnTo>
                  <a:lnTo>
                    <a:pt x="64" y="132"/>
                  </a:lnTo>
                  <a:lnTo>
                    <a:pt x="60" y="150"/>
                  </a:lnTo>
                  <a:lnTo>
                    <a:pt x="50" y="154"/>
                  </a:lnTo>
                  <a:lnTo>
                    <a:pt x="46" y="158"/>
                  </a:lnTo>
                  <a:lnTo>
                    <a:pt x="42" y="158"/>
                  </a:lnTo>
                  <a:lnTo>
                    <a:pt x="38" y="168"/>
                  </a:lnTo>
                  <a:lnTo>
                    <a:pt x="46" y="166"/>
                  </a:lnTo>
                  <a:lnTo>
                    <a:pt x="62" y="168"/>
                  </a:lnTo>
                  <a:lnTo>
                    <a:pt x="64" y="164"/>
                  </a:lnTo>
                  <a:lnTo>
                    <a:pt x="70" y="158"/>
                  </a:lnTo>
                  <a:lnTo>
                    <a:pt x="78" y="150"/>
                  </a:lnTo>
                  <a:lnTo>
                    <a:pt x="86" y="140"/>
                  </a:lnTo>
                  <a:lnTo>
                    <a:pt x="88" y="134"/>
                  </a:lnTo>
                  <a:lnTo>
                    <a:pt x="90" y="130"/>
                  </a:lnTo>
                  <a:lnTo>
                    <a:pt x="90" y="126"/>
                  </a:lnTo>
                  <a:lnTo>
                    <a:pt x="88" y="124"/>
                  </a:lnTo>
                  <a:lnTo>
                    <a:pt x="84" y="102"/>
                  </a:lnTo>
                  <a:lnTo>
                    <a:pt x="84" y="100"/>
                  </a:lnTo>
                  <a:lnTo>
                    <a:pt x="84" y="98"/>
                  </a:lnTo>
                  <a:lnTo>
                    <a:pt x="84" y="94"/>
                  </a:lnTo>
                  <a:lnTo>
                    <a:pt x="82" y="90"/>
                  </a:lnTo>
                  <a:lnTo>
                    <a:pt x="80" y="86"/>
                  </a:lnTo>
                  <a:lnTo>
                    <a:pt x="76" y="82"/>
                  </a:lnTo>
                  <a:lnTo>
                    <a:pt x="70" y="78"/>
                  </a:lnTo>
                  <a:lnTo>
                    <a:pt x="60" y="74"/>
                  </a:lnTo>
                  <a:lnTo>
                    <a:pt x="46" y="54"/>
                  </a:lnTo>
                  <a:lnTo>
                    <a:pt x="46" y="46"/>
                  </a:lnTo>
                  <a:lnTo>
                    <a:pt x="48" y="44"/>
                  </a:lnTo>
                  <a:lnTo>
                    <a:pt x="48" y="42"/>
                  </a:lnTo>
                  <a:lnTo>
                    <a:pt x="50" y="40"/>
                  </a:lnTo>
                  <a:lnTo>
                    <a:pt x="52" y="36"/>
                  </a:lnTo>
                  <a:lnTo>
                    <a:pt x="56" y="34"/>
                  </a:lnTo>
                  <a:lnTo>
                    <a:pt x="60" y="32"/>
                  </a:lnTo>
                  <a:lnTo>
                    <a:pt x="60" y="32"/>
                  </a:lnTo>
                  <a:lnTo>
                    <a:pt x="64" y="30"/>
                  </a:lnTo>
                  <a:lnTo>
                    <a:pt x="68" y="28"/>
                  </a:lnTo>
                  <a:lnTo>
                    <a:pt x="72" y="26"/>
                  </a:lnTo>
                  <a:lnTo>
                    <a:pt x="70" y="24"/>
                  </a:lnTo>
                  <a:lnTo>
                    <a:pt x="70" y="22"/>
                  </a:lnTo>
                  <a:lnTo>
                    <a:pt x="68" y="18"/>
                  </a:lnTo>
                  <a:lnTo>
                    <a:pt x="68" y="16"/>
                  </a:lnTo>
                  <a:lnTo>
                    <a:pt x="64" y="12"/>
                  </a:lnTo>
                  <a:lnTo>
                    <a:pt x="64" y="12"/>
                  </a:lnTo>
                  <a:lnTo>
                    <a:pt x="62" y="10"/>
                  </a:lnTo>
                  <a:lnTo>
                    <a:pt x="60" y="6"/>
                  </a:lnTo>
                  <a:lnTo>
                    <a:pt x="56" y="4"/>
                  </a:lnTo>
                  <a:lnTo>
                    <a:pt x="50" y="2"/>
                  </a:lnTo>
                  <a:lnTo>
                    <a:pt x="50" y="2"/>
                  </a:lnTo>
                  <a:lnTo>
                    <a:pt x="48" y="4"/>
                  </a:lnTo>
                  <a:lnTo>
                    <a:pt x="46" y="4"/>
                  </a:lnTo>
                  <a:lnTo>
                    <a:pt x="40" y="4"/>
                  </a:lnTo>
                  <a:lnTo>
                    <a:pt x="34" y="4"/>
                  </a:lnTo>
                  <a:lnTo>
                    <a:pt x="28" y="2"/>
                  </a:lnTo>
                  <a:lnTo>
                    <a:pt x="22" y="2"/>
                  </a:lnTo>
                  <a:lnTo>
                    <a:pt x="20" y="0"/>
                  </a:lnTo>
                  <a:lnTo>
                    <a:pt x="16" y="2"/>
                  </a:lnTo>
                  <a:lnTo>
                    <a:pt x="14" y="2"/>
                  </a:lnTo>
                  <a:lnTo>
                    <a:pt x="10" y="2"/>
                  </a:lnTo>
                  <a:lnTo>
                    <a:pt x="8" y="2"/>
                  </a:lnTo>
                  <a:lnTo>
                    <a:pt x="4" y="4"/>
                  </a:lnTo>
                  <a:lnTo>
                    <a:pt x="2" y="4"/>
                  </a:lnTo>
                  <a:lnTo>
                    <a:pt x="0" y="6"/>
                  </a:lnTo>
                  <a:lnTo>
                    <a:pt x="0" y="10"/>
                  </a:lnTo>
                  <a:lnTo>
                    <a:pt x="2" y="10"/>
                  </a:lnTo>
                  <a:lnTo>
                    <a:pt x="4" y="10"/>
                  </a:lnTo>
                  <a:lnTo>
                    <a:pt x="6" y="12"/>
                  </a:lnTo>
                  <a:lnTo>
                    <a:pt x="8" y="14"/>
                  </a:lnTo>
                  <a:lnTo>
                    <a:pt x="10" y="26"/>
                  </a:lnTo>
                  <a:lnTo>
                    <a:pt x="20" y="30"/>
                  </a:lnTo>
                  <a:lnTo>
                    <a:pt x="22" y="34"/>
                  </a:lnTo>
                  <a:lnTo>
                    <a:pt x="24" y="36"/>
                  </a:lnTo>
                  <a:lnTo>
                    <a:pt x="24" y="40"/>
                  </a:lnTo>
                  <a:lnTo>
                    <a:pt x="22" y="44"/>
                  </a:lnTo>
                  <a:lnTo>
                    <a:pt x="22" y="46"/>
                  </a:lnTo>
                  <a:lnTo>
                    <a:pt x="20" y="48"/>
                  </a:lnTo>
                  <a:lnTo>
                    <a:pt x="20" y="48"/>
                  </a:lnTo>
                  <a:lnTo>
                    <a:pt x="18" y="50"/>
                  </a:lnTo>
                  <a:lnTo>
                    <a:pt x="16" y="54"/>
                  </a:lnTo>
                  <a:lnTo>
                    <a:pt x="18" y="58"/>
                  </a:lnTo>
                  <a:lnTo>
                    <a:pt x="22" y="60"/>
                  </a:lnTo>
                  <a:lnTo>
                    <a:pt x="24" y="64"/>
                  </a:lnTo>
                  <a:lnTo>
                    <a:pt x="28" y="66"/>
                  </a:lnTo>
                  <a:lnTo>
                    <a:pt x="30" y="68"/>
                  </a:lnTo>
                  <a:lnTo>
                    <a:pt x="30" y="68"/>
                  </a:lnTo>
                  <a:lnTo>
                    <a:pt x="32" y="70"/>
                  </a:lnTo>
                  <a:lnTo>
                    <a:pt x="34" y="72"/>
                  </a:lnTo>
                  <a:lnTo>
                    <a:pt x="38" y="76"/>
                  </a:lnTo>
                  <a:lnTo>
                    <a:pt x="42" y="80"/>
                  </a:lnTo>
                  <a:lnTo>
                    <a:pt x="46" y="84"/>
                  </a:lnTo>
                  <a:lnTo>
                    <a:pt x="50" y="88"/>
                  </a:lnTo>
                  <a:lnTo>
                    <a:pt x="52" y="94"/>
                  </a:lnTo>
                  <a:lnTo>
                    <a:pt x="54" y="100"/>
                  </a:lnTo>
                  <a:lnTo>
                    <a:pt x="56" y="106"/>
                  </a:lnTo>
                  <a:lnTo>
                    <a:pt x="56" y="112"/>
                  </a:lnTo>
                  <a:lnTo>
                    <a:pt x="56" y="116"/>
                  </a:lnTo>
                  <a:lnTo>
                    <a:pt x="56" y="118"/>
                  </a:lnTo>
                  <a:lnTo>
                    <a:pt x="56" y="12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1" name="Freeform 388"/>
            <p:cNvSpPr/>
            <p:nvPr/>
          </p:nvSpPr>
          <p:spPr bwMode="gray">
            <a:xfrm>
              <a:off x="3075348" y="4202739"/>
              <a:ext cx="151815" cy="384831"/>
            </a:xfrm>
            <a:custGeom>
              <a:gdLst>
                <a:gd fmla="*/ 18 w 82" name="T0"/>
                <a:gd fmla="*/ 2 h 208" name="T1"/>
                <a:gd fmla="*/ 10 w 82" name="T2"/>
                <a:gd fmla="*/ 6 h 208" name="T3"/>
                <a:gd fmla="*/ 4 w 82" name="T4"/>
                <a:gd fmla="*/ 24 h 208" name="T5"/>
                <a:gd fmla="*/ 6 w 82" name="T6"/>
                <a:gd fmla="*/ 40 h 208" name="T7"/>
                <a:gd fmla="*/ 4 w 82" name="T8"/>
                <a:gd fmla="*/ 42 h 208" name="T9"/>
                <a:gd fmla="*/ 2 w 82" name="T10"/>
                <a:gd fmla="*/ 48 h 208" name="T11"/>
                <a:gd fmla="*/ 4 w 82" name="T12"/>
                <a:gd fmla="*/ 58 h 208" name="T13"/>
                <a:gd fmla="*/ 4 w 82" name="T14"/>
                <a:gd fmla="*/ 64 h 208" name="T15"/>
                <a:gd fmla="*/ 6 w 82" name="T16"/>
                <a:gd fmla="*/ 76 h 208" name="T17"/>
                <a:gd fmla="*/ 12 w 82" name="T18"/>
                <a:gd fmla="*/ 90 h 208" name="T19"/>
                <a:gd fmla="*/ 8 w 82" name="T20"/>
                <a:gd fmla="*/ 120 h 208" name="T21"/>
                <a:gd fmla="*/ 8 w 82" name="T22"/>
                <a:gd fmla="*/ 132 h 208" name="T23"/>
                <a:gd fmla="*/ 4 w 82" name="T24"/>
                <a:gd fmla="*/ 162 h 208" name="T25"/>
                <a:gd fmla="*/ 0 w 82" name="T26"/>
                <a:gd fmla="*/ 174 h 208" name="T27"/>
                <a:gd fmla="*/ 0 w 82" name="T28"/>
                <a:gd fmla="*/ 176 h 208" name="T29"/>
                <a:gd fmla="*/ 2 w 82" name="T30"/>
                <a:gd fmla="*/ 178 h 208" name="T31"/>
                <a:gd fmla="*/ 8 w 82" name="T32"/>
                <a:gd fmla="*/ 186 h 208" name="T33"/>
                <a:gd fmla="*/ 24 w 82" name="T34"/>
                <a:gd fmla="*/ 200 h 208" name="T35"/>
                <a:gd fmla="*/ 50 w 82" name="T36"/>
                <a:gd fmla="*/ 208 h 208" name="T37"/>
                <a:gd fmla="*/ 46 w 82" name="T38"/>
                <a:gd fmla="*/ 192 h 208" name="T39"/>
                <a:gd fmla="*/ 20 w 82" name="T40"/>
                <a:gd fmla="*/ 166 h 208" name="T41"/>
                <a:gd fmla="*/ 14 w 82" name="T42"/>
                <a:gd fmla="*/ 148 h 208" name="T43"/>
                <a:gd fmla="*/ 18 w 82" name="T44"/>
                <a:gd fmla="*/ 128 h 208" name="T45"/>
                <a:gd fmla="*/ 22 w 82" name="T46"/>
                <a:gd fmla="*/ 108 h 208" name="T47"/>
                <a:gd fmla="*/ 24 w 82" name="T48"/>
                <a:gd fmla="*/ 90 h 208" name="T49"/>
                <a:gd fmla="*/ 26 w 82" name="T50"/>
                <a:gd fmla="*/ 86 h 208" name="T51"/>
                <a:gd fmla="*/ 28 w 82" name="T52"/>
                <a:gd fmla="*/ 82 h 208" name="T53"/>
                <a:gd fmla="*/ 32 w 82" name="T54"/>
                <a:gd fmla="*/ 84 h 208" name="T55"/>
                <a:gd fmla="*/ 34 w 82" name="T56"/>
                <a:gd fmla="*/ 90 h 208" name="T57"/>
                <a:gd fmla="*/ 42 w 82" name="T58"/>
                <a:gd fmla="*/ 110 h 208" name="T59"/>
                <a:gd fmla="*/ 48 w 82" name="T60"/>
                <a:gd fmla="*/ 112 h 208" name="T61"/>
                <a:gd fmla="*/ 48 w 82" name="T62"/>
                <a:gd fmla="*/ 92 h 208" name="T63"/>
                <a:gd fmla="*/ 56 w 82" name="T64"/>
                <a:gd fmla="*/ 82 h 208" name="T65"/>
                <a:gd fmla="*/ 64 w 82" name="T66"/>
                <a:gd fmla="*/ 80 h 208" name="T67"/>
                <a:gd fmla="*/ 74 w 82" name="T68"/>
                <a:gd fmla="*/ 82 h 208" name="T69"/>
                <a:gd fmla="*/ 82 w 82" name="T70"/>
                <a:gd fmla="*/ 82 h 208" name="T71"/>
                <a:gd fmla="*/ 82 w 82" name="T72"/>
                <a:gd fmla="*/ 74 h 208" name="T73"/>
                <a:gd fmla="*/ 80 w 82" name="T74"/>
                <a:gd fmla="*/ 62 h 208" name="T75"/>
                <a:gd fmla="*/ 80 w 82" name="T76"/>
                <a:gd fmla="*/ 58 h 208" name="T77"/>
                <a:gd fmla="*/ 74 w 82" name="T78"/>
                <a:gd fmla="*/ 46 h 208" name="T79"/>
                <a:gd fmla="*/ 64 w 82" name="T80"/>
                <a:gd fmla="*/ 34 h 208" name="T81"/>
                <a:gd fmla="*/ 60 w 82" name="T82"/>
                <a:gd fmla="*/ 32 h 208" name="T83"/>
                <a:gd fmla="*/ 54 w 82" name="T84"/>
                <a:gd fmla="*/ 30 h 208" name="T85"/>
                <a:gd fmla="*/ 50 w 82" name="T86"/>
                <a:gd fmla="*/ 32 h 208" name="T87"/>
                <a:gd fmla="*/ 44 w 82" name="T88"/>
                <a:gd fmla="*/ 36 h 208" name="T89"/>
                <a:gd fmla="*/ 38 w 82" name="T90"/>
                <a:gd fmla="*/ 36 h 208" name="T91"/>
                <a:gd fmla="*/ 38 w 82" name="T92"/>
                <a:gd fmla="*/ 34 h 208" name="T93"/>
                <a:gd fmla="*/ 40 w 82" name="T94"/>
                <a:gd fmla="*/ 28 h 208" name="T95"/>
                <a:gd fmla="*/ 42 w 82" name="T96"/>
                <a:gd fmla="*/ 18 h 208" name="T97"/>
                <a:gd fmla="*/ 40 w 82" name="T98"/>
                <a:gd fmla="*/ 10 h 208" name="T99"/>
                <a:gd fmla="*/ 30 w 82" name="T100"/>
                <a:gd fmla="*/ 10 h 208" name="T101"/>
                <a:gd fmla="*/ 28 w 82" name="T102"/>
                <a:gd fmla="*/ 4 h 208" name="T103"/>
                <a:gd fmla="*/ 24 w 82" name="T104"/>
                <a:gd fmla="*/ 0 h 208" name="T105"/>
                <a:gd fmla="*/ 20 w 82" name="T106"/>
                <a:gd fmla="*/ 0 h 208" name="T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b="b" l="0" r="r" t="0"/>
              <a:pathLst>
                <a:path h="208" w="82">
                  <a:moveTo>
                    <a:pt x="20" y="0"/>
                  </a:moveTo>
                  <a:lnTo>
                    <a:pt x="18" y="2"/>
                  </a:lnTo>
                  <a:lnTo>
                    <a:pt x="14" y="4"/>
                  </a:lnTo>
                  <a:lnTo>
                    <a:pt x="10" y="6"/>
                  </a:lnTo>
                  <a:lnTo>
                    <a:pt x="6" y="14"/>
                  </a:lnTo>
                  <a:lnTo>
                    <a:pt x="4" y="24"/>
                  </a:lnTo>
                  <a:lnTo>
                    <a:pt x="8" y="40"/>
                  </a:lnTo>
                  <a:lnTo>
                    <a:pt x="6" y="40"/>
                  </a:lnTo>
                  <a:lnTo>
                    <a:pt x="6" y="40"/>
                  </a:lnTo>
                  <a:lnTo>
                    <a:pt x="4" y="42"/>
                  </a:lnTo>
                  <a:lnTo>
                    <a:pt x="4" y="44"/>
                  </a:lnTo>
                  <a:lnTo>
                    <a:pt x="2" y="48"/>
                  </a:lnTo>
                  <a:lnTo>
                    <a:pt x="4" y="52"/>
                  </a:lnTo>
                  <a:lnTo>
                    <a:pt x="4" y="58"/>
                  </a:lnTo>
                  <a:lnTo>
                    <a:pt x="4" y="60"/>
                  </a:lnTo>
                  <a:lnTo>
                    <a:pt x="4" y="64"/>
                  </a:lnTo>
                  <a:lnTo>
                    <a:pt x="4" y="70"/>
                  </a:lnTo>
                  <a:lnTo>
                    <a:pt x="6" y="76"/>
                  </a:lnTo>
                  <a:lnTo>
                    <a:pt x="8" y="84"/>
                  </a:lnTo>
                  <a:lnTo>
                    <a:pt x="12" y="90"/>
                  </a:lnTo>
                  <a:lnTo>
                    <a:pt x="8" y="112"/>
                  </a:lnTo>
                  <a:lnTo>
                    <a:pt x="8" y="120"/>
                  </a:lnTo>
                  <a:lnTo>
                    <a:pt x="8" y="126"/>
                  </a:lnTo>
                  <a:lnTo>
                    <a:pt x="8" y="132"/>
                  </a:lnTo>
                  <a:lnTo>
                    <a:pt x="6" y="146"/>
                  </a:lnTo>
                  <a:lnTo>
                    <a:pt x="4" y="162"/>
                  </a:lnTo>
                  <a:lnTo>
                    <a:pt x="0" y="174"/>
                  </a:lnTo>
                  <a:lnTo>
                    <a:pt x="0" y="174"/>
                  </a:lnTo>
                  <a:lnTo>
                    <a:pt x="0" y="174"/>
                  </a:lnTo>
                  <a:lnTo>
                    <a:pt x="0" y="176"/>
                  </a:lnTo>
                  <a:lnTo>
                    <a:pt x="0" y="176"/>
                  </a:lnTo>
                  <a:lnTo>
                    <a:pt x="2" y="178"/>
                  </a:lnTo>
                  <a:lnTo>
                    <a:pt x="4" y="182"/>
                  </a:lnTo>
                  <a:lnTo>
                    <a:pt x="8" y="186"/>
                  </a:lnTo>
                  <a:lnTo>
                    <a:pt x="12" y="192"/>
                  </a:lnTo>
                  <a:lnTo>
                    <a:pt x="24" y="200"/>
                  </a:lnTo>
                  <a:lnTo>
                    <a:pt x="42" y="198"/>
                  </a:lnTo>
                  <a:lnTo>
                    <a:pt x="50" y="208"/>
                  </a:lnTo>
                  <a:lnTo>
                    <a:pt x="58" y="206"/>
                  </a:lnTo>
                  <a:lnTo>
                    <a:pt x="46" y="192"/>
                  </a:lnTo>
                  <a:lnTo>
                    <a:pt x="22" y="168"/>
                  </a:lnTo>
                  <a:lnTo>
                    <a:pt x="20" y="166"/>
                  </a:lnTo>
                  <a:lnTo>
                    <a:pt x="16" y="158"/>
                  </a:lnTo>
                  <a:lnTo>
                    <a:pt x="14" y="148"/>
                  </a:lnTo>
                  <a:lnTo>
                    <a:pt x="16" y="132"/>
                  </a:lnTo>
                  <a:lnTo>
                    <a:pt x="18" y="128"/>
                  </a:lnTo>
                  <a:lnTo>
                    <a:pt x="20" y="120"/>
                  </a:lnTo>
                  <a:lnTo>
                    <a:pt x="22" y="108"/>
                  </a:lnTo>
                  <a:lnTo>
                    <a:pt x="24" y="98"/>
                  </a:lnTo>
                  <a:lnTo>
                    <a:pt x="24" y="90"/>
                  </a:lnTo>
                  <a:lnTo>
                    <a:pt x="26" y="88"/>
                  </a:lnTo>
                  <a:lnTo>
                    <a:pt x="26" y="86"/>
                  </a:lnTo>
                  <a:lnTo>
                    <a:pt x="26" y="84"/>
                  </a:lnTo>
                  <a:lnTo>
                    <a:pt x="28" y="82"/>
                  </a:lnTo>
                  <a:lnTo>
                    <a:pt x="32" y="82"/>
                  </a:lnTo>
                  <a:lnTo>
                    <a:pt x="32" y="84"/>
                  </a:lnTo>
                  <a:lnTo>
                    <a:pt x="32" y="86"/>
                  </a:lnTo>
                  <a:lnTo>
                    <a:pt x="34" y="90"/>
                  </a:lnTo>
                  <a:lnTo>
                    <a:pt x="34" y="94"/>
                  </a:lnTo>
                  <a:lnTo>
                    <a:pt x="42" y="110"/>
                  </a:lnTo>
                  <a:lnTo>
                    <a:pt x="48" y="116"/>
                  </a:lnTo>
                  <a:lnTo>
                    <a:pt x="48" y="112"/>
                  </a:lnTo>
                  <a:lnTo>
                    <a:pt x="46" y="102"/>
                  </a:lnTo>
                  <a:lnTo>
                    <a:pt x="48" y="92"/>
                  </a:lnTo>
                  <a:lnTo>
                    <a:pt x="56" y="84"/>
                  </a:lnTo>
                  <a:lnTo>
                    <a:pt x="56" y="82"/>
                  </a:lnTo>
                  <a:lnTo>
                    <a:pt x="60" y="82"/>
                  </a:lnTo>
                  <a:lnTo>
                    <a:pt x="64" y="80"/>
                  </a:lnTo>
                  <a:lnTo>
                    <a:pt x="68" y="80"/>
                  </a:lnTo>
                  <a:lnTo>
                    <a:pt x="74" y="82"/>
                  </a:lnTo>
                  <a:lnTo>
                    <a:pt x="80" y="84"/>
                  </a:lnTo>
                  <a:lnTo>
                    <a:pt x="82" y="82"/>
                  </a:lnTo>
                  <a:lnTo>
                    <a:pt x="82" y="78"/>
                  </a:lnTo>
                  <a:lnTo>
                    <a:pt x="82" y="74"/>
                  </a:lnTo>
                  <a:lnTo>
                    <a:pt x="82" y="68"/>
                  </a:lnTo>
                  <a:lnTo>
                    <a:pt x="80" y="62"/>
                  </a:lnTo>
                  <a:lnTo>
                    <a:pt x="80" y="60"/>
                  </a:lnTo>
                  <a:lnTo>
                    <a:pt x="80" y="58"/>
                  </a:lnTo>
                  <a:lnTo>
                    <a:pt x="78" y="52"/>
                  </a:lnTo>
                  <a:lnTo>
                    <a:pt x="74" y="46"/>
                  </a:lnTo>
                  <a:lnTo>
                    <a:pt x="70" y="40"/>
                  </a:lnTo>
                  <a:lnTo>
                    <a:pt x="64" y="34"/>
                  </a:lnTo>
                  <a:lnTo>
                    <a:pt x="62" y="32"/>
                  </a:lnTo>
                  <a:lnTo>
                    <a:pt x="60" y="32"/>
                  </a:lnTo>
                  <a:lnTo>
                    <a:pt x="58" y="30"/>
                  </a:lnTo>
                  <a:lnTo>
                    <a:pt x="54" y="30"/>
                  </a:lnTo>
                  <a:lnTo>
                    <a:pt x="52" y="30"/>
                  </a:lnTo>
                  <a:lnTo>
                    <a:pt x="50" y="32"/>
                  </a:lnTo>
                  <a:lnTo>
                    <a:pt x="46" y="34"/>
                  </a:lnTo>
                  <a:lnTo>
                    <a:pt x="44" y="36"/>
                  </a:lnTo>
                  <a:lnTo>
                    <a:pt x="40" y="36"/>
                  </a:lnTo>
                  <a:lnTo>
                    <a:pt x="38" y="36"/>
                  </a:lnTo>
                  <a:lnTo>
                    <a:pt x="38" y="34"/>
                  </a:lnTo>
                  <a:lnTo>
                    <a:pt x="38" y="34"/>
                  </a:lnTo>
                  <a:lnTo>
                    <a:pt x="40" y="32"/>
                  </a:lnTo>
                  <a:lnTo>
                    <a:pt x="40" y="28"/>
                  </a:lnTo>
                  <a:lnTo>
                    <a:pt x="42" y="22"/>
                  </a:lnTo>
                  <a:lnTo>
                    <a:pt x="42" y="18"/>
                  </a:lnTo>
                  <a:lnTo>
                    <a:pt x="42" y="14"/>
                  </a:lnTo>
                  <a:lnTo>
                    <a:pt x="40" y="10"/>
                  </a:lnTo>
                  <a:lnTo>
                    <a:pt x="30" y="10"/>
                  </a:lnTo>
                  <a:lnTo>
                    <a:pt x="30" y="10"/>
                  </a:lnTo>
                  <a:lnTo>
                    <a:pt x="30" y="6"/>
                  </a:lnTo>
                  <a:lnTo>
                    <a:pt x="28" y="4"/>
                  </a:lnTo>
                  <a:lnTo>
                    <a:pt x="28" y="2"/>
                  </a:lnTo>
                  <a:lnTo>
                    <a:pt x="24" y="0"/>
                  </a:lnTo>
                  <a:lnTo>
                    <a:pt x="22" y="0"/>
                  </a:lnTo>
                  <a:lnTo>
                    <a:pt x="2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2" name="Freeform 389"/>
            <p:cNvSpPr/>
            <p:nvPr/>
          </p:nvSpPr>
          <p:spPr bwMode="gray">
            <a:xfrm>
              <a:off x="2834666" y="3999222"/>
              <a:ext cx="129598" cy="70306"/>
            </a:xfrm>
            <a:custGeom>
              <a:gdLst>
                <a:gd fmla="*/ 58 w 70" name="T0"/>
                <a:gd fmla="*/ 38 h 38" name="T1"/>
                <a:gd fmla="*/ 34 w 70" name="T2"/>
                <a:gd fmla="*/ 36 h 38" name="T3"/>
                <a:gd fmla="*/ 34 w 70" name="T4"/>
                <a:gd fmla="*/ 36 h 38" name="T5"/>
                <a:gd fmla="*/ 30 w 70" name="T6"/>
                <a:gd fmla="*/ 36 h 38" name="T7"/>
                <a:gd fmla="*/ 26 w 70" name="T8"/>
                <a:gd fmla="*/ 36 h 38" name="T9"/>
                <a:gd fmla="*/ 18 w 70" name="T10"/>
                <a:gd fmla="*/ 36 h 38" name="T11"/>
                <a:gd fmla="*/ 10 w 70" name="T12"/>
                <a:gd fmla="*/ 38 h 38" name="T13"/>
                <a:gd fmla="*/ 8 w 70" name="T14"/>
                <a:gd fmla="*/ 38 h 38" name="T15"/>
                <a:gd fmla="*/ 8 w 70" name="T16"/>
                <a:gd fmla="*/ 38 h 38" name="T17"/>
                <a:gd fmla="*/ 4 w 70" name="T18"/>
                <a:gd fmla="*/ 38 h 38" name="T19"/>
                <a:gd fmla="*/ 2 w 70" name="T20"/>
                <a:gd fmla="*/ 38 h 38" name="T21"/>
                <a:gd fmla="*/ 0 w 70" name="T22"/>
                <a:gd fmla="*/ 36 h 38" name="T23"/>
                <a:gd fmla="*/ 0 w 70" name="T24"/>
                <a:gd fmla="*/ 34 h 38" name="T25"/>
                <a:gd fmla="*/ 0 w 70" name="T26"/>
                <a:gd fmla="*/ 32 h 38" name="T27"/>
                <a:gd fmla="*/ 4 w 70" name="T28"/>
                <a:gd fmla="*/ 16 h 38" name="T29"/>
                <a:gd fmla="*/ 4 w 70" name="T30"/>
                <a:gd fmla="*/ 16 h 38" name="T31"/>
                <a:gd fmla="*/ 8 w 70" name="T32"/>
                <a:gd fmla="*/ 14 h 38" name="T33"/>
                <a:gd fmla="*/ 10 w 70" name="T34"/>
                <a:gd fmla="*/ 10 h 38" name="T35"/>
                <a:gd fmla="*/ 16 w 70" name="T36"/>
                <a:gd fmla="*/ 6 h 38" name="T37"/>
                <a:gd fmla="*/ 20 w 70" name="T38"/>
                <a:gd fmla="*/ 4 h 38" name="T39"/>
                <a:gd fmla="*/ 26 w 70" name="T40"/>
                <a:gd fmla="*/ 2 h 38" name="T41"/>
                <a:gd fmla="*/ 32 w 70" name="T42"/>
                <a:gd fmla="*/ 0 h 38" name="T43"/>
                <a:gd fmla="*/ 50 w 70" name="T44"/>
                <a:gd fmla="*/ 2 h 38" name="T45"/>
                <a:gd fmla="*/ 64 w 70" name="T46"/>
                <a:gd fmla="*/ 4 h 38" name="T47"/>
                <a:gd fmla="*/ 70 w 70" name="T48"/>
                <a:gd fmla="*/ 12 h 38" name="T49"/>
                <a:gd fmla="*/ 58 w 70" name="T50"/>
                <a:gd fmla="*/ 38 h 38" name="T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b="b" l="0" r="r" t="0"/>
              <a:pathLst>
                <a:path h="38" w="70">
                  <a:moveTo>
                    <a:pt x="58" y="38"/>
                  </a:moveTo>
                  <a:lnTo>
                    <a:pt x="34" y="36"/>
                  </a:lnTo>
                  <a:lnTo>
                    <a:pt x="34" y="36"/>
                  </a:lnTo>
                  <a:lnTo>
                    <a:pt x="30" y="36"/>
                  </a:lnTo>
                  <a:lnTo>
                    <a:pt x="26" y="36"/>
                  </a:lnTo>
                  <a:lnTo>
                    <a:pt x="18" y="36"/>
                  </a:lnTo>
                  <a:lnTo>
                    <a:pt x="10" y="38"/>
                  </a:lnTo>
                  <a:lnTo>
                    <a:pt x="8" y="38"/>
                  </a:lnTo>
                  <a:lnTo>
                    <a:pt x="8" y="38"/>
                  </a:lnTo>
                  <a:lnTo>
                    <a:pt x="4" y="38"/>
                  </a:lnTo>
                  <a:lnTo>
                    <a:pt x="2" y="38"/>
                  </a:lnTo>
                  <a:lnTo>
                    <a:pt x="0" y="36"/>
                  </a:lnTo>
                  <a:lnTo>
                    <a:pt x="0" y="34"/>
                  </a:lnTo>
                  <a:lnTo>
                    <a:pt x="0" y="32"/>
                  </a:lnTo>
                  <a:lnTo>
                    <a:pt x="4" y="16"/>
                  </a:lnTo>
                  <a:lnTo>
                    <a:pt x="4" y="16"/>
                  </a:lnTo>
                  <a:lnTo>
                    <a:pt x="8" y="14"/>
                  </a:lnTo>
                  <a:lnTo>
                    <a:pt x="10" y="10"/>
                  </a:lnTo>
                  <a:lnTo>
                    <a:pt x="16" y="6"/>
                  </a:lnTo>
                  <a:lnTo>
                    <a:pt x="20" y="4"/>
                  </a:lnTo>
                  <a:lnTo>
                    <a:pt x="26" y="2"/>
                  </a:lnTo>
                  <a:lnTo>
                    <a:pt x="32" y="0"/>
                  </a:lnTo>
                  <a:lnTo>
                    <a:pt x="50" y="2"/>
                  </a:lnTo>
                  <a:lnTo>
                    <a:pt x="64" y="4"/>
                  </a:lnTo>
                  <a:lnTo>
                    <a:pt x="70" y="12"/>
                  </a:lnTo>
                  <a:lnTo>
                    <a:pt x="58" y="3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3" name="Freeform 390"/>
            <p:cNvSpPr/>
            <p:nvPr/>
          </p:nvSpPr>
          <p:spPr bwMode="gray">
            <a:xfrm>
              <a:off x="2645824" y="3958519"/>
              <a:ext cx="181437" cy="96208"/>
            </a:xfrm>
            <a:custGeom>
              <a:gdLst>
                <a:gd fmla="*/ 8 w 98" name="T0"/>
                <a:gd fmla="*/ 0 h 52" name="T1"/>
                <a:gd fmla="*/ 8 w 98" name="T2"/>
                <a:gd fmla="*/ 0 h 52" name="T3"/>
                <a:gd fmla="*/ 6 w 98" name="T4"/>
                <a:gd fmla="*/ 2 h 52" name="T5"/>
                <a:gd fmla="*/ 4 w 98" name="T6"/>
                <a:gd fmla="*/ 4 h 52" name="T7"/>
                <a:gd fmla="*/ 2 w 98" name="T8"/>
                <a:gd fmla="*/ 6 h 52" name="T9"/>
                <a:gd fmla="*/ 0 w 98" name="T10"/>
                <a:gd fmla="*/ 10 h 52" name="T11"/>
                <a:gd fmla="*/ 0 w 98" name="T12"/>
                <a:gd fmla="*/ 12 h 52" name="T13"/>
                <a:gd fmla="*/ 2 w 98" name="T14"/>
                <a:gd fmla="*/ 16 h 52" name="T15"/>
                <a:gd fmla="*/ 8 w 98" name="T16"/>
                <a:gd fmla="*/ 20 h 52" name="T17"/>
                <a:gd fmla="*/ 8 w 98" name="T18"/>
                <a:gd fmla="*/ 20 h 52" name="T19"/>
                <a:gd fmla="*/ 8 w 98" name="T20"/>
                <a:gd fmla="*/ 22 h 52" name="T21"/>
                <a:gd fmla="*/ 10 w 98" name="T22"/>
                <a:gd fmla="*/ 22 h 52" name="T23"/>
                <a:gd fmla="*/ 10 w 98" name="T24"/>
                <a:gd fmla="*/ 24 h 52" name="T25"/>
                <a:gd fmla="*/ 14 w 98" name="T26"/>
                <a:gd fmla="*/ 28 h 52" name="T27"/>
                <a:gd fmla="*/ 18 w 98" name="T28"/>
                <a:gd fmla="*/ 32 h 52" name="T29"/>
                <a:gd fmla="*/ 26 w 98" name="T30"/>
                <a:gd fmla="*/ 36 h 52" name="T31"/>
                <a:gd fmla="*/ 42 w 98" name="T32"/>
                <a:gd fmla="*/ 42 h 52" name="T33"/>
                <a:gd fmla="*/ 64 w 98" name="T34"/>
                <a:gd fmla="*/ 48 h 52" name="T35"/>
                <a:gd fmla="*/ 96 w 98" name="T36"/>
                <a:gd fmla="*/ 52 h 52" name="T37"/>
                <a:gd fmla="*/ 98 w 98" name="T38"/>
                <a:gd fmla="*/ 34 h 52" name="T39"/>
                <a:gd fmla="*/ 82 w 98" name="T40"/>
                <a:gd fmla="*/ 32 h 52" name="T41"/>
                <a:gd fmla="*/ 36 w 98" name="T42"/>
                <a:gd fmla="*/ 22 h 52" name="T43"/>
                <a:gd fmla="*/ 24 w 98" name="T44"/>
                <a:gd fmla="*/ 12 h 52" name="T45"/>
                <a:gd fmla="*/ 8 w 98" name="T46"/>
                <a:gd fmla="*/ 0 h 52" name="T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b="b" l="0" r="r" t="0"/>
              <a:pathLst>
                <a:path h="52" w="98">
                  <a:moveTo>
                    <a:pt x="8" y="0"/>
                  </a:moveTo>
                  <a:lnTo>
                    <a:pt x="8" y="0"/>
                  </a:lnTo>
                  <a:lnTo>
                    <a:pt x="6" y="2"/>
                  </a:lnTo>
                  <a:lnTo>
                    <a:pt x="4" y="4"/>
                  </a:lnTo>
                  <a:lnTo>
                    <a:pt x="2" y="6"/>
                  </a:lnTo>
                  <a:lnTo>
                    <a:pt x="0" y="10"/>
                  </a:lnTo>
                  <a:lnTo>
                    <a:pt x="0" y="12"/>
                  </a:lnTo>
                  <a:lnTo>
                    <a:pt x="2" y="16"/>
                  </a:lnTo>
                  <a:lnTo>
                    <a:pt x="8" y="20"/>
                  </a:lnTo>
                  <a:lnTo>
                    <a:pt x="8" y="20"/>
                  </a:lnTo>
                  <a:lnTo>
                    <a:pt x="8" y="22"/>
                  </a:lnTo>
                  <a:lnTo>
                    <a:pt x="10" y="22"/>
                  </a:lnTo>
                  <a:lnTo>
                    <a:pt x="10" y="24"/>
                  </a:lnTo>
                  <a:lnTo>
                    <a:pt x="14" y="28"/>
                  </a:lnTo>
                  <a:lnTo>
                    <a:pt x="18" y="32"/>
                  </a:lnTo>
                  <a:lnTo>
                    <a:pt x="26" y="36"/>
                  </a:lnTo>
                  <a:lnTo>
                    <a:pt x="42" y="42"/>
                  </a:lnTo>
                  <a:lnTo>
                    <a:pt x="64" y="48"/>
                  </a:lnTo>
                  <a:lnTo>
                    <a:pt x="96" y="52"/>
                  </a:lnTo>
                  <a:lnTo>
                    <a:pt x="98" y="34"/>
                  </a:lnTo>
                  <a:lnTo>
                    <a:pt x="82" y="32"/>
                  </a:lnTo>
                  <a:lnTo>
                    <a:pt x="36" y="22"/>
                  </a:lnTo>
                  <a:lnTo>
                    <a:pt x="24" y="12"/>
                  </a:lnTo>
                  <a:lnTo>
                    <a:pt x="8"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4" name="Freeform 391"/>
            <p:cNvSpPr/>
            <p:nvPr/>
          </p:nvSpPr>
          <p:spPr bwMode="gray">
            <a:xfrm>
              <a:off x="2353303" y="3814207"/>
              <a:ext cx="699828" cy="688256"/>
            </a:xfrm>
            <a:custGeom>
              <a:gdLst>
                <a:gd fmla="*/ 262 w 378" name="T0"/>
                <a:gd fmla="*/ 126 h 372" name="T1"/>
                <a:gd fmla="*/ 264 w 378" name="T2"/>
                <a:gd fmla="*/ 110 h 372" name="T3"/>
                <a:gd fmla="*/ 256 w 378" name="T4"/>
                <a:gd fmla="*/ 114 h 372" name="T5"/>
                <a:gd fmla="*/ 254 w 378" name="T6"/>
                <a:gd fmla="*/ 130 h 372" name="T7"/>
                <a:gd fmla="*/ 192 w 378" name="T8"/>
                <a:gd fmla="*/ 116 h 372" name="T9"/>
                <a:gd fmla="*/ 168 w 378" name="T10"/>
                <a:gd fmla="*/ 98 h 372" name="T11"/>
                <a:gd fmla="*/ 162 w 378" name="T12"/>
                <a:gd fmla="*/ 82 h 372" name="T13"/>
                <a:gd fmla="*/ 160 w 378" name="T14"/>
                <a:gd fmla="*/ 58 h 372" name="T15"/>
                <a:gd fmla="*/ 174 w 378" name="T16"/>
                <a:gd fmla="*/ 40 h 372" name="T17"/>
                <a:gd fmla="*/ 170 w 378" name="T18"/>
                <a:gd fmla="*/ 6 h 372" name="T19"/>
                <a:gd fmla="*/ 152 w 378" name="T20"/>
                <a:gd fmla="*/ 0 h 372" name="T21"/>
                <a:gd fmla="*/ 140 w 378" name="T22"/>
                <a:gd fmla="*/ 8 h 372" name="T23"/>
                <a:gd fmla="*/ 110 w 378" name="T24"/>
                <a:gd fmla="*/ 18 h 372" name="T25"/>
                <a:gd fmla="*/ 112 w 378" name="T26"/>
                <a:gd fmla="*/ 28 h 372" name="T27"/>
                <a:gd fmla="*/ 124 w 378" name="T28"/>
                <a:gd fmla="*/ 34 h 372" name="T29"/>
                <a:gd fmla="*/ 108 w 378" name="T30"/>
                <a:gd fmla="*/ 36 h 372" name="T31"/>
                <a:gd fmla="*/ 96 w 378" name="T32"/>
                <a:gd fmla="*/ 48 h 372" name="T33"/>
                <a:gd fmla="*/ 88 w 378" name="T34"/>
                <a:gd fmla="*/ 60 h 372" name="T35"/>
                <a:gd fmla="*/ 58 w 378" name="T36"/>
                <a:gd fmla="*/ 84 h 372" name="T37"/>
                <a:gd fmla="*/ 48 w 378" name="T38"/>
                <a:gd fmla="*/ 126 h 372" name="T39"/>
                <a:gd fmla="*/ 18 w 378" name="T40"/>
                <a:gd fmla="*/ 148 h 372" name="T41"/>
                <a:gd fmla="*/ 12 w 378" name="T42"/>
                <a:gd fmla="*/ 170 h 372" name="T43"/>
                <a:gd fmla="*/ 32 w 378" name="T44"/>
                <a:gd fmla="*/ 166 h 372" name="T45"/>
                <a:gd fmla="*/ 32 w 378" name="T46"/>
                <a:gd fmla="*/ 176 h 372" name="T47"/>
                <a:gd fmla="*/ 16 w 378" name="T48"/>
                <a:gd fmla="*/ 192 h 372" name="T49"/>
                <a:gd fmla="*/ 38 w 378" name="T50"/>
                <a:gd fmla="*/ 214 h 372" name="T51"/>
                <a:gd fmla="*/ 50 w 378" name="T52"/>
                <a:gd fmla="*/ 206 h 372" name="T53"/>
                <a:gd fmla="*/ 58 w 378" name="T54"/>
                <a:gd fmla="*/ 194 h 372" name="T55"/>
                <a:gd fmla="*/ 56 w 378" name="T56"/>
                <a:gd fmla="*/ 210 h 372" name="T57"/>
                <a:gd fmla="*/ 76 w 378" name="T58"/>
                <a:gd fmla="*/ 308 h 372" name="T59"/>
                <a:gd fmla="*/ 102 w 378" name="T60"/>
                <a:gd fmla="*/ 352 h 372" name="T61"/>
                <a:gd fmla="*/ 114 w 378" name="T62"/>
                <a:gd fmla="*/ 370 h 372" name="T63"/>
                <a:gd fmla="*/ 132 w 378" name="T64"/>
                <a:gd fmla="*/ 370 h 372" name="T65"/>
                <a:gd fmla="*/ 134 w 378" name="T66"/>
                <a:gd fmla="*/ 362 h 372" name="T67"/>
                <a:gd fmla="*/ 146 w 378" name="T68"/>
                <a:gd fmla="*/ 348 h 372" name="T69"/>
                <a:gd fmla="*/ 160 w 378" name="T70"/>
                <a:gd fmla="*/ 318 h 372" name="T71"/>
                <a:gd fmla="*/ 162 w 378" name="T72"/>
                <a:gd fmla="*/ 280 h 372" name="T73"/>
                <a:gd fmla="*/ 182 w 378" name="T74"/>
                <a:gd fmla="*/ 268 h 372" name="T75"/>
                <a:gd fmla="*/ 224 w 378" name="T76"/>
                <a:gd fmla="*/ 232 h 372" name="T77"/>
                <a:gd fmla="*/ 248 w 378" name="T78"/>
                <a:gd fmla="*/ 202 h 372" name="T79"/>
                <a:gd fmla="*/ 262 w 378" name="T80"/>
                <a:gd fmla="*/ 194 h 372" name="T81"/>
                <a:gd fmla="*/ 266 w 378" name="T82"/>
                <a:gd fmla="*/ 176 h 372" name="T83"/>
                <a:gd fmla="*/ 266 w 378" name="T84"/>
                <a:gd fmla="*/ 160 h 372" name="T85"/>
                <a:gd fmla="*/ 282 w 378" name="T86"/>
                <a:gd fmla="*/ 150 h 372" name="T87"/>
                <a:gd fmla="*/ 294 w 378" name="T88"/>
                <a:gd fmla="*/ 156 h 372" name="T89"/>
                <a:gd fmla="*/ 304 w 378" name="T90"/>
                <a:gd fmla="*/ 170 h 372" name="T91"/>
                <a:gd fmla="*/ 312 w 378" name="T92"/>
                <a:gd fmla="*/ 164 h 372" name="T93"/>
                <a:gd fmla="*/ 318 w 378" name="T94"/>
                <a:gd fmla="*/ 182 h 372" name="T95"/>
                <a:gd fmla="*/ 324 w 378" name="T96"/>
                <a:gd fmla="*/ 184 h 372" name="T97"/>
                <a:gd fmla="*/ 322 w 378" name="T98"/>
                <a:gd fmla="*/ 168 h 372" name="T99"/>
                <a:gd fmla="*/ 336 w 378" name="T100"/>
                <a:gd fmla="*/ 168 h 372" name="T101"/>
                <a:gd fmla="*/ 346 w 378" name="T102"/>
                <a:gd fmla="*/ 152 h 372" name="T103"/>
                <a:gd fmla="*/ 370 w 378" name="T104"/>
                <a:gd fmla="*/ 130 h 372" name="T105"/>
                <a:gd fmla="*/ 378 w 378" name="T106"/>
                <a:gd fmla="*/ 114 h 372" name="T107"/>
                <a:gd fmla="*/ 344 w 378" name="T108"/>
                <a:gd fmla="*/ 114 h 372" name="T109"/>
                <a:gd fmla="*/ 322 w 378" name="T110"/>
                <a:gd fmla="*/ 130 h 372" name="T111"/>
                <a:gd fmla="*/ 306 w 378" name="T112"/>
                <a:gd fmla="*/ 136 h 372" name="T113"/>
                <a:gd fmla="*/ 282 w 378" name="T114"/>
                <a:gd fmla="*/ 136 h 372" name="T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b="b" l="0" r="r" t="0"/>
              <a:pathLst>
                <a:path h="372" w="378">
                  <a:moveTo>
                    <a:pt x="264" y="138"/>
                  </a:moveTo>
                  <a:lnTo>
                    <a:pt x="262" y="136"/>
                  </a:lnTo>
                  <a:lnTo>
                    <a:pt x="260" y="134"/>
                  </a:lnTo>
                  <a:lnTo>
                    <a:pt x="260" y="130"/>
                  </a:lnTo>
                  <a:lnTo>
                    <a:pt x="262" y="128"/>
                  </a:lnTo>
                  <a:lnTo>
                    <a:pt x="262" y="126"/>
                  </a:lnTo>
                  <a:lnTo>
                    <a:pt x="262" y="126"/>
                  </a:lnTo>
                  <a:lnTo>
                    <a:pt x="262" y="122"/>
                  </a:lnTo>
                  <a:lnTo>
                    <a:pt x="264" y="118"/>
                  </a:lnTo>
                  <a:lnTo>
                    <a:pt x="264" y="114"/>
                  </a:lnTo>
                  <a:lnTo>
                    <a:pt x="264" y="114"/>
                  </a:lnTo>
                  <a:lnTo>
                    <a:pt x="264" y="110"/>
                  </a:lnTo>
                  <a:lnTo>
                    <a:pt x="262" y="110"/>
                  </a:lnTo>
                  <a:lnTo>
                    <a:pt x="260" y="110"/>
                  </a:lnTo>
                  <a:lnTo>
                    <a:pt x="258" y="110"/>
                  </a:lnTo>
                  <a:lnTo>
                    <a:pt x="258" y="112"/>
                  </a:lnTo>
                  <a:lnTo>
                    <a:pt x="256" y="112"/>
                  </a:lnTo>
                  <a:lnTo>
                    <a:pt x="256" y="114"/>
                  </a:lnTo>
                  <a:lnTo>
                    <a:pt x="256" y="116"/>
                  </a:lnTo>
                  <a:lnTo>
                    <a:pt x="256" y="120"/>
                  </a:lnTo>
                  <a:lnTo>
                    <a:pt x="254" y="122"/>
                  </a:lnTo>
                  <a:lnTo>
                    <a:pt x="254" y="126"/>
                  </a:lnTo>
                  <a:lnTo>
                    <a:pt x="254" y="128"/>
                  </a:lnTo>
                  <a:lnTo>
                    <a:pt x="254" y="130"/>
                  </a:lnTo>
                  <a:lnTo>
                    <a:pt x="254" y="130"/>
                  </a:lnTo>
                  <a:lnTo>
                    <a:pt x="226" y="126"/>
                  </a:lnTo>
                  <a:lnTo>
                    <a:pt x="218" y="122"/>
                  </a:lnTo>
                  <a:lnTo>
                    <a:pt x="206" y="120"/>
                  </a:lnTo>
                  <a:lnTo>
                    <a:pt x="196" y="118"/>
                  </a:lnTo>
                  <a:lnTo>
                    <a:pt x="192" y="116"/>
                  </a:lnTo>
                  <a:lnTo>
                    <a:pt x="186" y="114"/>
                  </a:lnTo>
                  <a:lnTo>
                    <a:pt x="180" y="112"/>
                  </a:lnTo>
                  <a:lnTo>
                    <a:pt x="176" y="108"/>
                  </a:lnTo>
                  <a:lnTo>
                    <a:pt x="172" y="104"/>
                  </a:lnTo>
                  <a:lnTo>
                    <a:pt x="168" y="102"/>
                  </a:lnTo>
                  <a:lnTo>
                    <a:pt x="168" y="98"/>
                  </a:lnTo>
                  <a:lnTo>
                    <a:pt x="166" y="98"/>
                  </a:lnTo>
                  <a:lnTo>
                    <a:pt x="162" y="94"/>
                  </a:lnTo>
                  <a:lnTo>
                    <a:pt x="160" y="90"/>
                  </a:lnTo>
                  <a:lnTo>
                    <a:pt x="158" y="88"/>
                  </a:lnTo>
                  <a:lnTo>
                    <a:pt x="160" y="84"/>
                  </a:lnTo>
                  <a:lnTo>
                    <a:pt x="162" y="82"/>
                  </a:lnTo>
                  <a:lnTo>
                    <a:pt x="164" y="80"/>
                  </a:lnTo>
                  <a:lnTo>
                    <a:pt x="166" y="78"/>
                  </a:lnTo>
                  <a:lnTo>
                    <a:pt x="166" y="78"/>
                  </a:lnTo>
                  <a:lnTo>
                    <a:pt x="162" y="72"/>
                  </a:lnTo>
                  <a:lnTo>
                    <a:pt x="160" y="64"/>
                  </a:lnTo>
                  <a:lnTo>
                    <a:pt x="160" y="58"/>
                  </a:lnTo>
                  <a:lnTo>
                    <a:pt x="162" y="52"/>
                  </a:lnTo>
                  <a:lnTo>
                    <a:pt x="164" y="48"/>
                  </a:lnTo>
                  <a:lnTo>
                    <a:pt x="166" y="44"/>
                  </a:lnTo>
                  <a:lnTo>
                    <a:pt x="170" y="42"/>
                  </a:lnTo>
                  <a:lnTo>
                    <a:pt x="172" y="40"/>
                  </a:lnTo>
                  <a:lnTo>
                    <a:pt x="174" y="40"/>
                  </a:lnTo>
                  <a:lnTo>
                    <a:pt x="168" y="28"/>
                  </a:lnTo>
                  <a:lnTo>
                    <a:pt x="174" y="22"/>
                  </a:lnTo>
                  <a:lnTo>
                    <a:pt x="172" y="20"/>
                  </a:lnTo>
                  <a:lnTo>
                    <a:pt x="170" y="14"/>
                  </a:lnTo>
                  <a:lnTo>
                    <a:pt x="170" y="10"/>
                  </a:lnTo>
                  <a:lnTo>
                    <a:pt x="170" y="6"/>
                  </a:lnTo>
                  <a:lnTo>
                    <a:pt x="168" y="6"/>
                  </a:lnTo>
                  <a:lnTo>
                    <a:pt x="168" y="2"/>
                  </a:lnTo>
                  <a:lnTo>
                    <a:pt x="164" y="0"/>
                  </a:lnTo>
                  <a:lnTo>
                    <a:pt x="160" y="0"/>
                  </a:lnTo>
                  <a:lnTo>
                    <a:pt x="156" y="0"/>
                  </a:lnTo>
                  <a:lnTo>
                    <a:pt x="152" y="0"/>
                  </a:lnTo>
                  <a:lnTo>
                    <a:pt x="150" y="0"/>
                  </a:lnTo>
                  <a:lnTo>
                    <a:pt x="146" y="2"/>
                  </a:lnTo>
                  <a:lnTo>
                    <a:pt x="146" y="2"/>
                  </a:lnTo>
                  <a:lnTo>
                    <a:pt x="144" y="2"/>
                  </a:lnTo>
                  <a:lnTo>
                    <a:pt x="140" y="6"/>
                  </a:lnTo>
                  <a:lnTo>
                    <a:pt x="140" y="8"/>
                  </a:lnTo>
                  <a:lnTo>
                    <a:pt x="138" y="12"/>
                  </a:lnTo>
                  <a:lnTo>
                    <a:pt x="138" y="12"/>
                  </a:lnTo>
                  <a:lnTo>
                    <a:pt x="126" y="14"/>
                  </a:lnTo>
                  <a:lnTo>
                    <a:pt x="120" y="14"/>
                  </a:lnTo>
                  <a:lnTo>
                    <a:pt x="114" y="16"/>
                  </a:lnTo>
                  <a:lnTo>
                    <a:pt x="110" y="18"/>
                  </a:lnTo>
                  <a:lnTo>
                    <a:pt x="108" y="20"/>
                  </a:lnTo>
                  <a:lnTo>
                    <a:pt x="106" y="22"/>
                  </a:lnTo>
                  <a:lnTo>
                    <a:pt x="106" y="24"/>
                  </a:lnTo>
                  <a:lnTo>
                    <a:pt x="106" y="26"/>
                  </a:lnTo>
                  <a:lnTo>
                    <a:pt x="108" y="26"/>
                  </a:lnTo>
                  <a:lnTo>
                    <a:pt x="112" y="28"/>
                  </a:lnTo>
                  <a:lnTo>
                    <a:pt x="114" y="28"/>
                  </a:lnTo>
                  <a:lnTo>
                    <a:pt x="116" y="28"/>
                  </a:lnTo>
                  <a:lnTo>
                    <a:pt x="118" y="28"/>
                  </a:lnTo>
                  <a:lnTo>
                    <a:pt x="120" y="30"/>
                  </a:lnTo>
                  <a:lnTo>
                    <a:pt x="124" y="32"/>
                  </a:lnTo>
                  <a:lnTo>
                    <a:pt x="124" y="34"/>
                  </a:lnTo>
                  <a:lnTo>
                    <a:pt x="124" y="36"/>
                  </a:lnTo>
                  <a:lnTo>
                    <a:pt x="124" y="38"/>
                  </a:lnTo>
                  <a:lnTo>
                    <a:pt x="122" y="36"/>
                  </a:lnTo>
                  <a:lnTo>
                    <a:pt x="118" y="36"/>
                  </a:lnTo>
                  <a:lnTo>
                    <a:pt x="114" y="36"/>
                  </a:lnTo>
                  <a:lnTo>
                    <a:pt x="108" y="36"/>
                  </a:lnTo>
                  <a:lnTo>
                    <a:pt x="106" y="38"/>
                  </a:lnTo>
                  <a:lnTo>
                    <a:pt x="102" y="38"/>
                  </a:lnTo>
                  <a:lnTo>
                    <a:pt x="102" y="38"/>
                  </a:lnTo>
                  <a:lnTo>
                    <a:pt x="98" y="40"/>
                  </a:lnTo>
                  <a:lnTo>
                    <a:pt x="96" y="44"/>
                  </a:lnTo>
                  <a:lnTo>
                    <a:pt x="96" y="48"/>
                  </a:lnTo>
                  <a:lnTo>
                    <a:pt x="96" y="50"/>
                  </a:lnTo>
                  <a:lnTo>
                    <a:pt x="96" y="52"/>
                  </a:lnTo>
                  <a:lnTo>
                    <a:pt x="96" y="54"/>
                  </a:lnTo>
                  <a:lnTo>
                    <a:pt x="90" y="54"/>
                  </a:lnTo>
                  <a:lnTo>
                    <a:pt x="90" y="58"/>
                  </a:lnTo>
                  <a:lnTo>
                    <a:pt x="88" y="60"/>
                  </a:lnTo>
                  <a:lnTo>
                    <a:pt x="84" y="64"/>
                  </a:lnTo>
                  <a:lnTo>
                    <a:pt x="82" y="68"/>
                  </a:lnTo>
                  <a:lnTo>
                    <a:pt x="78" y="70"/>
                  </a:lnTo>
                  <a:lnTo>
                    <a:pt x="76" y="72"/>
                  </a:lnTo>
                  <a:lnTo>
                    <a:pt x="76" y="74"/>
                  </a:lnTo>
                  <a:lnTo>
                    <a:pt x="58" y="84"/>
                  </a:lnTo>
                  <a:lnTo>
                    <a:pt x="46" y="94"/>
                  </a:lnTo>
                  <a:lnTo>
                    <a:pt x="40" y="104"/>
                  </a:lnTo>
                  <a:lnTo>
                    <a:pt x="38" y="112"/>
                  </a:lnTo>
                  <a:lnTo>
                    <a:pt x="38" y="118"/>
                  </a:lnTo>
                  <a:lnTo>
                    <a:pt x="40" y="122"/>
                  </a:lnTo>
                  <a:lnTo>
                    <a:pt x="48" y="126"/>
                  </a:lnTo>
                  <a:lnTo>
                    <a:pt x="44" y="146"/>
                  </a:lnTo>
                  <a:lnTo>
                    <a:pt x="38" y="146"/>
                  </a:lnTo>
                  <a:lnTo>
                    <a:pt x="24" y="146"/>
                  </a:lnTo>
                  <a:lnTo>
                    <a:pt x="22" y="146"/>
                  </a:lnTo>
                  <a:lnTo>
                    <a:pt x="20" y="146"/>
                  </a:lnTo>
                  <a:lnTo>
                    <a:pt x="18" y="148"/>
                  </a:lnTo>
                  <a:lnTo>
                    <a:pt x="16" y="148"/>
                  </a:lnTo>
                  <a:lnTo>
                    <a:pt x="0" y="166"/>
                  </a:lnTo>
                  <a:lnTo>
                    <a:pt x="2" y="168"/>
                  </a:lnTo>
                  <a:lnTo>
                    <a:pt x="2" y="168"/>
                  </a:lnTo>
                  <a:lnTo>
                    <a:pt x="6" y="170"/>
                  </a:lnTo>
                  <a:lnTo>
                    <a:pt x="12" y="170"/>
                  </a:lnTo>
                  <a:lnTo>
                    <a:pt x="18" y="170"/>
                  </a:lnTo>
                  <a:lnTo>
                    <a:pt x="24" y="168"/>
                  </a:lnTo>
                  <a:lnTo>
                    <a:pt x="26" y="168"/>
                  </a:lnTo>
                  <a:lnTo>
                    <a:pt x="28" y="166"/>
                  </a:lnTo>
                  <a:lnTo>
                    <a:pt x="30" y="166"/>
                  </a:lnTo>
                  <a:lnTo>
                    <a:pt x="32" y="166"/>
                  </a:lnTo>
                  <a:lnTo>
                    <a:pt x="36" y="166"/>
                  </a:lnTo>
                  <a:lnTo>
                    <a:pt x="36" y="166"/>
                  </a:lnTo>
                  <a:lnTo>
                    <a:pt x="36" y="166"/>
                  </a:lnTo>
                  <a:lnTo>
                    <a:pt x="36" y="168"/>
                  </a:lnTo>
                  <a:lnTo>
                    <a:pt x="34" y="170"/>
                  </a:lnTo>
                  <a:lnTo>
                    <a:pt x="32" y="176"/>
                  </a:lnTo>
                  <a:lnTo>
                    <a:pt x="28" y="180"/>
                  </a:lnTo>
                  <a:lnTo>
                    <a:pt x="24" y="184"/>
                  </a:lnTo>
                  <a:lnTo>
                    <a:pt x="20" y="188"/>
                  </a:lnTo>
                  <a:lnTo>
                    <a:pt x="16" y="190"/>
                  </a:lnTo>
                  <a:lnTo>
                    <a:pt x="16" y="190"/>
                  </a:lnTo>
                  <a:lnTo>
                    <a:pt x="16" y="192"/>
                  </a:lnTo>
                  <a:lnTo>
                    <a:pt x="16" y="194"/>
                  </a:lnTo>
                  <a:lnTo>
                    <a:pt x="18" y="198"/>
                  </a:lnTo>
                  <a:lnTo>
                    <a:pt x="20" y="202"/>
                  </a:lnTo>
                  <a:lnTo>
                    <a:pt x="24" y="206"/>
                  </a:lnTo>
                  <a:lnTo>
                    <a:pt x="30" y="210"/>
                  </a:lnTo>
                  <a:lnTo>
                    <a:pt x="38" y="214"/>
                  </a:lnTo>
                  <a:lnTo>
                    <a:pt x="40" y="214"/>
                  </a:lnTo>
                  <a:lnTo>
                    <a:pt x="42" y="214"/>
                  </a:lnTo>
                  <a:lnTo>
                    <a:pt x="44" y="214"/>
                  </a:lnTo>
                  <a:lnTo>
                    <a:pt x="46" y="210"/>
                  </a:lnTo>
                  <a:lnTo>
                    <a:pt x="50" y="206"/>
                  </a:lnTo>
                  <a:lnTo>
                    <a:pt x="50" y="206"/>
                  </a:lnTo>
                  <a:lnTo>
                    <a:pt x="50" y="204"/>
                  </a:lnTo>
                  <a:lnTo>
                    <a:pt x="50" y="200"/>
                  </a:lnTo>
                  <a:lnTo>
                    <a:pt x="52" y="196"/>
                  </a:lnTo>
                  <a:lnTo>
                    <a:pt x="54" y="194"/>
                  </a:lnTo>
                  <a:lnTo>
                    <a:pt x="58" y="192"/>
                  </a:lnTo>
                  <a:lnTo>
                    <a:pt x="58" y="194"/>
                  </a:lnTo>
                  <a:lnTo>
                    <a:pt x="56" y="196"/>
                  </a:lnTo>
                  <a:lnTo>
                    <a:pt x="56" y="200"/>
                  </a:lnTo>
                  <a:lnTo>
                    <a:pt x="56" y="204"/>
                  </a:lnTo>
                  <a:lnTo>
                    <a:pt x="58" y="206"/>
                  </a:lnTo>
                  <a:lnTo>
                    <a:pt x="58" y="208"/>
                  </a:lnTo>
                  <a:lnTo>
                    <a:pt x="56" y="210"/>
                  </a:lnTo>
                  <a:lnTo>
                    <a:pt x="56" y="212"/>
                  </a:lnTo>
                  <a:lnTo>
                    <a:pt x="56" y="216"/>
                  </a:lnTo>
                  <a:lnTo>
                    <a:pt x="56" y="220"/>
                  </a:lnTo>
                  <a:lnTo>
                    <a:pt x="56" y="228"/>
                  </a:lnTo>
                  <a:lnTo>
                    <a:pt x="60" y="258"/>
                  </a:lnTo>
                  <a:lnTo>
                    <a:pt x="76" y="308"/>
                  </a:lnTo>
                  <a:lnTo>
                    <a:pt x="92" y="336"/>
                  </a:lnTo>
                  <a:lnTo>
                    <a:pt x="94" y="336"/>
                  </a:lnTo>
                  <a:lnTo>
                    <a:pt x="96" y="340"/>
                  </a:lnTo>
                  <a:lnTo>
                    <a:pt x="98" y="344"/>
                  </a:lnTo>
                  <a:lnTo>
                    <a:pt x="102" y="352"/>
                  </a:lnTo>
                  <a:lnTo>
                    <a:pt x="102" y="352"/>
                  </a:lnTo>
                  <a:lnTo>
                    <a:pt x="104" y="354"/>
                  </a:lnTo>
                  <a:lnTo>
                    <a:pt x="108" y="358"/>
                  </a:lnTo>
                  <a:lnTo>
                    <a:pt x="110" y="362"/>
                  </a:lnTo>
                  <a:lnTo>
                    <a:pt x="112" y="366"/>
                  </a:lnTo>
                  <a:lnTo>
                    <a:pt x="114" y="370"/>
                  </a:lnTo>
                  <a:lnTo>
                    <a:pt x="114" y="370"/>
                  </a:lnTo>
                  <a:lnTo>
                    <a:pt x="116" y="372"/>
                  </a:lnTo>
                  <a:lnTo>
                    <a:pt x="120" y="372"/>
                  </a:lnTo>
                  <a:lnTo>
                    <a:pt x="126" y="372"/>
                  </a:lnTo>
                  <a:lnTo>
                    <a:pt x="130" y="372"/>
                  </a:lnTo>
                  <a:lnTo>
                    <a:pt x="132" y="372"/>
                  </a:lnTo>
                  <a:lnTo>
                    <a:pt x="132" y="370"/>
                  </a:lnTo>
                  <a:lnTo>
                    <a:pt x="132" y="370"/>
                  </a:lnTo>
                  <a:lnTo>
                    <a:pt x="132" y="368"/>
                  </a:lnTo>
                  <a:lnTo>
                    <a:pt x="132" y="368"/>
                  </a:lnTo>
                  <a:lnTo>
                    <a:pt x="132" y="368"/>
                  </a:lnTo>
                  <a:lnTo>
                    <a:pt x="134" y="364"/>
                  </a:lnTo>
                  <a:lnTo>
                    <a:pt x="134" y="362"/>
                  </a:lnTo>
                  <a:lnTo>
                    <a:pt x="138" y="358"/>
                  </a:lnTo>
                  <a:lnTo>
                    <a:pt x="140" y="356"/>
                  </a:lnTo>
                  <a:lnTo>
                    <a:pt x="144" y="354"/>
                  </a:lnTo>
                  <a:lnTo>
                    <a:pt x="144" y="354"/>
                  </a:lnTo>
                  <a:lnTo>
                    <a:pt x="146" y="352"/>
                  </a:lnTo>
                  <a:lnTo>
                    <a:pt x="146" y="348"/>
                  </a:lnTo>
                  <a:lnTo>
                    <a:pt x="150" y="346"/>
                  </a:lnTo>
                  <a:lnTo>
                    <a:pt x="152" y="344"/>
                  </a:lnTo>
                  <a:lnTo>
                    <a:pt x="154" y="342"/>
                  </a:lnTo>
                  <a:lnTo>
                    <a:pt x="156" y="338"/>
                  </a:lnTo>
                  <a:lnTo>
                    <a:pt x="158" y="330"/>
                  </a:lnTo>
                  <a:lnTo>
                    <a:pt x="160" y="318"/>
                  </a:lnTo>
                  <a:lnTo>
                    <a:pt x="158" y="308"/>
                  </a:lnTo>
                  <a:lnTo>
                    <a:pt x="156" y="302"/>
                  </a:lnTo>
                  <a:lnTo>
                    <a:pt x="156" y="296"/>
                  </a:lnTo>
                  <a:lnTo>
                    <a:pt x="156" y="290"/>
                  </a:lnTo>
                  <a:lnTo>
                    <a:pt x="158" y="284"/>
                  </a:lnTo>
                  <a:lnTo>
                    <a:pt x="162" y="280"/>
                  </a:lnTo>
                  <a:lnTo>
                    <a:pt x="166" y="278"/>
                  </a:lnTo>
                  <a:lnTo>
                    <a:pt x="168" y="276"/>
                  </a:lnTo>
                  <a:lnTo>
                    <a:pt x="170" y="276"/>
                  </a:lnTo>
                  <a:lnTo>
                    <a:pt x="174" y="274"/>
                  </a:lnTo>
                  <a:lnTo>
                    <a:pt x="178" y="270"/>
                  </a:lnTo>
                  <a:lnTo>
                    <a:pt x="182" y="268"/>
                  </a:lnTo>
                  <a:lnTo>
                    <a:pt x="184" y="266"/>
                  </a:lnTo>
                  <a:lnTo>
                    <a:pt x="190" y="260"/>
                  </a:lnTo>
                  <a:lnTo>
                    <a:pt x="198" y="252"/>
                  </a:lnTo>
                  <a:lnTo>
                    <a:pt x="208" y="244"/>
                  </a:lnTo>
                  <a:lnTo>
                    <a:pt x="218" y="236"/>
                  </a:lnTo>
                  <a:lnTo>
                    <a:pt x="224" y="232"/>
                  </a:lnTo>
                  <a:lnTo>
                    <a:pt x="226" y="230"/>
                  </a:lnTo>
                  <a:lnTo>
                    <a:pt x="232" y="228"/>
                  </a:lnTo>
                  <a:lnTo>
                    <a:pt x="236" y="222"/>
                  </a:lnTo>
                  <a:lnTo>
                    <a:pt x="242" y="216"/>
                  </a:lnTo>
                  <a:lnTo>
                    <a:pt x="246" y="210"/>
                  </a:lnTo>
                  <a:lnTo>
                    <a:pt x="248" y="202"/>
                  </a:lnTo>
                  <a:lnTo>
                    <a:pt x="248" y="202"/>
                  </a:lnTo>
                  <a:lnTo>
                    <a:pt x="250" y="200"/>
                  </a:lnTo>
                  <a:lnTo>
                    <a:pt x="250" y="198"/>
                  </a:lnTo>
                  <a:lnTo>
                    <a:pt x="254" y="196"/>
                  </a:lnTo>
                  <a:lnTo>
                    <a:pt x="258" y="194"/>
                  </a:lnTo>
                  <a:lnTo>
                    <a:pt x="262" y="194"/>
                  </a:lnTo>
                  <a:lnTo>
                    <a:pt x="270" y="196"/>
                  </a:lnTo>
                  <a:lnTo>
                    <a:pt x="270" y="182"/>
                  </a:lnTo>
                  <a:lnTo>
                    <a:pt x="270" y="182"/>
                  </a:lnTo>
                  <a:lnTo>
                    <a:pt x="270" y="180"/>
                  </a:lnTo>
                  <a:lnTo>
                    <a:pt x="268" y="176"/>
                  </a:lnTo>
                  <a:lnTo>
                    <a:pt x="266" y="176"/>
                  </a:lnTo>
                  <a:lnTo>
                    <a:pt x="266" y="174"/>
                  </a:lnTo>
                  <a:lnTo>
                    <a:pt x="264" y="172"/>
                  </a:lnTo>
                  <a:lnTo>
                    <a:pt x="264" y="168"/>
                  </a:lnTo>
                  <a:lnTo>
                    <a:pt x="264" y="164"/>
                  </a:lnTo>
                  <a:lnTo>
                    <a:pt x="266" y="162"/>
                  </a:lnTo>
                  <a:lnTo>
                    <a:pt x="266" y="160"/>
                  </a:lnTo>
                  <a:lnTo>
                    <a:pt x="266" y="158"/>
                  </a:lnTo>
                  <a:lnTo>
                    <a:pt x="268" y="154"/>
                  </a:lnTo>
                  <a:lnTo>
                    <a:pt x="268" y="152"/>
                  </a:lnTo>
                  <a:lnTo>
                    <a:pt x="270" y="150"/>
                  </a:lnTo>
                  <a:lnTo>
                    <a:pt x="274" y="150"/>
                  </a:lnTo>
                  <a:lnTo>
                    <a:pt x="282" y="150"/>
                  </a:lnTo>
                  <a:lnTo>
                    <a:pt x="288" y="150"/>
                  </a:lnTo>
                  <a:lnTo>
                    <a:pt x="288" y="150"/>
                  </a:lnTo>
                  <a:lnTo>
                    <a:pt x="290" y="150"/>
                  </a:lnTo>
                  <a:lnTo>
                    <a:pt x="290" y="150"/>
                  </a:lnTo>
                  <a:lnTo>
                    <a:pt x="292" y="152"/>
                  </a:lnTo>
                  <a:lnTo>
                    <a:pt x="294" y="156"/>
                  </a:lnTo>
                  <a:lnTo>
                    <a:pt x="294" y="164"/>
                  </a:lnTo>
                  <a:lnTo>
                    <a:pt x="298" y="178"/>
                  </a:lnTo>
                  <a:lnTo>
                    <a:pt x="300" y="176"/>
                  </a:lnTo>
                  <a:lnTo>
                    <a:pt x="300" y="176"/>
                  </a:lnTo>
                  <a:lnTo>
                    <a:pt x="302" y="174"/>
                  </a:lnTo>
                  <a:lnTo>
                    <a:pt x="304" y="170"/>
                  </a:lnTo>
                  <a:lnTo>
                    <a:pt x="304" y="168"/>
                  </a:lnTo>
                  <a:lnTo>
                    <a:pt x="306" y="164"/>
                  </a:lnTo>
                  <a:lnTo>
                    <a:pt x="308" y="162"/>
                  </a:lnTo>
                  <a:lnTo>
                    <a:pt x="308" y="162"/>
                  </a:lnTo>
                  <a:lnTo>
                    <a:pt x="310" y="162"/>
                  </a:lnTo>
                  <a:lnTo>
                    <a:pt x="312" y="164"/>
                  </a:lnTo>
                  <a:lnTo>
                    <a:pt x="312" y="168"/>
                  </a:lnTo>
                  <a:lnTo>
                    <a:pt x="314" y="176"/>
                  </a:lnTo>
                  <a:lnTo>
                    <a:pt x="316" y="184"/>
                  </a:lnTo>
                  <a:lnTo>
                    <a:pt x="316" y="184"/>
                  </a:lnTo>
                  <a:lnTo>
                    <a:pt x="316" y="182"/>
                  </a:lnTo>
                  <a:lnTo>
                    <a:pt x="318" y="182"/>
                  </a:lnTo>
                  <a:lnTo>
                    <a:pt x="320" y="182"/>
                  </a:lnTo>
                  <a:lnTo>
                    <a:pt x="320" y="184"/>
                  </a:lnTo>
                  <a:lnTo>
                    <a:pt x="320" y="184"/>
                  </a:lnTo>
                  <a:lnTo>
                    <a:pt x="322" y="184"/>
                  </a:lnTo>
                  <a:lnTo>
                    <a:pt x="324" y="184"/>
                  </a:lnTo>
                  <a:lnTo>
                    <a:pt x="324" y="184"/>
                  </a:lnTo>
                  <a:lnTo>
                    <a:pt x="324" y="182"/>
                  </a:lnTo>
                  <a:lnTo>
                    <a:pt x="324" y="178"/>
                  </a:lnTo>
                  <a:lnTo>
                    <a:pt x="322" y="174"/>
                  </a:lnTo>
                  <a:lnTo>
                    <a:pt x="322" y="170"/>
                  </a:lnTo>
                  <a:lnTo>
                    <a:pt x="322" y="168"/>
                  </a:lnTo>
                  <a:lnTo>
                    <a:pt x="322" y="168"/>
                  </a:lnTo>
                  <a:lnTo>
                    <a:pt x="324" y="168"/>
                  </a:lnTo>
                  <a:lnTo>
                    <a:pt x="328" y="170"/>
                  </a:lnTo>
                  <a:lnTo>
                    <a:pt x="330" y="172"/>
                  </a:lnTo>
                  <a:lnTo>
                    <a:pt x="332" y="172"/>
                  </a:lnTo>
                  <a:lnTo>
                    <a:pt x="334" y="170"/>
                  </a:lnTo>
                  <a:lnTo>
                    <a:pt x="336" y="168"/>
                  </a:lnTo>
                  <a:lnTo>
                    <a:pt x="338" y="166"/>
                  </a:lnTo>
                  <a:lnTo>
                    <a:pt x="340" y="164"/>
                  </a:lnTo>
                  <a:lnTo>
                    <a:pt x="342" y="164"/>
                  </a:lnTo>
                  <a:lnTo>
                    <a:pt x="344" y="160"/>
                  </a:lnTo>
                  <a:lnTo>
                    <a:pt x="344" y="156"/>
                  </a:lnTo>
                  <a:lnTo>
                    <a:pt x="346" y="152"/>
                  </a:lnTo>
                  <a:lnTo>
                    <a:pt x="348" y="146"/>
                  </a:lnTo>
                  <a:lnTo>
                    <a:pt x="350" y="142"/>
                  </a:lnTo>
                  <a:lnTo>
                    <a:pt x="354" y="140"/>
                  </a:lnTo>
                  <a:lnTo>
                    <a:pt x="358" y="138"/>
                  </a:lnTo>
                  <a:lnTo>
                    <a:pt x="368" y="134"/>
                  </a:lnTo>
                  <a:lnTo>
                    <a:pt x="370" y="130"/>
                  </a:lnTo>
                  <a:lnTo>
                    <a:pt x="370" y="128"/>
                  </a:lnTo>
                  <a:lnTo>
                    <a:pt x="372" y="126"/>
                  </a:lnTo>
                  <a:lnTo>
                    <a:pt x="374" y="124"/>
                  </a:lnTo>
                  <a:lnTo>
                    <a:pt x="374" y="120"/>
                  </a:lnTo>
                  <a:lnTo>
                    <a:pt x="376" y="116"/>
                  </a:lnTo>
                  <a:lnTo>
                    <a:pt x="378" y="114"/>
                  </a:lnTo>
                  <a:lnTo>
                    <a:pt x="378" y="110"/>
                  </a:lnTo>
                  <a:lnTo>
                    <a:pt x="378" y="108"/>
                  </a:lnTo>
                  <a:lnTo>
                    <a:pt x="376" y="108"/>
                  </a:lnTo>
                  <a:lnTo>
                    <a:pt x="366" y="110"/>
                  </a:lnTo>
                  <a:lnTo>
                    <a:pt x="354" y="112"/>
                  </a:lnTo>
                  <a:lnTo>
                    <a:pt x="344" y="114"/>
                  </a:lnTo>
                  <a:lnTo>
                    <a:pt x="330" y="112"/>
                  </a:lnTo>
                  <a:lnTo>
                    <a:pt x="330" y="112"/>
                  </a:lnTo>
                  <a:lnTo>
                    <a:pt x="328" y="116"/>
                  </a:lnTo>
                  <a:lnTo>
                    <a:pt x="326" y="120"/>
                  </a:lnTo>
                  <a:lnTo>
                    <a:pt x="324" y="124"/>
                  </a:lnTo>
                  <a:lnTo>
                    <a:pt x="322" y="130"/>
                  </a:lnTo>
                  <a:lnTo>
                    <a:pt x="320" y="134"/>
                  </a:lnTo>
                  <a:lnTo>
                    <a:pt x="318" y="136"/>
                  </a:lnTo>
                  <a:lnTo>
                    <a:pt x="316" y="138"/>
                  </a:lnTo>
                  <a:lnTo>
                    <a:pt x="314" y="138"/>
                  </a:lnTo>
                  <a:lnTo>
                    <a:pt x="310" y="138"/>
                  </a:lnTo>
                  <a:lnTo>
                    <a:pt x="306" y="136"/>
                  </a:lnTo>
                  <a:lnTo>
                    <a:pt x="302" y="136"/>
                  </a:lnTo>
                  <a:lnTo>
                    <a:pt x="298" y="136"/>
                  </a:lnTo>
                  <a:lnTo>
                    <a:pt x="294" y="138"/>
                  </a:lnTo>
                  <a:lnTo>
                    <a:pt x="290" y="136"/>
                  </a:lnTo>
                  <a:lnTo>
                    <a:pt x="284" y="136"/>
                  </a:lnTo>
                  <a:lnTo>
                    <a:pt x="282" y="136"/>
                  </a:lnTo>
                  <a:lnTo>
                    <a:pt x="280" y="136"/>
                  </a:lnTo>
                  <a:lnTo>
                    <a:pt x="264" y="13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5" name="Freeform 392"/>
            <p:cNvSpPr/>
            <p:nvPr/>
          </p:nvSpPr>
          <p:spPr bwMode="gray">
            <a:xfrm>
              <a:off x="2190380" y="3732801"/>
              <a:ext cx="362874" cy="251620"/>
            </a:xfrm>
            <a:custGeom>
              <a:gdLst>
                <a:gd fmla="*/ 194 w 196" name="T0"/>
                <a:gd fmla="*/ 36 h 136" name="T1"/>
                <a:gd fmla="*/ 184 w 196" name="T2"/>
                <a:gd fmla="*/ 36 h 136" name="T3"/>
                <a:gd fmla="*/ 166 w 196" name="T4"/>
                <a:gd fmla="*/ 38 h 136" name="T5"/>
                <a:gd fmla="*/ 162 w 196" name="T6"/>
                <a:gd fmla="*/ 40 h 136" name="T7"/>
                <a:gd fmla="*/ 156 w 196" name="T8"/>
                <a:gd fmla="*/ 44 h 136" name="T9"/>
                <a:gd fmla="*/ 154 w 196" name="T10"/>
                <a:gd fmla="*/ 50 h 136" name="T11"/>
                <a:gd fmla="*/ 134 w 196" name="T12"/>
                <a:gd fmla="*/ 66 h 136" name="T13"/>
                <a:gd fmla="*/ 132 w 196" name="T14"/>
                <a:gd fmla="*/ 66 h 136" name="T15"/>
                <a:gd fmla="*/ 128 w 196" name="T16"/>
                <a:gd fmla="*/ 66 h 136" name="T17"/>
                <a:gd fmla="*/ 122 w 196" name="T18"/>
                <a:gd fmla="*/ 72 h 136" name="T19"/>
                <a:gd fmla="*/ 122 w 196" name="T20"/>
                <a:gd fmla="*/ 84 h 136" name="T21"/>
                <a:gd fmla="*/ 102 w 196" name="T22"/>
                <a:gd fmla="*/ 102 h 136" name="T23"/>
                <a:gd fmla="*/ 94 w 196" name="T24"/>
                <a:gd fmla="*/ 102 h 136" name="T25"/>
                <a:gd fmla="*/ 84 w 196" name="T26"/>
                <a:gd fmla="*/ 104 h 136" name="T27"/>
                <a:gd fmla="*/ 74 w 196" name="T28"/>
                <a:gd fmla="*/ 110 h 136" name="T29"/>
                <a:gd fmla="*/ 68 w 196" name="T30"/>
                <a:gd fmla="*/ 118 h 136" name="T31"/>
                <a:gd fmla="*/ 60 w 196" name="T32"/>
                <a:gd fmla="*/ 124 h 136" name="T33"/>
                <a:gd fmla="*/ 56 w 196" name="T34"/>
                <a:gd fmla="*/ 128 h 136" name="T35"/>
                <a:gd fmla="*/ 52 w 196" name="T36"/>
                <a:gd fmla="*/ 130 h 136" name="T37"/>
                <a:gd fmla="*/ 32 w 196" name="T38"/>
                <a:gd fmla="*/ 136 h 136" name="T39"/>
                <a:gd fmla="*/ 12 w 196" name="T40"/>
                <a:gd fmla="*/ 132 h 136" name="T41"/>
                <a:gd fmla="*/ 0 w 196" name="T42"/>
                <a:gd fmla="*/ 80 h 136" name="T43"/>
                <a:gd fmla="*/ 12 w 196" name="T44"/>
                <a:gd fmla="*/ 42 h 136" name="T45"/>
                <a:gd fmla="*/ 32 w 196" name="T46"/>
                <a:gd fmla="*/ 32 h 136" name="T47"/>
                <a:gd fmla="*/ 38 w 196" name="T48"/>
                <a:gd fmla="*/ 30 h 136" name="T49"/>
                <a:gd fmla="*/ 48 w 196" name="T50"/>
                <a:gd fmla="*/ 24 h 136" name="T51"/>
                <a:gd fmla="*/ 56 w 196" name="T52"/>
                <a:gd fmla="*/ 14 h 136" name="T53"/>
                <a:gd fmla="*/ 60 w 196" name="T54"/>
                <a:gd fmla="*/ 8 h 136" name="T55"/>
                <a:gd fmla="*/ 66 w 196" name="T56"/>
                <a:gd fmla="*/ 10 h 136" name="T57"/>
                <a:gd fmla="*/ 74 w 196" name="T58"/>
                <a:gd fmla="*/ 10 h 136" name="T59"/>
                <a:gd fmla="*/ 92 w 196" name="T60"/>
                <a:gd fmla="*/ 12 h 136" name="T61"/>
                <a:gd fmla="*/ 122 w 196" name="T62"/>
                <a:gd fmla="*/ 2 h 136" name="T63"/>
                <a:gd fmla="*/ 140 w 196" name="T64"/>
                <a:gd fmla="*/ 8 h 136" name="T65"/>
                <a:gd fmla="*/ 142 w 196" name="T66"/>
                <a:gd fmla="*/ 12 h 136" name="T67"/>
                <a:gd fmla="*/ 150 w 196" name="T68"/>
                <a:gd fmla="*/ 16 h 136" name="T69"/>
                <a:gd fmla="*/ 158 w 196" name="T70"/>
                <a:gd fmla="*/ 20 h 136" name="T71"/>
                <a:gd fmla="*/ 194 w 196" name="T72"/>
                <a:gd fmla="*/ 20 h 136" name="T73"/>
                <a:gd fmla="*/ 194 w 196" name="T74"/>
                <a:gd fmla="*/ 24 h 136" name="T75"/>
                <a:gd fmla="*/ 196 w 196" name="T76"/>
                <a:gd fmla="*/ 34 h 136"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136" w="196">
                  <a:moveTo>
                    <a:pt x="196" y="36"/>
                  </a:moveTo>
                  <a:lnTo>
                    <a:pt x="194" y="36"/>
                  </a:lnTo>
                  <a:lnTo>
                    <a:pt x="190" y="36"/>
                  </a:lnTo>
                  <a:lnTo>
                    <a:pt x="184" y="36"/>
                  </a:lnTo>
                  <a:lnTo>
                    <a:pt x="176" y="36"/>
                  </a:lnTo>
                  <a:lnTo>
                    <a:pt x="166" y="38"/>
                  </a:lnTo>
                  <a:lnTo>
                    <a:pt x="166" y="38"/>
                  </a:lnTo>
                  <a:lnTo>
                    <a:pt x="162" y="40"/>
                  </a:lnTo>
                  <a:lnTo>
                    <a:pt x="160" y="42"/>
                  </a:lnTo>
                  <a:lnTo>
                    <a:pt x="156" y="44"/>
                  </a:lnTo>
                  <a:lnTo>
                    <a:pt x="154" y="46"/>
                  </a:lnTo>
                  <a:lnTo>
                    <a:pt x="154" y="50"/>
                  </a:lnTo>
                  <a:lnTo>
                    <a:pt x="138" y="56"/>
                  </a:lnTo>
                  <a:lnTo>
                    <a:pt x="134" y="66"/>
                  </a:lnTo>
                  <a:lnTo>
                    <a:pt x="134" y="66"/>
                  </a:lnTo>
                  <a:lnTo>
                    <a:pt x="132" y="66"/>
                  </a:lnTo>
                  <a:lnTo>
                    <a:pt x="130" y="66"/>
                  </a:lnTo>
                  <a:lnTo>
                    <a:pt x="128" y="66"/>
                  </a:lnTo>
                  <a:lnTo>
                    <a:pt x="124" y="68"/>
                  </a:lnTo>
                  <a:lnTo>
                    <a:pt x="122" y="72"/>
                  </a:lnTo>
                  <a:lnTo>
                    <a:pt x="122" y="76"/>
                  </a:lnTo>
                  <a:lnTo>
                    <a:pt x="122" y="84"/>
                  </a:lnTo>
                  <a:lnTo>
                    <a:pt x="104" y="102"/>
                  </a:lnTo>
                  <a:lnTo>
                    <a:pt x="102" y="102"/>
                  </a:lnTo>
                  <a:lnTo>
                    <a:pt x="98" y="102"/>
                  </a:lnTo>
                  <a:lnTo>
                    <a:pt x="94" y="102"/>
                  </a:lnTo>
                  <a:lnTo>
                    <a:pt x="88" y="104"/>
                  </a:lnTo>
                  <a:lnTo>
                    <a:pt x="84" y="104"/>
                  </a:lnTo>
                  <a:lnTo>
                    <a:pt x="78" y="108"/>
                  </a:lnTo>
                  <a:lnTo>
                    <a:pt x="74" y="110"/>
                  </a:lnTo>
                  <a:lnTo>
                    <a:pt x="72" y="114"/>
                  </a:lnTo>
                  <a:lnTo>
                    <a:pt x="68" y="118"/>
                  </a:lnTo>
                  <a:lnTo>
                    <a:pt x="64" y="122"/>
                  </a:lnTo>
                  <a:lnTo>
                    <a:pt x="60" y="124"/>
                  </a:lnTo>
                  <a:lnTo>
                    <a:pt x="58" y="128"/>
                  </a:lnTo>
                  <a:lnTo>
                    <a:pt x="56" y="128"/>
                  </a:lnTo>
                  <a:lnTo>
                    <a:pt x="54" y="130"/>
                  </a:lnTo>
                  <a:lnTo>
                    <a:pt x="52" y="130"/>
                  </a:lnTo>
                  <a:lnTo>
                    <a:pt x="44" y="134"/>
                  </a:lnTo>
                  <a:lnTo>
                    <a:pt x="32" y="136"/>
                  </a:lnTo>
                  <a:lnTo>
                    <a:pt x="20" y="134"/>
                  </a:lnTo>
                  <a:lnTo>
                    <a:pt x="12" y="132"/>
                  </a:lnTo>
                  <a:lnTo>
                    <a:pt x="2" y="110"/>
                  </a:lnTo>
                  <a:lnTo>
                    <a:pt x="0" y="80"/>
                  </a:lnTo>
                  <a:lnTo>
                    <a:pt x="10" y="64"/>
                  </a:lnTo>
                  <a:lnTo>
                    <a:pt x="12" y="42"/>
                  </a:lnTo>
                  <a:lnTo>
                    <a:pt x="28" y="42"/>
                  </a:lnTo>
                  <a:lnTo>
                    <a:pt x="32" y="32"/>
                  </a:lnTo>
                  <a:lnTo>
                    <a:pt x="34" y="32"/>
                  </a:lnTo>
                  <a:lnTo>
                    <a:pt x="38" y="30"/>
                  </a:lnTo>
                  <a:lnTo>
                    <a:pt x="42" y="28"/>
                  </a:lnTo>
                  <a:lnTo>
                    <a:pt x="48" y="24"/>
                  </a:lnTo>
                  <a:lnTo>
                    <a:pt x="52" y="20"/>
                  </a:lnTo>
                  <a:lnTo>
                    <a:pt x="56" y="14"/>
                  </a:lnTo>
                  <a:lnTo>
                    <a:pt x="58" y="8"/>
                  </a:lnTo>
                  <a:lnTo>
                    <a:pt x="60" y="8"/>
                  </a:lnTo>
                  <a:lnTo>
                    <a:pt x="62" y="10"/>
                  </a:lnTo>
                  <a:lnTo>
                    <a:pt x="66" y="10"/>
                  </a:lnTo>
                  <a:lnTo>
                    <a:pt x="70" y="10"/>
                  </a:lnTo>
                  <a:lnTo>
                    <a:pt x="74" y="10"/>
                  </a:lnTo>
                  <a:lnTo>
                    <a:pt x="80" y="10"/>
                  </a:lnTo>
                  <a:lnTo>
                    <a:pt x="92" y="12"/>
                  </a:lnTo>
                  <a:lnTo>
                    <a:pt x="108" y="10"/>
                  </a:lnTo>
                  <a:lnTo>
                    <a:pt x="122" y="2"/>
                  </a:lnTo>
                  <a:lnTo>
                    <a:pt x="132" y="0"/>
                  </a:lnTo>
                  <a:lnTo>
                    <a:pt x="140" y="8"/>
                  </a:lnTo>
                  <a:lnTo>
                    <a:pt x="140" y="10"/>
                  </a:lnTo>
                  <a:lnTo>
                    <a:pt x="142" y="12"/>
                  </a:lnTo>
                  <a:lnTo>
                    <a:pt x="146" y="14"/>
                  </a:lnTo>
                  <a:lnTo>
                    <a:pt x="150" y="16"/>
                  </a:lnTo>
                  <a:lnTo>
                    <a:pt x="154" y="18"/>
                  </a:lnTo>
                  <a:lnTo>
                    <a:pt x="158" y="20"/>
                  </a:lnTo>
                  <a:lnTo>
                    <a:pt x="162" y="20"/>
                  </a:lnTo>
                  <a:lnTo>
                    <a:pt x="194" y="20"/>
                  </a:lnTo>
                  <a:lnTo>
                    <a:pt x="194" y="22"/>
                  </a:lnTo>
                  <a:lnTo>
                    <a:pt x="194" y="24"/>
                  </a:lnTo>
                  <a:lnTo>
                    <a:pt x="194" y="30"/>
                  </a:lnTo>
                  <a:lnTo>
                    <a:pt x="196" y="34"/>
                  </a:lnTo>
                  <a:lnTo>
                    <a:pt x="196" y="3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6" name="Freeform 393"/>
            <p:cNvSpPr/>
            <p:nvPr/>
          </p:nvSpPr>
          <p:spPr bwMode="gray">
            <a:xfrm>
              <a:off x="3656686" y="3499682"/>
              <a:ext cx="214762" cy="318226"/>
            </a:xfrm>
            <a:custGeom>
              <a:gdLst>
                <a:gd fmla="*/ 112 w 116" name="T0"/>
                <a:gd fmla="*/ 4 h 172" name="T1"/>
                <a:gd fmla="*/ 94 w 116" name="T2"/>
                <a:gd fmla="*/ 20 h 172" name="T3"/>
                <a:gd fmla="*/ 76 w 116" name="T4"/>
                <a:gd fmla="*/ 34 h 172" name="T5"/>
                <a:gd fmla="*/ 66 w 116" name="T6"/>
                <a:gd fmla="*/ 42 h 172" name="T7"/>
                <a:gd fmla="*/ 58 w 116" name="T8"/>
                <a:gd fmla="*/ 48 h 172" name="T9"/>
                <a:gd fmla="*/ 54 w 116" name="T10"/>
                <a:gd fmla="*/ 50 h 172" name="T11"/>
                <a:gd fmla="*/ 18 w 116" name="T12"/>
                <a:gd fmla="*/ 46 h 172" name="T13"/>
                <a:gd fmla="*/ 16 w 116" name="T14"/>
                <a:gd fmla="*/ 52 h 172" name="T15"/>
                <a:gd fmla="*/ 18 w 116" name="T16"/>
                <a:gd fmla="*/ 60 h 172" name="T17"/>
                <a:gd fmla="*/ 18 w 116" name="T18"/>
                <a:gd fmla="*/ 64 h 172" name="T19"/>
                <a:gd fmla="*/ 18 w 116" name="T20"/>
                <a:gd fmla="*/ 70 h 172" name="T21"/>
                <a:gd fmla="*/ 10 w 116" name="T22"/>
                <a:gd fmla="*/ 72 h 172" name="T23"/>
                <a:gd fmla="*/ 4 w 116" name="T24"/>
                <a:gd fmla="*/ 70 h 172" name="T25"/>
                <a:gd fmla="*/ 0 w 116" name="T26"/>
                <a:gd fmla="*/ 70 h 172" name="T27"/>
                <a:gd fmla="*/ 12 w 116" name="T28"/>
                <a:gd fmla="*/ 90 h 172" name="T29"/>
                <a:gd fmla="*/ 16 w 116" name="T30"/>
                <a:gd fmla="*/ 112 h 172" name="T31"/>
                <a:gd fmla="*/ 20 w 116" name="T32"/>
                <a:gd fmla="*/ 114 h 172" name="T33"/>
                <a:gd fmla="*/ 26 w 116" name="T34"/>
                <a:gd fmla="*/ 120 h 172" name="T35"/>
                <a:gd fmla="*/ 34 w 116" name="T36"/>
                <a:gd fmla="*/ 124 h 172" name="T37"/>
                <a:gd fmla="*/ 40 w 116" name="T38"/>
                <a:gd fmla="*/ 128 h 172" name="T39"/>
                <a:gd fmla="*/ 42 w 116" name="T40"/>
                <a:gd fmla="*/ 132 h 172" name="T41"/>
                <a:gd fmla="*/ 42 w 116" name="T42"/>
                <a:gd fmla="*/ 134 h 172" name="T43"/>
                <a:gd fmla="*/ 42 w 116" name="T44"/>
                <a:gd fmla="*/ 140 h 172" name="T45"/>
                <a:gd fmla="*/ 40 w 116" name="T46"/>
                <a:gd fmla="*/ 156 h 172" name="T47"/>
                <a:gd fmla="*/ 42 w 116" name="T48"/>
                <a:gd fmla="*/ 164 h 172" name="T49"/>
                <a:gd fmla="*/ 48 w 116" name="T50"/>
                <a:gd fmla="*/ 170 h 172" name="T51"/>
                <a:gd fmla="*/ 56 w 116" name="T52"/>
                <a:gd fmla="*/ 172 h 172" name="T53"/>
                <a:gd fmla="*/ 64 w 116" name="T54"/>
                <a:gd fmla="*/ 172 h 172" name="T55"/>
                <a:gd fmla="*/ 72 w 116" name="T56"/>
                <a:gd fmla="*/ 166 h 172" name="T57"/>
                <a:gd fmla="*/ 76 w 116" name="T58"/>
                <a:gd fmla="*/ 160 h 172" name="T59"/>
                <a:gd fmla="*/ 78 w 116" name="T60"/>
                <a:gd fmla="*/ 136 h 172" name="T61"/>
                <a:gd fmla="*/ 76 w 116" name="T62"/>
                <a:gd fmla="*/ 120 h 172" name="T63"/>
                <a:gd fmla="*/ 70 w 116" name="T64"/>
                <a:gd fmla="*/ 112 h 172" name="T65"/>
                <a:gd fmla="*/ 66 w 116" name="T66"/>
                <a:gd fmla="*/ 108 h 172" name="T67"/>
                <a:gd fmla="*/ 62 w 116" name="T68"/>
                <a:gd fmla="*/ 106 h 172" name="T69"/>
                <a:gd fmla="*/ 54 w 116" name="T70"/>
                <a:gd fmla="*/ 96 h 172" name="T71"/>
                <a:gd fmla="*/ 54 w 116" name="T72"/>
                <a:gd fmla="*/ 90 h 172" name="T73"/>
                <a:gd fmla="*/ 56 w 116" name="T74"/>
                <a:gd fmla="*/ 86 h 172" name="T75"/>
                <a:gd fmla="*/ 58 w 116" name="T76"/>
                <a:gd fmla="*/ 84 h 172" name="T77"/>
                <a:gd fmla="*/ 60 w 116" name="T78"/>
                <a:gd fmla="*/ 84 h 172" name="T79"/>
                <a:gd fmla="*/ 86 w 116" name="T80"/>
                <a:gd fmla="*/ 56 h 172" name="T81"/>
                <a:gd fmla="*/ 98 w 116" name="T82"/>
                <a:gd fmla="*/ 42 h 172" name="T83"/>
                <a:gd fmla="*/ 110 w 116" name="T84"/>
                <a:gd fmla="*/ 20 h 172" name="T85"/>
                <a:gd fmla="*/ 114 w 116" name="T86"/>
                <a:gd fmla="*/ 8 h 172"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172" w="115">
                  <a:moveTo>
                    <a:pt x="116" y="0"/>
                  </a:moveTo>
                  <a:lnTo>
                    <a:pt x="112" y="4"/>
                  </a:lnTo>
                  <a:lnTo>
                    <a:pt x="104" y="10"/>
                  </a:lnTo>
                  <a:lnTo>
                    <a:pt x="94" y="20"/>
                  </a:lnTo>
                  <a:lnTo>
                    <a:pt x="84" y="28"/>
                  </a:lnTo>
                  <a:lnTo>
                    <a:pt x="76" y="34"/>
                  </a:lnTo>
                  <a:lnTo>
                    <a:pt x="70" y="38"/>
                  </a:lnTo>
                  <a:lnTo>
                    <a:pt x="66" y="42"/>
                  </a:lnTo>
                  <a:lnTo>
                    <a:pt x="62" y="46"/>
                  </a:lnTo>
                  <a:lnTo>
                    <a:pt x="58" y="48"/>
                  </a:lnTo>
                  <a:lnTo>
                    <a:pt x="54" y="48"/>
                  </a:lnTo>
                  <a:lnTo>
                    <a:pt x="54" y="50"/>
                  </a:lnTo>
                  <a:lnTo>
                    <a:pt x="22" y="46"/>
                  </a:lnTo>
                  <a:lnTo>
                    <a:pt x="18" y="46"/>
                  </a:lnTo>
                  <a:lnTo>
                    <a:pt x="18" y="48"/>
                  </a:lnTo>
                  <a:lnTo>
                    <a:pt x="16" y="52"/>
                  </a:lnTo>
                  <a:lnTo>
                    <a:pt x="16" y="56"/>
                  </a:lnTo>
                  <a:lnTo>
                    <a:pt x="18" y="60"/>
                  </a:lnTo>
                  <a:lnTo>
                    <a:pt x="18" y="62"/>
                  </a:lnTo>
                  <a:lnTo>
                    <a:pt x="18" y="64"/>
                  </a:lnTo>
                  <a:lnTo>
                    <a:pt x="20" y="66"/>
                  </a:lnTo>
                  <a:lnTo>
                    <a:pt x="18" y="70"/>
                  </a:lnTo>
                  <a:lnTo>
                    <a:pt x="14" y="72"/>
                  </a:lnTo>
                  <a:lnTo>
                    <a:pt x="10" y="72"/>
                  </a:lnTo>
                  <a:lnTo>
                    <a:pt x="8" y="72"/>
                  </a:lnTo>
                  <a:lnTo>
                    <a:pt x="4" y="70"/>
                  </a:lnTo>
                  <a:lnTo>
                    <a:pt x="2" y="70"/>
                  </a:lnTo>
                  <a:lnTo>
                    <a:pt x="0" y="70"/>
                  </a:lnTo>
                  <a:lnTo>
                    <a:pt x="0" y="92"/>
                  </a:lnTo>
                  <a:lnTo>
                    <a:pt x="12" y="90"/>
                  </a:lnTo>
                  <a:lnTo>
                    <a:pt x="22" y="98"/>
                  </a:lnTo>
                  <a:lnTo>
                    <a:pt x="16" y="112"/>
                  </a:lnTo>
                  <a:lnTo>
                    <a:pt x="18" y="112"/>
                  </a:lnTo>
                  <a:lnTo>
                    <a:pt x="20" y="114"/>
                  </a:lnTo>
                  <a:lnTo>
                    <a:pt x="22" y="116"/>
                  </a:lnTo>
                  <a:lnTo>
                    <a:pt x="26" y="120"/>
                  </a:lnTo>
                  <a:lnTo>
                    <a:pt x="30" y="122"/>
                  </a:lnTo>
                  <a:lnTo>
                    <a:pt x="34" y="124"/>
                  </a:lnTo>
                  <a:lnTo>
                    <a:pt x="36" y="126"/>
                  </a:lnTo>
                  <a:lnTo>
                    <a:pt x="40" y="128"/>
                  </a:lnTo>
                  <a:lnTo>
                    <a:pt x="42" y="130"/>
                  </a:lnTo>
                  <a:lnTo>
                    <a:pt x="42" y="132"/>
                  </a:lnTo>
                  <a:lnTo>
                    <a:pt x="42" y="134"/>
                  </a:lnTo>
                  <a:lnTo>
                    <a:pt x="42" y="134"/>
                  </a:lnTo>
                  <a:lnTo>
                    <a:pt x="42" y="136"/>
                  </a:lnTo>
                  <a:lnTo>
                    <a:pt x="42" y="140"/>
                  </a:lnTo>
                  <a:lnTo>
                    <a:pt x="42" y="148"/>
                  </a:lnTo>
                  <a:lnTo>
                    <a:pt x="40" y="156"/>
                  </a:lnTo>
                  <a:lnTo>
                    <a:pt x="40" y="160"/>
                  </a:lnTo>
                  <a:lnTo>
                    <a:pt x="42" y="164"/>
                  </a:lnTo>
                  <a:lnTo>
                    <a:pt x="46" y="168"/>
                  </a:lnTo>
                  <a:lnTo>
                    <a:pt x="48" y="170"/>
                  </a:lnTo>
                  <a:lnTo>
                    <a:pt x="52" y="170"/>
                  </a:lnTo>
                  <a:lnTo>
                    <a:pt x="56" y="172"/>
                  </a:lnTo>
                  <a:lnTo>
                    <a:pt x="60" y="172"/>
                  </a:lnTo>
                  <a:lnTo>
                    <a:pt x="64" y="172"/>
                  </a:lnTo>
                  <a:lnTo>
                    <a:pt x="68" y="168"/>
                  </a:lnTo>
                  <a:lnTo>
                    <a:pt x="72" y="166"/>
                  </a:lnTo>
                  <a:lnTo>
                    <a:pt x="74" y="162"/>
                  </a:lnTo>
                  <a:lnTo>
                    <a:pt x="76" y="160"/>
                  </a:lnTo>
                  <a:lnTo>
                    <a:pt x="76" y="160"/>
                  </a:lnTo>
                  <a:lnTo>
                    <a:pt x="78" y="136"/>
                  </a:lnTo>
                  <a:lnTo>
                    <a:pt x="78" y="128"/>
                  </a:lnTo>
                  <a:lnTo>
                    <a:pt x="76" y="120"/>
                  </a:lnTo>
                  <a:lnTo>
                    <a:pt x="74" y="116"/>
                  </a:lnTo>
                  <a:lnTo>
                    <a:pt x="70" y="112"/>
                  </a:lnTo>
                  <a:lnTo>
                    <a:pt x="68" y="108"/>
                  </a:lnTo>
                  <a:lnTo>
                    <a:pt x="66" y="108"/>
                  </a:lnTo>
                  <a:lnTo>
                    <a:pt x="64" y="106"/>
                  </a:lnTo>
                  <a:lnTo>
                    <a:pt x="62" y="106"/>
                  </a:lnTo>
                  <a:lnTo>
                    <a:pt x="58" y="100"/>
                  </a:lnTo>
                  <a:lnTo>
                    <a:pt x="54" y="96"/>
                  </a:lnTo>
                  <a:lnTo>
                    <a:pt x="54" y="92"/>
                  </a:lnTo>
                  <a:lnTo>
                    <a:pt x="54" y="90"/>
                  </a:lnTo>
                  <a:lnTo>
                    <a:pt x="54" y="88"/>
                  </a:lnTo>
                  <a:lnTo>
                    <a:pt x="56" y="86"/>
                  </a:lnTo>
                  <a:lnTo>
                    <a:pt x="58" y="86"/>
                  </a:lnTo>
                  <a:lnTo>
                    <a:pt x="58" y="84"/>
                  </a:lnTo>
                  <a:lnTo>
                    <a:pt x="60" y="84"/>
                  </a:lnTo>
                  <a:lnTo>
                    <a:pt x="60" y="84"/>
                  </a:lnTo>
                  <a:lnTo>
                    <a:pt x="74" y="70"/>
                  </a:lnTo>
                  <a:lnTo>
                    <a:pt x="86" y="56"/>
                  </a:lnTo>
                  <a:lnTo>
                    <a:pt x="94" y="46"/>
                  </a:lnTo>
                  <a:lnTo>
                    <a:pt x="98" y="42"/>
                  </a:lnTo>
                  <a:lnTo>
                    <a:pt x="104" y="32"/>
                  </a:lnTo>
                  <a:lnTo>
                    <a:pt x="110" y="20"/>
                  </a:lnTo>
                  <a:lnTo>
                    <a:pt x="114" y="12"/>
                  </a:lnTo>
                  <a:lnTo>
                    <a:pt x="114" y="8"/>
                  </a:lnTo>
                  <a:lnTo>
                    <a:pt x="11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7" name="Freeform 394"/>
            <p:cNvSpPr/>
            <p:nvPr/>
          </p:nvSpPr>
          <p:spPr bwMode="gray">
            <a:xfrm>
              <a:off x="2853180" y="3288765"/>
              <a:ext cx="777586" cy="321926"/>
            </a:xfrm>
            <a:custGeom>
              <a:gdLst>
                <a:gd fmla="*/ 26 w 420" name="T0"/>
                <a:gd fmla="*/ 20 h 174" name="T1"/>
                <a:gd fmla="*/ 26 w 420" name="T2"/>
                <a:gd fmla="*/ 18 h 174" name="T3"/>
                <a:gd fmla="*/ 30 w 420" name="T4"/>
                <a:gd fmla="*/ 14 h 174" name="T5"/>
                <a:gd fmla="*/ 36 w 420" name="T6"/>
                <a:gd fmla="*/ 10 h 174" name="T7"/>
                <a:gd fmla="*/ 48 w 420" name="T8"/>
                <a:gd fmla="*/ 12 h 174" name="T9"/>
                <a:gd fmla="*/ 58 w 420" name="T10"/>
                <a:gd fmla="*/ 14 h 174" name="T11"/>
                <a:gd fmla="*/ 78 w 420" name="T12"/>
                <a:gd fmla="*/ 18 h 174" name="T13"/>
                <a:gd fmla="*/ 106 w 420" name="T14"/>
                <a:gd fmla="*/ 42 h 174" name="T15"/>
                <a:gd fmla="*/ 108 w 420" name="T16"/>
                <a:gd fmla="*/ 40 h 174" name="T17"/>
                <a:gd fmla="*/ 114 w 420" name="T18"/>
                <a:gd fmla="*/ 36 h 174" name="T19"/>
                <a:gd fmla="*/ 120 w 420" name="T20"/>
                <a:gd fmla="*/ 28 h 174" name="T21"/>
                <a:gd fmla="*/ 122 w 420" name="T22"/>
                <a:gd fmla="*/ 20 h 174" name="T23"/>
                <a:gd fmla="*/ 128 w 420" name="T24"/>
                <a:gd fmla="*/ 18 h 174" name="T25"/>
                <a:gd fmla="*/ 136 w 420" name="T26"/>
                <a:gd fmla="*/ 14 h 174" name="T27"/>
                <a:gd fmla="*/ 154 w 420" name="T28"/>
                <a:gd fmla="*/ 0 h 174" name="T29"/>
                <a:gd fmla="*/ 178 w 420" name="T30"/>
                <a:gd fmla="*/ 4 h 174" name="T31"/>
                <a:gd fmla="*/ 200 w 420" name="T32"/>
                <a:gd fmla="*/ 2 h 174" name="T33"/>
                <a:gd fmla="*/ 234 w 420" name="T34"/>
                <a:gd fmla="*/ 12 h 174" name="T35"/>
                <a:gd fmla="*/ 256 w 420" name="T36"/>
                <a:gd fmla="*/ 24 h 174" name="T37"/>
                <a:gd fmla="*/ 274 w 420" name="T38"/>
                <a:gd fmla="*/ 26 h 174" name="T39"/>
                <a:gd fmla="*/ 304 w 420" name="T40"/>
                <a:gd fmla="*/ 18 h 174" name="T41"/>
                <a:gd fmla="*/ 318 w 420" name="T42"/>
                <a:gd fmla="*/ 10 h 174" name="T43"/>
                <a:gd fmla="*/ 322 w 420" name="T44"/>
                <a:gd fmla="*/ 4 h 174" name="T45"/>
                <a:gd fmla="*/ 322 w 420" name="T46"/>
                <a:gd fmla="*/ 2 h 174" name="T47"/>
                <a:gd fmla="*/ 342 w 420" name="T48"/>
                <a:gd fmla="*/ 6 h 174" name="T49"/>
                <a:gd fmla="*/ 378 w 420" name="T50"/>
                <a:gd fmla="*/ 22 h 174" name="T51"/>
                <a:gd fmla="*/ 372 w 420" name="T52"/>
                <a:gd fmla="*/ 60 h 174" name="T53"/>
                <a:gd fmla="*/ 382 w 420" name="T54"/>
                <a:gd fmla="*/ 60 h 174" name="T55"/>
                <a:gd fmla="*/ 394 w 420" name="T56"/>
                <a:gd fmla="*/ 60 h 174" name="T57"/>
                <a:gd fmla="*/ 404 w 420" name="T58"/>
                <a:gd fmla="*/ 60 h 174" name="T59"/>
                <a:gd fmla="*/ 412 w 420" name="T60"/>
                <a:gd fmla="*/ 64 h 174" name="T61"/>
                <a:gd fmla="*/ 418 w 420" name="T62"/>
                <a:gd fmla="*/ 68 h 174" name="T63"/>
                <a:gd fmla="*/ 420 w 420" name="T64"/>
                <a:gd fmla="*/ 74 h 174" name="T65"/>
                <a:gd fmla="*/ 414 w 420" name="T66"/>
                <a:gd fmla="*/ 78 h 174" name="T67"/>
                <a:gd fmla="*/ 404 w 420" name="T68"/>
                <a:gd fmla="*/ 84 h 174" name="T69"/>
                <a:gd fmla="*/ 390 w 420" name="T70"/>
                <a:gd fmla="*/ 88 h 174" name="T71"/>
                <a:gd fmla="*/ 374 w 420" name="T72"/>
                <a:gd fmla="*/ 92 h 174" name="T73"/>
                <a:gd fmla="*/ 360 w 420" name="T74"/>
                <a:gd fmla="*/ 100 h 174" name="T75"/>
                <a:gd fmla="*/ 360 w 420" name="T76"/>
                <a:gd fmla="*/ 104 h 174" name="T77"/>
                <a:gd fmla="*/ 358 w 420" name="T78"/>
                <a:gd fmla="*/ 112 h 174" name="T79"/>
                <a:gd fmla="*/ 354 w 420" name="T80"/>
                <a:gd fmla="*/ 120 h 174" name="T81"/>
                <a:gd fmla="*/ 344 w 420" name="T82"/>
                <a:gd fmla="*/ 128 h 174" name="T83"/>
                <a:gd fmla="*/ 322 w 420" name="T84"/>
                <a:gd fmla="*/ 136 h 174" name="T85"/>
                <a:gd fmla="*/ 280 w 420" name="T86"/>
                <a:gd fmla="*/ 144 h 174" name="T87"/>
                <a:gd fmla="*/ 246 w 420" name="T88"/>
                <a:gd fmla="*/ 152 h 174" name="T89"/>
                <a:gd fmla="*/ 232 w 420" name="T90"/>
                <a:gd fmla="*/ 158 h 174" name="T91"/>
                <a:gd fmla="*/ 204 w 420" name="T92"/>
                <a:gd fmla="*/ 172 h 174" name="T93"/>
                <a:gd fmla="*/ 176 w 420" name="T94"/>
                <a:gd fmla="*/ 172 h 174" name="T95"/>
                <a:gd fmla="*/ 162 w 420" name="T96"/>
                <a:gd fmla="*/ 162 h 174" name="T97"/>
                <a:gd fmla="*/ 144 w 420" name="T98"/>
                <a:gd fmla="*/ 160 h 174" name="T99"/>
                <a:gd fmla="*/ 116 w 420" name="T100"/>
                <a:gd fmla="*/ 162 h 174" name="T101"/>
                <a:gd fmla="*/ 88 w 420" name="T102"/>
                <a:gd fmla="*/ 160 h 174" name="T103"/>
                <a:gd fmla="*/ 76 w 420" name="T104"/>
                <a:gd fmla="*/ 148 h 174" name="T105"/>
                <a:gd fmla="*/ 76 w 420" name="T106"/>
                <a:gd fmla="*/ 134 h 174" name="T107"/>
                <a:gd fmla="*/ 66 w 420" name="T108"/>
                <a:gd fmla="*/ 108 h 174" name="T109"/>
                <a:gd fmla="*/ 44 w 420" name="T110"/>
                <a:gd fmla="*/ 94 h 174" name="T111"/>
                <a:gd fmla="*/ 16 w 420" name="T112"/>
                <a:gd fmla="*/ 78 h 174" name="T113"/>
                <a:gd fmla="*/ 0 w 420" name="T114"/>
                <a:gd fmla="*/ 50 h 174" name="T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b="b" l="0" r="r" t="0"/>
              <a:pathLst>
                <a:path h="174" w="420">
                  <a:moveTo>
                    <a:pt x="4" y="32"/>
                  </a:moveTo>
                  <a:lnTo>
                    <a:pt x="26" y="20"/>
                  </a:lnTo>
                  <a:lnTo>
                    <a:pt x="26" y="20"/>
                  </a:lnTo>
                  <a:lnTo>
                    <a:pt x="26" y="18"/>
                  </a:lnTo>
                  <a:lnTo>
                    <a:pt x="28" y="16"/>
                  </a:lnTo>
                  <a:lnTo>
                    <a:pt x="30" y="14"/>
                  </a:lnTo>
                  <a:lnTo>
                    <a:pt x="32" y="12"/>
                  </a:lnTo>
                  <a:lnTo>
                    <a:pt x="36" y="10"/>
                  </a:lnTo>
                  <a:lnTo>
                    <a:pt x="40" y="10"/>
                  </a:lnTo>
                  <a:lnTo>
                    <a:pt x="48" y="12"/>
                  </a:lnTo>
                  <a:lnTo>
                    <a:pt x="56" y="14"/>
                  </a:lnTo>
                  <a:lnTo>
                    <a:pt x="58" y="14"/>
                  </a:lnTo>
                  <a:lnTo>
                    <a:pt x="68" y="14"/>
                  </a:lnTo>
                  <a:lnTo>
                    <a:pt x="78" y="18"/>
                  </a:lnTo>
                  <a:lnTo>
                    <a:pt x="88" y="24"/>
                  </a:lnTo>
                  <a:lnTo>
                    <a:pt x="106" y="42"/>
                  </a:lnTo>
                  <a:lnTo>
                    <a:pt x="106" y="42"/>
                  </a:lnTo>
                  <a:lnTo>
                    <a:pt x="108" y="40"/>
                  </a:lnTo>
                  <a:lnTo>
                    <a:pt x="112" y="40"/>
                  </a:lnTo>
                  <a:lnTo>
                    <a:pt x="114" y="36"/>
                  </a:lnTo>
                  <a:lnTo>
                    <a:pt x="118" y="34"/>
                  </a:lnTo>
                  <a:lnTo>
                    <a:pt x="120" y="28"/>
                  </a:lnTo>
                  <a:lnTo>
                    <a:pt x="120" y="22"/>
                  </a:lnTo>
                  <a:lnTo>
                    <a:pt x="122" y="20"/>
                  </a:lnTo>
                  <a:lnTo>
                    <a:pt x="126" y="18"/>
                  </a:lnTo>
                  <a:lnTo>
                    <a:pt x="128" y="18"/>
                  </a:lnTo>
                  <a:lnTo>
                    <a:pt x="132" y="18"/>
                  </a:lnTo>
                  <a:lnTo>
                    <a:pt x="136" y="14"/>
                  </a:lnTo>
                  <a:lnTo>
                    <a:pt x="144" y="6"/>
                  </a:lnTo>
                  <a:lnTo>
                    <a:pt x="154" y="0"/>
                  </a:lnTo>
                  <a:lnTo>
                    <a:pt x="166" y="0"/>
                  </a:lnTo>
                  <a:lnTo>
                    <a:pt x="178" y="4"/>
                  </a:lnTo>
                  <a:lnTo>
                    <a:pt x="190" y="4"/>
                  </a:lnTo>
                  <a:lnTo>
                    <a:pt x="200" y="2"/>
                  </a:lnTo>
                  <a:lnTo>
                    <a:pt x="216" y="4"/>
                  </a:lnTo>
                  <a:lnTo>
                    <a:pt x="234" y="12"/>
                  </a:lnTo>
                  <a:lnTo>
                    <a:pt x="254" y="24"/>
                  </a:lnTo>
                  <a:lnTo>
                    <a:pt x="256" y="24"/>
                  </a:lnTo>
                  <a:lnTo>
                    <a:pt x="262" y="26"/>
                  </a:lnTo>
                  <a:lnTo>
                    <a:pt x="274" y="26"/>
                  </a:lnTo>
                  <a:lnTo>
                    <a:pt x="292" y="22"/>
                  </a:lnTo>
                  <a:lnTo>
                    <a:pt x="304" y="18"/>
                  </a:lnTo>
                  <a:lnTo>
                    <a:pt x="312" y="14"/>
                  </a:lnTo>
                  <a:lnTo>
                    <a:pt x="318" y="10"/>
                  </a:lnTo>
                  <a:lnTo>
                    <a:pt x="320" y="6"/>
                  </a:lnTo>
                  <a:lnTo>
                    <a:pt x="322" y="4"/>
                  </a:lnTo>
                  <a:lnTo>
                    <a:pt x="322" y="2"/>
                  </a:lnTo>
                  <a:lnTo>
                    <a:pt x="322" y="2"/>
                  </a:lnTo>
                  <a:lnTo>
                    <a:pt x="330" y="2"/>
                  </a:lnTo>
                  <a:lnTo>
                    <a:pt x="342" y="6"/>
                  </a:lnTo>
                  <a:lnTo>
                    <a:pt x="356" y="14"/>
                  </a:lnTo>
                  <a:lnTo>
                    <a:pt x="378" y="22"/>
                  </a:lnTo>
                  <a:lnTo>
                    <a:pt x="372" y="60"/>
                  </a:lnTo>
                  <a:lnTo>
                    <a:pt x="372" y="60"/>
                  </a:lnTo>
                  <a:lnTo>
                    <a:pt x="376" y="60"/>
                  </a:lnTo>
                  <a:lnTo>
                    <a:pt x="382" y="60"/>
                  </a:lnTo>
                  <a:lnTo>
                    <a:pt x="388" y="60"/>
                  </a:lnTo>
                  <a:lnTo>
                    <a:pt x="394" y="60"/>
                  </a:lnTo>
                  <a:lnTo>
                    <a:pt x="398" y="60"/>
                  </a:lnTo>
                  <a:lnTo>
                    <a:pt x="404" y="60"/>
                  </a:lnTo>
                  <a:lnTo>
                    <a:pt x="408" y="62"/>
                  </a:lnTo>
                  <a:lnTo>
                    <a:pt x="412" y="64"/>
                  </a:lnTo>
                  <a:lnTo>
                    <a:pt x="416" y="66"/>
                  </a:lnTo>
                  <a:lnTo>
                    <a:pt x="418" y="68"/>
                  </a:lnTo>
                  <a:lnTo>
                    <a:pt x="420" y="72"/>
                  </a:lnTo>
                  <a:lnTo>
                    <a:pt x="420" y="74"/>
                  </a:lnTo>
                  <a:lnTo>
                    <a:pt x="420" y="76"/>
                  </a:lnTo>
                  <a:lnTo>
                    <a:pt x="414" y="78"/>
                  </a:lnTo>
                  <a:lnTo>
                    <a:pt x="410" y="82"/>
                  </a:lnTo>
                  <a:lnTo>
                    <a:pt x="404" y="84"/>
                  </a:lnTo>
                  <a:lnTo>
                    <a:pt x="398" y="86"/>
                  </a:lnTo>
                  <a:lnTo>
                    <a:pt x="390" y="88"/>
                  </a:lnTo>
                  <a:lnTo>
                    <a:pt x="382" y="88"/>
                  </a:lnTo>
                  <a:lnTo>
                    <a:pt x="374" y="92"/>
                  </a:lnTo>
                  <a:lnTo>
                    <a:pt x="366" y="96"/>
                  </a:lnTo>
                  <a:lnTo>
                    <a:pt x="360" y="100"/>
                  </a:lnTo>
                  <a:lnTo>
                    <a:pt x="360" y="100"/>
                  </a:lnTo>
                  <a:lnTo>
                    <a:pt x="360" y="104"/>
                  </a:lnTo>
                  <a:lnTo>
                    <a:pt x="360" y="106"/>
                  </a:lnTo>
                  <a:lnTo>
                    <a:pt x="358" y="112"/>
                  </a:lnTo>
                  <a:lnTo>
                    <a:pt x="358" y="116"/>
                  </a:lnTo>
                  <a:lnTo>
                    <a:pt x="354" y="120"/>
                  </a:lnTo>
                  <a:lnTo>
                    <a:pt x="350" y="126"/>
                  </a:lnTo>
                  <a:lnTo>
                    <a:pt x="344" y="128"/>
                  </a:lnTo>
                  <a:lnTo>
                    <a:pt x="338" y="132"/>
                  </a:lnTo>
                  <a:lnTo>
                    <a:pt x="322" y="136"/>
                  </a:lnTo>
                  <a:lnTo>
                    <a:pt x="302" y="140"/>
                  </a:lnTo>
                  <a:lnTo>
                    <a:pt x="280" y="144"/>
                  </a:lnTo>
                  <a:lnTo>
                    <a:pt x="262" y="148"/>
                  </a:lnTo>
                  <a:lnTo>
                    <a:pt x="246" y="152"/>
                  </a:lnTo>
                  <a:lnTo>
                    <a:pt x="238" y="154"/>
                  </a:lnTo>
                  <a:lnTo>
                    <a:pt x="232" y="158"/>
                  </a:lnTo>
                  <a:lnTo>
                    <a:pt x="218" y="166"/>
                  </a:lnTo>
                  <a:lnTo>
                    <a:pt x="204" y="172"/>
                  </a:lnTo>
                  <a:lnTo>
                    <a:pt x="186" y="174"/>
                  </a:lnTo>
                  <a:lnTo>
                    <a:pt x="176" y="172"/>
                  </a:lnTo>
                  <a:lnTo>
                    <a:pt x="170" y="166"/>
                  </a:lnTo>
                  <a:lnTo>
                    <a:pt x="162" y="162"/>
                  </a:lnTo>
                  <a:lnTo>
                    <a:pt x="156" y="160"/>
                  </a:lnTo>
                  <a:lnTo>
                    <a:pt x="144" y="160"/>
                  </a:lnTo>
                  <a:lnTo>
                    <a:pt x="132" y="162"/>
                  </a:lnTo>
                  <a:lnTo>
                    <a:pt x="116" y="162"/>
                  </a:lnTo>
                  <a:lnTo>
                    <a:pt x="102" y="162"/>
                  </a:lnTo>
                  <a:lnTo>
                    <a:pt x="88" y="160"/>
                  </a:lnTo>
                  <a:lnTo>
                    <a:pt x="80" y="156"/>
                  </a:lnTo>
                  <a:lnTo>
                    <a:pt x="76" y="148"/>
                  </a:lnTo>
                  <a:lnTo>
                    <a:pt x="76" y="144"/>
                  </a:lnTo>
                  <a:lnTo>
                    <a:pt x="76" y="134"/>
                  </a:lnTo>
                  <a:lnTo>
                    <a:pt x="72" y="120"/>
                  </a:lnTo>
                  <a:lnTo>
                    <a:pt x="66" y="108"/>
                  </a:lnTo>
                  <a:lnTo>
                    <a:pt x="56" y="100"/>
                  </a:lnTo>
                  <a:lnTo>
                    <a:pt x="44" y="94"/>
                  </a:lnTo>
                  <a:lnTo>
                    <a:pt x="30" y="88"/>
                  </a:lnTo>
                  <a:lnTo>
                    <a:pt x="16" y="78"/>
                  </a:lnTo>
                  <a:lnTo>
                    <a:pt x="6" y="66"/>
                  </a:lnTo>
                  <a:lnTo>
                    <a:pt x="0" y="50"/>
                  </a:lnTo>
                  <a:lnTo>
                    <a:pt x="4" y="3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38" name="Freeform 395"/>
            <p:cNvSpPr/>
            <p:nvPr/>
          </p:nvSpPr>
          <p:spPr bwMode="gray">
            <a:xfrm>
              <a:off x="2497712" y="3188857"/>
              <a:ext cx="1462603" cy="1061986"/>
            </a:xfrm>
            <a:custGeom>
              <a:gdLst>
                <a:gd fmla="*/ 258 w 790" name="T0"/>
                <a:gd fmla="*/ 162 h 574" name="T1"/>
                <a:gd fmla="*/ 310 w 790" name="T2"/>
                <a:gd fmla="*/ 218 h 574" name="T3"/>
                <a:gd fmla="*/ 396 w 790" name="T4"/>
                <a:gd fmla="*/ 226 h 574" name="T5"/>
                <a:gd fmla="*/ 514 w 790" name="T6"/>
                <a:gd fmla="*/ 190 h 574" name="T7"/>
                <a:gd fmla="*/ 584 w 790" name="T8"/>
                <a:gd fmla="*/ 142 h 574" name="T9"/>
                <a:gd fmla="*/ 606 w 790" name="T10"/>
                <a:gd fmla="*/ 118 h 574" name="T11"/>
                <a:gd fmla="*/ 588 w 790" name="T12"/>
                <a:gd fmla="*/ 56 h 574" name="T13"/>
                <a:gd fmla="*/ 658 w 790" name="T14"/>
                <a:gd fmla="*/ 8 h 574" name="T15"/>
                <a:gd fmla="*/ 678 w 790" name="T16"/>
                <a:gd fmla="*/ 52 h 574" name="T17"/>
                <a:gd fmla="*/ 712 w 790" name="T18"/>
                <a:gd fmla="*/ 90 h 574" name="T19"/>
                <a:gd fmla="*/ 734 w 790" name="T20"/>
                <a:gd fmla="*/ 108 h 574" name="T21"/>
                <a:gd fmla="*/ 762 w 790" name="T22"/>
                <a:gd fmla="*/ 104 h 574" name="T23"/>
                <a:gd fmla="*/ 790 w 790" name="T24"/>
                <a:gd fmla="*/ 78 h 574" name="T25"/>
                <a:gd fmla="*/ 778 w 790" name="T26"/>
                <a:gd fmla="*/ 120 h 574" name="T27"/>
                <a:gd fmla="*/ 698 w 790" name="T28"/>
                <a:gd fmla="*/ 208 h 574" name="T29"/>
                <a:gd fmla="*/ 660 w 790" name="T30"/>
                <a:gd fmla="*/ 216 h 574" name="T31"/>
                <a:gd fmla="*/ 644 w 790" name="T32"/>
                <a:gd fmla="*/ 224 h 574" name="T33"/>
                <a:gd fmla="*/ 636 w 790" name="T34"/>
                <a:gd fmla="*/ 242 h 574" name="T35"/>
                <a:gd fmla="*/ 618 w 790" name="T36"/>
                <a:gd fmla="*/ 270 h 574" name="T37"/>
                <a:gd fmla="*/ 600 w 790" name="T38"/>
                <a:gd fmla="*/ 268 h 574" name="T39"/>
                <a:gd fmla="*/ 596 w 790" name="T40"/>
                <a:gd fmla="*/ 254 h 574" name="T41"/>
                <a:gd fmla="*/ 556 w 790" name="T42"/>
                <a:gd fmla="*/ 264 h 574" name="T43"/>
                <a:gd fmla="*/ 560 w 790" name="T44"/>
                <a:gd fmla="*/ 282 h 574" name="T45"/>
                <a:gd fmla="*/ 590 w 790" name="T46"/>
                <a:gd fmla="*/ 294 h 574" name="T47"/>
                <a:gd fmla="*/ 624 w 790" name="T48"/>
                <a:gd fmla="*/ 298 h 574" name="T49"/>
                <a:gd fmla="*/ 592 w 790" name="T50"/>
                <a:gd fmla="*/ 316 h 574" name="T51"/>
                <a:gd fmla="*/ 582 w 790" name="T52"/>
                <a:gd fmla="*/ 336 h 574" name="T53"/>
                <a:gd fmla="*/ 608 w 790" name="T54"/>
                <a:gd fmla="*/ 390 h 574" name="T55"/>
                <a:gd fmla="*/ 614 w 790" name="T56"/>
                <a:gd fmla="*/ 422 h 574" name="T57"/>
                <a:gd fmla="*/ 560 w 790" name="T58"/>
                <a:gd fmla="*/ 502 h 574" name="T59"/>
                <a:gd fmla="*/ 482 w 790" name="T60"/>
                <a:gd fmla="*/ 534 h 574" name="T61"/>
                <a:gd fmla="*/ 468 w 790" name="T62"/>
                <a:gd fmla="*/ 546 h 574" name="T63"/>
                <a:gd fmla="*/ 454 w 790" name="T64"/>
                <a:gd fmla="*/ 574 h 574" name="T65"/>
                <a:gd fmla="*/ 460 w 790" name="T66"/>
                <a:gd fmla="*/ 548 h 574" name="T67"/>
                <a:gd fmla="*/ 442 w 790" name="T68"/>
                <a:gd fmla="*/ 532 h 574" name="T69"/>
                <a:gd fmla="*/ 408 w 790" name="T70"/>
                <a:gd fmla="*/ 516 h 574" name="T71"/>
                <a:gd fmla="*/ 372 w 790" name="T72"/>
                <a:gd fmla="*/ 514 h 574" name="T73"/>
                <a:gd fmla="*/ 358 w 790" name="T74"/>
                <a:gd fmla="*/ 524 h 574" name="T75"/>
                <a:gd fmla="*/ 356 w 790" name="T76"/>
                <a:gd fmla="*/ 542 h 574" name="T77"/>
                <a:gd fmla="*/ 338 w 790" name="T78"/>
                <a:gd fmla="*/ 548 h 574" name="T79"/>
                <a:gd fmla="*/ 334 w 790" name="T80"/>
                <a:gd fmla="*/ 534 h 574" name="T81"/>
                <a:gd fmla="*/ 308 w 790" name="T82"/>
                <a:gd fmla="*/ 520 h 574" name="T83"/>
                <a:gd fmla="*/ 304 w 790" name="T84"/>
                <a:gd fmla="*/ 452 h 574" name="T85"/>
                <a:gd fmla="*/ 232 w 790" name="T86"/>
                <a:gd fmla="*/ 440 h 574" name="T87"/>
                <a:gd fmla="*/ 186 w 790" name="T88"/>
                <a:gd fmla="*/ 454 h 574" name="T89"/>
                <a:gd fmla="*/ 180 w 790" name="T90"/>
                <a:gd fmla="*/ 450 h 574" name="T91"/>
                <a:gd fmla="*/ 92 w 790" name="T92"/>
                <a:gd fmla="*/ 380 h 574" name="T93"/>
                <a:gd fmla="*/ 90 w 790" name="T94"/>
                <a:gd fmla="*/ 346 h 574" name="T95"/>
                <a:gd fmla="*/ 60 w 790" name="T96"/>
                <a:gd fmla="*/ 330 h 574" name="T97"/>
                <a:gd fmla="*/ 22 w 790" name="T98"/>
                <a:gd fmla="*/ 308 h 574" name="T99"/>
                <a:gd fmla="*/ 10 w 790" name="T100"/>
                <a:gd fmla="*/ 282 h 574" name="T101"/>
                <a:gd fmla="*/ 0 w 790" name="T102"/>
                <a:gd fmla="*/ 266 h 574" name="T103"/>
                <a:gd fmla="*/ 40 w 790" name="T104"/>
                <a:gd fmla="*/ 246 h 574" name="T105"/>
                <a:gd fmla="*/ 60 w 790" name="T106"/>
                <a:gd fmla="*/ 240 h 574" name="T107"/>
                <a:gd fmla="*/ 84 w 790" name="T108"/>
                <a:gd fmla="*/ 212 h 574" name="T109"/>
                <a:gd fmla="*/ 74 w 790" name="T110"/>
                <a:gd fmla="*/ 188 h 574" name="T111"/>
                <a:gd fmla="*/ 90 w 790" name="T112"/>
                <a:gd fmla="*/ 176 h 574" name="T113"/>
                <a:gd fmla="*/ 110 w 790" name="T114"/>
                <a:gd fmla="*/ 164 h 574" name="T115"/>
                <a:gd fmla="*/ 134 w 790" name="T116"/>
                <a:gd fmla="*/ 130 h 574" name="T117"/>
                <a:gd fmla="*/ 164 w 790" name="T118"/>
                <a:gd fmla="*/ 102 h 574" name="T119"/>
                <a:gd fmla="*/ 180 w 790" name="T120"/>
                <a:gd fmla="*/ 86 h 574"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574" w="790">
                  <a:moveTo>
                    <a:pt x="194" y="86"/>
                  </a:moveTo>
                  <a:lnTo>
                    <a:pt x="192" y="104"/>
                  </a:lnTo>
                  <a:lnTo>
                    <a:pt x="198" y="120"/>
                  </a:lnTo>
                  <a:lnTo>
                    <a:pt x="208" y="132"/>
                  </a:lnTo>
                  <a:lnTo>
                    <a:pt x="222" y="142"/>
                  </a:lnTo>
                  <a:lnTo>
                    <a:pt x="236" y="148"/>
                  </a:lnTo>
                  <a:lnTo>
                    <a:pt x="248" y="154"/>
                  </a:lnTo>
                  <a:lnTo>
                    <a:pt x="258" y="162"/>
                  </a:lnTo>
                  <a:lnTo>
                    <a:pt x="264" y="174"/>
                  </a:lnTo>
                  <a:lnTo>
                    <a:pt x="268" y="188"/>
                  </a:lnTo>
                  <a:lnTo>
                    <a:pt x="270" y="198"/>
                  </a:lnTo>
                  <a:lnTo>
                    <a:pt x="270" y="202"/>
                  </a:lnTo>
                  <a:lnTo>
                    <a:pt x="272" y="210"/>
                  </a:lnTo>
                  <a:lnTo>
                    <a:pt x="280" y="214"/>
                  </a:lnTo>
                  <a:lnTo>
                    <a:pt x="294" y="216"/>
                  </a:lnTo>
                  <a:lnTo>
                    <a:pt x="310" y="218"/>
                  </a:lnTo>
                  <a:lnTo>
                    <a:pt x="324" y="216"/>
                  </a:lnTo>
                  <a:lnTo>
                    <a:pt x="338" y="214"/>
                  </a:lnTo>
                  <a:lnTo>
                    <a:pt x="348" y="214"/>
                  </a:lnTo>
                  <a:lnTo>
                    <a:pt x="356" y="216"/>
                  </a:lnTo>
                  <a:lnTo>
                    <a:pt x="362" y="222"/>
                  </a:lnTo>
                  <a:lnTo>
                    <a:pt x="368" y="226"/>
                  </a:lnTo>
                  <a:lnTo>
                    <a:pt x="380" y="228"/>
                  </a:lnTo>
                  <a:lnTo>
                    <a:pt x="396" y="226"/>
                  </a:lnTo>
                  <a:lnTo>
                    <a:pt x="412" y="220"/>
                  </a:lnTo>
                  <a:lnTo>
                    <a:pt x="424" y="212"/>
                  </a:lnTo>
                  <a:lnTo>
                    <a:pt x="432" y="208"/>
                  </a:lnTo>
                  <a:lnTo>
                    <a:pt x="440" y="206"/>
                  </a:lnTo>
                  <a:lnTo>
                    <a:pt x="454" y="202"/>
                  </a:lnTo>
                  <a:lnTo>
                    <a:pt x="474" y="198"/>
                  </a:lnTo>
                  <a:lnTo>
                    <a:pt x="494" y="194"/>
                  </a:lnTo>
                  <a:lnTo>
                    <a:pt x="514" y="190"/>
                  </a:lnTo>
                  <a:lnTo>
                    <a:pt x="530" y="186"/>
                  </a:lnTo>
                  <a:lnTo>
                    <a:pt x="542" y="180"/>
                  </a:lnTo>
                  <a:lnTo>
                    <a:pt x="548" y="172"/>
                  </a:lnTo>
                  <a:lnTo>
                    <a:pt x="552" y="164"/>
                  </a:lnTo>
                  <a:lnTo>
                    <a:pt x="552" y="156"/>
                  </a:lnTo>
                  <a:lnTo>
                    <a:pt x="552" y="154"/>
                  </a:lnTo>
                  <a:lnTo>
                    <a:pt x="568" y="146"/>
                  </a:lnTo>
                  <a:lnTo>
                    <a:pt x="584" y="142"/>
                  </a:lnTo>
                  <a:lnTo>
                    <a:pt x="590" y="142"/>
                  </a:lnTo>
                  <a:lnTo>
                    <a:pt x="596" y="140"/>
                  </a:lnTo>
                  <a:lnTo>
                    <a:pt x="604" y="138"/>
                  </a:lnTo>
                  <a:lnTo>
                    <a:pt x="608" y="134"/>
                  </a:lnTo>
                  <a:lnTo>
                    <a:pt x="612" y="130"/>
                  </a:lnTo>
                  <a:lnTo>
                    <a:pt x="612" y="126"/>
                  </a:lnTo>
                  <a:lnTo>
                    <a:pt x="610" y="122"/>
                  </a:lnTo>
                  <a:lnTo>
                    <a:pt x="606" y="118"/>
                  </a:lnTo>
                  <a:lnTo>
                    <a:pt x="600" y="116"/>
                  </a:lnTo>
                  <a:lnTo>
                    <a:pt x="596" y="114"/>
                  </a:lnTo>
                  <a:lnTo>
                    <a:pt x="592" y="114"/>
                  </a:lnTo>
                  <a:lnTo>
                    <a:pt x="590" y="114"/>
                  </a:lnTo>
                  <a:lnTo>
                    <a:pt x="562" y="114"/>
                  </a:lnTo>
                  <a:lnTo>
                    <a:pt x="570" y="76"/>
                  </a:lnTo>
                  <a:lnTo>
                    <a:pt x="588" y="60"/>
                  </a:lnTo>
                  <a:lnTo>
                    <a:pt x="588" y="56"/>
                  </a:lnTo>
                  <a:lnTo>
                    <a:pt x="588" y="46"/>
                  </a:lnTo>
                  <a:lnTo>
                    <a:pt x="590" y="34"/>
                  </a:lnTo>
                  <a:lnTo>
                    <a:pt x="594" y="20"/>
                  </a:lnTo>
                  <a:lnTo>
                    <a:pt x="602" y="8"/>
                  </a:lnTo>
                  <a:lnTo>
                    <a:pt x="614" y="2"/>
                  </a:lnTo>
                  <a:lnTo>
                    <a:pt x="634" y="0"/>
                  </a:lnTo>
                  <a:lnTo>
                    <a:pt x="648" y="2"/>
                  </a:lnTo>
                  <a:lnTo>
                    <a:pt x="658" y="8"/>
                  </a:lnTo>
                  <a:lnTo>
                    <a:pt x="664" y="20"/>
                  </a:lnTo>
                  <a:lnTo>
                    <a:pt x="666" y="22"/>
                  </a:lnTo>
                  <a:lnTo>
                    <a:pt x="666" y="24"/>
                  </a:lnTo>
                  <a:lnTo>
                    <a:pt x="668" y="30"/>
                  </a:lnTo>
                  <a:lnTo>
                    <a:pt x="672" y="36"/>
                  </a:lnTo>
                  <a:lnTo>
                    <a:pt x="674" y="42"/>
                  </a:lnTo>
                  <a:lnTo>
                    <a:pt x="676" y="50"/>
                  </a:lnTo>
                  <a:lnTo>
                    <a:pt x="678" y="52"/>
                  </a:lnTo>
                  <a:lnTo>
                    <a:pt x="686" y="60"/>
                  </a:lnTo>
                  <a:lnTo>
                    <a:pt x="694" y="70"/>
                  </a:lnTo>
                  <a:lnTo>
                    <a:pt x="700" y="80"/>
                  </a:lnTo>
                  <a:lnTo>
                    <a:pt x="702" y="92"/>
                  </a:lnTo>
                  <a:lnTo>
                    <a:pt x="704" y="92"/>
                  </a:lnTo>
                  <a:lnTo>
                    <a:pt x="706" y="92"/>
                  </a:lnTo>
                  <a:lnTo>
                    <a:pt x="708" y="90"/>
                  </a:lnTo>
                  <a:lnTo>
                    <a:pt x="712" y="90"/>
                  </a:lnTo>
                  <a:lnTo>
                    <a:pt x="716" y="90"/>
                  </a:lnTo>
                  <a:lnTo>
                    <a:pt x="722" y="92"/>
                  </a:lnTo>
                  <a:lnTo>
                    <a:pt x="726" y="94"/>
                  </a:lnTo>
                  <a:lnTo>
                    <a:pt x="730" y="98"/>
                  </a:lnTo>
                  <a:lnTo>
                    <a:pt x="732" y="104"/>
                  </a:lnTo>
                  <a:lnTo>
                    <a:pt x="732" y="104"/>
                  </a:lnTo>
                  <a:lnTo>
                    <a:pt x="734" y="106"/>
                  </a:lnTo>
                  <a:lnTo>
                    <a:pt x="734" y="108"/>
                  </a:lnTo>
                  <a:lnTo>
                    <a:pt x="736" y="112"/>
                  </a:lnTo>
                  <a:lnTo>
                    <a:pt x="738" y="114"/>
                  </a:lnTo>
                  <a:lnTo>
                    <a:pt x="742" y="114"/>
                  </a:lnTo>
                  <a:lnTo>
                    <a:pt x="746" y="114"/>
                  </a:lnTo>
                  <a:lnTo>
                    <a:pt x="752" y="112"/>
                  </a:lnTo>
                  <a:lnTo>
                    <a:pt x="758" y="108"/>
                  </a:lnTo>
                  <a:lnTo>
                    <a:pt x="760" y="108"/>
                  </a:lnTo>
                  <a:lnTo>
                    <a:pt x="762" y="104"/>
                  </a:lnTo>
                  <a:lnTo>
                    <a:pt x="764" y="100"/>
                  </a:lnTo>
                  <a:lnTo>
                    <a:pt x="768" y="94"/>
                  </a:lnTo>
                  <a:lnTo>
                    <a:pt x="774" y="90"/>
                  </a:lnTo>
                  <a:lnTo>
                    <a:pt x="778" y="84"/>
                  </a:lnTo>
                  <a:lnTo>
                    <a:pt x="784" y="80"/>
                  </a:lnTo>
                  <a:lnTo>
                    <a:pt x="790" y="78"/>
                  </a:lnTo>
                  <a:lnTo>
                    <a:pt x="790" y="78"/>
                  </a:lnTo>
                  <a:lnTo>
                    <a:pt x="790" y="78"/>
                  </a:lnTo>
                  <a:lnTo>
                    <a:pt x="790" y="80"/>
                  </a:lnTo>
                  <a:lnTo>
                    <a:pt x="790" y="82"/>
                  </a:lnTo>
                  <a:lnTo>
                    <a:pt x="790" y="86"/>
                  </a:lnTo>
                  <a:lnTo>
                    <a:pt x="790" y="90"/>
                  </a:lnTo>
                  <a:lnTo>
                    <a:pt x="788" y="96"/>
                  </a:lnTo>
                  <a:lnTo>
                    <a:pt x="786" y="104"/>
                  </a:lnTo>
                  <a:lnTo>
                    <a:pt x="784" y="108"/>
                  </a:lnTo>
                  <a:lnTo>
                    <a:pt x="778" y="120"/>
                  </a:lnTo>
                  <a:lnTo>
                    <a:pt x="772" y="132"/>
                  </a:lnTo>
                  <a:lnTo>
                    <a:pt x="762" y="144"/>
                  </a:lnTo>
                  <a:lnTo>
                    <a:pt x="752" y="156"/>
                  </a:lnTo>
                  <a:lnTo>
                    <a:pt x="744" y="164"/>
                  </a:lnTo>
                  <a:lnTo>
                    <a:pt x="740" y="174"/>
                  </a:lnTo>
                  <a:lnTo>
                    <a:pt x="720" y="190"/>
                  </a:lnTo>
                  <a:lnTo>
                    <a:pt x="698" y="208"/>
                  </a:lnTo>
                  <a:lnTo>
                    <a:pt x="698" y="208"/>
                  </a:lnTo>
                  <a:lnTo>
                    <a:pt x="696" y="210"/>
                  </a:lnTo>
                  <a:lnTo>
                    <a:pt x="694" y="212"/>
                  </a:lnTo>
                  <a:lnTo>
                    <a:pt x="690" y="214"/>
                  </a:lnTo>
                  <a:lnTo>
                    <a:pt x="686" y="216"/>
                  </a:lnTo>
                  <a:lnTo>
                    <a:pt x="680" y="218"/>
                  </a:lnTo>
                  <a:lnTo>
                    <a:pt x="672" y="218"/>
                  </a:lnTo>
                  <a:lnTo>
                    <a:pt x="666" y="218"/>
                  </a:lnTo>
                  <a:lnTo>
                    <a:pt x="660" y="216"/>
                  </a:lnTo>
                  <a:lnTo>
                    <a:pt x="656" y="216"/>
                  </a:lnTo>
                  <a:lnTo>
                    <a:pt x="654" y="216"/>
                  </a:lnTo>
                  <a:lnTo>
                    <a:pt x="652" y="216"/>
                  </a:lnTo>
                  <a:lnTo>
                    <a:pt x="652" y="216"/>
                  </a:lnTo>
                  <a:lnTo>
                    <a:pt x="648" y="216"/>
                  </a:lnTo>
                  <a:lnTo>
                    <a:pt x="646" y="218"/>
                  </a:lnTo>
                  <a:lnTo>
                    <a:pt x="644" y="220"/>
                  </a:lnTo>
                  <a:lnTo>
                    <a:pt x="644" y="224"/>
                  </a:lnTo>
                  <a:lnTo>
                    <a:pt x="646" y="228"/>
                  </a:lnTo>
                  <a:lnTo>
                    <a:pt x="646" y="232"/>
                  </a:lnTo>
                  <a:lnTo>
                    <a:pt x="646" y="236"/>
                  </a:lnTo>
                  <a:lnTo>
                    <a:pt x="646" y="238"/>
                  </a:lnTo>
                  <a:lnTo>
                    <a:pt x="644" y="240"/>
                  </a:lnTo>
                  <a:lnTo>
                    <a:pt x="642" y="242"/>
                  </a:lnTo>
                  <a:lnTo>
                    <a:pt x="638" y="242"/>
                  </a:lnTo>
                  <a:lnTo>
                    <a:pt x="636" y="242"/>
                  </a:lnTo>
                  <a:lnTo>
                    <a:pt x="632" y="240"/>
                  </a:lnTo>
                  <a:lnTo>
                    <a:pt x="630" y="240"/>
                  </a:lnTo>
                  <a:lnTo>
                    <a:pt x="628" y="240"/>
                  </a:lnTo>
                  <a:lnTo>
                    <a:pt x="628" y="262"/>
                  </a:lnTo>
                  <a:lnTo>
                    <a:pt x="628" y="262"/>
                  </a:lnTo>
                  <a:lnTo>
                    <a:pt x="626" y="264"/>
                  </a:lnTo>
                  <a:lnTo>
                    <a:pt x="622" y="268"/>
                  </a:lnTo>
                  <a:lnTo>
                    <a:pt x="618" y="270"/>
                  </a:lnTo>
                  <a:lnTo>
                    <a:pt x="612" y="274"/>
                  </a:lnTo>
                  <a:lnTo>
                    <a:pt x="608" y="276"/>
                  </a:lnTo>
                  <a:lnTo>
                    <a:pt x="606" y="276"/>
                  </a:lnTo>
                  <a:lnTo>
                    <a:pt x="604" y="276"/>
                  </a:lnTo>
                  <a:lnTo>
                    <a:pt x="602" y="274"/>
                  </a:lnTo>
                  <a:lnTo>
                    <a:pt x="600" y="274"/>
                  </a:lnTo>
                  <a:lnTo>
                    <a:pt x="600" y="272"/>
                  </a:lnTo>
                  <a:lnTo>
                    <a:pt x="600" y="268"/>
                  </a:lnTo>
                  <a:lnTo>
                    <a:pt x="602" y="264"/>
                  </a:lnTo>
                  <a:lnTo>
                    <a:pt x="606" y="262"/>
                  </a:lnTo>
                  <a:lnTo>
                    <a:pt x="608" y="258"/>
                  </a:lnTo>
                  <a:lnTo>
                    <a:pt x="608" y="256"/>
                  </a:lnTo>
                  <a:lnTo>
                    <a:pt x="608" y="254"/>
                  </a:lnTo>
                  <a:lnTo>
                    <a:pt x="604" y="252"/>
                  </a:lnTo>
                  <a:lnTo>
                    <a:pt x="600" y="252"/>
                  </a:lnTo>
                  <a:lnTo>
                    <a:pt x="596" y="254"/>
                  </a:lnTo>
                  <a:lnTo>
                    <a:pt x="592" y="256"/>
                  </a:lnTo>
                  <a:lnTo>
                    <a:pt x="586" y="260"/>
                  </a:lnTo>
                  <a:lnTo>
                    <a:pt x="582" y="264"/>
                  </a:lnTo>
                  <a:lnTo>
                    <a:pt x="574" y="266"/>
                  </a:lnTo>
                  <a:lnTo>
                    <a:pt x="568" y="266"/>
                  </a:lnTo>
                  <a:lnTo>
                    <a:pt x="562" y="266"/>
                  </a:lnTo>
                  <a:lnTo>
                    <a:pt x="558" y="266"/>
                  </a:lnTo>
                  <a:lnTo>
                    <a:pt x="556" y="264"/>
                  </a:lnTo>
                  <a:lnTo>
                    <a:pt x="554" y="264"/>
                  </a:lnTo>
                  <a:lnTo>
                    <a:pt x="554" y="264"/>
                  </a:lnTo>
                  <a:lnTo>
                    <a:pt x="552" y="266"/>
                  </a:lnTo>
                  <a:lnTo>
                    <a:pt x="550" y="268"/>
                  </a:lnTo>
                  <a:lnTo>
                    <a:pt x="550" y="270"/>
                  </a:lnTo>
                  <a:lnTo>
                    <a:pt x="552" y="274"/>
                  </a:lnTo>
                  <a:lnTo>
                    <a:pt x="554" y="278"/>
                  </a:lnTo>
                  <a:lnTo>
                    <a:pt x="560" y="282"/>
                  </a:lnTo>
                  <a:lnTo>
                    <a:pt x="566" y="286"/>
                  </a:lnTo>
                  <a:lnTo>
                    <a:pt x="570" y="290"/>
                  </a:lnTo>
                  <a:lnTo>
                    <a:pt x="574" y="294"/>
                  </a:lnTo>
                  <a:lnTo>
                    <a:pt x="578" y="296"/>
                  </a:lnTo>
                  <a:lnTo>
                    <a:pt x="578" y="296"/>
                  </a:lnTo>
                  <a:lnTo>
                    <a:pt x="580" y="296"/>
                  </a:lnTo>
                  <a:lnTo>
                    <a:pt x="584" y="294"/>
                  </a:lnTo>
                  <a:lnTo>
                    <a:pt x="590" y="294"/>
                  </a:lnTo>
                  <a:lnTo>
                    <a:pt x="594" y="292"/>
                  </a:lnTo>
                  <a:lnTo>
                    <a:pt x="600" y="292"/>
                  </a:lnTo>
                  <a:lnTo>
                    <a:pt x="604" y="290"/>
                  </a:lnTo>
                  <a:lnTo>
                    <a:pt x="610" y="290"/>
                  </a:lnTo>
                  <a:lnTo>
                    <a:pt x="616" y="292"/>
                  </a:lnTo>
                  <a:lnTo>
                    <a:pt x="620" y="294"/>
                  </a:lnTo>
                  <a:lnTo>
                    <a:pt x="622" y="296"/>
                  </a:lnTo>
                  <a:lnTo>
                    <a:pt x="624" y="298"/>
                  </a:lnTo>
                  <a:lnTo>
                    <a:pt x="624" y="300"/>
                  </a:lnTo>
                  <a:lnTo>
                    <a:pt x="620" y="302"/>
                  </a:lnTo>
                  <a:lnTo>
                    <a:pt x="616" y="304"/>
                  </a:lnTo>
                  <a:lnTo>
                    <a:pt x="610" y="306"/>
                  </a:lnTo>
                  <a:lnTo>
                    <a:pt x="604" y="308"/>
                  </a:lnTo>
                  <a:lnTo>
                    <a:pt x="600" y="312"/>
                  </a:lnTo>
                  <a:lnTo>
                    <a:pt x="596" y="314"/>
                  </a:lnTo>
                  <a:lnTo>
                    <a:pt x="592" y="316"/>
                  </a:lnTo>
                  <a:lnTo>
                    <a:pt x="590" y="316"/>
                  </a:lnTo>
                  <a:lnTo>
                    <a:pt x="590" y="316"/>
                  </a:lnTo>
                  <a:lnTo>
                    <a:pt x="588" y="318"/>
                  </a:lnTo>
                  <a:lnTo>
                    <a:pt x="584" y="320"/>
                  </a:lnTo>
                  <a:lnTo>
                    <a:pt x="582" y="324"/>
                  </a:lnTo>
                  <a:lnTo>
                    <a:pt x="580" y="326"/>
                  </a:lnTo>
                  <a:lnTo>
                    <a:pt x="580" y="332"/>
                  </a:lnTo>
                  <a:lnTo>
                    <a:pt x="582" y="336"/>
                  </a:lnTo>
                  <a:lnTo>
                    <a:pt x="586" y="342"/>
                  </a:lnTo>
                  <a:lnTo>
                    <a:pt x="590" y="348"/>
                  </a:lnTo>
                  <a:lnTo>
                    <a:pt x="594" y="352"/>
                  </a:lnTo>
                  <a:lnTo>
                    <a:pt x="596" y="358"/>
                  </a:lnTo>
                  <a:lnTo>
                    <a:pt x="598" y="362"/>
                  </a:lnTo>
                  <a:lnTo>
                    <a:pt x="600" y="364"/>
                  </a:lnTo>
                  <a:lnTo>
                    <a:pt x="600" y="366"/>
                  </a:lnTo>
                  <a:lnTo>
                    <a:pt x="608" y="390"/>
                  </a:lnTo>
                  <a:lnTo>
                    <a:pt x="610" y="390"/>
                  </a:lnTo>
                  <a:lnTo>
                    <a:pt x="610" y="394"/>
                  </a:lnTo>
                  <a:lnTo>
                    <a:pt x="612" y="398"/>
                  </a:lnTo>
                  <a:lnTo>
                    <a:pt x="614" y="402"/>
                  </a:lnTo>
                  <a:lnTo>
                    <a:pt x="614" y="406"/>
                  </a:lnTo>
                  <a:lnTo>
                    <a:pt x="614" y="412"/>
                  </a:lnTo>
                  <a:lnTo>
                    <a:pt x="614" y="416"/>
                  </a:lnTo>
                  <a:lnTo>
                    <a:pt x="614" y="422"/>
                  </a:lnTo>
                  <a:lnTo>
                    <a:pt x="612" y="426"/>
                  </a:lnTo>
                  <a:lnTo>
                    <a:pt x="610" y="430"/>
                  </a:lnTo>
                  <a:lnTo>
                    <a:pt x="606" y="434"/>
                  </a:lnTo>
                  <a:lnTo>
                    <a:pt x="606" y="436"/>
                  </a:lnTo>
                  <a:lnTo>
                    <a:pt x="604" y="438"/>
                  </a:lnTo>
                  <a:lnTo>
                    <a:pt x="592" y="458"/>
                  </a:lnTo>
                  <a:lnTo>
                    <a:pt x="582" y="482"/>
                  </a:lnTo>
                  <a:lnTo>
                    <a:pt x="560" y="502"/>
                  </a:lnTo>
                  <a:lnTo>
                    <a:pt x="544" y="512"/>
                  </a:lnTo>
                  <a:lnTo>
                    <a:pt x="540" y="520"/>
                  </a:lnTo>
                  <a:lnTo>
                    <a:pt x="536" y="520"/>
                  </a:lnTo>
                  <a:lnTo>
                    <a:pt x="526" y="522"/>
                  </a:lnTo>
                  <a:lnTo>
                    <a:pt x="514" y="522"/>
                  </a:lnTo>
                  <a:lnTo>
                    <a:pt x="502" y="520"/>
                  </a:lnTo>
                  <a:lnTo>
                    <a:pt x="494" y="532"/>
                  </a:lnTo>
                  <a:lnTo>
                    <a:pt x="482" y="534"/>
                  </a:lnTo>
                  <a:lnTo>
                    <a:pt x="482" y="534"/>
                  </a:lnTo>
                  <a:lnTo>
                    <a:pt x="480" y="534"/>
                  </a:lnTo>
                  <a:lnTo>
                    <a:pt x="478" y="534"/>
                  </a:lnTo>
                  <a:lnTo>
                    <a:pt x="474" y="536"/>
                  </a:lnTo>
                  <a:lnTo>
                    <a:pt x="472" y="536"/>
                  </a:lnTo>
                  <a:lnTo>
                    <a:pt x="470" y="540"/>
                  </a:lnTo>
                  <a:lnTo>
                    <a:pt x="468" y="542"/>
                  </a:lnTo>
                  <a:lnTo>
                    <a:pt x="468" y="546"/>
                  </a:lnTo>
                  <a:lnTo>
                    <a:pt x="470" y="552"/>
                  </a:lnTo>
                  <a:lnTo>
                    <a:pt x="470" y="558"/>
                  </a:lnTo>
                  <a:lnTo>
                    <a:pt x="470" y="564"/>
                  </a:lnTo>
                  <a:lnTo>
                    <a:pt x="470" y="568"/>
                  </a:lnTo>
                  <a:lnTo>
                    <a:pt x="470" y="570"/>
                  </a:lnTo>
                  <a:lnTo>
                    <a:pt x="468" y="572"/>
                  </a:lnTo>
                  <a:lnTo>
                    <a:pt x="456" y="574"/>
                  </a:lnTo>
                  <a:lnTo>
                    <a:pt x="454" y="574"/>
                  </a:lnTo>
                  <a:lnTo>
                    <a:pt x="452" y="572"/>
                  </a:lnTo>
                  <a:lnTo>
                    <a:pt x="450" y="570"/>
                  </a:lnTo>
                  <a:lnTo>
                    <a:pt x="450" y="566"/>
                  </a:lnTo>
                  <a:lnTo>
                    <a:pt x="450" y="564"/>
                  </a:lnTo>
                  <a:lnTo>
                    <a:pt x="452" y="560"/>
                  </a:lnTo>
                  <a:lnTo>
                    <a:pt x="456" y="556"/>
                  </a:lnTo>
                  <a:lnTo>
                    <a:pt x="458" y="552"/>
                  </a:lnTo>
                  <a:lnTo>
                    <a:pt x="460" y="548"/>
                  </a:lnTo>
                  <a:lnTo>
                    <a:pt x="460" y="544"/>
                  </a:lnTo>
                  <a:lnTo>
                    <a:pt x="458" y="540"/>
                  </a:lnTo>
                  <a:lnTo>
                    <a:pt x="456" y="538"/>
                  </a:lnTo>
                  <a:lnTo>
                    <a:pt x="452" y="536"/>
                  </a:lnTo>
                  <a:lnTo>
                    <a:pt x="448" y="536"/>
                  </a:lnTo>
                  <a:lnTo>
                    <a:pt x="444" y="534"/>
                  </a:lnTo>
                  <a:lnTo>
                    <a:pt x="442" y="532"/>
                  </a:lnTo>
                  <a:lnTo>
                    <a:pt x="442" y="532"/>
                  </a:lnTo>
                  <a:lnTo>
                    <a:pt x="438" y="534"/>
                  </a:lnTo>
                  <a:lnTo>
                    <a:pt x="434" y="536"/>
                  </a:lnTo>
                  <a:lnTo>
                    <a:pt x="434" y="538"/>
                  </a:lnTo>
                  <a:lnTo>
                    <a:pt x="432" y="538"/>
                  </a:lnTo>
                  <a:lnTo>
                    <a:pt x="430" y="528"/>
                  </a:lnTo>
                  <a:lnTo>
                    <a:pt x="418" y="516"/>
                  </a:lnTo>
                  <a:lnTo>
                    <a:pt x="412" y="514"/>
                  </a:lnTo>
                  <a:lnTo>
                    <a:pt x="408" y="516"/>
                  </a:lnTo>
                  <a:lnTo>
                    <a:pt x="402" y="516"/>
                  </a:lnTo>
                  <a:lnTo>
                    <a:pt x="396" y="516"/>
                  </a:lnTo>
                  <a:lnTo>
                    <a:pt x="390" y="516"/>
                  </a:lnTo>
                  <a:lnTo>
                    <a:pt x="386" y="514"/>
                  </a:lnTo>
                  <a:lnTo>
                    <a:pt x="382" y="514"/>
                  </a:lnTo>
                  <a:lnTo>
                    <a:pt x="382" y="514"/>
                  </a:lnTo>
                  <a:lnTo>
                    <a:pt x="378" y="514"/>
                  </a:lnTo>
                  <a:lnTo>
                    <a:pt x="372" y="514"/>
                  </a:lnTo>
                  <a:lnTo>
                    <a:pt x="370" y="516"/>
                  </a:lnTo>
                  <a:lnTo>
                    <a:pt x="368" y="516"/>
                  </a:lnTo>
                  <a:lnTo>
                    <a:pt x="364" y="516"/>
                  </a:lnTo>
                  <a:lnTo>
                    <a:pt x="362" y="518"/>
                  </a:lnTo>
                  <a:lnTo>
                    <a:pt x="362" y="520"/>
                  </a:lnTo>
                  <a:lnTo>
                    <a:pt x="362" y="520"/>
                  </a:lnTo>
                  <a:lnTo>
                    <a:pt x="362" y="522"/>
                  </a:lnTo>
                  <a:lnTo>
                    <a:pt x="358" y="524"/>
                  </a:lnTo>
                  <a:lnTo>
                    <a:pt x="356" y="526"/>
                  </a:lnTo>
                  <a:lnTo>
                    <a:pt x="356" y="526"/>
                  </a:lnTo>
                  <a:lnTo>
                    <a:pt x="356" y="528"/>
                  </a:lnTo>
                  <a:lnTo>
                    <a:pt x="356" y="528"/>
                  </a:lnTo>
                  <a:lnTo>
                    <a:pt x="356" y="528"/>
                  </a:lnTo>
                  <a:lnTo>
                    <a:pt x="356" y="532"/>
                  </a:lnTo>
                  <a:lnTo>
                    <a:pt x="358" y="538"/>
                  </a:lnTo>
                  <a:lnTo>
                    <a:pt x="356" y="542"/>
                  </a:lnTo>
                  <a:lnTo>
                    <a:pt x="356" y="544"/>
                  </a:lnTo>
                  <a:lnTo>
                    <a:pt x="354" y="544"/>
                  </a:lnTo>
                  <a:lnTo>
                    <a:pt x="352" y="544"/>
                  </a:lnTo>
                  <a:lnTo>
                    <a:pt x="352" y="544"/>
                  </a:lnTo>
                  <a:lnTo>
                    <a:pt x="350" y="544"/>
                  </a:lnTo>
                  <a:lnTo>
                    <a:pt x="348" y="544"/>
                  </a:lnTo>
                  <a:lnTo>
                    <a:pt x="342" y="546"/>
                  </a:lnTo>
                  <a:lnTo>
                    <a:pt x="338" y="548"/>
                  </a:lnTo>
                  <a:lnTo>
                    <a:pt x="334" y="548"/>
                  </a:lnTo>
                  <a:lnTo>
                    <a:pt x="332" y="548"/>
                  </a:lnTo>
                  <a:lnTo>
                    <a:pt x="332" y="548"/>
                  </a:lnTo>
                  <a:lnTo>
                    <a:pt x="332" y="546"/>
                  </a:lnTo>
                  <a:lnTo>
                    <a:pt x="332" y="542"/>
                  </a:lnTo>
                  <a:lnTo>
                    <a:pt x="334" y="538"/>
                  </a:lnTo>
                  <a:lnTo>
                    <a:pt x="334" y="536"/>
                  </a:lnTo>
                  <a:lnTo>
                    <a:pt x="334" y="534"/>
                  </a:lnTo>
                  <a:lnTo>
                    <a:pt x="326" y="528"/>
                  </a:lnTo>
                  <a:lnTo>
                    <a:pt x="320" y="530"/>
                  </a:lnTo>
                  <a:lnTo>
                    <a:pt x="316" y="530"/>
                  </a:lnTo>
                  <a:lnTo>
                    <a:pt x="312" y="528"/>
                  </a:lnTo>
                  <a:lnTo>
                    <a:pt x="310" y="526"/>
                  </a:lnTo>
                  <a:lnTo>
                    <a:pt x="308" y="524"/>
                  </a:lnTo>
                  <a:lnTo>
                    <a:pt x="308" y="522"/>
                  </a:lnTo>
                  <a:lnTo>
                    <a:pt x="308" y="520"/>
                  </a:lnTo>
                  <a:lnTo>
                    <a:pt x="308" y="520"/>
                  </a:lnTo>
                  <a:lnTo>
                    <a:pt x="312" y="498"/>
                  </a:lnTo>
                  <a:lnTo>
                    <a:pt x="316" y="488"/>
                  </a:lnTo>
                  <a:lnTo>
                    <a:pt x="320" y="484"/>
                  </a:lnTo>
                  <a:lnTo>
                    <a:pt x="320" y="484"/>
                  </a:lnTo>
                  <a:lnTo>
                    <a:pt x="316" y="470"/>
                  </a:lnTo>
                  <a:lnTo>
                    <a:pt x="310" y="458"/>
                  </a:lnTo>
                  <a:lnTo>
                    <a:pt x="304" y="452"/>
                  </a:lnTo>
                  <a:lnTo>
                    <a:pt x="300" y="450"/>
                  </a:lnTo>
                  <a:lnTo>
                    <a:pt x="300" y="448"/>
                  </a:lnTo>
                  <a:lnTo>
                    <a:pt x="298" y="448"/>
                  </a:lnTo>
                  <a:lnTo>
                    <a:pt x="264" y="452"/>
                  </a:lnTo>
                  <a:lnTo>
                    <a:pt x="252" y="450"/>
                  </a:lnTo>
                  <a:lnTo>
                    <a:pt x="248" y="446"/>
                  </a:lnTo>
                  <a:lnTo>
                    <a:pt x="242" y="442"/>
                  </a:lnTo>
                  <a:lnTo>
                    <a:pt x="232" y="440"/>
                  </a:lnTo>
                  <a:lnTo>
                    <a:pt x="222" y="440"/>
                  </a:lnTo>
                  <a:lnTo>
                    <a:pt x="216" y="438"/>
                  </a:lnTo>
                  <a:lnTo>
                    <a:pt x="208" y="440"/>
                  </a:lnTo>
                  <a:lnTo>
                    <a:pt x="200" y="444"/>
                  </a:lnTo>
                  <a:lnTo>
                    <a:pt x="196" y="446"/>
                  </a:lnTo>
                  <a:lnTo>
                    <a:pt x="192" y="450"/>
                  </a:lnTo>
                  <a:lnTo>
                    <a:pt x="188" y="452"/>
                  </a:lnTo>
                  <a:lnTo>
                    <a:pt x="186" y="454"/>
                  </a:lnTo>
                  <a:lnTo>
                    <a:pt x="186" y="454"/>
                  </a:lnTo>
                  <a:lnTo>
                    <a:pt x="186" y="454"/>
                  </a:lnTo>
                  <a:lnTo>
                    <a:pt x="186" y="452"/>
                  </a:lnTo>
                  <a:lnTo>
                    <a:pt x="186" y="452"/>
                  </a:lnTo>
                  <a:lnTo>
                    <a:pt x="184" y="450"/>
                  </a:lnTo>
                  <a:lnTo>
                    <a:pt x="184" y="448"/>
                  </a:lnTo>
                  <a:lnTo>
                    <a:pt x="182" y="450"/>
                  </a:lnTo>
                  <a:lnTo>
                    <a:pt x="180" y="450"/>
                  </a:lnTo>
                  <a:lnTo>
                    <a:pt x="178" y="450"/>
                  </a:lnTo>
                  <a:lnTo>
                    <a:pt x="178" y="452"/>
                  </a:lnTo>
                  <a:lnTo>
                    <a:pt x="114" y="438"/>
                  </a:lnTo>
                  <a:lnTo>
                    <a:pt x="88" y="416"/>
                  </a:lnTo>
                  <a:lnTo>
                    <a:pt x="82" y="402"/>
                  </a:lnTo>
                  <a:lnTo>
                    <a:pt x="82" y="392"/>
                  </a:lnTo>
                  <a:lnTo>
                    <a:pt x="88" y="384"/>
                  </a:lnTo>
                  <a:lnTo>
                    <a:pt x="92" y="380"/>
                  </a:lnTo>
                  <a:lnTo>
                    <a:pt x="94" y="380"/>
                  </a:lnTo>
                  <a:lnTo>
                    <a:pt x="88" y="366"/>
                  </a:lnTo>
                  <a:lnTo>
                    <a:pt x="96" y="362"/>
                  </a:lnTo>
                  <a:lnTo>
                    <a:pt x="94" y="358"/>
                  </a:lnTo>
                  <a:lnTo>
                    <a:pt x="92" y="354"/>
                  </a:lnTo>
                  <a:lnTo>
                    <a:pt x="92" y="350"/>
                  </a:lnTo>
                  <a:lnTo>
                    <a:pt x="90" y="348"/>
                  </a:lnTo>
                  <a:lnTo>
                    <a:pt x="90" y="346"/>
                  </a:lnTo>
                  <a:lnTo>
                    <a:pt x="88" y="342"/>
                  </a:lnTo>
                  <a:lnTo>
                    <a:pt x="86" y="340"/>
                  </a:lnTo>
                  <a:lnTo>
                    <a:pt x="82" y="338"/>
                  </a:lnTo>
                  <a:lnTo>
                    <a:pt x="76" y="336"/>
                  </a:lnTo>
                  <a:lnTo>
                    <a:pt x="72" y="336"/>
                  </a:lnTo>
                  <a:lnTo>
                    <a:pt x="66" y="334"/>
                  </a:lnTo>
                  <a:lnTo>
                    <a:pt x="62" y="332"/>
                  </a:lnTo>
                  <a:lnTo>
                    <a:pt x="60" y="330"/>
                  </a:lnTo>
                  <a:lnTo>
                    <a:pt x="58" y="328"/>
                  </a:lnTo>
                  <a:lnTo>
                    <a:pt x="50" y="330"/>
                  </a:lnTo>
                  <a:lnTo>
                    <a:pt x="30" y="332"/>
                  </a:lnTo>
                  <a:lnTo>
                    <a:pt x="28" y="314"/>
                  </a:lnTo>
                  <a:lnTo>
                    <a:pt x="26" y="312"/>
                  </a:lnTo>
                  <a:lnTo>
                    <a:pt x="26" y="312"/>
                  </a:lnTo>
                  <a:lnTo>
                    <a:pt x="24" y="310"/>
                  </a:lnTo>
                  <a:lnTo>
                    <a:pt x="22" y="308"/>
                  </a:lnTo>
                  <a:lnTo>
                    <a:pt x="20" y="304"/>
                  </a:lnTo>
                  <a:lnTo>
                    <a:pt x="18" y="300"/>
                  </a:lnTo>
                  <a:lnTo>
                    <a:pt x="16" y="294"/>
                  </a:lnTo>
                  <a:lnTo>
                    <a:pt x="16" y="290"/>
                  </a:lnTo>
                  <a:lnTo>
                    <a:pt x="16" y="290"/>
                  </a:lnTo>
                  <a:lnTo>
                    <a:pt x="14" y="286"/>
                  </a:lnTo>
                  <a:lnTo>
                    <a:pt x="12" y="284"/>
                  </a:lnTo>
                  <a:lnTo>
                    <a:pt x="10" y="282"/>
                  </a:lnTo>
                  <a:lnTo>
                    <a:pt x="6" y="282"/>
                  </a:lnTo>
                  <a:lnTo>
                    <a:pt x="4" y="280"/>
                  </a:lnTo>
                  <a:lnTo>
                    <a:pt x="2" y="280"/>
                  </a:lnTo>
                  <a:lnTo>
                    <a:pt x="0" y="276"/>
                  </a:lnTo>
                  <a:lnTo>
                    <a:pt x="0" y="272"/>
                  </a:lnTo>
                  <a:lnTo>
                    <a:pt x="0" y="272"/>
                  </a:lnTo>
                  <a:lnTo>
                    <a:pt x="0" y="270"/>
                  </a:lnTo>
                  <a:lnTo>
                    <a:pt x="0" y="266"/>
                  </a:lnTo>
                  <a:lnTo>
                    <a:pt x="0" y="264"/>
                  </a:lnTo>
                  <a:lnTo>
                    <a:pt x="2" y="260"/>
                  </a:lnTo>
                  <a:lnTo>
                    <a:pt x="4" y="256"/>
                  </a:lnTo>
                  <a:lnTo>
                    <a:pt x="8" y="254"/>
                  </a:lnTo>
                  <a:lnTo>
                    <a:pt x="12" y="252"/>
                  </a:lnTo>
                  <a:lnTo>
                    <a:pt x="18" y="252"/>
                  </a:lnTo>
                  <a:lnTo>
                    <a:pt x="28" y="254"/>
                  </a:lnTo>
                  <a:lnTo>
                    <a:pt x="40" y="246"/>
                  </a:lnTo>
                  <a:lnTo>
                    <a:pt x="40" y="246"/>
                  </a:lnTo>
                  <a:lnTo>
                    <a:pt x="42" y="244"/>
                  </a:lnTo>
                  <a:lnTo>
                    <a:pt x="44" y="242"/>
                  </a:lnTo>
                  <a:lnTo>
                    <a:pt x="48" y="242"/>
                  </a:lnTo>
                  <a:lnTo>
                    <a:pt x="54" y="240"/>
                  </a:lnTo>
                  <a:lnTo>
                    <a:pt x="54" y="240"/>
                  </a:lnTo>
                  <a:lnTo>
                    <a:pt x="56" y="240"/>
                  </a:lnTo>
                  <a:lnTo>
                    <a:pt x="60" y="240"/>
                  </a:lnTo>
                  <a:lnTo>
                    <a:pt x="64" y="238"/>
                  </a:lnTo>
                  <a:lnTo>
                    <a:pt x="70" y="236"/>
                  </a:lnTo>
                  <a:lnTo>
                    <a:pt x="74" y="232"/>
                  </a:lnTo>
                  <a:lnTo>
                    <a:pt x="78" y="226"/>
                  </a:lnTo>
                  <a:lnTo>
                    <a:pt x="80" y="220"/>
                  </a:lnTo>
                  <a:lnTo>
                    <a:pt x="82" y="218"/>
                  </a:lnTo>
                  <a:lnTo>
                    <a:pt x="82" y="216"/>
                  </a:lnTo>
                  <a:lnTo>
                    <a:pt x="84" y="212"/>
                  </a:lnTo>
                  <a:lnTo>
                    <a:pt x="84" y="208"/>
                  </a:lnTo>
                  <a:lnTo>
                    <a:pt x="84" y="206"/>
                  </a:lnTo>
                  <a:lnTo>
                    <a:pt x="84" y="202"/>
                  </a:lnTo>
                  <a:lnTo>
                    <a:pt x="80" y="202"/>
                  </a:lnTo>
                  <a:lnTo>
                    <a:pt x="78" y="198"/>
                  </a:lnTo>
                  <a:lnTo>
                    <a:pt x="76" y="196"/>
                  </a:lnTo>
                  <a:lnTo>
                    <a:pt x="74" y="192"/>
                  </a:lnTo>
                  <a:lnTo>
                    <a:pt x="74" y="188"/>
                  </a:lnTo>
                  <a:lnTo>
                    <a:pt x="74" y="186"/>
                  </a:lnTo>
                  <a:lnTo>
                    <a:pt x="80" y="184"/>
                  </a:lnTo>
                  <a:lnTo>
                    <a:pt x="84" y="182"/>
                  </a:lnTo>
                  <a:lnTo>
                    <a:pt x="86" y="182"/>
                  </a:lnTo>
                  <a:lnTo>
                    <a:pt x="88" y="180"/>
                  </a:lnTo>
                  <a:lnTo>
                    <a:pt x="88" y="180"/>
                  </a:lnTo>
                  <a:lnTo>
                    <a:pt x="90" y="178"/>
                  </a:lnTo>
                  <a:lnTo>
                    <a:pt x="90" y="176"/>
                  </a:lnTo>
                  <a:lnTo>
                    <a:pt x="90" y="174"/>
                  </a:lnTo>
                  <a:lnTo>
                    <a:pt x="90" y="172"/>
                  </a:lnTo>
                  <a:lnTo>
                    <a:pt x="90" y="172"/>
                  </a:lnTo>
                  <a:lnTo>
                    <a:pt x="94" y="172"/>
                  </a:lnTo>
                  <a:lnTo>
                    <a:pt x="98" y="170"/>
                  </a:lnTo>
                  <a:lnTo>
                    <a:pt x="102" y="170"/>
                  </a:lnTo>
                  <a:lnTo>
                    <a:pt x="106" y="168"/>
                  </a:lnTo>
                  <a:lnTo>
                    <a:pt x="110" y="164"/>
                  </a:lnTo>
                  <a:lnTo>
                    <a:pt x="112" y="158"/>
                  </a:lnTo>
                  <a:lnTo>
                    <a:pt x="116" y="152"/>
                  </a:lnTo>
                  <a:lnTo>
                    <a:pt x="116" y="146"/>
                  </a:lnTo>
                  <a:lnTo>
                    <a:pt x="116" y="142"/>
                  </a:lnTo>
                  <a:lnTo>
                    <a:pt x="120" y="136"/>
                  </a:lnTo>
                  <a:lnTo>
                    <a:pt x="124" y="134"/>
                  </a:lnTo>
                  <a:lnTo>
                    <a:pt x="128" y="132"/>
                  </a:lnTo>
                  <a:lnTo>
                    <a:pt x="134" y="130"/>
                  </a:lnTo>
                  <a:lnTo>
                    <a:pt x="140" y="130"/>
                  </a:lnTo>
                  <a:lnTo>
                    <a:pt x="144" y="128"/>
                  </a:lnTo>
                  <a:lnTo>
                    <a:pt x="146" y="124"/>
                  </a:lnTo>
                  <a:lnTo>
                    <a:pt x="148" y="120"/>
                  </a:lnTo>
                  <a:lnTo>
                    <a:pt x="150" y="114"/>
                  </a:lnTo>
                  <a:lnTo>
                    <a:pt x="154" y="110"/>
                  </a:lnTo>
                  <a:lnTo>
                    <a:pt x="158" y="104"/>
                  </a:lnTo>
                  <a:lnTo>
                    <a:pt x="164" y="102"/>
                  </a:lnTo>
                  <a:lnTo>
                    <a:pt x="172" y="100"/>
                  </a:lnTo>
                  <a:lnTo>
                    <a:pt x="176" y="100"/>
                  </a:lnTo>
                  <a:lnTo>
                    <a:pt x="178" y="98"/>
                  </a:lnTo>
                  <a:lnTo>
                    <a:pt x="180" y="96"/>
                  </a:lnTo>
                  <a:lnTo>
                    <a:pt x="180" y="94"/>
                  </a:lnTo>
                  <a:lnTo>
                    <a:pt x="180" y="92"/>
                  </a:lnTo>
                  <a:lnTo>
                    <a:pt x="180" y="90"/>
                  </a:lnTo>
                  <a:lnTo>
                    <a:pt x="180" y="86"/>
                  </a:lnTo>
                  <a:lnTo>
                    <a:pt x="182" y="82"/>
                  </a:lnTo>
                  <a:lnTo>
                    <a:pt x="186" y="80"/>
                  </a:lnTo>
                  <a:lnTo>
                    <a:pt x="190" y="76"/>
                  </a:lnTo>
                  <a:lnTo>
                    <a:pt x="194" y="74"/>
                  </a:lnTo>
                  <a:lnTo>
                    <a:pt x="216" y="74"/>
                  </a:lnTo>
                  <a:lnTo>
                    <a:pt x="194" y="86"/>
                  </a:lnTo>
                </a:path>
              </a:pathLst>
            </a:custGeom>
            <a:solidFill>
              <a:srgbClr val="E00024"/>
            </a:solidFill>
            <a:ln w="6350">
              <a:solidFill>
                <a:schemeClr val="bg1"/>
              </a:solidFill>
              <a:prstDash val="solid"/>
              <a:round/>
            </a:ln>
            <a:effectLst/>
            <a:extLst/>
          </p:spPr>
          <p:txBody>
            <a:bodyPr/>
            <a:lstStyle/>
            <a:p>
              <a:endParaRPr altLang="en-US" lang="zh-CN"/>
            </a:p>
          </p:txBody>
        </p:sp>
        <p:sp>
          <p:nvSpPr>
            <p:cNvPr id="439" name="Freeform 396"/>
            <p:cNvSpPr/>
            <p:nvPr/>
          </p:nvSpPr>
          <p:spPr bwMode="gray">
            <a:xfrm>
              <a:off x="3160512" y="4350751"/>
              <a:ext cx="125895" cy="103608"/>
            </a:xfrm>
            <a:custGeom>
              <a:gdLst>
                <a:gd fmla="*/ 2 w 68" name="T0"/>
                <a:gd fmla="*/ 36 h 56" name="T1"/>
                <a:gd fmla="*/ 2 w 68" name="T2"/>
                <a:gd fmla="*/ 32 h 56" name="T3"/>
                <a:gd fmla="*/ 0 w 68" name="T4"/>
                <a:gd fmla="*/ 22 h 56" name="T5"/>
                <a:gd fmla="*/ 2 w 68" name="T6"/>
                <a:gd fmla="*/ 10 h 56" name="T7"/>
                <a:gd fmla="*/ 10 w 68" name="T8"/>
                <a:gd fmla="*/ 4 h 56" name="T9"/>
                <a:gd fmla="*/ 10 w 68" name="T10"/>
                <a:gd fmla="*/ 2 h 56" name="T11"/>
                <a:gd fmla="*/ 12 w 68" name="T12"/>
                <a:gd fmla="*/ 2 h 56" name="T13"/>
                <a:gd fmla="*/ 14 w 68" name="T14"/>
                <a:gd fmla="*/ 2 h 56" name="T15"/>
                <a:gd fmla="*/ 16 w 68" name="T16"/>
                <a:gd fmla="*/ 0 h 56" name="T17"/>
                <a:gd fmla="*/ 22 w 68" name="T18"/>
                <a:gd fmla="*/ 0 h 56" name="T19"/>
                <a:gd fmla="*/ 28 w 68" name="T20"/>
                <a:gd fmla="*/ 2 h 56" name="T21"/>
                <a:gd fmla="*/ 34 w 68" name="T22"/>
                <a:gd fmla="*/ 4 h 56" name="T23"/>
                <a:gd fmla="*/ 42 w 68" name="T24"/>
                <a:gd fmla="*/ 10 h 56" name="T25"/>
                <a:gd fmla="*/ 44 w 68" name="T26"/>
                <a:gd fmla="*/ 8 h 56" name="T27"/>
                <a:gd fmla="*/ 46 w 68" name="T28"/>
                <a:gd fmla="*/ 8 h 56" name="T29"/>
                <a:gd fmla="*/ 50 w 68" name="T30"/>
                <a:gd fmla="*/ 8 h 56" name="T31"/>
                <a:gd fmla="*/ 54 w 68" name="T32"/>
                <a:gd fmla="*/ 8 h 56" name="T33"/>
                <a:gd fmla="*/ 58 w 68" name="T34"/>
                <a:gd fmla="*/ 8 h 56" name="T35"/>
                <a:gd fmla="*/ 60 w 68" name="T36"/>
                <a:gd fmla="*/ 8 h 56" name="T37"/>
                <a:gd fmla="*/ 64 w 68" name="T38"/>
                <a:gd fmla="*/ 10 h 56" name="T39"/>
                <a:gd fmla="*/ 66 w 68" name="T40"/>
                <a:gd fmla="*/ 12 h 56" name="T41"/>
                <a:gd fmla="*/ 68 w 68" name="T42"/>
                <a:gd fmla="*/ 16 h 56" name="T43"/>
                <a:gd fmla="*/ 68 w 68" name="T44"/>
                <a:gd fmla="*/ 18 h 56" name="T45"/>
                <a:gd fmla="*/ 66 w 68" name="T46"/>
                <a:gd fmla="*/ 22 h 56" name="T47"/>
                <a:gd fmla="*/ 66 w 68" name="T48"/>
                <a:gd fmla="*/ 26 h 56" name="T49"/>
                <a:gd fmla="*/ 64 w 68" name="T50"/>
                <a:gd fmla="*/ 30 h 56" name="T51"/>
                <a:gd fmla="*/ 64 w 68" name="T52"/>
                <a:gd fmla="*/ 32 h 56" name="T53"/>
                <a:gd fmla="*/ 64 w 68" name="T54"/>
                <a:gd fmla="*/ 34 h 56" name="T55"/>
                <a:gd fmla="*/ 54 w 68" name="T56"/>
                <a:gd fmla="*/ 38 h 56" name="T57"/>
                <a:gd fmla="*/ 50 w 68" name="T58"/>
                <a:gd fmla="*/ 42 h 56" name="T59"/>
                <a:gd fmla="*/ 46 w 68" name="T60"/>
                <a:gd fmla="*/ 42 h 56" name="T61"/>
                <a:gd fmla="*/ 42 w 68" name="T62"/>
                <a:gd fmla="*/ 52 h 56" name="T63"/>
                <a:gd fmla="*/ 24 w 68" name="T64"/>
                <a:gd fmla="*/ 56 h 56" name="T65"/>
                <a:gd fmla="*/ 2 w 68" name="T66"/>
                <a:gd fmla="*/ 36 h 56"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56" w="68">
                  <a:moveTo>
                    <a:pt x="2" y="36"/>
                  </a:moveTo>
                  <a:lnTo>
                    <a:pt x="2" y="32"/>
                  </a:lnTo>
                  <a:lnTo>
                    <a:pt x="0" y="22"/>
                  </a:lnTo>
                  <a:lnTo>
                    <a:pt x="2" y="10"/>
                  </a:lnTo>
                  <a:lnTo>
                    <a:pt x="10" y="4"/>
                  </a:lnTo>
                  <a:lnTo>
                    <a:pt x="10" y="2"/>
                  </a:lnTo>
                  <a:lnTo>
                    <a:pt x="12" y="2"/>
                  </a:lnTo>
                  <a:lnTo>
                    <a:pt x="14" y="2"/>
                  </a:lnTo>
                  <a:lnTo>
                    <a:pt x="16" y="0"/>
                  </a:lnTo>
                  <a:lnTo>
                    <a:pt x="22" y="0"/>
                  </a:lnTo>
                  <a:lnTo>
                    <a:pt x="28" y="2"/>
                  </a:lnTo>
                  <a:lnTo>
                    <a:pt x="34" y="4"/>
                  </a:lnTo>
                  <a:lnTo>
                    <a:pt x="42" y="10"/>
                  </a:lnTo>
                  <a:lnTo>
                    <a:pt x="44" y="8"/>
                  </a:lnTo>
                  <a:lnTo>
                    <a:pt x="46" y="8"/>
                  </a:lnTo>
                  <a:lnTo>
                    <a:pt x="50" y="8"/>
                  </a:lnTo>
                  <a:lnTo>
                    <a:pt x="54" y="8"/>
                  </a:lnTo>
                  <a:lnTo>
                    <a:pt x="58" y="8"/>
                  </a:lnTo>
                  <a:lnTo>
                    <a:pt x="60" y="8"/>
                  </a:lnTo>
                  <a:lnTo>
                    <a:pt x="64" y="10"/>
                  </a:lnTo>
                  <a:lnTo>
                    <a:pt x="66" y="12"/>
                  </a:lnTo>
                  <a:lnTo>
                    <a:pt x="68" y="16"/>
                  </a:lnTo>
                  <a:lnTo>
                    <a:pt x="68" y="18"/>
                  </a:lnTo>
                  <a:lnTo>
                    <a:pt x="66" y="22"/>
                  </a:lnTo>
                  <a:lnTo>
                    <a:pt x="66" y="26"/>
                  </a:lnTo>
                  <a:lnTo>
                    <a:pt x="64" y="30"/>
                  </a:lnTo>
                  <a:lnTo>
                    <a:pt x="64" y="32"/>
                  </a:lnTo>
                  <a:lnTo>
                    <a:pt x="64" y="34"/>
                  </a:lnTo>
                  <a:lnTo>
                    <a:pt x="54" y="38"/>
                  </a:lnTo>
                  <a:lnTo>
                    <a:pt x="50" y="42"/>
                  </a:lnTo>
                  <a:lnTo>
                    <a:pt x="46" y="42"/>
                  </a:lnTo>
                  <a:lnTo>
                    <a:pt x="42" y="52"/>
                  </a:lnTo>
                  <a:lnTo>
                    <a:pt x="24" y="56"/>
                  </a:lnTo>
                  <a:lnTo>
                    <a:pt x="2" y="3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0" name="Freeform 397"/>
            <p:cNvSpPr/>
            <p:nvPr/>
          </p:nvSpPr>
          <p:spPr bwMode="gray">
            <a:xfrm>
              <a:off x="3815906" y="3843810"/>
              <a:ext cx="66650" cy="81407"/>
            </a:xfrm>
            <a:custGeom>
              <a:gdLst>
                <a:gd fmla="*/ 6 w 36" name="T0"/>
                <a:gd fmla="*/ 0 h 44" name="T1"/>
                <a:gd fmla="*/ 6 w 36" name="T2"/>
                <a:gd fmla="*/ 2 h 44" name="T3"/>
                <a:gd fmla="*/ 2 w 36" name="T4"/>
                <a:gd fmla="*/ 4 h 44" name="T5"/>
                <a:gd fmla="*/ 0 w 36" name="T6"/>
                <a:gd fmla="*/ 6 h 44" name="T7"/>
                <a:gd fmla="*/ 0 w 36" name="T8"/>
                <a:gd fmla="*/ 10 h 44" name="T9"/>
                <a:gd fmla="*/ 2 w 36" name="T10"/>
                <a:gd fmla="*/ 12 h 44" name="T11"/>
                <a:gd fmla="*/ 4 w 36" name="T12"/>
                <a:gd fmla="*/ 16 h 44" name="T13"/>
                <a:gd fmla="*/ 8 w 36" name="T14"/>
                <a:gd fmla="*/ 20 h 44" name="T15"/>
                <a:gd fmla="*/ 10 w 36" name="T16"/>
                <a:gd fmla="*/ 24 h 44" name="T17"/>
                <a:gd fmla="*/ 14 w 36" name="T18"/>
                <a:gd fmla="*/ 28 h 44" name="T19"/>
                <a:gd fmla="*/ 16 w 36" name="T20"/>
                <a:gd fmla="*/ 32 h 44" name="T21"/>
                <a:gd fmla="*/ 16 w 36" name="T22"/>
                <a:gd fmla="*/ 32 h 44" name="T23"/>
                <a:gd fmla="*/ 16 w 36" name="T24"/>
                <a:gd fmla="*/ 34 h 44" name="T25"/>
                <a:gd fmla="*/ 16 w 36" name="T26"/>
                <a:gd fmla="*/ 36 h 44" name="T27"/>
                <a:gd fmla="*/ 16 w 36" name="T28"/>
                <a:gd fmla="*/ 38 h 44" name="T29"/>
                <a:gd fmla="*/ 18 w 36" name="T30"/>
                <a:gd fmla="*/ 40 h 44" name="T31"/>
                <a:gd fmla="*/ 18 w 36" name="T32"/>
                <a:gd fmla="*/ 42 h 44" name="T33"/>
                <a:gd fmla="*/ 22 w 36" name="T34"/>
                <a:gd fmla="*/ 44 h 44" name="T35"/>
                <a:gd fmla="*/ 26 w 36" name="T36"/>
                <a:gd fmla="*/ 44 h 44" name="T37"/>
                <a:gd fmla="*/ 30 w 36" name="T38"/>
                <a:gd fmla="*/ 42 h 44" name="T39"/>
                <a:gd fmla="*/ 34 w 36" name="T40"/>
                <a:gd fmla="*/ 38 h 44" name="T41"/>
                <a:gd fmla="*/ 34 w 36" name="T42"/>
                <a:gd fmla="*/ 34 h 44" name="T43"/>
                <a:gd fmla="*/ 34 w 36" name="T44"/>
                <a:gd fmla="*/ 30 h 44" name="T45"/>
                <a:gd fmla="*/ 34 w 36" name="T46"/>
                <a:gd fmla="*/ 26 h 44" name="T47"/>
                <a:gd fmla="*/ 34 w 36" name="T48"/>
                <a:gd fmla="*/ 22 h 44" name="T49"/>
                <a:gd fmla="*/ 34 w 36" name="T50"/>
                <a:gd fmla="*/ 18 h 44" name="T51"/>
                <a:gd fmla="*/ 34 w 36" name="T52"/>
                <a:gd fmla="*/ 16 h 44" name="T53"/>
                <a:gd fmla="*/ 36 w 36" name="T54"/>
                <a:gd fmla="*/ 14 h 44" name="T55"/>
                <a:gd fmla="*/ 34 w 36" name="T56"/>
                <a:gd fmla="*/ 14 h 44" name="T57"/>
                <a:gd fmla="*/ 32 w 36" name="T58"/>
                <a:gd fmla="*/ 12 h 44" name="T59"/>
                <a:gd fmla="*/ 28 w 36" name="T60"/>
                <a:gd fmla="*/ 10 h 44" name="T61"/>
                <a:gd fmla="*/ 24 w 36" name="T62"/>
                <a:gd fmla="*/ 6 h 44" name="T63"/>
                <a:gd fmla="*/ 20 w 36" name="T64"/>
                <a:gd fmla="*/ 4 h 44" name="T65"/>
                <a:gd fmla="*/ 18 w 36" name="T66"/>
                <a:gd fmla="*/ 4 h 44" name="T67"/>
                <a:gd fmla="*/ 12 w 36" name="T68"/>
                <a:gd fmla="*/ 4 h 44" name="T69"/>
                <a:gd fmla="*/ 10 w 36" name="T70"/>
                <a:gd fmla="*/ 2 h 44" name="T71"/>
                <a:gd fmla="*/ 8 w 36" name="T72"/>
                <a:gd fmla="*/ 2 h 44" name="T73"/>
                <a:gd fmla="*/ 6 w 36" name="T74"/>
                <a:gd fmla="*/ 0 h 44"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44" w="36">
                  <a:moveTo>
                    <a:pt x="6" y="0"/>
                  </a:moveTo>
                  <a:lnTo>
                    <a:pt x="6" y="2"/>
                  </a:lnTo>
                  <a:lnTo>
                    <a:pt x="2" y="4"/>
                  </a:lnTo>
                  <a:lnTo>
                    <a:pt x="0" y="6"/>
                  </a:lnTo>
                  <a:lnTo>
                    <a:pt x="0" y="10"/>
                  </a:lnTo>
                  <a:lnTo>
                    <a:pt x="2" y="12"/>
                  </a:lnTo>
                  <a:lnTo>
                    <a:pt x="4" y="16"/>
                  </a:lnTo>
                  <a:lnTo>
                    <a:pt x="8" y="20"/>
                  </a:lnTo>
                  <a:lnTo>
                    <a:pt x="10" y="24"/>
                  </a:lnTo>
                  <a:lnTo>
                    <a:pt x="14" y="28"/>
                  </a:lnTo>
                  <a:lnTo>
                    <a:pt x="16" y="32"/>
                  </a:lnTo>
                  <a:lnTo>
                    <a:pt x="16" y="32"/>
                  </a:lnTo>
                  <a:lnTo>
                    <a:pt x="16" y="34"/>
                  </a:lnTo>
                  <a:lnTo>
                    <a:pt x="16" y="36"/>
                  </a:lnTo>
                  <a:lnTo>
                    <a:pt x="16" y="38"/>
                  </a:lnTo>
                  <a:lnTo>
                    <a:pt x="18" y="40"/>
                  </a:lnTo>
                  <a:lnTo>
                    <a:pt x="18" y="42"/>
                  </a:lnTo>
                  <a:lnTo>
                    <a:pt x="22" y="44"/>
                  </a:lnTo>
                  <a:lnTo>
                    <a:pt x="26" y="44"/>
                  </a:lnTo>
                  <a:lnTo>
                    <a:pt x="30" y="42"/>
                  </a:lnTo>
                  <a:lnTo>
                    <a:pt x="34" y="38"/>
                  </a:lnTo>
                  <a:lnTo>
                    <a:pt x="34" y="34"/>
                  </a:lnTo>
                  <a:lnTo>
                    <a:pt x="34" y="30"/>
                  </a:lnTo>
                  <a:lnTo>
                    <a:pt x="34" y="26"/>
                  </a:lnTo>
                  <a:lnTo>
                    <a:pt x="34" y="22"/>
                  </a:lnTo>
                  <a:lnTo>
                    <a:pt x="34" y="18"/>
                  </a:lnTo>
                  <a:lnTo>
                    <a:pt x="34" y="16"/>
                  </a:lnTo>
                  <a:lnTo>
                    <a:pt x="36" y="14"/>
                  </a:lnTo>
                  <a:lnTo>
                    <a:pt x="34" y="14"/>
                  </a:lnTo>
                  <a:lnTo>
                    <a:pt x="32" y="12"/>
                  </a:lnTo>
                  <a:lnTo>
                    <a:pt x="28" y="10"/>
                  </a:lnTo>
                  <a:lnTo>
                    <a:pt x="24" y="6"/>
                  </a:lnTo>
                  <a:lnTo>
                    <a:pt x="20" y="4"/>
                  </a:lnTo>
                  <a:lnTo>
                    <a:pt x="18" y="4"/>
                  </a:lnTo>
                  <a:lnTo>
                    <a:pt x="12" y="4"/>
                  </a:lnTo>
                  <a:lnTo>
                    <a:pt x="10" y="2"/>
                  </a:lnTo>
                  <a:lnTo>
                    <a:pt x="8" y="2"/>
                  </a:lnTo>
                  <a:lnTo>
                    <a:pt x="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1" name="Freeform 398"/>
            <p:cNvSpPr/>
            <p:nvPr/>
          </p:nvSpPr>
          <p:spPr bwMode="gray">
            <a:xfrm>
              <a:off x="3838123" y="3618091"/>
              <a:ext cx="266601" cy="225718"/>
            </a:xfrm>
            <a:custGeom>
              <a:gdLst>
                <a:gd fmla="*/ 0 w 144" name="T0"/>
                <a:gd fmla="*/ 114 h 122" name="T1"/>
                <a:gd fmla="*/ 22 w 144" name="T2"/>
                <a:gd fmla="*/ 114 h 122" name="T3"/>
                <a:gd fmla="*/ 58 w 144" name="T4"/>
                <a:gd fmla="*/ 106 h 122" name="T5"/>
                <a:gd fmla="*/ 62 w 144" name="T6"/>
                <a:gd fmla="*/ 118 h 122" name="T7"/>
                <a:gd fmla="*/ 66 w 144" name="T8"/>
                <a:gd fmla="*/ 120 h 122" name="T9"/>
                <a:gd fmla="*/ 74 w 144" name="T10"/>
                <a:gd fmla="*/ 120 h 122" name="T11"/>
                <a:gd fmla="*/ 82 w 144" name="T12"/>
                <a:gd fmla="*/ 114 h 122" name="T13"/>
                <a:gd fmla="*/ 86 w 144" name="T14"/>
                <a:gd fmla="*/ 110 h 122" name="T15"/>
                <a:gd fmla="*/ 102 w 144" name="T16"/>
                <a:gd fmla="*/ 104 h 122" name="T17"/>
                <a:gd fmla="*/ 106 w 144" name="T18"/>
                <a:gd fmla="*/ 100 h 122" name="T19"/>
                <a:gd fmla="*/ 116 w 144" name="T20"/>
                <a:gd fmla="*/ 94 h 122" name="T21"/>
                <a:gd fmla="*/ 124 w 144" name="T22"/>
                <a:gd fmla="*/ 88 h 122" name="T23"/>
                <a:gd fmla="*/ 128 w 144" name="T24"/>
                <a:gd fmla="*/ 82 h 122" name="T25"/>
                <a:gd fmla="*/ 132 w 144" name="T26"/>
                <a:gd fmla="*/ 76 h 122" name="T27"/>
                <a:gd fmla="*/ 136 w 144" name="T28"/>
                <a:gd fmla="*/ 68 h 122" name="T29"/>
                <a:gd fmla="*/ 138 w 144" name="T30"/>
                <a:gd fmla="*/ 60 h 122" name="T31"/>
                <a:gd fmla="*/ 138 w 144" name="T32"/>
                <a:gd fmla="*/ 52 h 122" name="T33"/>
                <a:gd fmla="*/ 136 w 144" name="T34"/>
                <a:gd fmla="*/ 44 h 122" name="T35"/>
                <a:gd fmla="*/ 136 w 144" name="T36"/>
                <a:gd fmla="*/ 42 h 122" name="T37"/>
                <a:gd fmla="*/ 140 w 144" name="T38"/>
                <a:gd fmla="*/ 38 h 122" name="T39"/>
                <a:gd fmla="*/ 144 w 144" name="T40"/>
                <a:gd fmla="*/ 30 h 122" name="T41"/>
                <a:gd fmla="*/ 144 w 144" name="T42"/>
                <a:gd fmla="*/ 20 h 122" name="T43"/>
                <a:gd fmla="*/ 142 w 144" name="T44"/>
                <a:gd fmla="*/ 8 h 122" name="T45"/>
                <a:gd fmla="*/ 140 w 144" name="T46"/>
                <a:gd fmla="*/ 0 h 122" name="T47"/>
                <a:gd fmla="*/ 138 w 144" name="T48"/>
                <a:gd fmla="*/ 0 h 122" name="T49"/>
                <a:gd fmla="*/ 132 w 144" name="T50"/>
                <a:gd fmla="*/ 2 h 122" name="T51"/>
                <a:gd fmla="*/ 122 w 144" name="T52"/>
                <a:gd fmla="*/ 8 h 122" name="T53"/>
                <a:gd fmla="*/ 116 w 144" name="T54"/>
                <a:gd fmla="*/ 18 h 122" name="T55"/>
                <a:gd fmla="*/ 114 w 144" name="T56"/>
                <a:gd fmla="*/ 32 h 122" name="T57"/>
                <a:gd fmla="*/ 112 w 144" name="T58"/>
                <a:gd fmla="*/ 44 h 122" name="T59"/>
                <a:gd fmla="*/ 108 w 144" name="T60"/>
                <a:gd fmla="*/ 48 h 122" name="T61"/>
                <a:gd fmla="*/ 102 w 144" name="T62"/>
                <a:gd fmla="*/ 58 h 122" name="T63"/>
                <a:gd fmla="*/ 94 w 144" name="T64"/>
                <a:gd fmla="*/ 68 h 122" name="T65"/>
                <a:gd fmla="*/ 82 w 144" name="T66"/>
                <a:gd fmla="*/ 76 h 122" name="T67"/>
                <a:gd fmla="*/ 72 w 144" name="T68"/>
                <a:gd fmla="*/ 84 h 122" name="T69"/>
                <a:gd fmla="*/ 64 w 144" name="T70"/>
                <a:gd fmla="*/ 90 h 122" name="T71"/>
                <a:gd fmla="*/ 40 w 144" name="T72"/>
                <a:gd fmla="*/ 90 h 122" name="T73"/>
                <a:gd fmla="*/ 6 w 144" name="T74"/>
                <a:gd fmla="*/ 106 h 122"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122" w="144">
                  <a:moveTo>
                    <a:pt x="6" y="106"/>
                  </a:moveTo>
                  <a:lnTo>
                    <a:pt x="0" y="114"/>
                  </a:lnTo>
                  <a:lnTo>
                    <a:pt x="14" y="118"/>
                  </a:lnTo>
                  <a:lnTo>
                    <a:pt x="22" y="114"/>
                  </a:lnTo>
                  <a:lnTo>
                    <a:pt x="38" y="110"/>
                  </a:lnTo>
                  <a:lnTo>
                    <a:pt x="58" y="106"/>
                  </a:lnTo>
                  <a:lnTo>
                    <a:pt x="62" y="118"/>
                  </a:lnTo>
                  <a:lnTo>
                    <a:pt x="62" y="118"/>
                  </a:lnTo>
                  <a:lnTo>
                    <a:pt x="62" y="120"/>
                  </a:lnTo>
                  <a:lnTo>
                    <a:pt x="66" y="120"/>
                  </a:lnTo>
                  <a:lnTo>
                    <a:pt x="68" y="122"/>
                  </a:lnTo>
                  <a:lnTo>
                    <a:pt x="74" y="120"/>
                  </a:lnTo>
                  <a:lnTo>
                    <a:pt x="78" y="116"/>
                  </a:lnTo>
                  <a:lnTo>
                    <a:pt x="82" y="114"/>
                  </a:lnTo>
                  <a:lnTo>
                    <a:pt x="84" y="110"/>
                  </a:lnTo>
                  <a:lnTo>
                    <a:pt x="86" y="110"/>
                  </a:lnTo>
                  <a:lnTo>
                    <a:pt x="100" y="106"/>
                  </a:lnTo>
                  <a:lnTo>
                    <a:pt x="102" y="104"/>
                  </a:lnTo>
                  <a:lnTo>
                    <a:pt x="104" y="104"/>
                  </a:lnTo>
                  <a:lnTo>
                    <a:pt x="106" y="100"/>
                  </a:lnTo>
                  <a:lnTo>
                    <a:pt x="112" y="98"/>
                  </a:lnTo>
                  <a:lnTo>
                    <a:pt x="116" y="94"/>
                  </a:lnTo>
                  <a:lnTo>
                    <a:pt x="120" y="90"/>
                  </a:lnTo>
                  <a:lnTo>
                    <a:pt x="124" y="88"/>
                  </a:lnTo>
                  <a:lnTo>
                    <a:pt x="126" y="84"/>
                  </a:lnTo>
                  <a:lnTo>
                    <a:pt x="128" y="82"/>
                  </a:lnTo>
                  <a:lnTo>
                    <a:pt x="130" y="80"/>
                  </a:lnTo>
                  <a:lnTo>
                    <a:pt x="132" y="76"/>
                  </a:lnTo>
                  <a:lnTo>
                    <a:pt x="134" y="72"/>
                  </a:lnTo>
                  <a:lnTo>
                    <a:pt x="136" y="68"/>
                  </a:lnTo>
                  <a:lnTo>
                    <a:pt x="138" y="64"/>
                  </a:lnTo>
                  <a:lnTo>
                    <a:pt x="138" y="60"/>
                  </a:lnTo>
                  <a:lnTo>
                    <a:pt x="138" y="58"/>
                  </a:lnTo>
                  <a:lnTo>
                    <a:pt x="138" y="52"/>
                  </a:lnTo>
                  <a:lnTo>
                    <a:pt x="136" y="48"/>
                  </a:lnTo>
                  <a:lnTo>
                    <a:pt x="136" y="44"/>
                  </a:lnTo>
                  <a:lnTo>
                    <a:pt x="136" y="42"/>
                  </a:lnTo>
                  <a:lnTo>
                    <a:pt x="136" y="42"/>
                  </a:lnTo>
                  <a:lnTo>
                    <a:pt x="138" y="40"/>
                  </a:lnTo>
                  <a:lnTo>
                    <a:pt x="140" y="38"/>
                  </a:lnTo>
                  <a:lnTo>
                    <a:pt x="142" y="34"/>
                  </a:lnTo>
                  <a:lnTo>
                    <a:pt x="144" y="30"/>
                  </a:lnTo>
                  <a:lnTo>
                    <a:pt x="144" y="26"/>
                  </a:lnTo>
                  <a:lnTo>
                    <a:pt x="144" y="20"/>
                  </a:lnTo>
                  <a:lnTo>
                    <a:pt x="142" y="14"/>
                  </a:lnTo>
                  <a:lnTo>
                    <a:pt x="142" y="8"/>
                  </a:lnTo>
                  <a:lnTo>
                    <a:pt x="140" y="4"/>
                  </a:lnTo>
                  <a:lnTo>
                    <a:pt x="140" y="0"/>
                  </a:lnTo>
                  <a:lnTo>
                    <a:pt x="140" y="0"/>
                  </a:lnTo>
                  <a:lnTo>
                    <a:pt x="138" y="0"/>
                  </a:lnTo>
                  <a:lnTo>
                    <a:pt x="136" y="0"/>
                  </a:lnTo>
                  <a:lnTo>
                    <a:pt x="132" y="2"/>
                  </a:lnTo>
                  <a:lnTo>
                    <a:pt x="126" y="4"/>
                  </a:lnTo>
                  <a:lnTo>
                    <a:pt x="122" y="8"/>
                  </a:lnTo>
                  <a:lnTo>
                    <a:pt x="118" y="12"/>
                  </a:lnTo>
                  <a:lnTo>
                    <a:pt x="116" y="18"/>
                  </a:lnTo>
                  <a:lnTo>
                    <a:pt x="114" y="26"/>
                  </a:lnTo>
                  <a:lnTo>
                    <a:pt x="114" y="32"/>
                  </a:lnTo>
                  <a:lnTo>
                    <a:pt x="112" y="38"/>
                  </a:lnTo>
                  <a:lnTo>
                    <a:pt x="112" y="44"/>
                  </a:lnTo>
                  <a:lnTo>
                    <a:pt x="110" y="46"/>
                  </a:lnTo>
                  <a:lnTo>
                    <a:pt x="108" y="48"/>
                  </a:lnTo>
                  <a:lnTo>
                    <a:pt x="106" y="52"/>
                  </a:lnTo>
                  <a:lnTo>
                    <a:pt x="102" y="58"/>
                  </a:lnTo>
                  <a:lnTo>
                    <a:pt x="98" y="62"/>
                  </a:lnTo>
                  <a:lnTo>
                    <a:pt x="94" y="68"/>
                  </a:lnTo>
                  <a:lnTo>
                    <a:pt x="88" y="72"/>
                  </a:lnTo>
                  <a:lnTo>
                    <a:pt x="82" y="76"/>
                  </a:lnTo>
                  <a:lnTo>
                    <a:pt x="76" y="80"/>
                  </a:lnTo>
                  <a:lnTo>
                    <a:pt x="72" y="84"/>
                  </a:lnTo>
                  <a:lnTo>
                    <a:pt x="68" y="88"/>
                  </a:lnTo>
                  <a:lnTo>
                    <a:pt x="64" y="90"/>
                  </a:lnTo>
                  <a:lnTo>
                    <a:pt x="64" y="90"/>
                  </a:lnTo>
                  <a:lnTo>
                    <a:pt x="40" y="90"/>
                  </a:lnTo>
                  <a:lnTo>
                    <a:pt x="22" y="96"/>
                  </a:lnTo>
                  <a:lnTo>
                    <a:pt x="6" y="10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2" name="Freeform 399"/>
            <p:cNvSpPr/>
            <p:nvPr/>
          </p:nvSpPr>
          <p:spPr bwMode="gray">
            <a:xfrm>
              <a:off x="3875151" y="3832709"/>
              <a:ext cx="44434" cy="29602"/>
            </a:xfrm>
            <a:custGeom>
              <a:gdLst>
                <a:gd fmla="*/ 8 w 24" name="T0"/>
                <a:gd fmla="*/ 0 h 16" name="T1"/>
                <a:gd fmla="*/ 0 w 24" name="T2"/>
                <a:gd fmla="*/ 10 h 16" name="T3"/>
                <a:gd fmla="*/ 8 w 24" name="T4"/>
                <a:gd fmla="*/ 16 h 16" name="T5"/>
                <a:gd fmla="*/ 18 w 24" name="T6"/>
                <a:gd fmla="*/ 8 h 16" name="T7"/>
                <a:gd fmla="*/ 24 w 24" name="T8"/>
                <a:gd fmla="*/ 2 h 16" name="T9"/>
                <a:gd fmla="*/ 8 w 24" name="T10"/>
                <a:gd fmla="*/ 0 h 16" name="T11"/>
              </a:gdLst>
              <a:cxnLst>
                <a:cxn ang="0">
                  <a:pos x="T0" y="T1"/>
                </a:cxn>
                <a:cxn ang="0">
                  <a:pos x="T2" y="T3"/>
                </a:cxn>
                <a:cxn ang="0">
                  <a:pos x="T4" y="T5"/>
                </a:cxn>
                <a:cxn ang="0">
                  <a:pos x="T6" y="T7"/>
                </a:cxn>
                <a:cxn ang="0">
                  <a:pos x="T8" y="T9"/>
                </a:cxn>
                <a:cxn ang="0">
                  <a:pos x="T10" y="T11"/>
                </a:cxn>
              </a:cxnLst>
              <a:rect b="b" l="0" r="r" t="0"/>
              <a:pathLst>
                <a:path h="16" w="24">
                  <a:moveTo>
                    <a:pt x="8" y="0"/>
                  </a:moveTo>
                  <a:lnTo>
                    <a:pt x="0" y="10"/>
                  </a:lnTo>
                  <a:lnTo>
                    <a:pt x="8" y="16"/>
                  </a:lnTo>
                  <a:lnTo>
                    <a:pt x="18" y="8"/>
                  </a:lnTo>
                  <a:lnTo>
                    <a:pt x="24" y="2"/>
                  </a:lnTo>
                  <a:lnTo>
                    <a:pt x="8"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3" name="Freeform 400"/>
            <p:cNvSpPr/>
            <p:nvPr/>
          </p:nvSpPr>
          <p:spPr bwMode="gray">
            <a:xfrm>
              <a:off x="4056588" y="3481180"/>
              <a:ext cx="144409" cy="111009"/>
            </a:xfrm>
            <a:custGeom>
              <a:gdLst>
                <a:gd fmla="*/ 36 w 78" name="T0"/>
                <a:gd fmla="*/ 6 h 60" name="T1"/>
                <a:gd fmla="*/ 36 w 78" name="T2"/>
                <a:gd fmla="*/ 6 h 60" name="T3"/>
                <a:gd fmla="*/ 34 w 78" name="T4"/>
                <a:gd fmla="*/ 4 h 60" name="T5"/>
                <a:gd fmla="*/ 32 w 78" name="T6"/>
                <a:gd fmla="*/ 2 h 60" name="T7"/>
                <a:gd fmla="*/ 30 w 78" name="T8"/>
                <a:gd fmla="*/ 0 h 60" name="T9"/>
                <a:gd fmla="*/ 28 w 78" name="T10"/>
                <a:gd fmla="*/ 0 h 60" name="T11"/>
                <a:gd fmla="*/ 26 w 78" name="T12"/>
                <a:gd fmla="*/ 2 h 60" name="T13"/>
                <a:gd fmla="*/ 24 w 78" name="T14"/>
                <a:gd fmla="*/ 4 h 60" name="T15"/>
                <a:gd fmla="*/ 22 w 78" name="T16"/>
                <a:gd fmla="*/ 12 h 60" name="T17"/>
                <a:gd fmla="*/ 20 w 78" name="T18"/>
                <a:gd fmla="*/ 18 h 60" name="T19"/>
                <a:gd fmla="*/ 20 w 78" name="T20"/>
                <a:gd fmla="*/ 22 h 60" name="T21"/>
                <a:gd fmla="*/ 20 w 78" name="T22"/>
                <a:gd fmla="*/ 26 h 60" name="T23"/>
                <a:gd fmla="*/ 18 w 78" name="T24"/>
                <a:gd fmla="*/ 28 h 60" name="T25"/>
                <a:gd fmla="*/ 16 w 78" name="T26"/>
                <a:gd fmla="*/ 32 h 60" name="T27"/>
                <a:gd fmla="*/ 12 w 78" name="T28"/>
                <a:gd fmla="*/ 36 h 60" name="T29"/>
                <a:gd fmla="*/ 10 w 78" name="T30"/>
                <a:gd fmla="*/ 42 h 60" name="T31"/>
                <a:gd fmla="*/ 6 w 78" name="T32"/>
                <a:gd fmla="*/ 46 h 60" name="T33"/>
                <a:gd fmla="*/ 4 w 78" name="T34"/>
                <a:gd fmla="*/ 48 h 60" name="T35"/>
                <a:gd fmla="*/ 2 w 78" name="T36"/>
                <a:gd fmla="*/ 50 h 60" name="T37"/>
                <a:gd fmla="*/ 0 w 78" name="T38"/>
                <a:gd fmla="*/ 52 h 60" name="T39"/>
                <a:gd fmla="*/ 0 w 78" name="T40"/>
                <a:gd fmla="*/ 54 h 60" name="T41"/>
                <a:gd fmla="*/ 0 w 78" name="T42"/>
                <a:gd fmla="*/ 56 h 60" name="T43"/>
                <a:gd fmla="*/ 4 w 78" name="T44"/>
                <a:gd fmla="*/ 56 h 60" name="T45"/>
                <a:gd fmla="*/ 8 w 78" name="T46"/>
                <a:gd fmla="*/ 58 h 60" name="T47"/>
                <a:gd fmla="*/ 14 w 78" name="T48"/>
                <a:gd fmla="*/ 58 h 60" name="T49"/>
                <a:gd fmla="*/ 20 w 78" name="T50"/>
                <a:gd fmla="*/ 58 h 60" name="T51"/>
                <a:gd fmla="*/ 26 w 78" name="T52"/>
                <a:gd fmla="*/ 58 h 60" name="T53"/>
                <a:gd fmla="*/ 30 w 78" name="T54"/>
                <a:gd fmla="*/ 56 h 60" name="T55"/>
                <a:gd fmla="*/ 32 w 78" name="T56"/>
                <a:gd fmla="*/ 56 h 60" name="T57"/>
                <a:gd fmla="*/ 38 w 78" name="T58"/>
                <a:gd fmla="*/ 60 h 60" name="T59"/>
                <a:gd fmla="*/ 48 w 78" name="T60"/>
                <a:gd fmla="*/ 58 h 60" name="T61"/>
                <a:gd fmla="*/ 48 w 78" name="T62"/>
                <a:gd fmla="*/ 58 h 60" name="T63"/>
                <a:gd fmla="*/ 50 w 78" name="T64"/>
                <a:gd fmla="*/ 56 h 60" name="T65"/>
                <a:gd fmla="*/ 52 w 78" name="T66"/>
                <a:gd fmla="*/ 52 h 60" name="T67"/>
                <a:gd fmla="*/ 54 w 78" name="T68"/>
                <a:gd fmla="*/ 50 h 60" name="T69"/>
                <a:gd fmla="*/ 56 w 78" name="T70"/>
                <a:gd fmla="*/ 46 h 60" name="T71"/>
                <a:gd fmla="*/ 60 w 78" name="T72"/>
                <a:gd fmla="*/ 44 h 60" name="T73"/>
                <a:gd fmla="*/ 62 w 78" name="T74"/>
                <a:gd fmla="*/ 44 h 60" name="T75"/>
                <a:gd fmla="*/ 64 w 78" name="T76"/>
                <a:gd fmla="*/ 44 h 60" name="T77"/>
                <a:gd fmla="*/ 66 w 78" name="T78"/>
                <a:gd fmla="*/ 42 h 60" name="T79"/>
                <a:gd fmla="*/ 70 w 78" name="T80"/>
                <a:gd fmla="*/ 40 h 60" name="T81"/>
                <a:gd fmla="*/ 72 w 78" name="T82"/>
                <a:gd fmla="*/ 38 h 60" name="T83"/>
                <a:gd fmla="*/ 74 w 78" name="T84"/>
                <a:gd fmla="*/ 36 h 60" name="T85"/>
                <a:gd fmla="*/ 76 w 78" name="T86"/>
                <a:gd fmla="*/ 34 h 60" name="T87"/>
                <a:gd fmla="*/ 78 w 78" name="T88"/>
                <a:gd fmla="*/ 32 h 60" name="T89"/>
                <a:gd fmla="*/ 78 w 78" name="T90"/>
                <a:gd fmla="*/ 32 h 60" name="T91"/>
                <a:gd fmla="*/ 78 w 78" name="T92"/>
                <a:gd fmla="*/ 30 h 60" name="T93"/>
                <a:gd fmla="*/ 78 w 78" name="T94"/>
                <a:gd fmla="*/ 26 h 60" name="T95"/>
                <a:gd fmla="*/ 78 w 78" name="T96"/>
                <a:gd fmla="*/ 24 h 60" name="T97"/>
                <a:gd fmla="*/ 76 w 78" name="T98"/>
                <a:gd fmla="*/ 22 h 60" name="T99"/>
                <a:gd fmla="*/ 74 w 78" name="T100"/>
                <a:gd fmla="*/ 20 h 60" name="T101"/>
                <a:gd fmla="*/ 72 w 78" name="T102"/>
                <a:gd fmla="*/ 22 h 60" name="T103"/>
                <a:gd fmla="*/ 70 w 78" name="T104"/>
                <a:gd fmla="*/ 24 h 60" name="T105"/>
                <a:gd fmla="*/ 66 w 78" name="T106"/>
                <a:gd fmla="*/ 26 h 60" name="T107"/>
                <a:gd fmla="*/ 64 w 78" name="T108"/>
                <a:gd fmla="*/ 26 h 60" name="T109"/>
                <a:gd fmla="*/ 62 w 78" name="T110"/>
                <a:gd fmla="*/ 26 h 60" name="T111"/>
                <a:gd fmla="*/ 58 w 78" name="T112"/>
                <a:gd fmla="*/ 24 h 60" name="T113"/>
                <a:gd fmla="*/ 52 w 78" name="T114"/>
                <a:gd fmla="*/ 22 h 60" name="T115"/>
                <a:gd fmla="*/ 46 w 78" name="T116"/>
                <a:gd fmla="*/ 20 h 60" name="T117"/>
                <a:gd fmla="*/ 42 w 78" name="T118"/>
                <a:gd fmla="*/ 16 h 60" name="T119"/>
                <a:gd fmla="*/ 38 w 78" name="T120"/>
                <a:gd fmla="*/ 12 h 60" name="T121"/>
                <a:gd fmla="*/ 36 w 78" name="T122"/>
                <a:gd fmla="*/ 6 h 60"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60" w="78">
                  <a:moveTo>
                    <a:pt x="36" y="6"/>
                  </a:moveTo>
                  <a:lnTo>
                    <a:pt x="36" y="6"/>
                  </a:lnTo>
                  <a:lnTo>
                    <a:pt x="34" y="4"/>
                  </a:lnTo>
                  <a:lnTo>
                    <a:pt x="32" y="2"/>
                  </a:lnTo>
                  <a:lnTo>
                    <a:pt x="30" y="0"/>
                  </a:lnTo>
                  <a:lnTo>
                    <a:pt x="28" y="0"/>
                  </a:lnTo>
                  <a:lnTo>
                    <a:pt x="26" y="2"/>
                  </a:lnTo>
                  <a:lnTo>
                    <a:pt x="24" y="4"/>
                  </a:lnTo>
                  <a:lnTo>
                    <a:pt x="22" y="12"/>
                  </a:lnTo>
                  <a:lnTo>
                    <a:pt x="20" y="18"/>
                  </a:lnTo>
                  <a:lnTo>
                    <a:pt x="20" y="22"/>
                  </a:lnTo>
                  <a:lnTo>
                    <a:pt x="20" y="26"/>
                  </a:lnTo>
                  <a:lnTo>
                    <a:pt x="18" y="28"/>
                  </a:lnTo>
                  <a:lnTo>
                    <a:pt x="16" y="32"/>
                  </a:lnTo>
                  <a:lnTo>
                    <a:pt x="12" y="36"/>
                  </a:lnTo>
                  <a:lnTo>
                    <a:pt x="10" y="42"/>
                  </a:lnTo>
                  <a:lnTo>
                    <a:pt x="6" y="46"/>
                  </a:lnTo>
                  <a:lnTo>
                    <a:pt x="4" y="48"/>
                  </a:lnTo>
                  <a:lnTo>
                    <a:pt x="2" y="50"/>
                  </a:lnTo>
                  <a:lnTo>
                    <a:pt x="0" y="52"/>
                  </a:lnTo>
                  <a:lnTo>
                    <a:pt x="0" y="54"/>
                  </a:lnTo>
                  <a:lnTo>
                    <a:pt x="0" y="56"/>
                  </a:lnTo>
                  <a:lnTo>
                    <a:pt x="4" y="56"/>
                  </a:lnTo>
                  <a:lnTo>
                    <a:pt x="8" y="58"/>
                  </a:lnTo>
                  <a:lnTo>
                    <a:pt x="14" y="58"/>
                  </a:lnTo>
                  <a:lnTo>
                    <a:pt x="20" y="58"/>
                  </a:lnTo>
                  <a:lnTo>
                    <a:pt x="26" y="58"/>
                  </a:lnTo>
                  <a:lnTo>
                    <a:pt x="30" y="56"/>
                  </a:lnTo>
                  <a:lnTo>
                    <a:pt x="32" y="56"/>
                  </a:lnTo>
                  <a:lnTo>
                    <a:pt x="38" y="60"/>
                  </a:lnTo>
                  <a:lnTo>
                    <a:pt x="48" y="58"/>
                  </a:lnTo>
                  <a:lnTo>
                    <a:pt x="48" y="58"/>
                  </a:lnTo>
                  <a:lnTo>
                    <a:pt x="50" y="56"/>
                  </a:lnTo>
                  <a:lnTo>
                    <a:pt x="52" y="52"/>
                  </a:lnTo>
                  <a:lnTo>
                    <a:pt x="54" y="50"/>
                  </a:lnTo>
                  <a:lnTo>
                    <a:pt x="56" y="46"/>
                  </a:lnTo>
                  <a:lnTo>
                    <a:pt x="60" y="44"/>
                  </a:lnTo>
                  <a:lnTo>
                    <a:pt x="62" y="44"/>
                  </a:lnTo>
                  <a:lnTo>
                    <a:pt x="64" y="44"/>
                  </a:lnTo>
                  <a:lnTo>
                    <a:pt x="66" y="42"/>
                  </a:lnTo>
                  <a:lnTo>
                    <a:pt x="70" y="40"/>
                  </a:lnTo>
                  <a:lnTo>
                    <a:pt x="72" y="38"/>
                  </a:lnTo>
                  <a:lnTo>
                    <a:pt x="74" y="36"/>
                  </a:lnTo>
                  <a:lnTo>
                    <a:pt x="76" y="34"/>
                  </a:lnTo>
                  <a:lnTo>
                    <a:pt x="78" y="32"/>
                  </a:lnTo>
                  <a:lnTo>
                    <a:pt x="78" y="32"/>
                  </a:lnTo>
                  <a:lnTo>
                    <a:pt x="78" y="30"/>
                  </a:lnTo>
                  <a:lnTo>
                    <a:pt x="78" y="26"/>
                  </a:lnTo>
                  <a:lnTo>
                    <a:pt x="78" y="24"/>
                  </a:lnTo>
                  <a:lnTo>
                    <a:pt x="76" y="22"/>
                  </a:lnTo>
                  <a:lnTo>
                    <a:pt x="74" y="20"/>
                  </a:lnTo>
                  <a:lnTo>
                    <a:pt x="72" y="22"/>
                  </a:lnTo>
                  <a:lnTo>
                    <a:pt x="70" y="24"/>
                  </a:lnTo>
                  <a:lnTo>
                    <a:pt x="66" y="26"/>
                  </a:lnTo>
                  <a:lnTo>
                    <a:pt x="64" y="26"/>
                  </a:lnTo>
                  <a:lnTo>
                    <a:pt x="62" y="26"/>
                  </a:lnTo>
                  <a:lnTo>
                    <a:pt x="58" y="24"/>
                  </a:lnTo>
                  <a:lnTo>
                    <a:pt x="52" y="22"/>
                  </a:lnTo>
                  <a:lnTo>
                    <a:pt x="46" y="20"/>
                  </a:lnTo>
                  <a:lnTo>
                    <a:pt x="42" y="16"/>
                  </a:lnTo>
                  <a:lnTo>
                    <a:pt x="38" y="12"/>
                  </a:lnTo>
                  <a:lnTo>
                    <a:pt x="36" y="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4" name="Freeform 401"/>
            <p:cNvSpPr/>
            <p:nvPr/>
          </p:nvSpPr>
          <p:spPr bwMode="gray">
            <a:xfrm>
              <a:off x="2501415" y="3795706"/>
              <a:ext cx="148112" cy="62905"/>
            </a:xfrm>
            <a:custGeom>
              <a:gdLst>
                <a:gd fmla="*/ 58 w 80" name="T0"/>
                <a:gd fmla="*/ 0 h 34" name="T1"/>
                <a:gd fmla="*/ 52 w 80" name="T2"/>
                <a:gd fmla="*/ 2 h 34" name="T3"/>
                <a:gd fmla="*/ 38 w 80" name="T4"/>
                <a:gd fmla="*/ 2 h 34" name="T5"/>
                <a:gd fmla="*/ 24 w 80" name="T6"/>
                <a:gd fmla="*/ 2 h 34" name="T7"/>
                <a:gd fmla="*/ 16 w 80" name="T8"/>
                <a:gd fmla="*/ 2 h 34" name="T9"/>
                <a:gd fmla="*/ 0 w 80" name="T10"/>
                <a:gd fmla="*/ 16 h 34" name="T11"/>
                <a:gd fmla="*/ 0 w 80" name="T12"/>
                <a:gd fmla="*/ 22 h 34" name="T13"/>
                <a:gd fmla="*/ 0 w 80" name="T14"/>
                <a:gd fmla="*/ 22 h 34" name="T15"/>
                <a:gd fmla="*/ 2 w 80" name="T16"/>
                <a:gd fmla="*/ 24 h 34" name="T17"/>
                <a:gd fmla="*/ 2 w 80" name="T18"/>
                <a:gd fmla="*/ 28 h 34" name="T19"/>
                <a:gd fmla="*/ 4 w 80" name="T20"/>
                <a:gd fmla="*/ 30 h 34" name="T21"/>
                <a:gd fmla="*/ 6 w 80" name="T22"/>
                <a:gd fmla="*/ 30 h 34" name="T23"/>
                <a:gd fmla="*/ 8 w 80" name="T24"/>
                <a:gd fmla="*/ 30 h 34" name="T25"/>
                <a:gd fmla="*/ 12 w 80" name="T26"/>
                <a:gd fmla="*/ 28 h 34" name="T27"/>
                <a:gd fmla="*/ 16 w 80" name="T28"/>
                <a:gd fmla="*/ 28 h 34" name="T29"/>
                <a:gd fmla="*/ 20 w 80" name="T30"/>
                <a:gd fmla="*/ 30 h 34" name="T31"/>
                <a:gd fmla="*/ 26 w 80" name="T32"/>
                <a:gd fmla="*/ 34 h 34" name="T33"/>
                <a:gd fmla="*/ 26 w 80" name="T34"/>
                <a:gd fmla="*/ 32 h 34" name="T35"/>
                <a:gd fmla="*/ 30 w 80" name="T36"/>
                <a:gd fmla="*/ 28 h 34" name="T37"/>
                <a:gd fmla="*/ 40 w 80" name="T38"/>
                <a:gd fmla="*/ 26 h 34" name="T39"/>
                <a:gd fmla="*/ 58 w 80" name="T40"/>
                <a:gd fmla="*/ 24 h 34" name="T41"/>
                <a:gd fmla="*/ 58 w 80" name="T42"/>
                <a:gd fmla="*/ 24 h 34" name="T43"/>
                <a:gd fmla="*/ 58 w 80" name="T44"/>
                <a:gd fmla="*/ 22 h 34" name="T45"/>
                <a:gd fmla="*/ 58 w 80" name="T46"/>
                <a:gd fmla="*/ 20 h 34" name="T47"/>
                <a:gd fmla="*/ 60 w 80" name="T48"/>
                <a:gd fmla="*/ 16 h 34" name="T49"/>
                <a:gd fmla="*/ 62 w 80" name="T50"/>
                <a:gd fmla="*/ 14 h 34" name="T51"/>
                <a:gd fmla="*/ 66 w 80" name="T52"/>
                <a:gd fmla="*/ 12 h 34" name="T53"/>
                <a:gd fmla="*/ 72 w 80" name="T54"/>
                <a:gd fmla="*/ 10 h 34" name="T55"/>
                <a:gd fmla="*/ 80 w 80" name="T56"/>
                <a:gd fmla="*/ 10 h 34" name="T57"/>
                <a:gd fmla="*/ 78 w 80" name="T58"/>
                <a:gd fmla="*/ 8 h 34" name="T59"/>
                <a:gd fmla="*/ 76 w 80" name="T60"/>
                <a:gd fmla="*/ 8 h 34" name="T61"/>
                <a:gd fmla="*/ 70 w 80" name="T62"/>
                <a:gd fmla="*/ 8 h 34" name="T63"/>
                <a:gd fmla="*/ 64 w 80" name="T64"/>
                <a:gd fmla="*/ 6 h 34" name="T65"/>
                <a:gd fmla="*/ 60 w 80" name="T66"/>
                <a:gd fmla="*/ 4 h 34" name="T67"/>
                <a:gd fmla="*/ 58 w 80" name="T68"/>
                <a:gd fmla="*/ 0 h 34"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34" w="80">
                  <a:moveTo>
                    <a:pt x="58" y="0"/>
                  </a:moveTo>
                  <a:lnTo>
                    <a:pt x="52" y="2"/>
                  </a:lnTo>
                  <a:lnTo>
                    <a:pt x="38" y="2"/>
                  </a:lnTo>
                  <a:lnTo>
                    <a:pt x="24" y="2"/>
                  </a:lnTo>
                  <a:lnTo>
                    <a:pt x="16" y="2"/>
                  </a:lnTo>
                  <a:lnTo>
                    <a:pt x="0" y="16"/>
                  </a:lnTo>
                  <a:lnTo>
                    <a:pt x="0" y="22"/>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4"/>
                  </a:lnTo>
                  <a:lnTo>
                    <a:pt x="58" y="22"/>
                  </a:lnTo>
                  <a:lnTo>
                    <a:pt x="58" y="20"/>
                  </a:lnTo>
                  <a:lnTo>
                    <a:pt x="60" y="16"/>
                  </a:lnTo>
                  <a:lnTo>
                    <a:pt x="62" y="14"/>
                  </a:lnTo>
                  <a:lnTo>
                    <a:pt x="66" y="12"/>
                  </a:lnTo>
                  <a:lnTo>
                    <a:pt x="72" y="10"/>
                  </a:lnTo>
                  <a:lnTo>
                    <a:pt x="80" y="10"/>
                  </a:lnTo>
                  <a:lnTo>
                    <a:pt x="78" y="8"/>
                  </a:lnTo>
                  <a:lnTo>
                    <a:pt x="76" y="8"/>
                  </a:lnTo>
                  <a:lnTo>
                    <a:pt x="70" y="8"/>
                  </a:lnTo>
                  <a:lnTo>
                    <a:pt x="64" y="6"/>
                  </a:lnTo>
                  <a:lnTo>
                    <a:pt x="60" y="4"/>
                  </a:lnTo>
                  <a:lnTo>
                    <a:pt x="58"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5" name="Freeform 402"/>
            <p:cNvSpPr/>
            <p:nvPr/>
          </p:nvSpPr>
          <p:spPr bwMode="gray">
            <a:xfrm>
              <a:off x="2501415" y="3795706"/>
              <a:ext cx="148112" cy="62905"/>
            </a:xfrm>
            <a:custGeom>
              <a:gdLst>
                <a:gd fmla="*/ 56 w 80" name="T0"/>
                <a:gd fmla="*/ 0 h 34" name="T1"/>
                <a:gd fmla="*/ 50 w 80" name="T2"/>
                <a:gd fmla="*/ 2 h 34" name="T3"/>
                <a:gd fmla="*/ 38 w 80" name="T4"/>
                <a:gd fmla="*/ 2 h 34" name="T5"/>
                <a:gd fmla="*/ 24 w 80" name="T6"/>
                <a:gd fmla="*/ 2 h 34" name="T7"/>
                <a:gd fmla="*/ 16 w 80" name="T8"/>
                <a:gd fmla="*/ 2 h 34" name="T9"/>
                <a:gd fmla="*/ 0 w 80" name="T10"/>
                <a:gd fmla="*/ 16 h 34" name="T11"/>
                <a:gd fmla="*/ 0 w 80" name="T12"/>
                <a:gd fmla="*/ 22 h 34" name="T13"/>
                <a:gd fmla="*/ 0 w 80" name="T14"/>
                <a:gd fmla="*/ 22 h 34" name="T15"/>
                <a:gd fmla="*/ 2 w 80" name="T16"/>
                <a:gd fmla="*/ 24 h 34" name="T17"/>
                <a:gd fmla="*/ 2 w 80" name="T18"/>
                <a:gd fmla="*/ 28 h 34" name="T19"/>
                <a:gd fmla="*/ 4 w 80" name="T20"/>
                <a:gd fmla="*/ 30 h 34" name="T21"/>
                <a:gd fmla="*/ 6 w 80" name="T22"/>
                <a:gd fmla="*/ 30 h 34" name="T23"/>
                <a:gd fmla="*/ 8 w 80" name="T24"/>
                <a:gd fmla="*/ 30 h 34" name="T25"/>
                <a:gd fmla="*/ 12 w 80" name="T26"/>
                <a:gd fmla="*/ 28 h 34" name="T27"/>
                <a:gd fmla="*/ 16 w 80" name="T28"/>
                <a:gd fmla="*/ 28 h 34" name="T29"/>
                <a:gd fmla="*/ 20 w 80" name="T30"/>
                <a:gd fmla="*/ 30 h 34" name="T31"/>
                <a:gd fmla="*/ 26 w 80" name="T32"/>
                <a:gd fmla="*/ 34 h 34" name="T33"/>
                <a:gd fmla="*/ 26 w 80" name="T34"/>
                <a:gd fmla="*/ 32 h 34" name="T35"/>
                <a:gd fmla="*/ 30 w 80" name="T36"/>
                <a:gd fmla="*/ 28 h 34" name="T37"/>
                <a:gd fmla="*/ 40 w 80" name="T38"/>
                <a:gd fmla="*/ 26 h 34" name="T39"/>
                <a:gd fmla="*/ 58 w 80" name="T40"/>
                <a:gd fmla="*/ 24 h 34" name="T41"/>
                <a:gd fmla="*/ 58 w 80" name="T42"/>
                <a:gd fmla="*/ 24 h 34" name="T43"/>
                <a:gd fmla="*/ 58 w 80" name="T44"/>
                <a:gd fmla="*/ 22 h 34" name="T45"/>
                <a:gd fmla="*/ 58 w 80" name="T46"/>
                <a:gd fmla="*/ 20 h 34" name="T47"/>
                <a:gd fmla="*/ 60 w 80" name="T48"/>
                <a:gd fmla="*/ 16 h 34" name="T49"/>
                <a:gd fmla="*/ 62 w 80" name="T50"/>
                <a:gd fmla="*/ 14 h 34" name="T51"/>
                <a:gd fmla="*/ 66 w 80" name="T52"/>
                <a:gd fmla="*/ 12 h 34" name="T53"/>
                <a:gd fmla="*/ 72 w 80" name="T54"/>
                <a:gd fmla="*/ 10 h 34" name="T55"/>
                <a:gd fmla="*/ 80 w 80" name="T56"/>
                <a:gd fmla="*/ 10 h 34" name="T57"/>
                <a:gd fmla="*/ 78 w 80" name="T58"/>
                <a:gd fmla="*/ 8 h 34" name="T59"/>
                <a:gd fmla="*/ 74 w 80" name="T60"/>
                <a:gd fmla="*/ 8 h 34" name="T61"/>
                <a:gd fmla="*/ 70 w 80" name="T62"/>
                <a:gd fmla="*/ 8 h 34" name="T63"/>
                <a:gd fmla="*/ 64 w 80" name="T64"/>
                <a:gd fmla="*/ 6 h 34" name="T65"/>
                <a:gd fmla="*/ 60 w 80" name="T66"/>
                <a:gd fmla="*/ 4 h 34" name="T67"/>
                <a:gd fmla="*/ 56 w 80" name="T68"/>
                <a:gd fmla="*/ 0 h 34"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34" w="80">
                  <a:moveTo>
                    <a:pt x="56" y="0"/>
                  </a:moveTo>
                  <a:lnTo>
                    <a:pt x="50" y="2"/>
                  </a:lnTo>
                  <a:lnTo>
                    <a:pt x="38" y="2"/>
                  </a:lnTo>
                  <a:lnTo>
                    <a:pt x="24" y="2"/>
                  </a:lnTo>
                  <a:lnTo>
                    <a:pt x="16" y="2"/>
                  </a:lnTo>
                  <a:lnTo>
                    <a:pt x="0" y="16"/>
                  </a:lnTo>
                  <a:lnTo>
                    <a:pt x="0" y="22"/>
                  </a:lnTo>
                  <a:lnTo>
                    <a:pt x="0" y="22"/>
                  </a:lnTo>
                  <a:lnTo>
                    <a:pt x="2" y="24"/>
                  </a:lnTo>
                  <a:lnTo>
                    <a:pt x="2" y="28"/>
                  </a:lnTo>
                  <a:lnTo>
                    <a:pt x="4" y="30"/>
                  </a:lnTo>
                  <a:lnTo>
                    <a:pt x="6" y="30"/>
                  </a:lnTo>
                  <a:lnTo>
                    <a:pt x="8" y="30"/>
                  </a:lnTo>
                  <a:lnTo>
                    <a:pt x="12" y="28"/>
                  </a:lnTo>
                  <a:lnTo>
                    <a:pt x="16" y="28"/>
                  </a:lnTo>
                  <a:lnTo>
                    <a:pt x="20" y="30"/>
                  </a:lnTo>
                  <a:lnTo>
                    <a:pt x="26" y="34"/>
                  </a:lnTo>
                  <a:lnTo>
                    <a:pt x="26" y="32"/>
                  </a:lnTo>
                  <a:lnTo>
                    <a:pt x="30" y="28"/>
                  </a:lnTo>
                  <a:lnTo>
                    <a:pt x="40" y="26"/>
                  </a:lnTo>
                  <a:lnTo>
                    <a:pt x="58" y="24"/>
                  </a:lnTo>
                  <a:lnTo>
                    <a:pt x="58" y="24"/>
                  </a:lnTo>
                  <a:lnTo>
                    <a:pt x="58" y="22"/>
                  </a:lnTo>
                  <a:lnTo>
                    <a:pt x="58" y="20"/>
                  </a:lnTo>
                  <a:lnTo>
                    <a:pt x="60" y="16"/>
                  </a:lnTo>
                  <a:lnTo>
                    <a:pt x="62" y="14"/>
                  </a:lnTo>
                  <a:lnTo>
                    <a:pt x="66" y="12"/>
                  </a:lnTo>
                  <a:lnTo>
                    <a:pt x="72" y="10"/>
                  </a:lnTo>
                  <a:lnTo>
                    <a:pt x="80" y="10"/>
                  </a:lnTo>
                  <a:lnTo>
                    <a:pt x="78" y="8"/>
                  </a:lnTo>
                  <a:lnTo>
                    <a:pt x="74" y="8"/>
                  </a:lnTo>
                  <a:lnTo>
                    <a:pt x="70" y="8"/>
                  </a:lnTo>
                  <a:lnTo>
                    <a:pt x="64" y="6"/>
                  </a:lnTo>
                  <a:lnTo>
                    <a:pt x="60" y="4"/>
                  </a:lnTo>
                  <a:lnTo>
                    <a:pt x="5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6" name="Freeform 403"/>
            <p:cNvSpPr/>
            <p:nvPr/>
          </p:nvSpPr>
          <p:spPr bwMode="gray">
            <a:xfrm>
              <a:off x="924025" y="2234179"/>
              <a:ext cx="622069" cy="762262"/>
            </a:xfrm>
            <a:custGeom>
              <a:gdLst>
                <a:gd fmla="*/ 302 w 336" name="T0"/>
                <a:gd fmla="*/ 44 h 412" name="T1"/>
                <a:gd fmla="*/ 314 w 336" name="T2"/>
                <a:gd fmla="*/ 42 h 412" name="T3"/>
                <a:gd fmla="*/ 312 w 336" name="T4"/>
                <a:gd fmla="*/ 42 h 412" name="T5"/>
                <a:gd fmla="*/ 326 w 336" name="T6"/>
                <a:gd fmla="*/ 38 h 412" name="T7"/>
                <a:gd fmla="*/ 330 w 336" name="T8"/>
                <a:gd fmla="*/ 22 h 412" name="T9"/>
                <a:gd fmla="*/ 302 w 336" name="T10"/>
                <a:gd fmla="*/ 4 h 412" name="T11"/>
                <a:gd fmla="*/ 250 w 336" name="T12"/>
                <a:gd fmla="*/ 8 h 412" name="T13"/>
                <a:gd fmla="*/ 230 w 336" name="T14"/>
                <a:gd fmla="*/ 14 h 412" name="T15"/>
                <a:gd fmla="*/ 218 w 336" name="T16"/>
                <a:gd fmla="*/ 20 h 412" name="T17"/>
                <a:gd fmla="*/ 214 w 336" name="T18"/>
                <a:gd fmla="*/ 26 h 412" name="T19"/>
                <a:gd fmla="*/ 204 w 336" name="T20"/>
                <a:gd fmla="*/ 36 h 412" name="T21"/>
                <a:gd fmla="*/ 194 w 336" name="T22"/>
                <a:gd fmla="*/ 34 h 412" name="T23"/>
                <a:gd fmla="*/ 186 w 336" name="T24"/>
                <a:gd fmla="*/ 34 h 412" name="T25"/>
                <a:gd fmla="*/ 176 w 336" name="T26"/>
                <a:gd fmla="*/ 48 h 412" name="T27"/>
                <a:gd fmla="*/ 158 w 336" name="T28"/>
                <a:gd fmla="*/ 58 h 412" name="T29"/>
                <a:gd fmla="*/ 148 w 336" name="T30"/>
                <a:gd fmla="*/ 76 h 412" name="T31"/>
                <a:gd fmla="*/ 136 w 336" name="T32"/>
                <a:gd fmla="*/ 114 h 412" name="T33"/>
                <a:gd fmla="*/ 106 w 336" name="T34"/>
                <a:gd fmla="*/ 170 h 412" name="T35"/>
                <a:gd fmla="*/ 94 w 336" name="T36"/>
                <a:gd fmla="*/ 200 h 412" name="T37"/>
                <a:gd fmla="*/ 72 w 336" name="T38"/>
                <a:gd fmla="*/ 230 h 412" name="T39"/>
                <a:gd fmla="*/ 26 w 336" name="T40"/>
                <a:gd fmla="*/ 278 h 412" name="T41"/>
                <a:gd fmla="*/ 16 w 336" name="T42"/>
                <a:gd fmla="*/ 284 h 412" name="T43"/>
                <a:gd fmla="*/ 8 w 336" name="T44"/>
                <a:gd fmla="*/ 300 h 412" name="T45"/>
                <a:gd fmla="*/ 4 w 336" name="T46"/>
                <a:gd fmla="*/ 334 h 412" name="T47"/>
                <a:gd fmla="*/ 10 w 336" name="T48"/>
                <a:gd fmla="*/ 344 h 412" name="T49"/>
                <a:gd fmla="*/ 6 w 336" name="T50"/>
                <a:gd fmla="*/ 352 h 412" name="T51"/>
                <a:gd fmla="*/ 2 w 336" name="T52"/>
                <a:gd fmla="*/ 364 h 412" name="T53"/>
                <a:gd fmla="*/ 4 w 336" name="T54"/>
                <a:gd fmla="*/ 384 h 412" name="T55"/>
                <a:gd fmla="*/ 10 w 336" name="T56"/>
                <a:gd fmla="*/ 400 h 412" name="T57"/>
                <a:gd fmla="*/ 28 w 336" name="T58"/>
                <a:gd fmla="*/ 412 h 412" name="T59"/>
                <a:gd fmla="*/ 46 w 336" name="T60"/>
                <a:gd fmla="*/ 402 h 412" name="T61"/>
                <a:gd fmla="*/ 54 w 336" name="T62"/>
                <a:gd fmla="*/ 390 h 412" name="T63"/>
                <a:gd fmla="*/ 58 w 336" name="T64"/>
                <a:gd fmla="*/ 376 h 412" name="T65"/>
                <a:gd fmla="*/ 68 w 336" name="T66"/>
                <a:gd fmla="*/ 370 h 412" name="T67"/>
                <a:gd fmla="*/ 76 w 336" name="T68"/>
                <a:gd fmla="*/ 358 h 412" name="T69"/>
                <a:gd fmla="*/ 80 w 336" name="T70"/>
                <a:gd fmla="*/ 342 h 412" name="T71"/>
                <a:gd fmla="*/ 92 w 336" name="T72"/>
                <a:gd fmla="*/ 354 h 412" name="T73"/>
                <a:gd fmla="*/ 100 w 336" name="T74"/>
                <a:gd fmla="*/ 318 h 412" name="T75"/>
                <a:gd fmla="*/ 102 w 336" name="T76"/>
                <a:gd fmla="*/ 260 h 412" name="T77"/>
                <a:gd fmla="*/ 132 w 336" name="T78"/>
                <a:gd fmla="*/ 198 h 412" name="T79"/>
                <a:gd fmla="*/ 140 w 336" name="T80"/>
                <a:gd fmla="*/ 178 h 412" name="T81"/>
                <a:gd fmla="*/ 154 w 336" name="T82"/>
                <a:gd fmla="*/ 162 h 412" name="T83"/>
                <a:gd fmla="*/ 162 w 336" name="T84"/>
                <a:gd fmla="*/ 134 h 412" name="T85"/>
                <a:gd fmla="*/ 170 w 336" name="T86"/>
                <a:gd fmla="*/ 112 h 412" name="T87"/>
                <a:gd fmla="*/ 224 w 336" name="T88"/>
                <a:gd fmla="*/ 64 h 412" name="T89"/>
                <a:gd fmla="*/ 238 w 336" name="T90"/>
                <a:gd fmla="*/ 66 h 412" name="T91"/>
                <a:gd fmla="*/ 264 w 336" name="T92"/>
                <a:gd fmla="*/ 70 h 412" name="T93"/>
                <a:gd fmla="*/ 276 w 336" name="T94"/>
                <a:gd fmla="*/ 64 h 412" name="T95"/>
                <a:gd fmla="*/ 278 w 336" name="T96"/>
                <a:gd fmla="*/ 56 h 412" name="T97"/>
                <a:gd fmla="*/ 294 w 336" name="T98"/>
                <a:gd fmla="*/ 50 h 412" name="T99"/>
                <a:gd fmla="*/ 328 w 336" name="T100"/>
                <a:gd fmla="*/ 64 h 412" name="T101"/>
                <a:gd fmla="*/ 326 w 336" name="T102"/>
                <a:gd fmla="*/ 52 h 412" name="T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b="b" l="0" r="r" t="0"/>
              <a:pathLst>
                <a:path h="412" w="336">
                  <a:moveTo>
                    <a:pt x="326" y="52"/>
                  </a:moveTo>
                  <a:lnTo>
                    <a:pt x="314" y="48"/>
                  </a:lnTo>
                  <a:lnTo>
                    <a:pt x="308" y="46"/>
                  </a:lnTo>
                  <a:lnTo>
                    <a:pt x="302" y="44"/>
                  </a:lnTo>
                  <a:lnTo>
                    <a:pt x="300" y="44"/>
                  </a:lnTo>
                  <a:lnTo>
                    <a:pt x="298" y="44"/>
                  </a:lnTo>
                  <a:lnTo>
                    <a:pt x="314" y="42"/>
                  </a:lnTo>
                  <a:lnTo>
                    <a:pt x="314" y="42"/>
                  </a:lnTo>
                  <a:lnTo>
                    <a:pt x="314" y="42"/>
                  </a:lnTo>
                  <a:lnTo>
                    <a:pt x="312" y="42"/>
                  </a:lnTo>
                  <a:lnTo>
                    <a:pt x="312" y="42"/>
                  </a:lnTo>
                  <a:lnTo>
                    <a:pt x="312" y="42"/>
                  </a:lnTo>
                  <a:lnTo>
                    <a:pt x="314" y="42"/>
                  </a:lnTo>
                  <a:lnTo>
                    <a:pt x="318" y="42"/>
                  </a:lnTo>
                  <a:lnTo>
                    <a:pt x="322" y="40"/>
                  </a:lnTo>
                  <a:lnTo>
                    <a:pt x="326" y="38"/>
                  </a:lnTo>
                  <a:lnTo>
                    <a:pt x="328" y="34"/>
                  </a:lnTo>
                  <a:lnTo>
                    <a:pt x="328" y="30"/>
                  </a:lnTo>
                  <a:lnTo>
                    <a:pt x="330" y="26"/>
                  </a:lnTo>
                  <a:lnTo>
                    <a:pt x="330" y="22"/>
                  </a:lnTo>
                  <a:lnTo>
                    <a:pt x="330" y="22"/>
                  </a:lnTo>
                  <a:lnTo>
                    <a:pt x="314" y="20"/>
                  </a:lnTo>
                  <a:lnTo>
                    <a:pt x="310" y="10"/>
                  </a:lnTo>
                  <a:lnTo>
                    <a:pt x="302" y="4"/>
                  </a:lnTo>
                  <a:lnTo>
                    <a:pt x="282" y="6"/>
                  </a:lnTo>
                  <a:lnTo>
                    <a:pt x="258" y="0"/>
                  </a:lnTo>
                  <a:lnTo>
                    <a:pt x="256" y="4"/>
                  </a:lnTo>
                  <a:lnTo>
                    <a:pt x="250" y="8"/>
                  </a:lnTo>
                  <a:lnTo>
                    <a:pt x="246" y="12"/>
                  </a:lnTo>
                  <a:lnTo>
                    <a:pt x="240" y="12"/>
                  </a:lnTo>
                  <a:lnTo>
                    <a:pt x="234" y="14"/>
                  </a:lnTo>
                  <a:lnTo>
                    <a:pt x="230" y="14"/>
                  </a:lnTo>
                  <a:lnTo>
                    <a:pt x="230" y="14"/>
                  </a:lnTo>
                  <a:lnTo>
                    <a:pt x="224" y="16"/>
                  </a:lnTo>
                  <a:lnTo>
                    <a:pt x="220" y="18"/>
                  </a:lnTo>
                  <a:lnTo>
                    <a:pt x="218" y="20"/>
                  </a:lnTo>
                  <a:lnTo>
                    <a:pt x="216" y="22"/>
                  </a:lnTo>
                  <a:lnTo>
                    <a:pt x="216" y="22"/>
                  </a:lnTo>
                  <a:lnTo>
                    <a:pt x="216" y="22"/>
                  </a:lnTo>
                  <a:lnTo>
                    <a:pt x="214" y="26"/>
                  </a:lnTo>
                  <a:lnTo>
                    <a:pt x="214" y="28"/>
                  </a:lnTo>
                  <a:lnTo>
                    <a:pt x="212" y="32"/>
                  </a:lnTo>
                  <a:lnTo>
                    <a:pt x="208" y="36"/>
                  </a:lnTo>
                  <a:lnTo>
                    <a:pt x="204" y="36"/>
                  </a:lnTo>
                  <a:lnTo>
                    <a:pt x="200" y="36"/>
                  </a:lnTo>
                  <a:lnTo>
                    <a:pt x="196" y="36"/>
                  </a:lnTo>
                  <a:lnTo>
                    <a:pt x="196" y="34"/>
                  </a:lnTo>
                  <a:lnTo>
                    <a:pt x="194" y="34"/>
                  </a:lnTo>
                  <a:lnTo>
                    <a:pt x="194" y="32"/>
                  </a:lnTo>
                  <a:lnTo>
                    <a:pt x="194" y="32"/>
                  </a:lnTo>
                  <a:lnTo>
                    <a:pt x="190" y="32"/>
                  </a:lnTo>
                  <a:lnTo>
                    <a:pt x="186" y="34"/>
                  </a:lnTo>
                  <a:lnTo>
                    <a:pt x="182" y="38"/>
                  </a:lnTo>
                  <a:lnTo>
                    <a:pt x="178" y="42"/>
                  </a:lnTo>
                  <a:lnTo>
                    <a:pt x="176" y="46"/>
                  </a:lnTo>
                  <a:lnTo>
                    <a:pt x="176" y="48"/>
                  </a:lnTo>
                  <a:lnTo>
                    <a:pt x="174" y="48"/>
                  </a:lnTo>
                  <a:lnTo>
                    <a:pt x="168" y="54"/>
                  </a:lnTo>
                  <a:lnTo>
                    <a:pt x="162" y="56"/>
                  </a:lnTo>
                  <a:lnTo>
                    <a:pt x="158" y="58"/>
                  </a:lnTo>
                  <a:lnTo>
                    <a:pt x="154" y="62"/>
                  </a:lnTo>
                  <a:lnTo>
                    <a:pt x="152" y="66"/>
                  </a:lnTo>
                  <a:lnTo>
                    <a:pt x="150" y="70"/>
                  </a:lnTo>
                  <a:lnTo>
                    <a:pt x="148" y="76"/>
                  </a:lnTo>
                  <a:lnTo>
                    <a:pt x="148" y="80"/>
                  </a:lnTo>
                  <a:lnTo>
                    <a:pt x="148" y="82"/>
                  </a:lnTo>
                  <a:lnTo>
                    <a:pt x="148" y="82"/>
                  </a:lnTo>
                  <a:lnTo>
                    <a:pt x="136" y="114"/>
                  </a:lnTo>
                  <a:lnTo>
                    <a:pt x="116" y="150"/>
                  </a:lnTo>
                  <a:lnTo>
                    <a:pt x="114" y="152"/>
                  </a:lnTo>
                  <a:lnTo>
                    <a:pt x="110" y="160"/>
                  </a:lnTo>
                  <a:lnTo>
                    <a:pt x="106" y="170"/>
                  </a:lnTo>
                  <a:lnTo>
                    <a:pt x="102" y="180"/>
                  </a:lnTo>
                  <a:lnTo>
                    <a:pt x="100" y="184"/>
                  </a:lnTo>
                  <a:lnTo>
                    <a:pt x="98" y="190"/>
                  </a:lnTo>
                  <a:lnTo>
                    <a:pt x="94" y="200"/>
                  </a:lnTo>
                  <a:lnTo>
                    <a:pt x="88" y="212"/>
                  </a:lnTo>
                  <a:lnTo>
                    <a:pt x="84" y="220"/>
                  </a:lnTo>
                  <a:lnTo>
                    <a:pt x="82" y="224"/>
                  </a:lnTo>
                  <a:lnTo>
                    <a:pt x="72" y="230"/>
                  </a:lnTo>
                  <a:lnTo>
                    <a:pt x="54" y="254"/>
                  </a:lnTo>
                  <a:lnTo>
                    <a:pt x="32" y="268"/>
                  </a:lnTo>
                  <a:lnTo>
                    <a:pt x="30" y="274"/>
                  </a:lnTo>
                  <a:lnTo>
                    <a:pt x="26" y="278"/>
                  </a:lnTo>
                  <a:lnTo>
                    <a:pt x="22" y="280"/>
                  </a:lnTo>
                  <a:lnTo>
                    <a:pt x="20" y="282"/>
                  </a:lnTo>
                  <a:lnTo>
                    <a:pt x="16" y="284"/>
                  </a:lnTo>
                  <a:lnTo>
                    <a:pt x="16" y="284"/>
                  </a:lnTo>
                  <a:lnTo>
                    <a:pt x="14" y="290"/>
                  </a:lnTo>
                  <a:lnTo>
                    <a:pt x="12" y="294"/>
                  </a:lnTo>
                  <a:lnTo>
                    <a:pt x="10" y="298"/>
                  </a:lnTo>
                  <a:lnTo>
                    <a:pt x="8" y="300"/>
                  </a:lnTo>
                  <a:lnTo>
                    <a:pt x="8" y="300"/>
                  </a:lnTo>
                  <a:lnTo>
                    <a:pt x="2" y="312"/>
                  </a:lnTo>
                  <a:lnTo>
                    <a:pt x="0" y="324"/>
                  </a:lnTo>
                  <a:lnTo>
                    <a:pt x="4" y="334"/>
                  </a:lnTo>
                  <a:lnTo>
                    <a:pt x="8" y="338"/>
                  </a:lnTo>
                  <a:lnTo>
                    <a:pt x="10" y="340"/>
                  </a:lnTo>
                  <a:lnTo>
                    <a:pt x="10" y="342"/>
                  </a:lnTo>
                  <a:lnTo>
                    <a:pt x="10" y="344"/>
                  </a:lnTo>
                  <a:lnTo>
                    <a:pt x="8" y="344"/>
                  </a:lnTo>
                  <a:lnTo>
                    <a:pt x="8" y="346"/>
                  </a:lnTo>
                  <a:lnTo>
                    <a:pt x="6" y="348"/>
                  </a:lnTo>
                  <a:lnTo>
                    <a:pt x="6" y="352"/>
                  </a:lnTo>
                  <a:lnTo>
                    <a:pt x="6" y="356"/>
                  </a:lnTo>
                  <a:lnTo>
                    <a:pt x="6" y="358"/>
                  </a:lnTo>
                  <a:lnTo>
                    <a:pt x="6" y="358"/>
                  </a:lnTo>
                  <a:lnTo>
                    <a:pt x="2" y="364"/>
                  </a:lnTo>
                  <a:lnTo>
                    <a:pt x="2" y="370"/>
                  </a:lnTo>
                  <a:lnTo>
                    <a:pt x="2" y="376"/>
                  </a:lnTo>
                  <a:lnTo>
                    <a:pt x="2" y="380"/>
                  </a:lnTo>
                  <a:lnTo>
                    <a:pt x="4" y="384"/>
                  </a:lnTo>
                  <a:lnTo>
                    <a:pt x="4" y="386"/>
                  </a:lnTo>
                  <a:lnTo>
                    <a:pt x="4" y="388"/>
                  </a:lnTo>
                  <a:lnTo>
                    <a:pt x="8" y="394"/>
                  </a:lnTo>
                  <a:lnTo>
                    <a:pt x="10" y="400"/>
                  </a:lnTo>
                  <a:lnTo>
                    <a:pt x="16" y="404"/>
                  </a:lnTo>
                  <a:lnTo>
                    <a:pt x="20" y="408"/>
                  </a:lnTo>
                  <a:lnTo>
                    <a:pt x="24" y="410"/>
                  </a:lnTo>
                  <a:lnTo>
                    <a:pt x="28" y="412"/>
                  </a:lnTo>
                  <a:lnTo>
                    <a:pt x="30" y="412"/>
                  </a:lnTo>
                  <a:lnTo>
                    <a:pt x="36" y="410"/>
                  </a:lnTo>
                  <a:lnTo>
                    <a:pt x="42" y="406"/>
                  </a:lnTo>
                  <a:lnTo>
                    <a:pt x="46" y="402"/>
                  </a:lnTo>
                  <a:lnTo>
                    <a:pt x="50" y="398"/>
                  </a:lnTo>
                  <a:lnTo>
                    <a:pt x="52" y="394"/>
                  </a:lnTo>
                  <a:lnTo>
                    <a:pt x="54" y="392"/>
                  </a:lnTo>
                  <a:lnTo>
                    <a:pt x="54" y="390"/>
                  </a:lnTo>
                  <a:lnTo>
                    <a:pt x="54" y="384"/>
                  </a:lnTo>
                  <a:lnTo>
                    <a:pt x="56" y="380"/>
                  </a:lnTo>
                  <a:lnTo>
                    <a:pt x="56" y="376"/>
                  </a:lnTo>
                  <a:lnTo>
                    <a:pt x="58" y="376"/>
                  </a:lnTo>
                  <a:lnTo>
                    <a:pt x="58" y="374"/>
                  </a:lnTo>
                  <a:lnTo>
                    <a:pt x="62" y="374"/>
                  </a:lnTo>
                  <a:lnTo>
                    <a:pt x="64" y="372"/>
                  </a:lnTo>
                  <a:lnTo>
                    <a:pt x="68" y="370"/>
                  </a:lnTo>
                  <a:lnTo>
                    <a:pt x="70" y="368"/>
                  </a:lnTo>
                  <a:lnTo>
                    <a:pt x="70" y="366"/>
                  </a:lnTo>
                  <a:lnTo>
                    <a:pt x="72" y="364"/>
                  </a:lnTo>
                  <a:lnTo>
                    <a:pt x="76" y="358"/>
                  </a:lnTo>
                  <a:lnTo>
                    <a:pt x="78" y="352"/>
                  </a:lnTo>
                  <a:lnTo>
                    <a:pt x="80" y="346"/>
                  </a:lnTo>
                  <a:lnTo>
                    <a:pt x="80" y="344"/>
                  </a:lnTo>
                  <a:lnTo>
                    <a:pt x="80" y="342"/>
                  </a:lnTo>
                  <a:lnTo>
                    <a:pt x="80" y="340"/>
                  </a:lnTo>
                  <a:lnTo>
                    <a:pt x="86" y="356"/>
                  </a:lnTo>
                  <a:lnTo>
                    <a:pt x="88" y="356"/>
                  </a:lnTo>
                  <a:lnTo>
                    <a:pt x="92" y="354"/>
                  </a:lnTo>
                  <a:lnTo>
                    <a:pt x="96" y="350"/>
                  </a:lnTo>
                  <a:lnTo>
                    <a:pt x="100" y="340"/>
                  </a:lnTo>
                  <a:lnTo>
                    <a:pt x="100" y="324"/>
                  </a:lnTo>
                  <a:lnTo>
                    <a:pt x="100" y="318"/>
                  </a:lnTo>
                  <a:lnTo>
                    <a:pt x="100" y="306"/>
                  </a:lnTo>
                  <a:lnTo>
                    <a:pt x="102" y="290"/>
                  </a:lnTo>
                  <a:lnTo>
                    <a:pt x="102" y="274"/>
                  </a:lnTo>
                  <a:lnTo>
                    <a:pt x="102" y="260"/>
                  </a:lnTo>
                  <a:lnTo>
                    <a:pt x="98" y="254"/>
                  </a:lnTo>
                  <a:lnTo>
                    <a:pt x="120" y="240"/>
                  </a:lnTo>
                  <a:lnTo>
                    <a:pt x="122" y="216"/>
                  </a:lnTo>
                  <a:lnTo>
                    <a:pt x="132" y="198"/>
                  </a:lnTo>
                  <a:lnTo>
                    <a:pt x="134" y="182"/>
                  </a:lnTo>
                  <a:lnTo>
                    <a:pt x="136" y="182"/>
                  </a:lnTo>
                  <a:lnTo>
                    <a:pt x="138" y="182"/>
                  </a:lnTo>
                  <a:lnTo>
                    <a:pt x="140" y="178"/>
                  </a:lnTo>
                  <a:lnTo>
                    <a:pt x="144" y="174"/>
                  </a:lnTo>
                  <a:lnTo>
                    <a:pt x="148" y="170"/>
                  </a:lnTo>
                  <a:lnTo>
                    <a:pt x="152" y="166"/>
                  </a:lnTo>
                  <a:lnTo>
                    <a:pt x="154" y="162"/>
                  </a:lnTo>
                  <a:lnTo>
                    <a:pt x="158" y="158"/>
                  </a:lnTo>
                  <a:lnTo>
                    <a:pt x="158" y="136"/>
                  </a:lnTo>
                  <a:lnTo>
                    <a:pt x="160" y="134"/>
                  </a:lnTo>
                  <a:lnTo>
                    <a:pt x="162" y="134"/>
                  </a:lnTo>
                  <a:lnTo>
                    <a:pt x="164" y="130"/>
                  </a:lnTo>
                  <a:lnTo>
                    <a:pt x="166" y="124"/>
                  </a:lnTo>
                  <a:lnTo>
                    <a:pt x="166" y="122"/>
                  </a:lnTo>
                  <a:lnTo>
                    <a:pt x="170" y="112"/>
                  </a:lnTo>
                  <a:lnTo>
                    <a:pt x="178" y="98"/>
                  </a:lnTo>
                  <a:lnTo>
                    <a:pt x="196" y="82"/>
                  </a:lnTo>
                  <a:lnTo>
                    <a:pt x="224" y="64"/>
                  </a:lnTo>
                  <a:lnTo>
                    <a:pt x="224" y="64"/>
                  </a:lnTo>
                  <a:lnTo>
                    <a:pt x="226" y="64"/>
                  </a:lnTo>
                  <a:lnTo>
                    <a:pt x="230" y="64"/>
                  </a:lnTo>
                  <a:lnTo>
                    <a:pt x="234" y="64"/>
                  </a:lnTo>
                  <a:lnTo>
                    <a:pt x="238" y="66"/>
                  </a:lnTo>
                  <a:lnTo>
                    <a:pt x="242" y="70"/>
                  </a:lnTo>
                  <a:lnTo>
                    <a:pt x="260" y="72"/>
                  </a:lnTo>
                  <a:lnTo>
                    <a:pt x="260" y="72"/>
                  </a:lnTo>
                  <a:lnTo>
                    <a:pt x="264" y="70"/>
                  </a:lnTo>
                  <a:lnTo>
                    <a:pt x="266" y="70"/>
                  </a:lnTo>
                  <a:lnTo>
                    <a:pt x="270" y="68"/>
                  </a:lnTo>
                  <a:lnTo>
                    <a:pt x="272" y="66"/>
                  </a:lnTo>
                  <a:lnTo>
                    <a:pt x="276" y="64"/>
                  </a:lnTo>
                  <a:lnTo>
                    <a:pt x="276" y="60"/>
                  </a:lnTo>
                  <a:lnTo>
                    <a:pt x="276" y="60"/>
                  </a:lnTo>
                  <a:lnTo>
                    <a:pt x="276" y="58"/>
                  </a:lnTo>
                  <a:lnTo>
                    <a:pt x="278" y="56"/>
                  </a:lnTo>
                  <a:lnTo>
                    <a:pt x="280" y="52"/>
                  </a:lnTo>
                  <a:lnTo>
                    <a:pt x="284" y="50"/>
                  </a:lnTo>
                  <a:lnTo>
                    <a:pt x="288" y="50"/>
                  </a:lnTo>
                  <a:lnTo>
                    <a:pt x="294" y="50"/>
                  </a:lnTo>
                  <a:lnTo>
                    <a:pt x="326" y="66"/>
                  </a:lnTo>
                  <a:lnTo>
                    <a:pt x="326" y="66"/>
                  </a:lnTo>
                  <a:lnTo>
                    <a:pt x="326" y="66"/>
                  </a:lnTo>
                  <a:lnTo>
                    <a:pt x="328" y="64"/>
                  </a:lnTo>
                  <a:lnTo>
                    <a:pt x="328" y="62"/>
                  </a:lnTo>
                  <a:lnTo>
                    <a:pt x="328" y="56"/>
                  </a:lnTo>
                  <a:lnTo>
                    <a:pt x="336" y="56"/>
                  </a:lnTo>
                  <a:lnTo>
                    <a:pt x="326" y="5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7" name="Freeform 404"/>
            <p:cNvSpPr/>
            <p:nvPr/>
          </p:nvSpPr>
          <p:spPr bwMode="gray">
            <a:xfrm>
              <a:off x="579665" y="3525584"/>
              <a:ext cx="292521" cy="244220"/>
            </a:xfrm>
            <a:custGeom>
              <a:gdLst>
                <a:gd fmla="*/ 154 w 158" name="T0"/>
                <a:gd fmla="*/ 46 h 132" name="T1"/>
                <a:gd fmla="*/ 146 w 158" name="T2"/>
                <a:gd fmla="*/ 46 h 132" name="T3"/>
                <a:gd fmla="*/ 136 w 158" name="T4"/>
                <a:gd fmla="*/ 48 h 132" name="T5"/>
                <a:gd fmla="*/ 132 w 158" name="T6"/>
                <a:gd fmla="*/ 54 h 132" name="T7"/>
                <a:gd fmla="*/ 126 w 158" name="T8"/>
                <a:gd fmla="*/ 58 h 132" name="T9"/>
                <a:gd fmla="*/ 120 w 158" name="T10"/>
                <a:gd fmla="*/ 66 h 132" name="T11"/>
                <a:gd fmla="*/ 120 w 158" name="T12"/>
                <a:gd fmla="*/ 74 h 132" name="T13"/>
                <a:gd fmla="*/ 120 w 158" name="T14"/>
                <a:gd fmla="*/ 78 h 132" name="T15"/>
                <a:gd fmla="*/ 116 w 158" name="T16"/>
                <a:gd fmla="*/ 84 h 132" name="T17"/>
                <a:gd fmla="*/ 110 w 158" name="T18"/>
                <a:gd fmla="*/ 92 h 132" name="T19"/>
                <a:gd fmla="*/ 96 w 158" name="T20"/>
                <a:gd fmla="*/ 118 h 132" name="T21"/>
                <a:gd fmla="*/ 92 w 158" name="T22"/>
                <a:gd fmla="*/ 118 h 132" name="T23"/>
                <a:gd fmla="*/ 78 w 158" name="T24"/>
                <a:gd fmla="*/ 118 h 132" name="T25"/>
                <a:gd fmla="*/ 68 w 158" name="T26"/>
                <a:gd fmla="*/ 116 h 132" name="T27"/>
                <a:gd fmla="*/ 60 w 158" name="T28"/>
                <a:gd fmla="*/ 118 h 132" name="T29"/>
                <a:gd fmla="*/ 52 w 158" name="T30"/>
                <a:gd fmla="*/ 120 h 132" name="T31"/>
                <a:gd fmla="*/ 50 w 158" name="T32"/>
                <a:gd fmla="*/ 122 h 132" name="T33"/>
                <a:gd fmla="*/ 44 w 158" name="T34"/>
                <a:gd fmla="*/ 120 h 132" name="T35"/>
                <a:gd fmla="*/ 38 w 158" name="T36"/>
                <a:gd fmla="*/ 120 h 132" name="T37"/>
                <a:gd fmla="*/ 32 w 158" name="T38"/>
                <a:gd fmla="*/ 124 h 132" name="T39"/>
                <a:gd fmla="*/ 30 w 158" name="T40"/>
                <a:gd fmla="*/ 132 h 132" name="T41"/>
                <a:gd fmla="*/ 26 w 158" name="T42"/>
                <a:gd fmla="*/ 132 h 132" name="T43"/>
                <a:gd fmla="*/ 20 w 158" name="T44"/>
                <a:gd fmla="*/ 128 h 132" name="T45"/>
                <a:gd fmla="*/ 18 w 158" name="T46"/>
                <a:gd fmla="*/ 122 h 132" name="T47"/>
                <a:gd fmla="*/ 16 w 158" name="T48"/>
                <a:gd fmla="*/ 120 h 132" name="T49"/>
                <a:gd fmla="*/ 16 w 158" name="T50"/>
                <a:gd fmla="*/ 118 h 132" name="T51"/>
                <a:gd fmla="*/ 16 w 158" name="T52"/>
                <a:gd fmla="*/ 118 h 132" name="T53"/>
                <a:gd fmla="*/ 16 w 158" name="T54"/>
                <a:gd fmla="*/ 114 h 132" name="T55"/>
                <a:gd fmla="*/ 20 w 158" name="T56"/>
                <a:gd fmla="*/ 104 h 132" name="T57"/>
                <a:gd fmla="*/ 24 w 158" name="T58"/>
                <a:gd fmla="*/ 102 h 132" name="T59"/>
                <a:gd fmla="*/ 30 w 158" name="T60"/>
                <a:gd fmla="*/ 98 h 132" name="T61"/>
                <a:gd fmla="*/ 28 w 158" name="T62"/>
                <a:gd fmla="*/ 88 h 132" name="T63"/>
                <a:gd fmla="*/ 30 w 158" name="T64"/>
                <a:gd fmla="*/ 70 h 132" name="T65"/>
                <a:gd fmla="*/ 30 w 158" name="T66"/>
                <a:gd fmla="*/ 50 h 132" name="T67"/>
                <a:gd fmla="*/ 32 w 158" name="T68"/>
                <a:gd fmla="*/ 42 h 132" name="T69"/>
                <a:gd fmla="*/ 38 w 158" name="T70"/>
                <a:gd fmla="*/ 38 h 132" name="T71"/>
                <a:gd fmla="*/ 38 w 158" name="T72"/>
                <a:gd fmla="*/ 34 h 132" name="T73"/>
                <a:gd fmla="*/ 36 w 158" name="T74"/>
                <a:gd fmla="*/ 32 h 132" name="T75"/>
                <a:gd fmla="*/ 28 w 158" name="T76"/>
                <a:gd fmla="*/ 28 h 132" name="T77"/>
                <a:gd fmla="*/ 26 w 158" name="T78"/>
                <a:gd fmla="*/ 28 h 132" name="T79"/>
                <a:gd fmla="*/ 24 w 158" name="T80"/>
                <a:gd fmla="*/ 28 h 132" name="T81"/>
                <a:gd fmla="*/ 10 w 158" name="T82"/>
                <a:gd fmla="*/ 30 h 132" name="T83"/>
                <a:gd fmla="*/ 4 w 158" name="T84"/>
                <a:gd fmla="*/ 24 h 132" name="T85"/>
                <a:gd fmla="*/ 4 w 158" name="T86"/>
                <a:gd fmla="*/ 20 h 132" name="T87"/>
                <a:gd fmla="*/ 0 w 158" name="T88"/>
                <a:gd fmla="*/ 14 h 132" name="T89"/>
                <a:gd fmla="*/ 2 w 158" name="T90"/>
                <a:gd fmla="*/ 12 h 132" name="T91"/>
                <a:gd fmla="*/ 4 w 158" name="T92"/>
                <a:gd fmla="*/ 10 h 132" name="T93"/>
                <a:gd fmla="*/ 18 w 158" name="T94"/>
                <a:gd fmla="*/ 0 h 132" name="T95"/>
                <a:gd fmla="*/ 22 w 158" name="T96"/>
                <a:gd fmla="*/ 0 h 132" name="T97"/>
                <a:gd fmla="*/ 26 w 158" name="T98"/>
                <a:gd fmla="*/ 2 h 132" name="T99"/>
                <a:gd fmla="*/ 58 w 158" name="T100"/>
                <a:gd fmla="*/ 6 h 132" name="T101"/>
                <a:gd fmla="*/ 84 w 158" name="T102"/>
                <a:gd fmla="*/ 8 h 132" name="T103"/>
                <a:gd fmla="*/ 98 w 158" name="T104"/>
                <a:gd fmla="*/ 6 h 132" name="T105"/>
                <a:gd fmla="*/ 102 w 158" name="T106"/>
                <a:gd fmla="*/ 8 h 132" name="T107"/>
                <a:gd fmla="*/ 102 w 158" name="T108"/>
                <a:gd fmla="*/ 12 h 132" name="T109"/>
                <a:gd fmla="*/ 106 w 158" name="T110"/>
                <a:gd fmla="*/ 14 h 132" name="T111"/>
                <a:gd fmla="*/ 112 w 158" name="T112"/>
                <a:gd fmla="*/ 18 h 132" name="T113"/>
                <a:gd fmla="*/ 114 w 158" name="T114"/>
                <a:gd fmla="*/ 18 h 132" name="T115"/>
                <a:gd fmla="*/ 120 w 158" name="T116"/>
                <a:gd fmla="*/ 22 h 132" name="T117"/>
                <a:gd fmla="*/ 126 w 158" name="T118"/>
                <a:gd fmla="*/ 28 h 132" name="T119"/>
                <a:gd fmla="*/ 134 w 158" name="T120"/>
                <a:gd fmla="*/ 36 h 132" name="T121"/>
                <a:gd fmla="*/ 152 w 158" name="T122"/>
                <a:gd fmla="*/ 42 h 132" name="T123"/>
                <a:gd fmla="*/ 154 w 158" name="T124"/>
                <a:gd fmla="*/ 46 h 132"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132" w="158">
                  <a:moveTo>
                    <a:pt x="154" y="46"/>
                  </a:moveTo>
                  <a:lnTo>
                    <a:pt x="154" y="46"/>
                  </a:lnTo>
                  <a:lnTo>
                    <a:pt x="150" y="46"/>
                  </a:lnTo>
                  <a:lnTo>
                    <a:pt x="146" y="46"/>
                  </a:lnTo>
                  <a:lnTo>
                    <a:pt x="142" y="46"/>
                  </a:lnTo>
                  <a:lnTo>
                    <a:pt x="136" y="48"/>
                  </a:lnTo>
                  <a:lnTo>
                    <a:pt x="132" y="52"/>
                  </a:lnTo>
                  <a:lnTo>
                    <a:pt x="132" y="54"/>
                  </a:lnTo>
                  <a:lnTo>
                    <a:pt x="130" y="54"/>
                  </a:lnTo>
                  <a:lnTo>
                    <a:pt x="126" y="58"/>
                  </a:lnTo>
                  <a:lnTo>
                    <a:pt x="122" y="62"/>
                  </a:lnTo>
                  <a:lnTo>
                    <a:pt x="120" y="66"/>
                  </a:lnTo>
                  <a:lnTo>
                    <a:pt x="118" y="70"/>
                  </a:lnTo>
                  <a:lnTo>
                    <a:pt x="120" y="74"/>
                  </a:lnTo>
                  <a:lnTo>
                    <a:pt x="122" y="78"/>
                  </a:lnTo>
                  <a:lnTo>
                    <a:pt x="120" y="78"/>
                  </a:lnTo>
                  <a:lnTo>
                    <a:pt x="118" y="80"/>
                  </a:lnTo>
                  <a:lnTo>
                    <a:pt x="116" y="84"/>
                  </a:lnTo>
                  <a:lnTo>
                    <a:pt x="112" y="88"/>
                  </a:lnTo>
                  <a:lnTo>
                    <a:pt x="110" y="92"/>
                  </a:lnTo>
                  <a:lnTo>
                    <a:pt x="106" y="96"/>
                  </a:lnTo>
                  <a:lnTo>
                    <a:pt x="96" y="118"/>
                  </a:lnTo>
                  <a:lnTo>
                    <a:pt x="94" y="118"/>
                  </a:lnTo>
                  <a:lnTo>
                    <a:pt x="92" y="118"/>
                  </a:lnTo>
                  <a:lnTo>
                    <a:pt x="86" y="118"/>
                  </a:lnTo>
                  <a:lnTo>
                    <a:pt x="78" y="118"/>
                  </a:lnTo>
                  <a:lnTo>
                    <a:pt x="68" y="116"/>
                  </a:lnTo>
                  <a:lnTo>
                    <a:pt x="68" y="116"/>
                  </a:lnTo>
                  <a:lnTo>
                    <a:pt x="64" y="116"/>
                  </a:lnTo>
                  <a:lnTo>
                    <a:pt x="60" y="118"/>
                  </a:lnTo>
                  <a:lnTo>
                    <a:pt x="56" y="118"/>
                  </a:lnTo>
                  <a:lnTo>
                    <a:pt x="52" y="120"/>
                  </a:lnTo>
                  <a:lnTo>
                    <a:pt x="50" y="122"/>
                  </a:lnTo>
                  <a:lnTo>
                    <a:pt x="50" y="122"/>
                  </a:lnTo>
                  <a:lnTo>
                    <a:pt x="48" y="120"/>
                  </a:lnTo>
                  <a:lnTo>
                    <a:pt x="44" y="120"/>
                  </a:lnTo>
                  <a:lnTo>
                    <a:pt x="40" y="120"/>
                  </a:lnTo>
                  <a:lnTo>
                    <a:pt x="38" y="120"/>
                  </a:lnTo>
                  <a:lnTo>
                    <a:pt x="34" y="122"/>
                  </a:lnTo>
                  <a:lnTo>
                    <a:pt x="32" y="124"/>
                  </a:lnTo>
                  <a:lnTo>
                    <a:pt x="30" y="128"/>
                  </a:lnTo>
                  <a:lnTo>
                    <a:pt x="30" y="132"/>
                  </a:lnTo>
                  <a:lnTo>
                    <a:pt x="28" y="132"/>
                  </a:lnTo>
                  <a:lnTo>
                    <a:pt x="26" y="132"/>
                  </a:lnTo>
                  <a:lnTo>
                    <a:pt x="24" y="130"/>
                  </a:lnTo>
                  <a:lnTo>
                    <a:pt x="20" y="128"/>
                  </a:lnTo>
                  <a:lnTo>
                    <a:pt x="18" y="126"/>
                  </a:lnTo>
                  <a:lnTo>
                    <a:pt x="18" y="122"/>
                  </a:lnTo>
                  <a:lnTo>
                    <a:pt x="16" y="122"/>
                  </a:lnTo>
                  <a:lnTo>
                    <a:pt x="16" y="120"/>
                  </a:lnTo>
                  <a:lnTo>
                    <a:pt x="16" y="118"/>
                  </a:lnTo>
                  <a:lnTo>
                    <a:pt x="16" y="118"/>
                  </a:lnTo>
                  <a:lnTo>
                    <a:pt x="16" y="118"/>
                  </a:lnTo>
                  <a:lnTo>
                    <a:pt x="16" y="118"/>
                  </a:lnTo>
                  <a:lnTo>
                    <a:pt x="16" y="116"/>
                  </a:lnTo>
                  <a:lnTo>
                    <a:pt x="16" y="114"/>
                  </a:lnTo>
                  <a:lnTo>
                    <a:pt x="18" y="108"/>
                  </a:lnTo>
                  <a:lnTo>
                    <a:pt x="20" y="104"/>
                  </a:lnTo>
                  <a:lnTo>
                    <a:pt x="22" y="102"/>
                  </a:lnTo>
                  <a:lnTo>
                    <a:pt x="24" y="102"/>
                  </a:lnTo>
                  <a:lnTo>
                    <a:pt x="26" y="102"/>
                  </a:lnTo>
                  <a:lnTo>
                    <a:pt x="30" y="98"/>
                  </a:lnTo>
                  <a:lnTo>
                    <a:pt x="24" y="92"/>
                  </a:lnTo>
                  <a:lnTo>
                    <a:pt x="28" y="88"/>
                  </a:lnTo>
                  <a:lnTo>
                    <a:pt x="30" y="80"/>
                  </a:lnTo>
                  <a:lnTo>
                    <a:pt x="30" y="70"/>
                  </a:lnTo>
                  <a:lnTo>
                    <a:pt x="26" y="60"/>
                  </a:lnTo>
                  <a:lnTo>
                    <a:pt x="30" y="50"/>
                  </a:lnTo>
                  <a:lnTo>
                    <a:pt x="32" y="42"/>
                  </a:lnTo>
                  <a:lnTo>
                    <a:pt x="32" y="42"/>
                  </a:lnTo>
                  <a:lnTo>
                    <a:pt x="36" y="40"/>
                  </a:lnTo>
                  <a:lnTo>
                    <a:pt x="38" y="38"/>
                  </a:lnTo>
                  <a:lnTo>
                    <a:pt x="38" y="36"/>
                  </a:lnTo>
                  <a:lnTo>
                    <a:pt x="38" y="34"/>
                  </a:lnTo>
                  <a:lnTo>
                    <a:pt x="38" y="34"/>
                  </a:lnTo>
                  <a:lnTo>
                    <a:pt x="36" y="32"/>
                  </a:lnTo>
                  <a:lnTo>
                    <a:pt x="28" y="28"/>
                  </a:lnTo>
                  <a:lnTo>
                    <a:pt x="28" y="28"/>
                  </a:lnTo>
                  <a:lnTo>
                    <a:pt x="26" y="28"/>
                  </a:lnTo>
                  <a:lnTo>
                    <a:pt x="26" y="28"/>
                  </a:lnTo>
                  <a:lnTo>
                    <a:pt x="24" y="28"/>
                  </a:lnTo>
                  <a:lnTo>
                    <a:pt x="24" y="28"/>
                  </a:lnTo>
                  <a:lnTo>
                    <a:pt x="26" y="28"/>
                  </a:lnTo>
                  <a:lnTo>
                    <a:pt x="10" y="30"/>
                  </a:lnTo>
                  <a:lnTo>
                    <a:pt x="4" y="28"/>
                  </a:lnTo>
                  <a:lnTo>
                    <a:pt x="4" y="24"/>
                  </a:lnTo>
                  <a:lnTo>
                    <a:pt x="4" y="22"/>
                  </a:lnTo>
                  <a:lnTo>
                    <a:pt x="4" y="20"/>
                  </a:lnTo>
                  <a:lnTo>
                    <a:pt x="2" y="16"/>
                  </a:lnTo>
                  <a:lnTo>
                    <a:pt x="0" y="14"/>
                  </a:lnTo>
                  <a:lnTo>
                    <a:pt x="2" y="14"/>
                  </a:lnTo>
                  <a:lnTo>
                    <a:pt x="2" y="12"/>
                  </a:lnTo>
                  <a:lnTo>
                    <a:pt x="2" y="10"/>
                  </a:lnTo>
                  <a:lnTo>
                    <a:pt x="4" y="10"/>
                  </a:lnTo>
                  <a:lnTo>
                    <a:pt x="8" y="10"/>
                  </a:lnTo>
                  <a:lnTo>
                    <a:pt x="18" y="0"/>
                  </a:lnTo>
                  <a:lnTo>
                    <a:pt x="20" y="0"/>
                  </a:lnTo>
                  <a:lnTo>
                    <a:pt x="22" y="0"/>
                  </a:lnTo>
                  <a:lnTo>
                    <a:pt x="24" y="0"/>
                  </a:lnTo>
                  <a:lnTo>
                    <a:pt x="26" y="2"/>
                  </a:lnTo>
                  <a:lnTo>
                    <a:pt x="54" y="6"/>
                  </a:lnTo>
                  <a:lnTo>
                    <a:pt x="58" y="6"/>
                  </a:lnTo>
                  <a:lnTo>
                    <a:pt x="72" y="6"/>
                  </a:lnTo>
                  <a:lnTo>
                    <a:pt x="84" y="8"/>
                  </a:lnTo>
                  <a:lnTo>
                    <a:pt x="98" y="4"/>
                  </a:lnTo>
                  <a:lnTo>
                    <a:pt x="98" y="6"/>
                  </a:lnTo>
                  <a:lnTo>
                    <a:pt x="100" y="6"/>
                  </a:lnTo>
                  <a:lnTo>
                    <a:pt x="102" y="8"/>
                  </a:lnTo>
                  <a:lnTo>
                    <a:pt x="102" y="10"/>
                  </a:lnTo>
                  <a:lnTo>
                    <a:pt x="102" y="12"/>
                  </a:lnTo>
                  <a:lnTo>
                    <a:pt x="104" y="12"/>
                  </a:lnTo>
                  <a:lnTo>
                    <a:pt x="106" y="14"/>
                  </a:lnTo>
                  <a:lnTo>
                    <a:pt x="108" y="16"/>
                  </a:lnTo>
                  <a:lnTo>
                    <a:pt x="112" y="18"/>
                  </a:lnTo>
                  <a:lnTo>
                    <a:pt x="114" y="18"/>
                  </a:lnTo>
                  <a:lnTo>
                    <a:pt x="114" y="18"/>
                  </a:lnTo>
                  <a:lnTo>
                    <a:pt x="116" y="20"/>
                  </a:lnTo>
                  <a:lnTo>
                    <a:pt x="120" y="22"/>
                  </a:lnTo>
                  <a:lnTo>
                    <a:pt x="122" y="24"/>
                  </a:lnTo>
                  <a:lnTo>
                    <a:pt x="126" y="28"/>
                  </a:lnTo>
                  <a:lnTo>
                    <a:pt x="126" y="26"/>
                  </a:lnTo>
                  <a:lnTo>
                    <a:pt x="134" y="36"/>
                  </a:lnTo>
                  <a:lnTo>
                    <a:pt x="134" y="36"/>
                  </a:lnTo>
                  <a:lnTo>
                    <a:pt x="152" y="42"/>
                  </a:lnTo>
                  <a:lnTo>
                    <a:pt x="158" y="44"/>
                  </a:lnTo>
                  <a:lnTo>
                    <a:pt x="154" y="4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8" name="Freeform 405"/>
            <p:cNvSpPr/>
            <p:nvPr/>
          </p:nvSpPr>
          <p:spPr bwMode="gray">
            <a:xfrm>
              <a:off x="949945" y="3455278"/>
              <a:ext cx="288818" cy="270122"/>
            </a:xfrm>
            <a:custGeom>
              <a:gdLst>
                <a:gd fmla="*/ 94 w 156" name="T0"/>
                <a:gd fmla="*/ 14 h 146" name="T1"/>
                <a:gd fmla="*/ 92 w 156" name="T2"/>
                <a:gd fmla="*/ 16 h 146" name="T3"/>
                <a:gd fmla="*/ 92 w 156" name="T4"/>
                <a:gd fmla="*/ 16 h 146" name="T5"/>
                <a:gd fmla="*/ 94 w 156" name="T6"/>
                <a:gd fmla="*/ 18 h 146" name="T7"/>
                <a:gd fmla="*/ 94 w 156" name="T8"/>
                <a:gd fmla="*/ 20 h 146" name="T9"/>
                <a:gd fmla="*/ 76 w 156" name="T10"/>
                <a:gd fmla="*/ 28 h 146" name="T11"/>
                <a:gd fmla="*/ 78 w 156" name="T12"/>
                <a:gd fmla="*/ 32 h 146" name="T13"/>
                <a:gd fmla="*/ 84 w 156" name="T14"/>
                <a:gd fmla="*/ 38 h 146" name="T15"/>
                <a:gd fmla="*/ 94 w 156" name="T16"/>
                <a:gd fmla="*/ 46 h 146" name="T17"/>
                <a:gd fmla="*/ 104 w 156" name="T18"/>
                <a:gd fmla="*/ 52 h 146" name="T19"/>
                <a:gd fmla="*/ 102 w 156" name="T20"/>
                <a:gd fmla="*/ 56 h 146" name="T21"/>
                <a:gd fmla="*/ 104 w 156" name="T22"/>
                <a:gd fmla="*/ 62 h 146" name="T23"/>
                <a:gd fmla="*/ 138 w 156" name="T24"/>
                <a:gd fmla="*/ 90 h 146" name="T25"/>
                <a:gd fmla="*/ 156 w 156" name="T26"/>
                <a:gd fmla="*/ 120 h 146" name="T27"/>
                <a:gd fmla="*/ 144 w 156" name="T28"/>
                <a:gd fmla="*/ 118 h 146" name="T29"/>
                <a:gd fmla="*/ 134 w 156" name="T30"/>
                <a:gd fmla="*/ 122 h 146" name="T31"/>
                <a:gd fmla="*/ 130 w 156" name="T32"/>
                <a:gd fmla="*/ 134 h 146" name="T33"/>
                <a:gd fmla="*/ 124 w 156" name="T34"/>
                <a:gd fmla="*/ 146 h 146" name="T35"/>
                <a:gd fmla="*/ 120 w 156" name="T36"/>
                <a:gd fmla="*/ 134 h 146" name="T37"/>
                <a:gd fmla="*/ 118 w 156" name="T38"/>
                <a:gd fmla="*/ 132 h 146" name="T39"/>
                <a:gd fmla="*/ 116 w 156" name="T40"/>
                <a:gd fmla="*/ 130 h 146" name="T41"/>
                <a:gd fmla="*/ 118 w 156" name="T42"/>
                <a:gd fmla="*/ 128 h 146" name="T43"/>
                <a:gd fmla="*/ 122 w 156" name="T44"/>
                <a:gd fmla="*/ 112 h 146" name="T45"/>
                <a:gd fmla="*/ 110 w 156" name="T46"/>
                <a:gd fmla="*/ 106 h 146" name="T47"/>
                <a:gd fmla="*/ 80 w 156" name="T48"/>
                <a:gd fmla="*/ 84 h 146" name="T49"/>
                <a:gd fmla="*/ 50 w 156" name="T50"/>
                <a:gd fmla="*/ 54 h 146" name="T51"/>
                <a:gd fmla="*/ 50 w 156" name="T52"/>
                <a:gd fmla="*/ 50 h 146" name="T53"/>
                <a:gd fmla="*/ 48 w 156" name="T54"/>
                <a:gd fmla="*/ 44 h 146" name="T55"/>
                <a:gd fmla="*/ 44 w 156" name="T56"/>
                <a:gd fmla="*/ 40 h 146" name="T57"/>
                <a:gd fmla="*/ 18 w 156" name="T58"/>
                <a:gd fmla="*/ 48 h 146" name="T59"/>
                <a:gd fmla="*/ 12 w 156" name="T60"/>
                <a:gd fmla="*/ 48 h 146" name="T61"/>
                <a:gd fmla="*/ 4 w 156" name="T62"/>
                <a:gd fmla="*/ 34 h 146" name="T63"/>
                <a:gd fmla="*/ 2 w 156" name="T64"/>
                <a:gd fmla="*/ 32 h 146" name="T65"/>
                <a:gd fmla="*/ 0 w 156" name="T66"/>
                <a:gd fmla="*/ 22 h 146" name="T67"/>
                <a:gd fmla="*/ 12 w 156" name="T68"/>
                <a:gd fmla="*/ 22 h 146" name="T69"/>
                <a:gd fmla="*/ 16 w 156" name="T70"/>
                <a:gd fmla="*/ 24 h 146" name="T71"/>
                <a:gd fmla="*/ 24 w 156" name="T72"/>
                <a:gd fmla="*/ 12 h 146" name="T73"/>
                <a:gd fmla="*/ 30 w 156" name="T74"/>
                <a:gd fmla="*/ 10 h 146" name="T75"/>
                <a:gd fmla="*/ 30 w 156" name="T76"/>
                <a:gd fmla="*/ 14 h 146" name="T77"/>
                <a:gd fmla="*/ 32 w 156" name="T78"/>
                <a:gd fmla="*/ 16 h 146" name="T79"/>
                <a:gd fmla="*/ 36 w 156" name="T80"/>
                <a:gd fmla="*/ 14 h 146" name="T81"/>
                <a:gd fmla="*/ 40 w 156" name="T82"/>
                <a:gd fmla="*/ 12 h 146" name="T83"/>
                <a:gd fmla="*/ 42 w 156" name="T84"/>
                <a:gd fmla="*/ 10 h 146" name="T85"/>
                <a:gd fmla="*/ 44 w 156" name="T86"/>
                <a:gd fmla="*/ 8 h 146" name="T87"/>
                <a:gd fmla="*/ 44 w 156" name="T88"/>
                <a:gd fmla="*/ 10 h 146" name="T89"/>
                <a:gd fmla="*/ 46 w 156" name="T90"/>
                <a:gd fmla="*/ 12 h 146" name="T91"/>
                <a:gd fmla="*/ 48 w 156" name="T92"/>
                <a:gd fmla="*/ 10 h 146" name="T93"/>
                <a:gd fmla="*/ 48 w 156" name="T94"/>
                <a:gd fmla="*/ 8 h 146" name="T95"/>
                <a:gd fmla="*/ 46 w 156" name="T96"/>
                <a:gd fmla="*/ 4 h 146" name="T97"/>
                <a:gd fmla="*/ 48 w 156" name="T98"/>
                <a:gd fmla="*/ 4 h 146" name="T99"/>
                <a:gd fmla="*/ 50 w 156" name="T100"/>
                <a:gd fmla="*/ 2 h 146" name="T101"/>
                <a:gd fmla="*/ 54 w 156" name="T102"/>
                <a:gd fmla="*/ 0 h 146" name="T103"/>
                <a:gd fmla="*/ 58 w 156" name="T104"/>
                <a:gd fmla="*/ 0 h 146" name="T105"/>
                <a:gd fmla="*/ 62 w 156" name="T106"/>
                <a:gd fmla="*/ 0 h 146" name="T107"/>
                <a:gd fmla="*/ 66 w 156" name="T108"/>
                <a:gd fmla="*/ 0 h 146" name="T109"/>
                <a:gd fmla="*/ 72 w 156" name="T110"/>
                <a:gd fmla="*/ 0 h 146" name="T111"/>
                <a:gd fmla="*/ 74 w 156" name="T112"/>
                <a:gd fmla="*/ 4 h 146" name="T113"/>
                <a:gd fmla="*/ 80 w 156" name="T114"/>
                <a:gd fmla="*/ 8 h 146" name="T115"/>
                <a:gd fmla="*/ 88 w 156" name="T116"/>
                <a:gd fmla="*/ 12 h 146" name="T117"/>
                <a:gd fmla="*/ 94 w 156" name="T118"/>
                <a:gd fmla="*/ 14 h 146" name="T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b="b" l="0" r="r" t="0"/>
              <a:pathLst>
                <a:path h="146" w="156">
                  <a:moveTo>
                    <a:pt x="94" y="14"/>
                  </a:moveTo>
                  <a:lnTo>
                    <a:pt x="94" y="14"/>
                  </a:lnTo>
                  <a:lnTo>
                    <a:pt x="92" y="16"/>
                  </a:lnTo>
                  <a:lnTo>
                    <a:pt x="92" y="16"/>
                  </a:lnTo>
                  <a:lnTo>
                    <a:pt x="92" y="16"/>
                  </a:lnTo>
                  <a:lnTo>
                    <a:pt x="92" y="16"/>
                  </a:lnTo>
                  <a:lnTo>
                    <a:pt x="94" y="18"/>
                  </a:lnTo>
                  <a:lnTo>
                    <a:pt x="94" y="18"/>
                  </a:lnTo>
                  <a:lnTo>
                    <a:pt x="94" y="20"/>
                  </a:lnTo>
                  <a:lnTo>
                    <a:pt x="94" y="20"/>
                  </a:lnTo>
                  <a:lnTo>
                    <a:pt x="84" y="24"/>
                  </a:lnTo>
                  <a:lnTo>
                    <a:pt x="76" y="28"/>
                  </a:lnTo>
                  <a:lnTo>
                    <a:pt x="76" y="28"/>
                  </a:lnTo>
                  <a:lnTo>
                    <a:pt x="78" y="32"/>
                  </a:lnTo>
                  <a:lnTo>
                    <a:pt x="82" y="34"/>
                  </a:lnTo>
                  <a:lnTo>
                    <a:pt x="84" y="38"/>
                  </a:lnTo>
                  <a:lnTo>
                    <a:pt x="88" y="42"/>
                  </a:lnTo>
                  <a:lnTo>
                    <a:pt x="94" y="46"/>
                  </a:lnTo>
                  <a:lnTo>
                    <a:pt x="98" y="50"/>
                  </a:lnTo>
                  <a:lnTo>
                    <a:pt x="104" y="52"/>
                  </a:lnTo>
                  <a:lnTo>
                    <a:pt x="104" y="52"/>
                  </a:lnTo>
                  <a:lnTo>
                    <a:pt x="102" y="56"/>
                  </a:lnTo>
                  <a:lnTo>
                    <a:pt x="104" y="58"/>
                  </a:lnTo>
                  <a:lnTo>
                    <a:pt x="104" y="62"/>
                  </a:lnTo>
                  <a:lnTo>
                    <a:pt x="108" y="64"/>
                  </a:lnTo>
                  <a:lnTo>
                    <a:pt x="138" y="90"/>
                  </a:lnTo>
                  <a:lnTo>
                    <a:pt x="148" y="102"/>
                  </a:lnTo>
                  <a:lnTo>
                    <a:pt x="156" y="120"/>
                  </a:lnTo>
                  <a:lnTo>
                    <a:pt x="152" y="126"/>
                  </a:lnTo>
                  <a:lnTo>
                    <a:pt x="144" y="118"/>
                  </a:lnTo>
                  <a:lnTo>
                    <a:pt x="138" y="118"/>
                  </a:lnTo>
                  <a:lnTo>
                    <a:pt x="134" y="122"/>
                  </a:lnTo>
                  <a:lnTo>
                    <a:pt x="138" y="132"/>
                  </a:lnTo>
                  <a:lnTo>
                    <a:pt x="130" y="134"/>
                  </a:lnTo>
                  <a:lnTo>
                    <a:pt x="130" y="142"/>
                  </a:lnTo>
                  <a:lnTo>
                    <a:pt x="124" y="146"/>
                  </a:lnTo>
                  <a:lnTo>
                    <a:pt x="118" y="142"/>
                  </a:lnTo>
                  <a:lnTo>
                    <a:pt x="120" y="134"/>
                  </a:lnTo>
                  <a:lnTo>
                    <a:pt x="120" y="134"/>
                  </a:lnTo>
                  <a:lnTo>
                    <a:pt x="118" y="132"/>
                  </a:lnTo>
                  <a:lnTo>
                    <a:pt x="118" y="132"/>
                  </a:lnTo>
                  <a:lnTo>
                    <a:pt x="116" y="130"/>
                  </a:lnTo>
                  <a:lnTo>
                    <a:pt x="116" y="128"/>
                  </a:lnTo>
                  <a:lnTo>
                    <a:pt x="118" y="128"/>
                  </a:lnTo>
                  <a:lnTo>
                    <a:pt x="122" y="128"/>
                  </a:lnTo>
                  <a:lnTo>
                    <a:pt x="122" y="112"/>
                  </a:lnTo>
                  <a:lnTo>
                    <a:pt x="114" y="110"/>
                  </a:lnTo>
                  <a:lnTo>
                    <a:pt x="110" y="106"/>
                  </a:lnTo>
                  <a:lnTo>
                    <a:pt x="88" y="92"/>
                  </a:lnTo>
                  <a:lnTo>
                    <a:pt x="80" y="84"/>
                  </a:lnTo>
                  <a:lnTo>
                    <a:pt x="74" y="74"/>
                  </a:lnTo>
                  <a:lnTo>
                    <a:pt x="50" y="54"/>
                  </a:lnTo>
                  <a:lnTo>
                    <a:pt x="50" y="52"/>
                  </a:lnTo>
                  <a:lnTo>
                    <a:pt x="50" y="50"/>
                  </a:lnTo>
                  <a:lnTo>
                    <a:pt x="50" y="48"/>
                  </a:lnTo>
                  <a:lnTo>
                    <a:pt x="48" y="44"/>
                  </a:lnTo>
                  <a:lnTo>
                    <a:pt x="46" y="42"/>
                  </a:lnTo>
                  <a:lnTo>
                    <a:pt x="44" y="40"/>
                  </a:lnTo>
                  <a:lnTo>
                    <a:pt x="38" y="38"/>
                  </a:lnTo>
                  <a:lnTo>
                    <a:pt x="18" y="48"/>
                  </a:lnTo>
                  <a:lnTo>
                    <a:pt x="12" y="48"/>
                  </a:lnTo>
                  <a:lnTo>
                    <a:pt x="12" y="48"/>
                  </a:lnTo>
                  <a:lnTo>
                    <a:pt x="12" y="42"/>
                  </a:lnTo>
                  <a:lnTo>
                    <a:pt x="4" y="34"/>
                  </a:lnTo>
                  <a:lnTo>
                    <a:pt x="4" y="34"/>
                  </a:lnTo>
                  <a:lnTo>
                    <a:pt x="2" y="32"/>
                  </a:lnTo>
                  <a:lnTo>
                    <a:pt x="0" y="28"/>
                  </a:lnTo>
                  <a:lnTo>
                    <a:pt x="0" y="22"/>
                  </a:lnTo>
                  <a:lnTo>
                    <a:pt x="10" y="22"/>
                  </a:lnTo>
                  <a:lnTo>
                    <a:pt x="12" y="22"/>
                  </a:lnTo>
                  <a:lnTo>
                    <a:pt x="14" y="24"/>
                  </a:lnTo>
                  <a:lnTo>
                    <a:pt x="16" y="24"/>
                  </a:lnTo>
                  <a:lnTo>
                    <a:pt x="28" y="16"/>
                  </a:lnTo>
                  <a:lnTo>
                    <a:pt x="24" y="12"/>
                  </a:lnTo>
                  <a:lnTo>
                    <a:pt x="30" y="10"/>
                  </a:lnTo>
                  <a:lnTo>
                    <a:pt x="30" y="10"/>
                  </a:lnTo>
                  <a:lnTo>
                    <a:pt x="30" y="12"/>
                  </a:lnTo>
                  <a:lnTo>
                    <a:pt x="30" y="14"/>
                  </a:lnTo>
                  <a:lnTo>
                    <a:pt x="30" y="14"/>
                  </a:lnTo>
                  <a:lnTo>
                    <a:pt x="32" y="16"/>
                  </a:lnTo>
                  <a:lnTo>
                    <a:pt x="34" y="14"/>
                  </a:lnTo>
                  <a:lnTo>
                    <a:pt x="36" y="14"/>
                  </a:lnTo>
                  <a:lnTo>
                    <a:pt x="40" y="12"/>
                  </a:lnTo>
                  <a:lnTo>
                    <a:pt x="40" y="12"/>
                  </a:lnTo>
                  <a:lnTo>
                    <a:pt x="40" y="10"/>
                  </a:lnTo>
                  <a:lnTo>
                    <a:pt x="42" y="10"/>
                  </a:lnTo>
                  <a:lnTo>
                    <a:pt x="46" y="6"/>
                  </a:lnTo>
                  <a:lnTo>
                    <a:pt x="44" y="8"/>
                  </a:lnTo>
                  <a:lnTo>
                    <a:pt x="44" y="8"/>
                  </a:lnTo>
                  <a:lnTo>
                    <a:pt x="44" y="10"/>
                  </a:lnTo>
                  <a:lnTo>
                    <a:pt x="46" y="12"/>
                  </a:lnTo>
                  <a:lnTo>
                    <a:pt x="46" y="12"/>
                  </a:lnTo>
                  <a:lnTo>
                    <a:pt x="48" y="12"/>
                  </a:lnTo>
                  <a:lnTo>
                    <a:pt x="48" y="10"/>
                  </a:lnTo>
                  <a:lnTo>
                    <a:pt x="48" y="8"/>
                  </a:lnTo>
                  <a:lnTo>
                    <a:pt x="48" y="8"/>
                  </a:lnTo>
                  <a:lnTo>
                    <a:pt x="48" y="6"/>
                  </a:lnTo>
                  <a:lnTo>
                    <a:pt x="46" y="4"/>
                  </a:lnTo>
                  <a:lnTo>
                    <a:pt x="46" y="4"/>
                  </a:lnTo>
                  <a:lnTo>
                    <a:pt x="48" y="4"/>
                  </a:lnTo>
                  <a:lnTo>
                    <a:pt x="50" y="4"/>
                  </a:lnTo>
                  <a:lnTo>
                    <a:pt x="50" y="2"/>
                  </a:lnTo>
                  <a:lnTo>
                    <a:pt x="52" y="2"/>
                  </a:lnTo>
                  <a:lnTo>
                    <a:pt x="54" y="0"/>
                  </a:lnTo>
                  <a:lnTo>
                    <a:pt x="54" y="0"/>
                  </a:lnTo>
                  <a:lnTo>
                    <a:pt x="58" y="0"/>
                  </a:lnTo>
                  <a:lnTo>
                    <a:pt x="62" y="0"/>
                  </a:lnTo>
                  <a:lnTo>
                    <a:pt x="62" y="0"/>
                  </a:lnTo>
                  <a:lnTo>
                    <a:pt x="64" y="0"/>
                  </a:lnTo>
                  <a:lnTo>
                    <a:pt x="66" y="0"/>
                  </a:lnTo>
                  <a:lnTo>
                    <a:pt x="70" y="0"/>
                  </a:lnTo>
                  <a:lnTo>
                    <a:pt x="72" y="0"/>
                  </a:lnTo>
                  <a:lnTo>
                    <a:pt x="74" y="4"/>
                  </a:lnTo>
                  <a:lnTo>
                    <a:pt x="74" y="4"/>
                  </a:lnTo>
                  <a:lnTo>
                    <a:pt x="76" y="6"/>
                  </a:lnTo>
                  <a:lnTo>
                    <a:pt x="80" y="8"/>
                  </a:lnTo>
                  <a:lnTo>
                    <a:pt x="84" y="10"/>
                  </a:lnTo>
                  <a:lnTo>
                    <a:pt x="88" y="12"/>
                  </a:lnTo>
                  <a:lnTo>
                    <a:pt x="92" y="12"/>
                  </a:lnTo>
                  <a:lnTo>
                    <a:pt x="94" y="1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49" name="Freeform 406"/>
            <p:cNvSpPr/>
            <p:nvPr/>
          </p:nvSpPr>
          <p:spPr bwMode="gray">
            <a:xfrm>
              <a:off x="1086948" y="3706898"/>
              <a:ext cx="77759" cy="44404"/>
            </a:xfrm>
            <a:custGeom>
              <a:gdLst>
                <a:gd fmla="*/ 6 w 42" name="T0"/>
                <a:gd fmla="*/ 4 h 24" name="T1"/>
                <a:gd fmla="*/ 0 w 42" name="T2"/>
                <a:gd fmla="*/ 6 h 24" name="T3"/>
                <a:gd fmla="*/ 0 w 42" name="T4"/>
                <a:gd fmla="*/ 6 h 24" name="T5"/>
                <a:gd fmla="*/ 0 w 42" name="T6"/>
                <a:gd fmla="*/ 6 h 24" name="T7"/>
                <a:gd fmla="*/ 0 w 42" name="T8"/>
                <a:gd fmla="*/ 8 h 24" name="T9"/>
                <a:gd fmla="*/ 2 w 42" name="T10"/>
                <a:gd fmla="*/ 10 h 24" name="T11"/>
                <a:gd fmla="*/ 22 w 42" name="T12"/>
                <a:gd fmla="*/ 16 h 24" name="T13"/>
                <a:gd fmla="*/ 22 w 42" name="T14"/>
                <a:gd fmla="*/ 16 h 24" name="T15"/>
                <a:gd fmla="*/ 24 w 42" name="T16"/>
                <a:gd fmla="*/ 20 h 24" name="T17"/>
                <a:gd fmla="*/ 26 w 42" name="T18"/>
                <a:gd fmla="*/ 22 h 24" name="T19"/>
                <a:gd fmla="*/ 28 w 42" name="T20"/>
                <a:gd fmla="*/ 24 h 24" name="T21"/>
                <a:gd fmla="*/ 30 w 42" name="T22"/>
                <a:gd fmla="*/ 22 h 24" name="T23"/>
                <a:gd fmla="*/ 34 w 42" name="T24"/>
                <a:gd fmla="*/ 20 h 24" name="T25"/>
                <a:gd fmla="*/ 38 w 42" name="T26"/>
                <a:gd fmla="*/ 18 h 24" name="T27"/>
                <a:gd fmla="*/ 38 w 42" name="T28"/>
                <a:gd fmla="*/ 18 h 24" name="T29"/>
                <a:gd fmla="*/ 38 w 42" name="T30"/>
                <a:gd fmla="*/ 16 h 24" name="T31"/>
                <a:gd fmla="*/ 38 w 42" name="T32"/>
                <a:gd fmla="*/ 14 h 24" name="T33"/>
                <a:gd fmla="*/ 38 w 42" name="T34"/>
                <a:gd fmla="*/ 12 h 24" name="T35"/>
                <a:gd fmla="*/ 36 w 42" name="T36"/>
                <a:gd fmla="*/ 12 h 24" name="T37"/>
                <a:gd fmla="*/ 40 w 42" name="T38"/>
                <a:gd fmla="*/ 4 h 24" name="T39"/>
                <a:gd fmla="*/ 40 w 42" name="T40"/>
                <a:gd fmla="*/ 4 h 24" name="T41"/>
                <a:gd fmla="*/ 42 w 42" name="T42"/>
                <a:gd fmla="*/ 2 h 24" name="T43"/>
                <a:gd fmla="*/ 42 w 42" name="T44"/>
                <a:gd fmla="*/ 2 h 24" name="T45"/>
                <a:gd fmla="*/ 40 w 42" name="T46"/>
                <a:gd fmla="*/ 0 h 24" name="T47"/>
                <a:gd fmla="*/ 38 w 42" name="T48"/>
                <a:gd fmla="*/ 0 h 24" name="T49"/>
                <a:gd fmla="*/ 36 w 42" name="T50"/>
                <a:gd fmla="*/ 0 h 24" name="T51"/>
                <a:gd fmla="*/ 34 w 42" name="T52"/>
                <a:gd fmla="*/ 2 h 24" name="T53"/>
                <a:gd fmla="*/ 32 w 42" name="T54"/>
                <a:gd fmla="*/ 2 h 24" name="T55"/>
                <a:gd fmla="*/ 28 w 42" name="T56"/>
                <a:gd fmla="*/ 4 h 24" name="T57"/>
                <a:gd fmla="*/ 26 w 42" name="T58"/>
                <a:gd fmla="*/ 4 h 24" name="T59"/>
                <a:gd fmla="*/ 22 w 42" name="T60"/>
                <a:gd fmla="*/ 4 h 24" name="T61"/>
                <a:gd fmla="*/ 18 w 42" name="T62"/>
                <a:gd fmla="*/ 4 h 24" name="T63"/>
                <a:gd fmla="*/ 12 w 42" name="T64"/>
                <a:gd fmla="*/ 4 h 24" name="T65"/>
                <a:gd fmla="*/ 8 w 42" name="T66"/>
                <a:gd fmla="*/ 4 h 24" name="T67"/>
                <a:gd fmla="*/ 6 w 42" name="T68"/>
                <a:gd fmla="*/ 4 h 24"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24" w="42">
                  <a:moveTo>
                    <a:pt x="6" y="4"/>
                  </a:moveTo>
                  <a:lnTo>
                    <a:pt x="0" y="6"/>
                  </a:lnTo>
                  <a:lnTo>
                    <a:pt x="0" y="6"/>
                  </a:lnTo>
                  <a:lnTo>
                    <a:pt x="0" y="6"/>
                  </a:lnTo>
                  <a:lnTo>
                    <a:pt x="0" y="8"/>
                  </a:lnTo>
                  <a:lnTo>
                    <a:pt x="2" y="10"/>
                  </a:lnTo>
                  <a:lnTo>
                    <a:pt x="22" y="16"/>
                  </a:lnTo>
                  <a:lnTo>
                    <a:pt x="22" y="16"/>
                  </a:lnTo>
                  <a:lnTo>
                    <a:pt x="24" y="20"/>
                  </a:lnTo>
                  <a:lnTo>
                    <a:pt x="26" y="22"/>
                  </a:lnTo>
                  <a:lnTo>
                    <a:pt x="28" y="24"/>
                  </a:lnTo>
                  <a:lnTo>
                    <a:pt x="30" y="22"/>
                  </a:lnTo>
                  <a:lnTo>
                    <a:pt x="34" y="20"/>
                  </a:lnTo>
                  <a:lnTo>
                    <a:pt x="38" y="18"/>
                  </a:lnTo>
                  <a:lnTo>
                    <a:pt x="38" y="18"/>
                  </a:lnTo>
                  <a:lnTo>
                    <a:pt x="38" y="16"/>
                  </a:lnTo>
                  <a:lnTo>
                    <a:pt x="38" y="14"/>
                  </a:lnTo>
                  <a:lnTo>
                    <a:pt x="38" y="12"/>
                  </a:lnTo>
                  <a:lnTo>
                    <a:pt x="36" y="12"/>
                  </a:lnTo>
                  <a:lnTo>
                    <a:pt x="40" y="4"/>
                  </a:lnTo>
                  <a:lnTo>
                    <a:pt x="40" y="4"/>
                  </a:lnTo>
                  <a:lnTo>
                    <a:pt x="42" y="2"/>
                  </a:lnTo>
                  <a:lnTo>
                    <a:pt x="42" y="2"/>
                  </a:lnTo>
                  <a:lnTo>
                    <a:pt x="40" y="0"/>
                  </a:lnTo>
                  <a:lnTo>
                    <a:pt x="38" y="0"/>
                  </a:lnTo>
                  <a:lnTo>
                    <a:pt x="36" y="0"/>
                  </a:lnTo>
                  <a:lnTo>
                    <a:pt x="34" y="2"/>
                  </a:lnTo>
                  <a:lnTo>
                    <a:pt x="32" y="2"/>
                  </a:lnTo>
                  <a:lnTo>
                    <a:pt x="28" y="4"/>
                  </a:lnTo>
                  <a:lnTo>
                    <a:pt x="26" y="4"/>
                  </a:lnTo>
                  <a:lnTo>
                    <a:pt x="22" y="4"/>
                  </a:lnTo>
                  <a:lnTo>
                    <a:pt x="18" y="4"/>
                  </a:lnTo>
                  <a:lnTo>
                    <a:pt x="12" y="4"/>
                  </a:lnTo>
                  <a:lnTo>
                    <a:pt x="8" y="4"/>
                  </a:lnTo>
                  <a:lnTo>
                    <a:pt x="6" y="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0" name="Freeform 407"/>
            <p:cNvSpPr/>
            <p:nvPr/>
          </p:nvSpPr>
          <p:spPr bwMode="gray">
            <a:xfrm>
              <a:off x="994378" y="3610691"/>
              <a:ext cx="37028" cy="77706"/>
            </a:xfrm>
            <a:custGeom>
              <a:gdLst>
                <a:gd fmla="*/ 14 w 20" name="T0"/>
                <a:gd fmla="*/ 0 h 42" name="T1"/>
                <a:gd fmla="*/ 14 w 20" name="T2"/>
                <a:gd fmla="*/ 2 h 42" name="T3"/>
                <a:gd fmla="*/ 12 w 20" name="T4"/>
                <a:gd fmla="*/ 2 h 42" name="T5"/>
                <a:gd fmla="*/ 10 w 20" name="T6"/>
                <a:gd fmla="*/ 4 h 42" name="T7"/>
                <a:gd fmla="*/ 8 w 20" name="T8"/>
                <a:gd fmla="*/ 6 h 42" name="T9"/>
                <a:gd fmla="*/ 4 w 20" name="T10"/>
                <a:gd fmla="*/ 6 h 42" name="T11"/>
                <a:gd fmla="*/ 2 w 20" name="T12"/>
                <a:gd fmla="*/ 6 h 42" name="T13"/>
                <a:gd fmla="*/ 2 w 20" name="T14"/>
                <a:gd fmla="*/ 4 h 42" name="T15"/>
                <a:gd fmla="*/ 0 w 20" name="T16"/>
                <a:gd fmla="*/ 4 h 42" name="T17"/>
                <a:gd fmla="*/ 0 w 20" name="T18"/>
                <a:gd fmla="*/ 4 h 42" name="T19"/>
                <a:gd fmla="*/ 2 w 20" name="T20"/>
                <a:gd fmla="*/ 8 h 42" name="T21"/>
                <a:gd fmla="*/ 2 w 20" name="T22"/>
                <a:gd fmla="*/ 12 h 42" name="T23"/>
                <a:gd fmla="*/ 2 w 20" name="T24"/>
                <a:gd fmla="*/ 16 h 42" name="T25"/>
                <a:gd fmla="*/ 0 w 20" name="T26"/>
                <a:gd fmla="*/ 20 h 42" name="T27"/>
                <a:gd fmla="*/ 0 w 20" name="T28"/>
                <a:gd fmla="*/ 38 h 42" name="T29"/>
                <a:gd fmla="*/ 0 w 20" name="T30"/>
                <a:gd fmla="*/ 38 h 42" name="T31"/>
                <a:gd fmla="*/ 4 w 20" name="T32"/>
                <a:gd fmla="*/ 40 h 42" name="T33"/>
                <a:gd fmla="*/ 8 w 20" name="T34"/>
                <a:gd fmla="*/ 40 h 42" name="T35"/>
                <a:gd fmla="*/ 12 w 20" name="T36"/>
                <a:gd fmla="*/ 42 h 42" name="T37"/>
                <a:gd fmla="*/ 12 w 20" name="T38"/>
                <a:gd fmla="*/ 38 h 42" name="T39"/>
                <a:gd fmla="*/ 12 w 20" name="T40"/>
                <a:gd fmla="*/ 36 h 42" name="T41"/>
                <a:gd fmla="*/ 14 w 20" name="T42"/>
                <a:gd fmla="*/ 36 h 42" name="T43"/>
                <a:gd fmla="*/ 16 w 20" name="T44"/>
                <a:gd fmla="*/ 34 h 42" name="T45"/>
                <a:gd fmla="*/ 18 w 20" name="T46"/>
                <a:gd fmla="*/ 34 h 42" name="T47"/>
                <a:gd fmla="*/ 18 w 20" name="T48"/>
                <a:gd fmla="*/ 20 h 42" name="T49"/>
                <a:gd fmla="*/ 18 w 20" name="T50"/>
                <a:gd fmla="*/ 18 h 42" name="T51"/>
                <a:gd fmla="*/ 20 w 20" name="T52"/>
                <a:gd fmla="*/ 16 h 42" name="T53"/>
                <a:gd fmla="*/ 20 w 20" name="T54"/>
                <a:gd fmla="*/ 16 h 42" name="T55"/>
                <a:gd fmla="*/ 20 w 20" name="T56"/>
                <a:gd fmla="*/ 14 h 42" name="T57"/>
                <a:gd fmla="*/ 20 w 20" name="T58"/>
                <a:gd fmla="*/ 10 h 42" name="T59"/>
                <a:gd fmla="*/ 20 w 20" name="T60"/>
                <a:gd fmla="*/ 6 h 42" name="T61"/>
                <a:gd fmla="*/ 18 w 20" name="T62"/>
                <a:gd fmla="*/ 4 h 42" name="T63"/>
                <a:gd fmla="*/ 14 w 20" name="T64"/>
                <a:gd fmla="*/ 0 h 42" name="T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b="b" l="0" r="r" t="0"/>
              <a:pathLst>
                <a:path h="42" w="20">
                  <a:moveTo>
                    <a:pt x="14" y="0"/>
                  </a:moveTo>
                  <a:lnTo>
                    <a:pt x="14" y="2"/>
                  </a:lnTo>
                  <a:lnTo>
                    <a:pt x="12" y="2"/>
                  </a:lnTo>
                  <a:lnTo>
                    <a:pt x="10" y="4"/>
                  </a:lnTo>
                  <a:lnTo>
                    <a:pt x="8" y="6"/>
                  </a:lnTo>
                  <a:lnTo>
                    <a:pt x="4" y="6"/>
                  </a:lnTo>
                  <a:lnTo>
                    <a:pt x="2" y="6"/>
                  </a:lnTo>
                  <a:lnTo>
                    <a:pt x="2" y="4"/>
                  </a:lnTo>
                  <a:lnTo>
                    <a:pt x="0" y="4"/>
                  </a:lnTo>
                  <a:lnTo>
                    <a:pt x="0" y="4"/>
                  </a:lnTo>
                  <a:lnTo>
                    <a:pt x="2" y="8"/>
                  </a:lnTo>
                  <a:lnTo>
                    <a:pt x="2" y="12"/>
                  </a:lnTo>
                  <a:lnTo>
                    <a:pt x="2" y="16"/>
                  </a:lnTo>
                  <a:lnTo>
                    <a:pt x="0" y="20"/>
                  </a:lnTo>
                  <a:lnTo>
                    <a:pt x="0" y="38"/>
                  </a:lnTo>
                  <a:lnTo>
                    <a:pt x="0" y="38"/>
                  </a:lnTo>
                  <a:lnTo>
                    <a:pt x="4" y="40"/>
                  </a:lnTo>
                  <a:lnTo>
                    <a:pt x="8" y="40"/>
                  </a:lnTo>
                  <a:lnTo>
                    <a:pt x="12" y="42"/>
                  </a:lnTo>
                  <a:lnTo>
                    <a:pt x="12" y="38"/>
                  </a:lnTo>
                  <a:lnTo>
                    <a:pt x="12" y="36"/>
                  </a:lnTo>
                  <a:lnTo>
                    <a:pt x="14" y="36"/>
                  </a:lnTo>
                  <a:lnTo>
                    <a:pt x="16" y="34"/>
                  </a:lnTo>
                  <a:lnTo>
                    <a:pt x="18" y="34"/>
                  </a:lnTo>
                  <a:lnTo>
                    <a:pt x="18" y="20"/>
                  </a:lnTo>
                  <a:lnTo>
                    <a:pt x="18" y="18"/>
                  </a:lnTo>
                  <a:lnTo>
                    <a:pt x="20" y="16"/>
                  </a:lnTo>
                  <a:lnTo>
                    <a:pt x="20" y="16"/>
                  </a:lnTo>
                  <a:lnTo>
                    <a:pt x="20" y="14"/>
                  </a:lnTo>
                  <a:lnTo>
                    <a:pt x="20" y="10"/>
                  </a:lnTo>
                  <a:lnTo>
                    <a:pt x="20" y="6"/>
                  </a:lnTo>
                  <a:lnTo>
                    <a:pt x="18" y="4"/>
                  </a:lnTo>
                  <a:lnTo>
                    <a:pt x="14"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1" name="Freeform 408"/>
            <p:cNvSpPr/>
            <p:nvPr/>
          </p:nvSpPr>
          <p:spPr bwMode="gray">
            <a:xfrm>
              <a:off x="1001784" y="3551486"/>
              <a:ext cx="33325" cy="51804"/>
            </a:xfrm>
            <a:custGeom>
              <a:gdLst>
                <a:gd fmla="*/ 8 w 18" name="T0"/>
                <a:gd fmla="*/ 4 h 28" name="T1"/>
                <a:gd fmla="*/ 6 w 18" name="T2"/>
                <a:gd fmla="*/ 4 h 28" name="T3"/>
                <a:gd fmla="*/ 6 w 18" name="T4"/>
                <a:gd fmla="*/ 4 h 28" name="T5"/>
                <a:gd fmla="*/ 4 w 18" name="T6"/>
                <a:gd fmla="*/ 4 h 28" name="T7"/>
                <a:gd fmla="*/ 2 w 18" name="T8"/>
                <a:gd fmla="*/ 6 h 28" name="T9"/>
                <a:gd fmla="*/ 0 w 18" name="T10"/>
                <a:gd fmla="*/ 8 h 28" name="T11"/>
                <a:gd fmla="*/ 2 w 18" name="T12"/>
                <a:gd fmla="*/ 10 h 28" name="T13"/>
                <a:gd fmla="*/ 2 w 18" name="T14"/>
                <a:gd fmla="*/ 12 h 28" name="T15"/>
                <a:gd fmla="*/ 2 w 18" name="T16"/>
                <a:gd fmla="*/ 16 h 28" name="T17"/>
                <a:gd fmla="*/ 4 w 18" name="T18"/>
                <a:gd fmla="*/ 20 h 28" name="T19"/>
                <a:gd fmla="*/ 6 w 18" name="T20"/>
                <a:gd fmla="*/ 22 h 28" name="T21"/>
                <a:gd fmla="*/ 12 w 18" name="T22"/>
                <a:gd fmla="*/ 28 h 28" name="T23"/>
                <a:gd fmla="*/ 12 w 18" name="T24"/>
                <a:gd fmla="*/ 28 h 28" name="T25"/>
                <a:gd fmla="*/ 14 w 18" name="T26"/>
                <a:gd fmla="*/ 24 h 28" name="T27"/>
                <a:gd fmla="*/ 14 w 18" name="T28"/>
                <a:gd fmla="*/ 22 h 28" name="T29"/>
                <a:gd fmla="*/ 16 w 18" name="T30"/>
                <a:gd fmla="*/ 18 h 28" name="T31"/>
                <a:gd fmla="*/ 18 w 18" name="T32"/>
                <a:gd fmla="*/ 18 h 28" name="T33"/>
                <a:gd fmla="*/ 18 w 18" name="T34"/>
                <a:gd fmla="*/ 16 h 28" name="T35"/>
                <a:gd fmla="*/ 18 w 18" name="T36"/>
                <a:gd fmla="*/ 14 h 28" name="T37"/>
                <a:gd fmla="*/ 16 w 18" name="T38"/>
                <a:gd fmla="*/ 10 h 28" name="T39"/>
                <a:gd fmla="*/ 16 w 18" name="T40"/>
                <a:gd fmla="*/ 6 h 28" name="T41"/>
                <a:gd fmla="*/ 14 w 18" name="T42"/>
                <a:gd fmla="*/ 4 h 28" name="T43"/>
                <a:gd fmla="*/ 10 w 18" name="T44"/>
                <a:gd fmla="*/ 0 h 28" name="T45"/>
                <a:gd fmla="*/ 8 w 18" name="T46"/>
                <a:gd fmla="*/ 4 h 28" name="T4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b="b" l="0" r="r" t="0"/>
              <a:pathLst>
                <a:path h="28" w="18">
                  <a:moveTo>
                    <a:pt x="8" y="4"/>
                  </a:moveTo>
                  <a:lnTo>
                    <a:pt x="6" y="4"/>
                  </a:lnTo>
                  <a:lnTo>
                    <a:pt x="6" y="4"/>
                  </a:lnTo>
                  <a:lnTo>
                    <a:pt x="4" y="4"/>
                  </a:lnTo>
                  <a:lnTo>
                    <a:pt x="2" y="6"/>
                  </a:lnTo>
                  <a:lnTo>
                    <a:pt x="0" y="8"/>
                  </a:lnTo>
                  <a:lnTo>
                    <a:pt x="2" y="10"/>
                  </a:lnTo>
                  <a:lnTo>
                    <a:pt x="2" y="12"/>
                  </a:lnTo>
                  <a:lnTo>
                    <a:pt x="2" y="16"/>
                  </a:lnTo>
                  <a:lnTo>
                    <a:pt x="4" y="20"/>
                  </a:lnTo>
                  <a:lnTo>
                    <a:pt x="6" y="22"/>
                  </a:lnTo>
                  <a:lnTo>
                    <a:pt x="12" y="28"/>
                  </a:lnTo>
                  <a:lnTo>
                    <a:pt x="12" y="28"/>
                  </a:lnTo>
                  <a:lnTo>
                    <a:pt x="14" y="24"/>
                  </a:lnTo>
                  <a:lnTo>
                    <a:pt x="14" y="22"/>
                  </a:lnTo>
                  <a:lnTo>
                    <a:pt x="16" y="18"/>
                  </a:lnTo>
                  <a:lnTo>
                    <a:pt x="18" y="18"/>
                  </a:lnTo>
                  <a:lnTo>
                    <a:pt x="18" y="16"/>
                  </a:lnTo>
                  <a:lnTo>
                    <a:pt x="18" y="14"/>
                  </a:lnTo>
                  <a:lnTo>
                    <a:pt x="16" y="10"/>
                  </a:lnTo>
                  <a:lnTo>
                    <a:pt x="16" y="6"/>
                  </a:lnTo>
                  <a:lnTo>
                    <a:pt x="14" y="4"/>
                  </a:lnTo>
                  <a:lnTo>
                    <a:pt x="10" y="0"/>
                  </a:lnTo>
                  <a:lnTo>
                    <a:pt x="8" y="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2" name="Freeform 409"/>
            <p:cNvSpPr/>
            <p:nvPr/>
          </p:nvSpPr>
          <p:spPr bwMode="gray">
            <a:xfrm>
              <a:off x="1020298" y="3351670"/>
              <a:ext cx="188842" cy="111009"/>
            </a:xfrm>
            <a:custGeom>
              <a:gdLst>
                <a:gd fmla="*/ 34 w 102" name="T0"/>
                <a:gd fmla="*/ 58 h 60" name="T1"/>
                <a:gd fmla="*/ 32 w 102" name="T2"/>
                <a:gd fmla="*/ 56 h 60" name="T3"/>
                <a:gd fmla="*/ 28 w 102" name="T4"/>
                <a:gd fmla="*/ 56 h 60" name="T5"/>
                <a:gd fmla="*/ 20 w 102" name="T6"/>
                <a:gd fmla="*/ 56 h 60" name="T7"/>
                <a:gd fmla="*/ 16 w 102" name="T8"/>
                <a:gd fmla="*/ 56 h 60" name="T9"/>
                <a:gd fmla="*/ 12 w 102" name="T10"/>
                <a:gd fmla="*/ 58 h 60" name="T11"/>
                <a:gd fmla="*/ 10 w 102" name="T12"/>
                <a:gd fmla="*/ 60 h 60" name="T13"/>
                <a:gd fmla="*/ 10 w 102" name="T14"/>
                <a:gd fmla="*/ 56 h 60" name="T15"/>
                <a:gd fmla="*/ 8 w 102" name="T16"/>
                <a:gd fmla="*/ 56 h 60" name="T17"/>
                <a:gd fmla="*/ 8 w 102" name="T18"/>
                <a:gd fmla="*/ 52 h 60" name="T19"/>
                <a:gd fmla="*/ 8 w 102" name="T20"/>
                <a:gd fmla="*/ 38 h 60" name="T21"/>
                <a:gd fmla="*/ 28 w 102" name="T22"/>
                <a:gd fmla="*/ 34 h 60" name="T23"/>
                <a:gd fmla="*/ 28 w 102" name="T24"/>
                <a:gd fmla="*/ 26 h 60" name="T25"/>
                <a:gd fmla="*/ 38 w 102" name="T26"/>
                <a:gd fmla="*/ 12 h 60" name="T27"/>
                <a:gd fmla="*/ 50 w 102" name="T28"/>
                <a:gd fmla="*/ 4 h 60" name="T29"/>
                <a:gd fmla="*/ 52 w 102" name="T30"/>
                <a:gd fmla="*/ 0 h 60" name="T31"/>
                <a:gd fmla="*/ 54 w 102" name="T32"/>
                <a:gd fmla="*/ 0 h 60" name="T33"/>
                <a:gd fmla="*/ 58 w 102" name="T34"/>
                <a:gd fmla="*/ 4 h 60" name="T35"/>
                <a:gd fmla="*/ 60 w 102" name="T36"/>
                <a:gd fmla="*/ 4 h 60" name="T37"/>
                <a:gd fmla="*/ 68 w 102" name="T38"/>
                <a:gd fmla="*/ 4 h 60" name="T39"/>
                <a:gd fmla="*/ 72 w 102" name="T40"/>
                <a:gd fmla="*/ 0 h 60" name="T41"/>
                <a:gd fmla="*/ 80 w 102" name="T42"/>
                <a:gd fmla="*/ 2 h 60" name="T43"/>
                <a:gd fmla="*/ 80 w 102" name="T44"/>
                <a:gd fmla="*/ 4 h 60" name="T45"/>
                <a:gd fmla="*/ 86 w 102" name="T46"/>
                <a:gd fmla="*/ 8 h 60" name="T47"/>
                <a:gd fmla="*/ 92 w 102" name="T48"/>
                <a:gd fmla="*/ 8 h 60" name="T49"/>
                <a:gd fmla="*/ 96 w 102" name="T50"/>
                <a:gd fmla="*/ 8 h 60" name="T51"/>
                <a:gd fmla="*/ 102 w 102" name="T52"/>
                <a:gd fmla="*/ 18 h 60" name="T53"/>
                <a:gd fmla="*/ 98 w 102" name="T54"/>
                <a:gd fmla="*/ 20 h 60" name="T55"/>
                <a:gd fmla="*/ 96 w 102" name="T56"/>
                <a:gd fmla="*/ 28 h 60" name="T57"/>
                <a:gd fmla="*/ 96 w 102" name="T58"/>
                <a:gd fmla="*/ 34 h 60" name="T59"/>
                <a:gd fmla="*/ 92 w 102" name="T60"/>
                <a:gd fmla="*/ 38 h 60" name="T61"/>
                <a:gd fmla="*/ 92 w 102" name="T62"/>
                <a:gd fmla="*/ 44 h 60" name="T63"/>
                <a:gd fmla="*/ 44 w 102" name="T64"/>
                <a:gd fmla="*/ 56 h 60" name="T65"/>
                <a:gd fmla="*/ 36 w 102" name="T66"/>
                <a:gd fmla="*/ 60 h 60"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60" w="102">
                  <a:moveTo>
                    <a:pt x="36" y="60"/>
                  </a:moveTo>
                  <a:lnTo>
                    <a:pt x="34" y="58"/>
                  </a:lnTo>
                  <a:lnTo>
                    <a:pt x="34" y="56"/>
                  </a:lnTo>
                  <a:lnTo>
                    <a:pt x="32" y="56"/>
                  </a:lnTo>
                  <a:lnTo>
                    <a:pt x="32" y="56"/>
                  </a:lnTo>
                  <a:lnTo>
                    <a:pt x="28" y="56"/>
                  </a:lnTo>
                  <a:lnTo>
                    <a:pt x="24" y="56"/>
                  </a:lnTo>
                  <a:lnTo>
                    <a:pt x="20" y="56"/>
                  </a:lnTo>
                  <a:lnTo>
                    <a:pt x="16" y="56"/>
                  </a:lnTo>
                  <a:lnTo>
                    <a:pt x="16" y="56"/>
                  </a:lnTo>
                  <a:lnTo>
                    <a:pt x="14" y="58"/>
                  </a:lnTo>
                  <a:lnTo>
                    <a:pt x="12" y="58"/>
                  </a:lnTo>
                  <a:lnTo>
                    <a:pt x="12" y="60"/>
                  </a:lnTo>
                  <a:lnTo>
                    <a:pt x="10" y="60"/>
                  </a:lnTo>
                  <a:lnTo>
                    <a:pt x="10" y="58"/>
                  </a:lnTo>
                  <a:lnTo>
                    <a:pt x="10" y="56"/>
                  </a:lnTo>
                  <a:lnTo>
                    <a:pt x="8" y="56"/>
                  </a:lnTo>
                  <a:lnTo>
                    <a:pt x="8" y="56"/>
                  </a:lnTo>
                  <a:lnTo>
                    <a:pt x="6" y="56"/>
                  </a:lnTo>
                  <a:lnTo>
                    <a:pt x="8" y="52"/>
                  </a:lnTo>
                  <a:lnTo>
                    <a:pt x="0" y="38"/>
                  </a:lnTo>
                  <a:lnTo>
                    <a:pt x="8" y="38"/>
                  </a:lnTo>
                  <a:lnTo>
                    <a:pt x="20" y="30"/>
                  </a:lnTo>
                  <a:lnTo>
                    <a:pt x="28" y="34"/>
                  </a:lnTo>
                  <a:lnTo>
                    <a:pt x="30" y="30"/>
                  </a:lnTo>
                  <a:lnTo>
                    <a:pt x="28" y="26"/>
                  </a:lnTo>
                  <a:lnTo>
                    <a:pt x="28" y="16"/>
                  </a:lnTo>
                  <a:lnTo>
                    <a:pt x="38" y="12"/>
                  </a:lnTo>
                  <a:lnTo>
                    <a:pt x="44" y="8"/>
                  </a:lnTo>
                  <a:lnTo>
                    <a:pt x="50" y="4"/>
                  </a:lnTo>
                  <a:lnTo>
                    <a:pt x="52" y="2"/>
                  </a:lnTo>
                  <a:lnTo>
                    <a:pt x="52" y="0"/>
                  </a:lnTo>
                  <a:lnTo>
                    <a:pt x="54" y="0"/>
                  </a:lnTo>
                  <a:lnTo>
                    <a:pt x="54" y="0"/>
                  </a:lnTo>
                  <a:lnTo>
                    <a:pt x="56" y="0"/>
                  </a:lnTo>
                  <a:lnTo>
                    <a:pt x="58" y="4"/>
                  </a:lnTo>
                  <a:lnTo>
                    <a:pt x="58" y="4"/>
                  </a:lnTo>
                  <a:lnTo>
                    <a:pt x="60" y="4"/>
                  </a:lnTo>
                  <a:lnTo>
                    <a:pt x="64" y="4"/>
                  </a:lnTo>
                  <a:lnTo>
                    <a:pt x="68" y="4"/>
                  </a:lnTo>
                  <a:lnTo>
                    <a:pt x="70" y="4"/>
                  </a:lnTo>
                  <a:lnTo>
                    <a:pt x="72" y="0"/>
                  </a:lnTo>
                  <a:lnTo>
                    <a:pt x="80" y="0"/>
                  </a:lnTo>
                  <a:lnTo>
                    <a:pt x="80" y="2"/>
                  </a:lnTo>
                  <a:lnTo>
                    <a:pt x="80" y="2"/>
                  </a:lnTo>
                  <a:lnTo>
                    <a:pt x="80" y="4"/>
                  </a:lnTo>
                  <a:lnTo>
                    <a:pt x="82" y="6"/>
                  </a:lnTo>
                  <a:lnTo>
                    <a:pt x="86" y="8"/>
                  </a:lnTo>
                  <a:lnTo>
                    <a:pt x="88" y="8"/>
                  </a:lnTo>
                  <a:lnTo>
                    <a:pt x="92" y="8"/>
                  </a:lnTo>
                  <a:lnTo>
                    <a:pt x="96" y="8"/>
                  </a:lnTo>
                  <a:lnTo>
                    <a:pt x="96" y="8"/>
                  </a:lnTo>
                  <a:lnTo>
                    <a:pt x="102" y="16"/>
                  </a:lnTo>
                  <a:lnTo>
                    <a:pt x="102" y="18"/>
                  </a:lnTo>
                  <a:lnTo>
                    <a:pt x="100" y="18"/>
                  </a:lnTo>
                  <a:lnTo>
                    <a:pt x="98" y="20"/>
                  </a:lnTo>
                  <a:lnTo>
                    <a:pt x="96" y="24"/>
                  </a:lnTo>
                  <a:lnTo>
                    <a:pt x="96" y="28"/>
                  </a:lnTo>
                  <a:lnTo>
                    <a:pt x="96" y="32"/>
                  </a:lnTo>
                  <a:lnTo>
                    <a:pt x="96" y="34"/>
                  </a:lnTo>
                  <a:lnTo>
                    <a:pt x="94" y="36"/>
                  </a:lnTo>
                  <a:lnTo>
                    <a:pt x="92" y="38"/>
                  </a:lnTo>
                  <a:lnTo>
                    <a:pt x="90" y="40"/>
                  </a:lnTo>
                  <a:lnTo>
                    <a:pt x="92" y="44"/>
                  </a:lnTo>
                  <a:lnTo>
                    <a:pt x="68" y="46"/>
                  </a:lnTo>
                  <a:lnTo>
                    <a:pt x="44" y="56"/>
                  </a:lnTo>
                  <a:lnTo>
                    <a:pt x="40" y="58"/>
                  </a:lnTo>
                  <a:lnTo>
                    <a:pt x="36" y="6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3" name="Freeform 410"/>
            <p:cNvSpPr/>
            <p:nvPr/>
          </p:nvSpPr>
          <p:spPr bwMode="gray">
            <a:xfrm>
              <a:off x="938836" y="3421975"/>
              <a:ext cx="99975" cy="77706"/>
            </a:xfrm>
            <a:custGeom>
              <a:gdLst>
                <a:gd fmla="*/ 30 w 54" name="T0"/>
                <a:gd fmla="*/ 6 h 42" name="T1"/>
                <a:gd fmla="*/ 20 w 54" name="T2"/>
                <a:gd fmla="*/ 8 h 42" name="T3"/>
                <a:gd fmla="*/ 8 w 54" name="T4"/>
                <a:gd fmla="*/ 16 h 42" name="T5"/>
                <a:gd fmla="*/ 0 w 54" name="T6"/>
                <a:gd fmla="*/ 30 h 42" name="T7"/>
                <a:gd fmla="*/ 2 w 54" name="T8"/>
                <a:gd fmla="*/ 30 h 42" name="T9"/>
                <a:gd fmla="*/ 2 w 54" name="T10"/>
                <a:gd fmla="*/ 28 h 42" name="T11"/>
                <a:gd fmla="*/ 4 w 54" name="T12"/>
                <a:gd fmla="*/ 28 h 42" name="T13"/>
                <a:gd fmla="*/ 6 w 54" name="T14"/>
                <a:gd fmla="*/ 28 h 42" name="T15"/>
                <a:gd fmla="*/ 6 w 54" name="T16"/>
                <a:gd fmla="*/ 28 h 42" name="T17"/>
                <a:gd fmla="*/ 8 w 54" name="T18"/>
                <a:gd fmla="*/ 30 h 42" name="T19"/>
                <a:gd fmla="*/ 8 w 54" name="T20"/>
                <a:gd fmla="*/ 34 h 42" name="T21"/>
                <a:gd fmla="*/ 6 w 54" name="T22"/>
                <a:gd fmla="*/ 40 h 42" name="T23"/>
                <a:gd fmla="*/ 8 w 54" name="T24"/>
                <a:gd fmla="*/ 40 h 42" name="T25"/>
                <a:gd fmla="*/ 12 w 54" name="T26"/>
                <a:gd fmla="*/ 40 h 42" name="T27"/>
                <a:gd fmla="*/ 16 w 54" name="T28"/>
                <a:gd fmla="*/ 40 h 42" name="T29"/>
                <a:gd fmla="*/ 20 w 54" name="T30"/>
                <a:gd fmla="*/ 42 h 42" name="T31"/>
                <a:gd fmla="*/ 22 w 54" name="T32"/>
                <a:gd fmla="*/ 42 h 42" name="T33"/>
                <a:gd fmla="*/ 34 w 54" name="T34"/>
                <a:gd fmla="*/ 34 h 42" name="T35"/>
                <a:gd fmla="*/ 30 w 54" name="T36"/>
                <a:gd fmla="*/ 30 h 42" name="T37"/>
                <a:gd fmla="*/ 36 w 54" name="T38"/>
                <a:gd fmla="*/ 28 h 42" name="T39"/>
                <a:gd fmla="*/ 36 w 54" name="T40"/>
                <a:gd fmla="*/ 28 h 42" name="T41"/>
                <a:gd fmla="*/ 36 w 54" name="T42"/>
                <a:gd fmla="*/ 30 h 42" name="T43"/>
                <a:gd fmla="*/ 36 w 54" name="T44"/>
                <a:gd fmla="*/ 32 h 42" name="T45"/>
                <a:gd fmla="*/ 36 w 54" name="T46"/>
                <a:gd fmla="*/ 32 h 42" name="T47"/>
                <a:gd fmla="*/ 38 w 54" name="T48"/>
                <a:gd fmla="*/ 34 h 42" name="T49"/>
                <a:gd fmla="*/ 40 w 54" name="T50"/>
                <a:gd fmla="*/ 32 h 42" name="T51"/>
                <a:gd fmla="*/ 42 w 54" name="T52"/>
                <a:gd fmla="*/ 32 h 42" name="T53"/>
                <a:gd fmla="*/ 44 w 54" name="T54"/>
                <a:gd fmla="*/ 32 h 42" name="T55"/>
                <a:gd fmla="*/ 46 w 54" name="T56"/>
                <a:gd fmla="*/ 30 h 42" name="T57"/>
                <a:gd fmla="*/ 48 w 54" name="T58"/>
                <a:gd fmla="*/ 28 h 42" name="T59"/>
                <a:gd fmla="*/ 52 w 54" name="T60"/>
                <a:gd fmla="*/ 24 h 42" name="T61"/>
                <a:gd fmla="*/ 50 w 54" name="T62"/>
                <a:gd fmla="*/ 26 h 42" name="T63"/>
                <a:gd fmla="*/ 50 w 54" name="T64"/>
                <a:gd fmla="*/ 26 h 42" name="T65"/>
                <a:gd fmla="*/ 50 w 54" name="T66"/>
                <a:gd fmla="*/ 28 h 42" name="T67"/>
                <a:gd fmla="*/ 52 w 54" name="T68"/>
                <a:gd fmla="*/ 30 h 42" name="T69"/>
                <a:gd fmla="*/ 52 w 54" name="T70"/>
                <a:gd fmla="*/ 30 h 42" name="T71"/>
                <a:gd fmla="*/ 54 w 54" name="T72"/>
                <a:gd fmla="*/ 30 h 42" name="T73"/>
                <a:gd fmla="*/ 54 w 54" name="T74"/>
                <a:gd fmla="*/ 26 h 42" name="T75"/>
                <a:gd fmla="*/ 54 w 54" name="T76"/>
                <a:gd fmla="*/ 26 h 42" name="T77"/>
                <a:gd fmla="*/ 54 w 54" name="T78"/>
                <a:gd fmla="*/ 24 h 42" name="T79"/>
                <a:gd fmla="*/ 52 w 54" name="T80"/>
                <a:gd fmla="*/ 24 h 42" name="T81"/>
                <a:gd fmla="*/ 54 w 54" name="T82"/>
                <a:gd fmla="*/ 22 h 42" name="T83"/>
                <a:gd fmla="*/ 54 w 54" name="T84"/>
                <a:gd fmla="*/ 22 h 42" name="T85"/>
                <a:gd fmla="*/ 54 w 54" name="T86"/>
                <a:gd fmla="*/ 20 h 42" name="T87"/>
                <a:gd fmla="*/ 54 w 54" name="T88"/>
                <a:gd fmla="*/ 20 h 42" name="T89"/>
                <a:gd fmla="*/ 54 w 54" name="T90"/>
                <a:gd fmla="*/ 18 h 42" name="T91"/>
                <a:gd fmla="*/ 52 w 54" name="T92"/>
                <a:gd fmla="*/ 18 h 42" name="T93"/>
                <a:gd fmla="*/ 50 w 54" name="T94"/>
                <a:gd fmla="*/ 18 h 42" name="T95"/>
                <a:gd fmla="*/ 50 w 54" name="T96"/>
                <a:gd fmla="*/ 18 h 42" name="T97"/>
                <a:gd fmla="*/ 50 w 54" name="T98"/>
                <a:gd fmla="*/ 18 h 42" name="T99"/>
                <a:gd fmla="*/ 50 w 54" name="T100"/>
                <a:gd fmla="*/ 18 h 42" name="T101"/>
                <a:gd fmla="*/ 52 w 54" name="T102"/>
                <a:gd fmla="*/ 14 h 42" name="T103"/>
                <a:gd fmla="*/ 44 w 54" name="T104"/>
                <a:gd fmla="*/ 0 h 42" name="T105"/>
                <a:gd fmla="*/ 38 w 54" name="T106"/>
                <a:gd fmla="*/ 4 h 42" name="T107"/>
                <a:gd fmla="*/ 30 w 54" name="T108"/>
                <a:gd fmla="*/ 6 h 42"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42" w="54">
                  <a:moveTo>
                    <a:pt x="30" y="6"/>
                  </a:moveTo>
                  <a:lnTo>
                    <a:pt x="20" y="8"/>
                  </a:lnTo>
                  <a:lnTo>
                    <a:pt x="8" y="16"/>
                  </a:lnTo>
                  <a:lnTo>
                    <a:pt x="0" y="30"/>
                  </a:lnTo>
                  <a:lnTo>
                    <a:pt x="2" y="30"/>
                  </a:lnTo>
                  <a:lnTo>
                    <a:pt x="2" y="28"/>
                  </a:lnTo>
                  <a:lnTo>
                    <a:pt x="4" y="28"/>
                  </a:lnTo>
                  <a:lnTo>
                    <a:pt x="6" y="28"/>
                  </a:lnTo>
                  <a:lnTo>
                    <a:pt x="6" y="28"/>
                  </a:lnTo>
                  <a:lnTo>
                    <a:pt x="8" y="30"/>
                  </a:lnTo>
                  <a:lnTo>
                    <a:pt x="8" y="34"/>
                  </a:lnTo>
                  <a:lnTo>
                    <a:pt x="6" y="40"/>
                  </a:lnTo>
                  <a:lnTo>
                    <a:pt x="8" y="40"/>
                  </a:lnTo>
                  <a:lnTo>
                    <a:pt x="12" y="40"/>
                  </a:lnTo>
                  <a:lnTo>
                    <a:pt x="16" y="40"/>
                  </a:lnTo>
                  <a:lnTo>
                    <a:pt x="20" y="42"/>
                  </a:lnTo>
                  <a:lnTo>
                    <a:pt x="22" y="42"/>
                  </a:lnTo>
                  <a:lnTo>
                    <a:pt x="34" y="34"/>
                  </a:lnTo>
                  <a:lnTo>
                    <a:pt x="30" y="30"/>
                  </a:lnTo>
                  <a:lnTo>
                    <a:pt x="36" y="28"/>
                  </a:lnTo>
                  <a:lnTo>
                    <a:pt x="36" y="28"/>
                  </a:lnTo>
                  <a:lnTo>
                    <a:pt x="36" y="30"/>
                  </a:lnTo>
                  <a:lnTo>
                    <a:pt x="36" y="32"/>
                  </a:lnTo>
                  <a:lnTo>
                    <a:pt x="36" y="32"/>
                  </a:lnTo>
                  <a:lnTo>
                    <a:pt x="38" y="34"/>
                  </a:lnTo>
                  <a:lnTo>
                    <a:pt x="40" y="32"/>
                  </a:lnTo>
                  <a:lnTo>
                    <a:pt x="42" y="32"/>
                  </a:lnTo>
                  <a:lnTo>
                    <a:pt x="44" y="32"/>
                  </a:lnTo>
                  <a:lnTo>
                    <a:pt x="46" y="30"/>
                  </a:lnTo>
                  <a:lnTo>
                    <a:pt x="48" y="28"/>
                  </a:lnTo>
                  <a:lnTo>
                    <a:pt x="52" y="24"/>
                  </a:lnTo>
                  <a:lnTo>
                    <a:pt x="50" y="26"/>
                  </a:lnTo>
                  <a:lnTo>
                    <a:pt x="50" y="26"/>
                  </a:lnTo>
                  <a:lnTo>
                    <a:pt x="50" y="28"/>
                  </a:lnTo>
                  <a:lnTo>
                    <a:pt x="52" y="30"/>
                  </a:lnTo>
                  <a:lnTo>
                    <a:pt x="52" y="30"/>
                  </a:lnTo>
                  <a:lnTo>
                    <a:pt x="54" y="30"/>
                  </a:lnTo>
                  <a:lnTo>
                    <a:pt x="54" y="26"/>
                  </a:lnTo>
                  <a:lnTo>
                    <a:pt x="54" y="26"/>
                  </a:lnTo>
                  <a:lnTo>
                    <a:pt x="54" y="24"/>
                  </a:lnTo>
                  <a:lnTo>
                    <a:pt x="52" y="24"/>
                  </a:lnTo>
                  <a:lnTo>
                    <a:pt x="54" y="22"/>
                  </a:lnTo>
                  <a:lnTo>
                    <a:pt x="54" y="22"/>
                  </a:lnTo>
                  <a:lnTo>
                    <a:pt x="54" y="20"/>
                  </a:lnTo>
                  <a:lnTo>
                    <a:pt x="54" y="20"/>
                  </a:lnTo>
                  <a:lnTo>
                    <a:pt x="54" y="18"/>
                  </a:lnTo>
                  <a:lnTo>
                    <a:pt x="52" y="18"/>
                  </a:lnTo>
                  <a:lnTo>
                    <a:pt x="50" y="18"/>
                  </a:lnTo>
                  <a:lnTo>
                    <a:pt x="50" y="18"/>
                  </a:lnTo>
                  <a:lnTo>
                    <a:pt x="50" y="18"/>
                  </a:lnTo>
                  <a:lnTo>
                    <a:pt x="50" y="18"/>
                  </a:lnTo>
                  <a:lnTo>
                    <a:pt x="52" y="14"/>
                  </a:lnTo>
                  <a:lnTo>
                    <a:pt x="44" y="0"/>
                  </a:lnTo>
                  <a:lnTo>
                    <a:pt x="38" y="4"/>
                  </a:lnTo>
                  <a:lnTo>
                    <a:pt x="30" y="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4" name="Freeform 411"/>
            <p:cNvSpPr/>
            <p:nvPr/>
          </p:nvSpPr>
          <p:spPr bwMode="gray">
            <a:xfrm>
              <a:off x="694452" y="3270263"/>
              <a:ext cx="292521" cy="336727"/>
            </a:xfrm>
            <a:custGeom>
              <a:gdLst>
                <a:gd fmla="*/ 138 w 158" name="T0"/>
                <a:gd fmla="*/ 120 h 182" name="T1"/>
                <a:gd fmla="*/ 140 w 158" name="T2"/>
                <a:gd fmla="*/ 130 h 182" name="T3"/>
                <a:gd fmla="*/ 150 w 158" name="T4"/>
                <a:gd fmla="*/ 144 h 182" name="T5"/>
                <a:gd fmla="*/ 138 w 158" name="T6"/>
                <a:gd fmla="*/ 156 h 182" name="T7"/>
                <a:gd fmla="*/ 122 w 158" name="T8"/>
                <a:gd fmla="*/ 156 h 182" name="T9"/>
                <a:gd fmla="*/ 102 w 158" name="T10"/>
                <a:gd fmla="*/ 158 h 182" name="T11"/>
                <a:gd fmla="*/ 100 w 158" name="T12"/>
                <a:gd fmla="*/ 170 h 182" name="T13"/>
                <a:gd fmla="*/ 90 w 158" name="T14"/>
                <a:gd fmla="*/ 180 h 182" name="T15"/>
                <a:gd fmla="*/ 64 w 158" name="T16"/>
                <a:gd fmla="*/ 164 h 182" name="T17"/>
                <a:gd fmla="*/ 58 w 158" name="T18"/>
                <a:gd fmla="*/ 160 h 182" name="T19"/>
                <a:gd fmla="*/ 52 w 158" name="T20"/>
                <a:gd fmla="*/ 158 h 182" name="T21"/>
                <a:gd fmla="*/ 44 w 158" name="T22"/>
                <a:gd fmla="*/ 152 h 182" name="T23"/>
                <a:gd fmla="*/ 40 w 158" name="T24"/>
                <a:gd fmla="*/ 148 h 182" name="T25"/>
                <a:gd fmla="*/ 36 w 158" name="T26"/>
                <a:gd fmla="*/ 144 h 182" name="T27"/>
                <a:gd fmla="*/ 40 w 158" name="T28"/>
                <a:gd fmla="*/ 94 h 182" name="T29"/>
                <a:gd fmla="*/ 38 w 158" name="T30"/>
                <a:gd fmla="*/ 86 h 182" name="T31"/>
                <a:gd fmla="*/ 32 w 158" name="T32"/>
                <a:gd fmla="*/ 78 h 182" name="T33"/>
                <a:gd fmla="*/ 2 w 158" name="T34"/>
                <a:gd fmla="*/ 60 h 182" name="T35"/>
                <a:gd fmla="*/ 0 w 158" name="T36"/>
                <a:gd fmla="*/ 56 h 182" name="T37"/>
                <a:gd fmla="*/ 4 w 158" name="T38"/>
                <a:gd fmla="*/ 48 h 182" name="T39"/>
                <a:gd fmla="*/ 22 w 158" name="T40"/>
                <a:gd fmla="*/ 36 h 182" name="T41"/>
                <a:gd fmla="*/ 30 w 158" name="T42"/>
                <a:gd fmla="*/ 36 h 182" name="T43"/>
                <a:gd fmla="*/ 44 w 158" name="T44"/>
                <a:gd fmla="*/ 32 h 182" name="T45"/>
                <a:gd fmla="*/ 54 w 158" name="T46"/>
                <a:gd fmla="*/ 28 h 182" name="T47"/>
                <a:gd fmla="*/ 70 w 158" name="T48"/>
                <a:gd fmla="*/ 16 h 182" name="T49"/>
                <a:gd fmla="*/ 80 w 158" name="T50"/>
                <a:gd fmla="*/ 12 h 182" name="T51"/>
                <a:gd fmla="*/ 92 w 158" name="T52"/>
                <a:gd fmla="*/ 4 h 182" name="T53"/>
                <a:gd fmla="*/ 98 w 158" name="T54"/>
                <a:gd fmla="*/ 4 h 182" name="T55"/>
                <a:gd fmla="*/ 106 w 158" name="T56"/>
                <a:gd fmla="*/ 14 h 182" name="T57"/>
                <a:gd fmla="*/ 110 w 158" name="T58"/>
                <a:gd fmla="*/ 18 h 182" name="T59"/>
                <a:gd fmla="*/ 110 w 158" name="T60"/>
                <a:gd fmla="*/ 26 h 182" name="T61"/>
                <a:gd fmla="*/ 118 w 158" name="T62"/>
                <a:gd fmla="*/ 32 h 182" name="T63"/>
                <a:gd fmla="*/ 122 w 158" name="T64"/>
                <a:gd fmla="*/ 40 h 182" name="T65"/>
                <a:gd fmla="*/ 126 w 158" name="T66"/>
                <a:gd fmla="*/ 46 h 182" name="T67"/>
                <a:gd fmla="*/ 134 w 158" name="T68"/>
                <a:gd fmla="*/ 52 h 182" name="T69"/>
                <a:gd fmla="*/ 142 w 158" name="T70"/>
                <a:gd fmla="*/ 56 h 182" name="T71"/>
                <a:gd fmla="*/ 156 w 158" name="T72"/>
                <a:gd fmla="*/ 62 h 182" name="T73"/>
                <a:gd fmla="*/ 158 w 158" name="T74"/>
                <a:gd fmla="*/ 64 h 182" name="T75"/>
                <a:gd fmla="*/ 154 w 158" name="T76"/>
                <a:gd fmla="*/ 78 h 182" name="T77"/>
                <a:gd fmla="*/ 140 w 158" name="T78"/>
                <a:gd fmla="*/ 100 h 182" name="T79"/>
                <a:gd fmla="*/ 134 w 158" name="T80"/>
                <a:gd fmla="*/ 112 h 182" name="T81"/>
                <a:gd fmla="*/ 138 w 158" name="T82"/>
                <a:gd fmla="*/ 110 h 182"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182" w="158">
                  <a:moveTo>
                    <a:pt x="140" y="116"/>
                  </a:moveTo>
                  <a:lnTo>
                    <a:pt x="138" y="118"/>
                  </a:lnTo>
                  <a:lnTo>
                    <a:pt x="138" y="120"/>
                  </a:lnTo>
                  <a:lnTo>
                    <a:pt x="138" y="124"/>
                  </a:lnTo>
                  <a:lnTo>
                    <a:pt x="138" y="130"/>
                  </a:lnTo>
                  <a:lnTo>
                    <a:pt x="140" y="130"/>
                  </a:lnTo>
                  <a:lnTo>
                    <a:pt x="140" y="134"/>
                  </a:lnTo>
                  <a:lnTo>
                    <a:pt x="142" y="136"/>
                  </a:lnTo>
                  <a:lnTo>
                    <a:pt x="150" y="144"/>
                  </a:lnTo>
                  <a:lnTo>
                    <a:pt x="150" y="150"/>
                  </a:lnTo>
                  <a:lnTo>
                    <a:pt x="140" y="156"/>
                  </a:lnTo>
                  <a:lnTo>
                    <a:pt x="138" y="156"/>
                  </a:lnTo>
                  <a:lnTo>
                    <a:pt x="134" y="156"/>
                  </a:lnTo>
                  <a:lnTo>
                    <a:pt x="128" y="156"/>
                  </a:lnTo>
                  <a:lnTo>
                    <a:pt x="122" y="156"/>
                  </a:lnTo>
                  <a:lnTo>
                    <a:pt x="114" y="154"/>
                  </a:lnTo>
                  <a:lnTo>
                    <a:pt x="110" y="154"/>
                  </a:lnTo>
                  <a:lnTo>
                    <a:pt x="102" y="158"/>
                  </a:lnTo>
                  <a:lnTo>
                    <a:pt x="100" y="166"/>
                  </a:lnTo>
                  <a:lnTo>
                    <a:pt x="100" y="168"/>
                  </a:lnTo>
                  <a:lnTo>
                    <a:pt x="100" y="170"/>
                  </a:lnTo>
                  <a:lnTo>
                    <a:pt x="102" y="174"/>
                  </a:lnTo>
                  <a:lnTo>
                    <a:pt x="96" y="182"/>
                  </a:lnTo>
                  <a:lnTo>
                    <a:pt x="90" y="180"/>
                  </a:lnTo>
                  <a:lnTo>
                    <a:pt x="72" y="174"/>
                  </a:lnTo>
                  <a:lnTo>
                    <a:pt x="72" y="174"/>
                  </a:lnTo>
                  <a:lnTo>
                    <a:pt x="64" y="164"/>
                  </a:lnTo>
                  <a:lnTo>
                    <a:pt x="64" y="166"/>
                  </a:lnTo>
                  <a:lnTo>
                    <a:pt x="60" y="162"/>
                  </a:lnTo>
                  <a:lnTo>
                    <a:pt x="58" y="160"/>
                  </a:lnTo>
                  <a:lnTo>
                    <a:pt x="54" y="158"/>
                  </a:lnTo>
                  <a:lnTo>
                    <a:pt x="52" y="158"/>
                  </a:lnTo>
                  <a:lnTo>
                    <a:pt x="52" y="158"/>
                  </a:lnTo>
                  <a:lnTo>
                    <a:pt x="50" y="156"/>
                  </a:lnTo>
                  <a:lnTo>
                    <a:pt x="46" y="154"/>
                  </a:lnTo>
                  <a:lnTo>
                    <a:pt x="44" y="152"/>
                  </a:lnTo>
                  <a:lnTo>
                    <a:pt x="42" y="150"/>
                  </a:lnTo>
                  <a:lnTo>
                    <a:pt x="40" y="150"/>
                  </a:lnTo>
                  <a:lnTo>
                    <a:pt x="40" y="148"/>
                  </a:lnTo>
                  <a:lnTo>
                    <a:pt x="40" y="146"/>
                  </a:lnTo>
                  <a:lnTo>
                    <a:pt x="38" y="144"/>
                  </a:lnTo>
                  <a:lnTo>
                    <a:pt x="36" y="144"/>
                  </a:lnTo>
                  <a:lnTo>
                    <a:pt x="36" y="144"/>
                  </a:lnTo>
                  <a:lnTo>
                    <a:pt x="40" y="140"/>
                  </a:lnTo>
                  <a:lnTo>
                    <a:pt x="40" y="94"/>
                  </a:lnTo>
                  <a:lnTo>
                    <a:pt x="40" y="92"/>
                  </a:lnTo>
                  <a:lnTo>
                    <a:pt x="38" y="90"/>
                  </a:lnTo>
                  <a:lnTo>
                    <a:pt x="38" y="86"/>
                  </a:lnTo>
                  <a:lnTo>
                    <a:pt x="36" y="82"/>
                  </a:lnTo>
                  <a:lnTo>
                    <a:pt x="34" y="80"/>
                  </a:lnTo>
                  <a:lnTo>
                    <a:pt x="32" y="78"/>
                  </a:lnTo>
                  <a:lnTo>
                    <a:pt x="22" y="72"/>
                  </a:lnTo>
                  <a:lnTo>
                    <a:pt x="22" y="68"/>
                  </a:lnTo>
                  <a:lnTo>
                    <a:pt x="2" y="60"/>
                  </a:lnTo>
                  <a:lnTo>
                    <a:pt x="2" y="58"/>
                  </a:lnTo>
                  <a:lnTo>
                    <a:pt x="2" y="58"/>
                  </a:lnTo>
                  <a:lnTo>
                    <a:pt x="0" y="56"/>
                  </a:lnTo>
                  <a:lnTo>
                    <a:pt x="0" y="54"/>
                  </a:lnTo>
                  <a:lnTo>
                    <a:pt x="2" y="50"/>
                  </a:lnTo>
                  <a:lnTo>
                    <a:pt x="4" y="48"/>
                  </a:lnTo>
                  <a:lnTo>
                    <a:pt x="14" y="50"/>
                  </a:lnTo>
                  <a:lnTo>
                    <a:pt x="14" y="38"/>
                  </a:lnTo>
                  <a:lnTo>
                    <a:pt x="22" y="36"/>
                  </a:lnTo>
                  <a:lnTo>
                    <a:pt x="22" y="36"/>
                  </a:lnTo>
                  <a:lnTo>
                    <a:pt x="26" y="36"/>
                  </a:lnTo>
                  <a:lnTo>
                    <a:pt x="30" y="36"/>
                  </a:lnTo>
                  <a:lnTo>
                    <a:pt x="36" y="34"/>
                  </a:lnTo>
                  <a:lnTo>
                    <a:pt x="44" y="32"/>
                  </a:lnTo>
                  <a:lnTo>
                    <a:pt x="44" y="32"/>
                  </a:lnTo>
                  <a:lnTo>
                    <a:pt x="46" y="30"/>
                  </a:lnTo>
                  <a:lnTo>
                    <a:pt x="50" y="28"/>
                  </a:lnTo>
                  <a:lnTo>
                    <a:pt x="54" y="28"/>
                  </a:lnTo>
                  <a:lnTo>
                    <a:pt x="58" y="26"/>
                  </a:lnTo>
                  <a:lnTo>
                    <a:pt x="64" y="28"/>
                  </a:lnTo>
                  <a:lnTo>
                    <a:pt x="70" y="16"/>
                  </a:lnTo>
                  <a:lnTo>
                    <a:pt x="78" y="14"/>
                  </a:lnTo>
                  <a:lnTo>
                    <a:pt x="78" y="12"/>
                  </a:lnTo>
                  <a:lnTo>
                    <a:pt x="80" y="12"/>
                  </a:lnTo>
                  <a:lnTo>
                    <a:pt x="84" y="8"/>
                  </a:lnTo>
                  <a:lnTo>
                    <a:pt x="88" y="6"/>
                  </a:lnTo>
                  <a:lnTo>
                    <a:pt x="92" y="4"/>
                  </a:lnTo>
                  <a:lnTo>
                    <a:pt x="94" y="0"/>
                  </a:lnTo>
                  <a:lnTo>
                    <a:pt x="96" y="2"/>
                  </a:lnTo>
                  <a:lnTo>
                    <a:pt x="98" y="4"/>
                  </a:lnTo>
                  <a:lnTo>
                    <a:pt x="100" y="8"/>
                  </a:lnTo>
                  <a:lnTo>
                    <a:pt x="104" y="10"/>
                  </a:lnTo>
                  <a:lnTo>
                    <a:pt x="106" y="14"/>
                  </a:lnTo>
                  <a:lnTo>
                    <a:pt x="108" y="16"/>
                  </a:lnTo>
                  <a:lnTo>
                    <a:pt x="110" y="16"/>
                  </a:lnTo>
                  <a:lnTo>
                    <a:pt x="110" y="18"/>
                  </a:lnTo>
                  <a:lnTo>
                    <a:pt x="108" y="20"/>
                  </a:lnTo>
                  <a:lnTo>
                    <a:pt x="108" y="24"/>
                  </a:lnTo>
                  <a:lnTo>
                    <a:pt x="110" y="26"/>
                  </a:lnTo>
                  <a:lnTo>
                    <a:pt x="110" y="30"/>
                  </a:lnTo>
                  <a:lnTo>
                    <a:pt x="114" y="32"/>
                  </a:lnTo>
                  <a:lnTo>
                    <a:pt x="118" y="32"/>
                  </a:lnTo>
                  <a:lnTo>
                    <a:pt x="120" y="34"/>
                  </a:lnTo>
                  <a:lnTo>
                    <a:pt x="122" y="38"/>
                  </a:lnTo>
                  <a:lnTo>
                    <a:pt x="122" y="40"/>
                  </a:lnTo>
                  <a:lnTo>
                    <a:pt x="124" y="44"/>
                  </a:lnTo>
                  <a:lnTo>
                    <a:pt x="124" y="44"/>
                  </a:lnTo>
                  <a:lnTo>
                    <a:pt x="126" y="46"/>
                  </a:lnTo>
                  <a:lnTo>
                    <a:pt x="128" y="50"/>
                  </a:lnTo>
                  <a:lnTo>
                    <a:pt x="132" y="52"/>
                  </a:lnTo>
                  <a:lnTo>
                    <a:pt x="134" y="52"/>
                  </a:lnTo>
                  <a:lnTo>
                    <a:pt x="136" y="54"/>
                  </a:lnTo>
                  <a:lnTo>
                    <a:pt x="138" y="54"/>
                  </a:lnTo>
                  <a:lnTo>
                    <a:pt x="142" y="56"/>
                  </a:lnTo>
                  <a:lnTo>
                    <a:pt x="146" y="58"/>
                  </a:lnTo>
                  <a:lnTo>
                    <a:pt x="152" y="60"/>
                  </a:lnTo>
                  <a:lnTo>
                    <a:pt x="156" y="62"/>
                  </a:lnTo>
                  <a:lnTo>
                    <a:pt x="158" y="62"/>
                  </a:lnTo>
                  <a:lnTo>
                    <a:pt x="158" y="62"/>
                  </a:lnTo>
                  <a:lnTo>
                    <a:pt x="158" y="64"/>
                  </a:lnTo>
                  <a:lnTo>
                    <a:pt x="156" y="68"/>
                  </a:lnTo>
                  <a:lnTo>
                    <a:pt x="156" y="72"/>
                  </a:lnTo>
                  <a:lnTo>
                    <a:pt x="154" y="78"/>
                  </a:lnTo>
                  <a:lnTo>
                    <a:pt x="152" y="90"/>
                  </a:lnTo>
                  <a:lnTo>
                    <a:pt x="152" y="90"/>
                  </a:lnTo>
                  <a:lnTo>
                    <a:pt x="140" y="100"/>
                  </a:lnTo>
                  <a:lnTo>
                    <a:pt x="132" y="112"/>
                  </a:lnTo>
                  <a:lnTo>
                    <a:pt x="134" y="112"/>
                  </a:lnTo>
                  <a:lnTo>
                    <a:pt x="134" y="112"/>
                  </a:lnTo>
                  <a:lnTo>
                    <a:pt x="136" y="110"/>
                  </a:lnTo>
                  <a:lnTo>
                    <a:pt x="138" y="110"/>
                  </a:lnTo>
                  <a:lnTo>
                    <a:pt x="138" y="110"/>
                  </a:lnTo>
                  <a:lnTo>
                    <a:pt x="140" y="112"/>
                  </a:lnTo>
                  <a:lnTo>
                    <a:pt x="140" y="11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5" name="Freeform 412"/>
            <p:cNvSpPr/>
            <p:nvPr/>
          </p:nvSpPr>
          <p:spPr bwMode="gray">
            <a:xfrm>
              <a:off x="575963" y="3577388"/>
              <a:ext cx="74056" cy="166513"/>
            </a:xfrm>
            <a:custGeom>
              <a:gdLst>
                <a:gd fmla="*/ 6 w 40" name="T0"/>
                <a:gd fmla="*/ 0 h 90" name="T1"/>
                <a:gd fmla="*/ 6 w 40" name="T2"/>
                <a:gd fmla="*/ 32 h 90" name="T3"/>
                <a:gd fmla="*/ 4 w 40" name="T4"/>
                <a:gd fmla="*/ 40 h 90" name="T5"/>
                <a:gd fmla="*/ 4 w 40" name="T6"/>
                <a:gd fmla="*/ 46 h 90" name="T7"/>
                <a:gd fmla="*/ 2 w 40" name="T8"/>
                <a:gd fmla="*/ 52 h 90" name="T9"/>
                <a:gd fmla="*/ 0 w 40" name="T10"/>
                <a:gd fmla="*/ 54 h 90" name="T11"/>
                <a:gd fmla="*/ 0 w 40" name="T12"/>
                <a:gd fmla="*/ 56 h 90" name="T13"/>
                <a:gd fmla="*/ 0 w 40" name="T14"/>
                <a:gd fmla="*/ 60 h 90" name="T15"/>
                <a:gd fmla="*/ 0 w 40" name="T16"/>
                <a:gd fmla="*/ 64 h 90" name="T17"/>
                <a:gd fmla="*/ 2 w 40" name="T18"/>
                <a:gd fmla="*/ 66 h 90" name="T19"/>
                <a:gd fmla="*/ 4 w 40" name="T20"/>
                <a:gd fmla="*/ 68 h 90" name="T21"/>
                <a:gd fmla="*/ 4 w 40" name="T22"/>
                <a:gd fmla="*/ 68 h 90" name="T23"/>
                <a:gd fmla="*/ 4 w 40" name="T24"/>
                <a:gd fmla="*/ 84 h 90" name="T25"/>
                <a:gd fmla="*/ 10 w 40" name="T26"/>
                <a:gd fmla="*/ 88 h 90" name="T27"/>
                <a:gd fmla="*/ 12 w 40" name="T28"/>
                <a:gd fmla="*/ 88 h 90" name="T29"/>
                <a:gd fmla="*/ 14 w 40" name="T30"/>
                <a:gd fmla="*/ 86 h 90" name="T31"/>
                <a:gd fmla="*/ 14 w 40" name="T32"/>
                <a:gd fmla="*/ 86 h 90" name="T33"/>
                <a:gd fmla="*/ 16 w 40" name="T34"/>
                <a:gd fmla="*/ 86 h 90" name="T35"/>
                <a:gd fmla="*/ 16 w 40" name="T36"/>
                <a:gd fmla="*/ 88 h 90" name="T37"/>
                <a:gd fmla="*/ 18 w 40" name="T38"/>
                <a:gd fmla="*/ 90 h 90" name="T39"/>
                <a:gd fmla="*/ 18 w 40" name="T40"/>
                <a:gd fmla="*/ 88 h 90" name="T41"/>
                <a:gd fmla="*/ 18 w 40" name="T42"/>
                <a:gd fmla="*/ 86 h 90" name="T43"/>
                <a:gd fmla="*/ 20 w 40" name="T44"/>
                <a:gd fmla="*/ 82 h 90" name="T45"/>
                <a:gd fmla="*/ 22 w 40" name="T46"/>
                <a:gd fmla="*/ 78 h 90" name="T47"/>
                <a:gd fmla="*/ 24 w 40" name="T48"/>
                <a:gd fmla="*/ 74 h 90" name="T49"/>
                <a:gd fmla="*/ 28 w 40" name="T50"/>
                <a:gd fmla="*/ 74 h 90" name="T51"/>
                <a:gd fmla="*/ 32 w 40" name="T52"/>
                <a:gd fmla="*/ 70 h 90" name="T53"/>
                <a:gd fmla="*/ 26 w 40" name="T54"/>
                <a:gd fmla="*/ 64 h 90" name="T55"/>
                <a:gd fmla="*/ 30 w 40" name="T56"/>
                <a:gd fmla="*/ 60 h 90" name="T57"/>
                <a:gd fmla="*/ 32 w 40" name="T58"/>
                <a:gd fmla="*/ 52 h 90" name="T59"/>
                <a:gd fmla="*/ 32 w 40" name="T60"/>
                <a:gd fmla="*/ 42 h 90" name="T61"/>
                <a:gd fmla="*/ 28 w 40" name="T62"/>
                <a:gd fmla="*/ 32 h 90" name="T63"/>
                <a:gd fmla="*/ 32 w 40" name="T64"/>
                <a:gd fmla="*/ 22 h 90" name="T65"/>
                <a:gd fmla="*/ 34 w 40" name="T66"/>
                <a:gd fmla="*/ 14 h 90" name="T67"/>
                <a:gd fmla="*/ 34 w 40" name="T68"/>
                <a:gd fmla="*/ 14 h 90" name="T69"/>
                <a:gd fmla="*/ 36 w 40" name="T70"/>
                <a:gd fmla="*/ 12 h 90" name="T71"/>
                <a:gd fmla="*/ 38 w 40" name="T72"/>
                <a:gd fmla="*/ 10 h 90" name="T73"/>
                <a:gd fmla="*/ 40 w 40" name="T74"/>
                <a:gd fmla="*/ 8 h 90" name="T75"/>
                <a:gd fmla="*/ 40 w 40" name="T76"/>
                <a:gd fmla="*/ 6 h 90" name="T77"/>
                <a:gd fmla="*/ 40 w 40" name="T78"/>
                <a:gd fmla="*/ 4 h 90" name="T79"/>
                <a:gd fmla="*/ 34 w 40" name="T80"/>
                <a:gd fmla="*/ 2 h 90" name="T81"/>
                <a:gd fmla="*/ 30 w 40" name="T82"/>
                <a:gd fmla="*/ 0 h 90" name="T83"/>
                <a:gd fmla="*/ 28 w 40" name="T84"/>
                <a:gd fmla="*/ 0 h 90" name="T85"/>
                <a:gd fmla="*/ 12 w 40" name="T86"/>
                <a:gd fmla="*/ 2 h 90" name="T87"/>
                <a:gd fmla="*/ 6 w 40" name="T88"/>
                <a:gd fmla="*/ 0 h 90" name="T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b="b" l="0" r="r" t="0"/>
              <a:pathLst>
                <a:path h="90" w="40">
                  <a:moveTo>
                    <a:pt x="6" y="0"/>
                  </a:moveTo>
                  <a:lnTo>
                    <a:pt x="6" y="32"/>
                  </a:lnTo>
                  <a:lnTo>
                    <a:pt x="4" y="40"/>
                  </a:lnTo>
                  <a:lnTo>
                    <a:pt x="4" y="46"/>
                  </a:lnTo>
                  <a:lnTo>
                    <a:pt x="2" y="52"/>
                  </a:lnTo>
                  <a:lnTo>
                    <a:pt x="0" y="54"/>
                  </a:lnTo>
                  <a:lnTo>
                    <a:pt x="0" y="56"/>
                  </a:lnTo>
                  <a:lnTo>
                    <a:pt x="0" y="60"/>
                  </a:lnTo>
                  <a:lnTo>
                    <a:pt x="0" y="64"/>
                  </a:lnTo>
                  <a:lnTo>
                    <a:pt x="2" y="66"/>
                  </a:lnTo>
                  <a:lnTo>
                    <a:pt x="4" y="68"/>
                  </a:lnTo>
                  <a:lnTo>
                    <a:pt x="4" y="68"/>
                  </a:lnTo>
                  <a:lnTo>
                    <a:pt x="4" y="84"/>
                  </a:lnTo>
                  <a:lnTo>
                    <a:pt x="10" y="88"/>
                  </a:lnTo>
                  <a:lnTo>
                    <a:pt x="12" y="88"/>
                  </a:lnTo>
                  <a:lnTo>
                    <a:pt x="14" y="86"/>
                  </a:lnTo>
                  <a:lnTo>
                    <a:pt x="14" y="86"/>
                  </a:lnTo>
                  <a:lnTo>
                    <a:pt x="16" y="86"/>
                  </a:lnTo>
                  <a:lnTo>
                    <a:pt x="16" y="88"/>
                  </a:lnTo>
                  <a:lnTo>
                    <a:pt x="18" y="90"/>
                  </a:lnTo>
                  <a:lnTo>
                    <a:pt x="18" y="88"/>
                  </a:lnTo>
                  <a:lnTo>
                    <a:pt x="18" y="86"/>
                  </a:lnTo>
                  <a:lnTo>
                    <a:pt x="20" y="82"/>
                  </a:lnTo>
                  <a:lnTo>
                    <a:pt x="22" y="78"/>
                  </a:lnTo>
                  <a:lnTo>
                    <a:pt x="24" y="74"/>
                  </a:lnTo>
                  <a:lnTo>
                    <a:pt x="28" y="74"/>
                  </a:lnTo>
                  <a:lnTo>
                    <a:pt x="32" y="70"/>
                  </a:lnTo>
                  <a:lnTo>
                    <a:pt x="26" y="64"/>
                  </a:lnTo>
                  <a:lnTo>
                    <a:pt x="30" y="60"/>
                  </a:lnTo>
                  <a:lnTo>
                    <a:pt x="32" y="52"/>
                  </a:lnTo>
                  <a:lnTo>
                    <a:pt x="32" y="42"/>
                  </a:lnTo>
                  <a:lnTo>
                    <a:pt x="28" y="32"/>
                  </a:lnTo>
                  <a:lnTo>
                    <a:pt x="32" y="22"/>
                  </a:lnTo>
                  <a:lnTo>
                    <a:pt x="34" y="14"/>
                  </a:lnTo>
                  <a:lnTo>
                    <a:pt x="34" y="14"/>
                  </a:lnTo>
                  <a:lnTo>
                    <a:pt x="36" y="12"/>
                  </a:lnTo>
                  <a:lnTo>
                    <a:pt x="38" y="10"/>
                  </a:lnTo>
                  <a:lnTo>
                    <a:pt x="40" y="8"/>
                  </a:lnTo>
                  <a:lnTo>
                    <a:pt x="40" y="6"/>
                  </a:lnTo>
                  <a:lnTo>
                    <a:pt x="40" y="4"/>
                  </a:lnTo>
                  <a:lnTo>
                    <a:pt x="34" y="2"/>
                  </a:lnTo>
                  <a:lnTo>
                    <a:pt x="30" y="0"/>
                  </a:lnTo>
                  <a:lnTo>
                    <a:pt x="28" y="0"/>
                  </a:lnTo>
                  <a:lnTo>
                    <a:pt x="12" y="2"/>
                  </a:lnTo>
                  <a:lnTo>
                    <a:pt x="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6" name="Freeform 413"/>
            <p:cNvSpPr/>
            <p:nvPr/>
          </p:nvSpPr>
          <p:spPr bwMode="gray">
            <a:xfrm>
              <a:off x="927728" y="3107450"/>
              <a:ext cx="192545" cy="329327"/>
            </a:xfrm>
            <a:custGeom>
              <a:gdLst>
                <a:gd fmla="*/ 28 w 104" name="T0"/>
                <a:gd fmla="*/ 148 h 178" name="T1"/>
                <a:gd fmla="*/ 16 w 104" name="T2"/>
                <a:gd fmla="*/ 144 h 178" name="T3"/>
                <a:gd fmla="*/ 6 w 104" name="T4"/>
                <a:gd fmla="*/ 116 h 178" name="T5"/>
                <a:gd fmla="*/ 6 w 104" name="T6"/>
                <a:gd fmla="*/ 112 h 178" name="T7"/>
                <a:gd fmla="*/ 2 w 104" name="T8"/>
                <a:gd fmla="*/ 106 h 178" name="T9"/>
                <a:gd fmla="*/ 10 w 104" name="T10"/>
                <a:gd fmla="*/ 88 h 178" name="T11"/>
                <a:gd fmla="*/ 6 w 104" name="T12"/>
                <a:gd fmla="*/ 86 h 178" name="T13"/>
                <a:gd fmla="*/ 12 w 104" name="T14"/>
                <a:gd fmla="*/ 76 h 178" name="T15"/>
                <a:gd fmla="*/ 18 w 104" name="T16"/>
                <a:gd fmla="*/ 74 h 178" name="T17"/>
                <a:gd fmla="*/ 18 w 104" name="T18"/>
                <a:gd fmla="*/ 66 h 178" name="T19"/>
                <a:gd fmla="*/ 16 w 104" name="T20"/>
                <a:gd fmla="*/ 60 h 178" name="T21"/>
                <a:gd fmla="*/ 18 w 104" name="T22"/>
                <a:gd fmla="*/ 58 h 178" name="T23"/>
                <a:gd fmla="*/ 20 w 104" name="T24"/>
                <a:gd fmla="*/ 54 h 178" name="T25"/>
                <a:gd fmla="*/ 20 w 104" name="T26"/>
                <a:gd fmla="*/ 44 h 178" name="T27"/>
                <a:gd fmla="*/ 30 w 104" name="T28"/>
                <a:gd fmla="*/ 32 h 178" name="T29"/>
                <a:gd fmla="*/ 44 w 104" name="T30"/>
                <a:gd fmla="*/ 26 h 178" name="T31"/>
                <a:gd fmla="*/ 62 w 104" name="T32"/>
                <a:gd fmla="*/ 6 h 178" name="T33"/>
                <a:gd fmla="*/ 76 w 104" name="T34"/>
                <a:gd fmla="*/ 20 h 178" name="T35"/>
                <a:gd fmla="*/ 72 w 104" name="T36"/>
                <a:gd fmla="*/ 24 h 178" name="T37"/>
                <a:gd fmla="*/ 72 w 104" name="T38"/>
                <a:gd fmla="*/ 30 h 178" name="T39"/>
                <a:gd fmla="*/ 72 w 104" name="T40"/>
                <a:gd fmla="*/ 40 h 178" name="T41"/>
                <a:gd fmla="*/ 78 w 104" name="T42"/>
                <a:gd fmla="*/ 40 h 178" name="T43"/>
                <a:gd fmla="*/ 82 w 104" name="T44"/>
                <a:gd fmla="*/ 42 h 178" name="T45"/>
                <a:gd fmla="*/ 74 w 104" name="T46"/>
                <a:gd fmla="*/ 42 h 178" name="T47"/>
                <a:gd fmla="*/ 78 w 104" name="T48"/>
                <a:gd fmla="*/ 50 h 178" name="T49"/>
                <a:gd fmla="*/ 76 w 104" name="T50"/>
                <a:gd fmla="*/ 56 h 178" name="T51"/>
                <a:gd fmla="*/ 72 w 104" name="T52"/>
                <a:gd fmla="*/ 60 h 178" name="T53"/>
                <a:gd fmla="*/ 72 w 104" name="T54"/>
                <a:gd fmla="*/ 66 h 178" name="T55"/>
                <a:gd fmla="*/ 72 w 104" name="T56"/>
                <a:gd fmla="*/ 70 h 178" name="T57"/>
                <a:gd fmla="*/ 66 w 104" name="T58"/>
                <a:gd fmla="*/ 78 h 178" name="T59"/>
                <a:gd fmla="*/ 64 w 104" name="T60"/>
                <a:gd fmla="*/ 88 h 178" name="T61"/>
                <a:gd fmla="*/ 64 w 104" name="T62"/>
                <a:gd fmla="*/ 94 h 178" name="T63"/>
                <a:gd fmla="*/ 80 w 104" name="T64"/>
                <a:gd fmla="*/ 94 h 178" name="T65"/>
                <a:gd fmla="*/ 96 w 104" name="T66"/>
                <a:gd fmla="*/ 110 h 178" name="T67"/>
                <a:gd fmla="*/ 102 w 104" name="T68"/>
                <a:gd fmla="*/ 132 h 178" name="T69"/>
                <a:gd fmla="*/ 96 w 104" name="T70"/>
                <a:gd fmla="*/ 138 h 178" name="T71"/>
                <a:gd fmla="*/ 78 w 104" name="T72"/>
                <a:gd fmla="*/ 158 h 178" name="T73"/>
                <a:gd fmla="*/ 80 w 104" name="T74"/>
                <a:gd fmla="*/ 160 h 178" name="T75"/>
                <a:gd fmla="*/ 78 w 104" name="T76"/>
                <a:gd fmla="*/ 164 h 178" name="T77"/>
                <a:gd fmla="*/ 58 w 104" name="T78"/>
                <a:gd fmla="*/ 170 h 178" name="T79"/>
                <a:gd fmla="*/ 26 w 104" name="T80"/>
                <a:gd fmla="*/ 178 h 178" name="T81"/>
                <a:gd fmla="*/ 28 w 104" name="T82"/>
                <a:gd fmla="*/ 168 h 178" name="T83"/>
                <a:gd fmla="*/ 32 w 104" name="T84"/>
                <a:gd fmla="*/ 150 h 178"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178" w="104">
                  <a:moveTo>
                    <a:pt x="32" y="150"/>
                  </a:moveTo>
                  <a:lnTo>
                    <a:pt x="30" y="150"/>
                  </a:lnTo>
                  <a:lnTo>
                    <a:pt x="28" y="148"/>
                  </a:lnTo>
                  <a:lnTo>
                    <a:pt x="24" y="148"/>
                  </a:lnTo>
                  <a:lnTo>
                    <a:pt x="20" y="146"/>
                  </a:lnTo>
                  <a:lnTo>
                    <a:pt x="16" y="144"/>
                  </a:lnTo>
                  <a:lnTo>
                    <a:pt x="12" y="144"/>
                  </a:lnTo>
                  <a:lnTo>
                    <a:pt x="12" y="142"/>
                  </a:lnTo>
                  <a:lnTo>
                    <a:pt x="6" y="116"/>
                  </a:lnTo>
                  <a:lnTo>
                    <a:pt x="6" y="116"/>
                  </a:lnTo>
                  <a:lnTo>
                    <a:pt x="8" y="114"/>
                  </a:lnTo>
                  <a:lnTo>
                    <a:pt x="6" y="112"/>
                  </a:lnTo>
                  <a:lnTo>
                    <a:pt x="6" y="112"/>
                  </a:lnTo>
                  <a:lnTo>
                    <a:pt x="4" y="108"/>
                  </a:lnTo>
                  <a:lnTo>
                    <a:pt x="2" y="106"/>
                  </a:lnTo>
                  <a:lnTo>
                    <a:pt x="0" y="102"/>
                  </a:lnTo>
                  <a:lnTo>
                    <a:pt x="0" y="98"/>
                  </a:lnTo>
                  <a:lnTo>
                    <a:pt x="10" y="88"/>
                  </a:lnTo>
                  <a:lnTo>
                    <a:pt x="8" y="88"/>
                  </a:lnTo>
                  <a:lnTo>
                    <a:pt x="8" y="86"/>
                  </a:lnTo>
                  <a:lnTo>
                    <a:pt x="6" y="86"/>
                  </a:lnTo>
                  <a:lnTo>
                    <a:pt x="6" y="84"/>
                  </a:lnTo>
                  <a:lnTo>
                    <a:pt x="12" y="76"/>
                  </a:lnTo>
                  <a:lnTo>
                    <a:pt x="12" y="76"/>
                  </a:lnTo>
                  <a:lnTo>
                    <a:pt x="16" y="76"/>
                  </a:lnTo>
                  <a:lnTo>
                    <a:pt x="18" y="76"/>
                  </a:lnTo>
                  <a:lnTo>
                    <a:pt x="18" y="74"/>
                  </a:lnTo>
                  <a:lnTo>
                    <a:pt x="18" y="74"/>
                  </a:lnTo>
                  <a:lnTo>
                    <a:pt x="18" y="70"/>
                  </a:lnTo>
                  <a:lnTo>
                    <a:pt x="18" y="66"/>
                  </a:lnTo>
                  <a:lnTo>
                    <a:pt x="18" y="62"/>
                  </a:lnTo>
                  <a:lnTo>
                    <a:pt x="16" y="62"/>
                  </a:lnTo>
                  <a:lnTo>
                    <a:pt x="16" y="60"/>
                  </a:lnTo>
                  <a:lnTo>
                    <a:pt x="16" y="60"/>
                  </a:lnTo>
                  <a:lnTo>
                    <a:pt x="16" y="58"/>
                  </a:lnTo>
                  <a:lnTo>
                    <a:pt x="18" y="58"/>
                  </a:lnTo>
                  <a:lnTo>
                    <a:pt x="18" y="56"/>
                  </a:lnTo>
                  <a:lnTo>
                    <a:pt x="20" y="56"/>
                  </a:lnTo>
                  <a:lnTo>
                    <a:pt x="20" y="54"/>
                  </a:lnTo>
                  <a:lnTo>
                    <a:pt x="22" y="52"/>
                  </a:lnTo>
                  <a:lnTo>
                    <a:pt x="22" y="48"/>
                  </a:lnTo>
                  <a:lnTo>
                    <a:pt x="20" y="44"/>
                  </a:lnTo>
                  <a:lnTo>
                    <a:pt x="18" y="38"/>
                  </a:lnTo>
                  <a:lnTo>
                    <a:pt x="24" y="34"/>
                  </a:lnTo>
                  <a:lnTo>
                    <a:pt x="30" y="32"/>
                  </a:lnTo>
                  <a:lnTo>
                    <a:pt x="36" y="28"/>
                  </a:lnTo>
                  <a:lnTo>
                    <a:pt x="40" y="32"/>
                  </a:lnTo>
                  <a:lnTo>
                    <a:pt x="44" y="26"/>
                  </a:lnTo>
                  <a:lnTo>
                    <a:pt x="44" y="4"/>
                  </a:lnTo>
                  <a:lnTo>
                    <a:pt x="64" y="0"/>
                  </a:lnTo>
                  <a:lnTo>
                    <a:pt x="62" y="6"/>
                  </a:lnTo>
                  <a:lnTo>
                    <a:pt x="66" y="12"/>
                  </a:lnTo>
                  <a:lnTo>
                    <a:pt x="74" y="14"/>
                  </a:lnTo>
                  <a:lnTo>
                    <a:pt x="76" y="20"/>
                  </a:lnTo>
                  <a:lnTo>
                    <a:pt x="76" y="20"/>
                  </a:lnTo>
                  <a:lnTo>
                    <a:pt x="74" y="22"/>
                  </a:lnTo>
                  <a:lnTo>
                    <a:pt x="72" y="24"/>
                  </a:lnTo>
                  <a:lnTo>
                    <a:pt x="72" y="26"/>
                  </a:lnTo>
                  <a:lnTo>
                    <a:pt x="72" y="28"/>
                  </a:lnTo>
                  <a:lnTo>
                    <a:pt x="72" y="30"/>
                  </a:lnTo>
                  <a:lnTo>
                    <a:pt x="72" y="32"/>
                  </a:lnTo>
                  <a:lnTo>
                    <a:pt x="72" y="36"/>
                  </a:lnTo>
                  <a:lnTo>
                    <a:pt x="72" y="40"/>
                  </a:lnTo>
                  <a:lnTo>
                    <a:pt x="74" y="40"/>
                  </a:lnTo>
                  <a:lnTo>
                    <a:pt x="76" y="40"/>
                  </a:lnTo>
                  <a:lnTo>
                    <a:pt x="78" y="40"/>
                  </a:lnTo>
                  <a:lnTo>
                    <a:pt x="82" y="42"/>
                  </a:lnTo>
                  <a:lnTo>
                    <a:pt x="84" y="42"/>
                  </a:lnTo>
                  <a:lnTo>
                    <a:pt x="82" y="42"/>
                  </a:lnTo>
                  <a:lnTo>
                    <a:pt x="80" y="42"/>
                  </a:lnTo>
                  <a:lnTo>
                    <a:pt x="78" y="42"/>
                  </a:lnTo>
                  <a:lnTo>
                    <a:pt x="74" y="42"/>
                  </a:lnTo>
                  <a:lnTo>
                    <a:pt x="74" y="44"/>
                  </a:lnTo>
                  <a:lnTo>
                    <a:pt x="78" y="50"/>
                  </a:lnTo>
                  <a:lnTo>
                    <a:pt x="78" y="50"/>
                  </a:lnTo>
                  <a:lnTo>
                    <a:pt x="78" y="52"/>
                  </a:lnTo>
                  <a:lnTo>
                    <a:pt x="78" y="54"/>
                  </a:lnTo>
                  <a:lnTo>
                    <a:pt x="76" y="56"/>
                  </a:lnTo>
                  <a:lnTo>
                    <a:pt x="74" y="58"/>
                  </a:lnTo>
                  <a:lnTo>
                    <a:pt x="72" y="58"/>
                  </a:lnTo>
                  <a:lnTo>
                    <a:pt x="72" y="60"/>
                  </a:lnTo>
                  <a:lnTo>
                    <a:pt x="72" y="60"/>
                  </a:lnTo>
                  <a:lnTo>
                    <a:pt x="72" y="62"/>
                  </a:lnTo>
                  <a:lnTo>
                    <a:pt x="72" y="66"/>
                  </a:lnTo>
                  <a:lnTo>
                    <a:pt x="76" y="68"/>
                  </a:lnTo>
                  <a:lnTo>
                    <a:pt x="74" y="68"/>
                  </a:lnTo>
                  <a:lnTo>
                    <a:pt x="72" y="70"/>
                  </a:lnTo>
                  <a:lnTo>
                    <a:pt x="70" y="72"/>
                  </a:lnTo>
                  <a:lnTo>
                    <a:pt x="66" y="76"/>
                  </a:lnTo>
                  <a:lnTo>
                    <a:pt x="66" y="78"/>
                  </a:lnTo>
                  <a:lnTo>
                    <a:pt x="66" y="86"/>
                  </a:lnTo>
                  <a:lnTo>
                    <a:pt x="66" y="86"/>
                  </a:lnTo>
                  <a:lnTo>
                    <a:pt x="64" y="88"/>
                  </a:lnTo>
                  <a:lnTo>
                    <a:pt x="64" y="90"/>
                  </a:lnTo>
                  <a:lnTo>
                    <a:pt x="62" y="92"/>
                  </a:lnTo>
                  <a:lnTo>
                    <a:pt x="64" y="94"/>
                  </a:lnTo>
                  <a:lnTo>
                    <a:pt x="66" y="96"/>
                  </a:lnTo>
                  <a:lnTo>
                    <a:pt x="74" y="94"/>
                  </a:lnTo>
                  <a:lnTo>
                    <a:pt x="80" y="94"/>
                  </a:lnTo>
                  <a:lnTo>
                    <a:pt x="88" y="98"/>
                  </a:lnTo>
                  <a:lnTo>
                    <a:pt x="88" y="108"/>
                  </a:lnTo>
                  <a:lnTo>
                    <a:pt x="96" y="110"/>
                  </a:lnTo>
                  <a:lnTo>
                    <a:pt x="100" y="116"/>
                  </a:lnTo>
                  <a:lnTo>
                    <a:pt x="104" y="132"/>
                  </a:lnTo>
                  <a:lnTo>
                    <a:pt x="102" y="132"/>
                  </a:lnTo>
                  <a:lnTo>
                    <a:pt x="102" y="134"/>
                  </a:lnTo>
                  <a:lnTo>
                    <a:pt x="100" y="138"/>
                  </a:lnTo>
                  <a:lnTo>
                    <a:pt x="96" y="138"/>
                  </a:lnTo>
                  <a:lnTo>
                    <a:pt x="88" y="144"/>
                  </a:lnTo>
                  <a:lnTo>
                    <a:pt x="78" y="148"/>
                  </a:lnTo>
                  <a:lnTo>
                    <a:pt x="78" y="158"/>
                  </a:lnTo>
                  <a:lnTo>
                    <a:pt x="80" y="158"/>
                  </a:lnTo>
                  <a:lnTo>
                    <a:pt x="80" y="160"/>
                  </a:lnTo>
                  <a:lnTo>
                    <a:pt x="80" y="160"/>
                  </a:lnTo>
                  <a:lnTo>
                    <a:pt x="80" y="162"/>
                  </a:lnTo>
                  <a:lnTo>
                    <a:pt x="80" y="164"/>
                  </a:lnTo>
                  <a:lnTo>
                    <a:pt x="78" y="164"/>
                  </a:lnTo>
                  <a:lnTo>
                    <a:pt x="76" y="164"/>
                  </a:lnTo>
                  <a:lnTo>
                    <a:pt x="70" y="162"/>
                  </a:lnTo>
                  <a:lnTo>
                    <a:pt x="58" y="170"/>
                  </a:lnTo>
                  <a:lnTo>
                    <a:pt x="48" y="172"/>
                  </a:lnTo>
                  <a:lnTo>
                    <a:pt x="36" y="176"/>
                  </a:lnTo>
                  <a:lnTo>
                    <a:pt x="26" y="178"/>
                  </a:lnTo>
                  <a:lnTo>
                    <a:pt x="26" y="176"/>
                  </a:lnTo>
                  <a:lnTo>
                    <a:pt x="26" y="174"/>
                  </a:lnTo>
                  <a:lnTo>
                    <a:pt x="28" y="168"/>
                  </a:lnTo>
                  <a:lnTo>
                    <a:pt x="30" y="162"/>
                  </a:lnTo>
                  <a:lnTo>
                    <a:pt x="30" y="156"/>
                  </a:lnTo>
                  <a:lnTo>
                    <a:pt x="32" y="15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7" name="Freeform 414"/>
            <p:cNvSpPr/>
            <p:nvPr/>
          </p:nvSpPr>
          <p:spPr bwMode="gray">
            <a:xfrm>
              <a:off x="883294" y="3174055"/>
              <a:ext cx="85164" cy="114709"/>
            </a:xfrm>
            <a:custGeom>
              <a:gdLst>
                <a:gd fmla="*/ 24 w 46" name="T0"/>
                <a:gd fmla="*/ 62 h 62" name="T1"/>
                <a:gd fmla="*/ 22 w 46" name="T2"/>
                <a:gd fmla="*/ 60 h 62" name="T3"/>
                <a:gd fmla="*/ 20 w 46" name="T4"/>
                <a:gd fmla="*/ 60 h 62" name="T5"/>
                <a:gd fmla="*/ 16 w 46" name="T6"/>
                <a:gd fmla="*/ 58 h 62" name="T7"/>
                <a:gd fmla="*/ 14 w 46" name="T8"/>
                <a:gd fmla="*/ 56 h 62" name="T9"/>
                <a:gd fmla="*/ 14 w 46" name="T10"/>
                <a:gd fmla="*/ 54 h 62" name="T11"/>
                <a:gd fmla="*/ 0 w 46" name="T12"/>
                <a:gd fmla="*/ 46 h 62" name="T13"/>
                <a:gd fmla="*/ 6 w 46" name="T14"/>
                <a:gd fmla="*/ 40 h 62" name="T15"/>
                <a:gd fmla="*/ 6 w 46" name="T16"/>
                <a:gd fmla="*/ 38 h 62" name="T17"/>
                <a:gd fmla="*/ 8 w 46" name="T18"/>
                <a:gd fmla="*/ 36 h 62" name="T19"/>
                <a:gd fmla="*/ 8 w 46" name="T20"/>
                <a:gd fmla="*/ 34 h 62" name="T21"/>
                <a:gd fmla="*/ 10 w 46" name="T22"/>
                <a:gd fmla="*/ 30 h 62" name="T23"/>
                <a:gd fmla="*/ 12 w 46" name="T24"/>
                <a:gd fmla="*/ 28 h 62" name="T25"/>
                <a:gd fmla="*/ 12 w 46" name="T26"/>
                <a:gd fmla="*/ 24 h 62" name="T27"/>
                <a:gd fmla="*/ 12 w 46" name="T28"/>
                <a:gd fmla="*/ 22 h 62" name="T29"/>
                <a:gd fmla="*/ 14 w 46" name="T30"/>
                <a:gd fmla="*/ 20 h 62" name="T31"/>
                <a:gd fmla="*/ 16 w 46" name="T32"/>
                <a:gd fmla="*/ 16 h 62" name="T33"/>
                <a:gd fmla="*/ 20 w 46" name="T34"/>
                <a:gd fmla="*/ 10 h 62" name="T35"/>
                <a:gd fmla="*/ 22 w 46" name="T36"/>
                <a:gd fmla="*/ 6 h 62" name="T37"/>
                <a:gd fmla="*/ 28 w 46" name="T38"/>
                <a:gd fmla="*/ 2 h 62" name="T39"/>
                <a:gd fmla="*/ 32 w 46" name="T40"/>
                <a:gd fmla="*/ 0 h 62" name="T41"/>
                <a:gd fmla="*/ 34 w 46" name="T42"/>
                <a:gd fmla="*/ 0 h 62" name="T43"/>
                <a:gd fmla="*/ 36 w 46" name="T44"/>
                <a:gd fmla="*/ 0 h 62" name="T45"/>
                <a:gd fmla="*/ 40 w 46" name="T46"/>
                <a:gd fmla="*/ 0 h 62" name="T47"/>
                <a:gd fmla="*/ 42 w 46" name="T48"/>
                <a:gd fmla="*/ 2 h 62" name="T49"/>
                <a:gd fmla="*/ 42 w 46" name="T50"/>
                <a:gd fmla="*/ 2 h 62" name="T51"/>
                <a:gd fmla="*/ 44 w 46" name="T52"/>
                <a:gd fmla="*/ 6 h 62" name="T53"/>
                <a:gd fmla="*/ 44 w 46" name="T54"/>
                <a:gd fmla="*/ 8 h 62" name="T55"/>
                <a:gd fmla="*/ 46 w 46" name="T56"/>
                <a:gd fmla="*/ 12 h 62" name="T57"/>
                <a:gd fmla="*/ 44 w 46" name="T58"/>
                <a:gd fmla="*/ 18 h 62" name="T59"/>
                <a:gd fmla="*/ 42 w 46" name="T60"/>
                <a:gd fmla="*/ 22 h 62" name="T61"/>
                <a:gd fmla="*/ 42 w 46" name="T62"/>
                <a:gd fmla="*/ 22 h 62" name="T63"/>
                <a:gd fmla="*/ 40 w 46" name="T64"/>
                <a:gd fmla="*/ 22 h 62" name="T65"/>
                <a:gd fmla="*/ 40 w 46" name="T66"/>
                <a:gd fmla="*/ 24 h 62" name="T67"/>
                <a:gd fmla="*/ 40 w 46" name="T68"/>
                <a:gd fmla="*/ 24 h 62" name="T69"/>
                <a:gd fmla="*/ 42 w 46" name="T70"/>
                <a:gd fmla="*/ 26 h 62" name="T71"/>
                <a:gd fmla="*/ 42 w 46" name="T72"/>
                <a:gd fmla="*/ 28 h 62" name="T73"/>
                <a:gd fmla="*/ 42 w 46" name="T74"/>
                <a:gd fmla="*/ 30 h 62" name="T75"/>
                <a:gd fmla="*/ 42 w 46" name="T76"/>
                <a:gd fmla="*/ 34 h 62" name="T77"/>
                <a:gd fmla="*/ 42 w 46" name="T78"/>
                <a:gd fmla="*/ 38 h 62" name="T79"/>
                <a:gd fmla="*/ 42 w 46" name="T80"/>
                <a:gd fmla="*/ 40 h 62" name="T81"/>
                <a:gd fmla="*/ 36 w 46" name="T82"/>
                <a:gd fmla="*/ 40 h 62" name="T83"/>
                <a:gd fmla="*/ 32 w 46" name="T84"/>
                <a:gd fmla="*/ 46 h 62" name="T85"/>
                <a:gd fmla="*/ 32 w 46" name="T86"/>
                <a:gd fmla="*/ 46 h 62" name="T87"/>
                <a:gd fmla="*/ 30 w 46" name="T88"/>
                <a:gd fmla="*/ 48 h 62" name="T89"/>
                <a:gd fmla="*/ 30 w 46" name="T90"/>
                <a:gd fmla="*/ 50 h 62" name="T91"/>
                <a:gd fmla="*/ 34 w 46" name="T92"/>
                <a:gd fmla="*/ 52 h 62" name="T93"/>
                <a:gd fmla="*/ 24 w 46" name="T94"/>
                <a:gd fmla="*/ 62 h 62"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62" w="46">
                  <a:moveTo>
                    <a:pt x="24" y="62"/>
                  </a:moveTo>
                  <a:lnTo>
                    <a:pt x="22" y="60"/>
                  </a:lnTo>
                  <a:lnTo>
                    <a:pt x="20" y="60"/>
                  </a:lnTo>
                  <a:lnTo>
                    <a:pt x="16" y="58"/>
                  </a:lnTo>
                  <a:lnTo>
                    <a:pt x="14" y="56"/>
                  </a:lnTo>
                  <a:lnTo>
                    <a:pt x="14" y="54"/>
                  </a:lnTo>
                  <a:lnTo>
                    <a:pt x="0" y="46"/>
                  </a:lnTo>
                  <a:lnTo>
                    <a:pt x="6" y="40"/>
                  </a:lnTo>
                  <a:lnTo>
                    <a:pt x="6" y="38"/>
                  </a:lnTo>
                  <a:lnTo>
                    <a:pt x="8" y="36"/>
                  </a:lnTo>
                  <a:lnTo>
                    <a:pt x="8" y="34"/>
                  </a:lnTo>
                  <a:lnTo>
                    <a:pt x="10" y="30"/>
                  </a:lnTo>
                  <a:lnTo>
                    <a:pt x="12" y="28"/>
                  </a:lnTo>
                  <a:lnTo>
                    <a:pt x="12" y="24"/>
                  </a:lnTo>
                  <a:lnTo>
                    <a:pt x="12" y="22"/>
                  </a:lnTo>
                  <a:lnTo>
                    <a:pt x="14" y="20"/>
                  </a:lnTo>
                  <a:lnTo>
                    <a:pt x="16" y="16"/>
                  </a:lnTo>
                  <a:lnTo>
                    <a:pt x="20" y="10"/>
                  </a:lnTo>
                  <a:lnTo>
                    <a:pt x="22" y="6"/>
                  </a:lnTo>
                  <a:lnTo>
                    <a:pt x="28" y="2"/>
                  </a:lnTo>
                  <a:lnTo>
                    <a:pt x="32" y="0"/>
                  </a:lnTo>
                  <a:lnTo>
                    <a:pt x="34" y="0"/>
                  </a:lnTo>
                  <a:lnTo>
                    <a:pt x="36" y="0"/>
                  </a:lnTo>
                  <a:lnTo>
                    <a:pt x="40" y="0"/>
                  </a:lnTo>
                  <a:lnTo>
                    <a:pt x="42" y="2"/>
                  </a:lnTo>
                  <a:lnTo>
                    <a:pt x="42" y="2"/>
                  </a:lnTo>
                  <a:lnTo>
                    <a:pt x="44" y="6"/>
                  </a:lnTo>
                  <a:lnTo>
                    <a:pt x="44" y="8"/>
                  </a:lnTo>
                  <a:lnTo>
                    <a:pt x="46" y="12"/>
                  </a:lnTo>
                  <a:lnTo>
                    <a:pt x="44" y="18"/>
                  </a:lnTo>
                  <a:lnTo>
                    <a:pt x="42" y="22"/>
                  </a:lnTo>
                  <a:lnTo>
                    <a:pt x="42" y="22"/>
                  </a:lnTo>
                  <a:lnTo>
                    <a:pt x="40" y="22"/>
                  </a:lnTo>
                  <a:lnTo>
                    <a:pt x="40" y="24"/>
                  </a:lnTo>
                  <a:lnTo>
                    <a:pt x="40" y="24"/>
                  </a:lnTo>
                  <a:lnTo>
                    <a:pt x="42" y="26"/>
                  </a:lnTo>
                  <a:lnTo>
                    <a:pt x="42" y="28"/>
                  </a:lnTo>
                  <a:lnTo>
                    <a:pt x="42" y="30"/>
                  </a:lnTo>
                  <a:lnTo>
                    <a:pt x="42" y="34"/>
                  </a:lnTo>
                  <a:lnTo>
                    <a:pt x="42" y="38"/>
                  </a:lnTo>
                  <a:lnTo>
                    <a:pt x="42" y="40"/>
                  </a:lnTo>
                  <a:lnTo>
                    <a:pt x="36" y="40"/>
                  </a:lnTo>
                  <a:lnTo>
                    <a:pt x="32" y="46"/>
                  </a:lnTo>
                  <a:lnTo>
                    <a:pt x="32" y="46"/>
                  </a:lnTo>
                  <a:lnTo>
                    <a:pt x="30" y="48"/>
                  </a:lnTo>
                  <a:lnTo>
                    <a:pt x="30" y="50"/>
                  </a:lnTo>
                  <a:lnTo>
                    <a:pt x="34" y="52"/>
                  </a:lnTo>
                  <a:lnTo>
                    <a:pt x="24" y="6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8" name="Freeform 415"/>
            <p:cNvSpPr/>
            <p:nvPr/>
          </p:nvSpPr>
          <p:spPr bwMode="gray">
            <a:xfrm>
              <a:off x="868483" y="3259162"/>
              <a:ext cx="74056" cy="85107"/>
            </a:xfrm>
            <a:custGeom>
              <a:gdLst>
                <a:gd fmla="*/ 8 w 40" name="T0"/>
                <a:gd fmla="*/ 0 h 46" name="T1"/>
                <a:gd fmla="*/ 22 w 40" name="T2"/>
                <a:gd fmla="*/ 8 h 46" name="T3"/>
                <a:gd fmla="*/ 22 w 40" name="T4"/>
                <a:gd fmla="*/ 10 h 46" name="T5"/>
                <a:gd fmla="*/ 24 w 40" name="T6"/>
                <a:gd fmla="*/ 12 h 46" name="T7"/>
                <a:gd fmla="*/ 28 w 40" name="T8"/>
                <a:gd fmla="*/ 14 h 46" name="T9"/>
                <a:gd fmla="*/ 30 w 40" name="T10"/>
                <a:gd fmla="*/ 14 h 46" name="T11"/>
                <a:gd fmla="*/ 32 w 40" name="T12"/>
                <a:gd fmla="*/ 16 h 46" name="T13"/>
                <a:gd fmla="*/ 32 w 40" name="T14"/>
                <a:gd fmla="*/ 18 h 46" name="T15"/>
                <a:gd fmla="*/ 32 w 40" name="T16"/>
                <a:gd fmla="*/ 22 h 46" name="T17"/>
                <a:gd fmla="*/ 34 w 40" name="T18"/>
                <a:gd fmla="*/ 24 h 46" name="T19"/>
                <a:gd fmla="*/ 36 w 40" name="T20"/>
                <a:gd fmla="*/ 28 h 46" name="T21"/>
                <a:gd fmla="*/ 38 w 40" name="T22"/>
                <a:gd fmla="*/ 30 h 46" name="T23"/>
                <a:gd fmla="*/ 38 w 40" name="T24"/>
                <a:gd fmla="*/ 30 h 46" name="T25"/>
                <a:gd fmla="*/ 40 w 40" name="T26"/>
                <a:gd fmla="*/ 32 h 46" name="T27"/>
                <a:gd fmla="*/ 38 w 40" name="T28"/>
                <a:gd fmla="*/ 34 h 46" name="T29"/>
                <a:gd fmla="*/ 38 w 40" name="T30"/>
                <a:gd fmla="*/ 34 h 46" name="T31"/>
                <a:gd fmla="*/ 36 w 40" name="T32"/>
                <a:gd fmla="*/ 36 h 46" name="T33"/>
                <a:gd fmla="*/ 36 w 40" name="T34"/>
                <a:gd fmla="*/ 36 h 46" name="T35"/>
                <a:gd fmla="*/ 32 w 40" name="T36"/>
                <a:gd fmla="*/ 38 h 46" name="T37"/>
                <a:gd fmla="*/ 30 w 40" name="T38"/>
                <a:gd fmla="*/ 40 h 46" name="T39"/>
                <a:gd fmla="*/ 30 w 40" name="T40"/>
                <a:gd fmla="*/ 42 h 46" name="T41"/>
                <a:gd fmla="*/ 28 w 40" name="T42"/>
                <a:gd fmla="*/ 44 h 46" name="T43"/>
                <a:gd fmla="*/ 28 w 40" name="T44"/>
                <a:gd fmla="*/ 46 h 46" name="T45"/>
                <a:gd fmla="*/ 26 w 40" name="T46"/>
                <a:gd fmla="*/ 42 h 46" name="T47"/>
                <a:gd fmla="*/ 24 w 40" name="T48"/>
                <a:gd fmla="*/ 38 h 46" name="T49"/>
                <a:gd fmla="*/ 22 w 40" name="T50"/>
                <a:gd fmla="*/ 38 h 46" name="T51"/>
                <a:gd fmla="*/ 20 w 40" name="T52"/>
                <a:gd fmla="*/ 38 h 46" name="T53"/>
                <a:gd fmla="*/ 20 w 40" name="T54"/>
                <a:gd fmla="*/ 36 h 46" name="T55"/>
                <a:gd fmla="*/ 18 w 40" name="T56"/>
                <a:gd fmla="*/ 36 h 46" name="T57"/>
                <a:gd fmla="*/ 16 w 40" name="T58"/>
                <a:gd fmla="*/ 32 h 46" name="T59"/>
                <a:gd fmla="*/ 14 w 40" name="T60"/>
                <a:gd fmla="*/ 28 h 46" name="T61"/>
                <a:gd fmla="*/ 14 w 40" name="T62"/>
                <a:gd fmla="*/ 26 h 46" name="T63"/>
                <a:gd fmla="*/ 16 w 40" name="T64"/>
                <a:gd fmla="*/ 24 h 46" name="T65"/>
                <a:gd fmla="*/ 16 w 40" name="T66"/>
                <a:gd fmla="*/ 22 h 46" name="T67"/>
                <a:gd fmla="*/ 0 w 40" name="T68"/>
                <a:gd fmla="*/ 6 h 46" name="T69"/>
                <a:gd fmla="*/ 2 w 40" name="T70"/>
                <a:gd fmla="*/ 6 h 46" name="T71"/>
                <a:gd fmla="*/ 4 w 40" name="T72"/>
                <a:gd fmla="*/ 4 h 46" name="T73"/>
                <a:gd fmla="*/ 6 w 40" name="T74"/>
                <a:gd fmla="*/ 2 h 46" name="T75"/>
                <a:gd fmla="*/ 8 w 40" name="T76"/>
                <a:gd fmla="*/ 0 h 46"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46" w="40">
                  <a:moveTo>
                    <a:pt x="8" y="0"/>
                  </a:moveTo>
                  <a:lnTo>
                    <a:pt x="22" y="8"/>
                  </a:lnTo>
                  <a:lnTo>
                    <a:pt x="22" y="10"/>
                  </a:lnTo>
                  <a:lnTo>
                    <a:pt x="24" y="12"/>
                  </a:lnTo>
                  <a:lnTo>
                    <a:pt x="28" y="14"/>
                  </a:lnTo>
                  <a:lnTo>
                    <a:pt x="30" y="14"/>
                  </a:lnTo>
                  <a:lnTo>
                    <a:pt x="32" y="16"/>
                  </a:lnTo>
                  <a:lnTo>
                    <a:pt x="32" y="18"/>
                  </a:lnTo>
                  <a:lnTo>
                    <a:pt x="32" y="22"/>
                  </a:lnTo>
                  <a:lnTo>
                    <a:pt x="34" y="24"/>
                  </a:lnTo>
                  <a:lnTo>
                    <a:pt x="36" y="28"/>
                  </a:lnTo>
                  <a:lnTo>
                    <a:pt x="38" y="30"/>
                  </a:lnTo>
                  <a:lnTo>
                    <a:pt x="38" y="30"/>
                  </a:lnTo>
                  <a:lnTo>
                    <a:pt x="40" y="32"/>
                  </a:lnTo>
                  <a:lnTo>
                    <a:pt x="38" y="34"/>
                  </a:lnTo>
                  <a:lnTo>
                    <a:pt x="38" y="34"/>
                  </a:lnTo>
                  <a:lnTo>
                    <a:pt x="36" y="36"/>
                  </a:lnTo>
                  <a:lnTo>
                    <a:pt x="36" y="36"/>
                  </a:lnTo>
                  <a:lnTo>
                    <a:pt x="32" y="38"/>
                  </a:lnTo>
                  <a:lnTo>
                    <a:pt x="30" y="40"/>
                  </a:lnTo>
                  <a:lnTo>
                    <a:pt x="30" y="42"/>
                  </a:lnTo>
                  <a:lnTo>
                    <a:pt x="28" y="44"/>
                  </a:lnTo>
                  <a:lnTo>
                    <a:pt x="28" y="46"/>
                  </a:lnTo>
                  <a:lnTo>
                    <a:pt x="26" y="42"/>
                  </a:lnTo>
                  <a:lnTo>
                    <a:pt x="24" y="38"/>
                  </a:lnTo>
                  <a:lnTo>
                    <a:pt x="22" y="38"/>
                  </a:lnTo>
                  <a:lnTo>
                    <a:pt x="20" y="38"/>
                  </a:lnTo>
                  <a:lnTo>
                    <a:pt x="20" y="36"/>
                  </a:lnTo>
                  <a:lnTo>
                    <a:pt x="18" y="36"/>
                  </a:lnTo>
                  <a:lnTo>
                    <a:pt x="16" y="32"/>
                  </a:lnTo>
                  <a:lnTo>
                    <a:pt x="14" y="28"/>
                  </a:lnTo>
                  <a:lnTo>
                    <a:pt x="14" y="26"/>
                  </a:lnTo>
                  <a:lnTo>
                    <a:pt x="16" y="24"/>
                  </a:lnTo>
                  <a:lnTo>
                    <a:pt x="16" y="22"/>
                  </a:lnTo>
                  <a:lnTo>
                    <a:pt x="0" y="6"/>
                  </a:lnTo>
                  <a:lnTo>
                    <a:pt x="2" y="6"/>
                  </a:lnTo>
                  <a:lnTo>
                    <a:pt x="4" y="4"/>
                  </a:lnTo>
                  <a:lnTo>
                    <a:pt x="6" y="2"/>
                  </a:lnTo>
                  <a:lnTo>
                    <a:pt x="8"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59" name="Freeform 416"/>
            <p:cNvSpPr/>
            <p:nvPr/>
          </p:nvSpPr>
          <p:spPr bwMode="gray">
            <a:xfrm>
              <a:off x="920322" y="3322067"/>
              <a:ext cx="29622" cy="48104"/>
            </a:xfrm>
            <a:custGeom>
              <a:gdLst>
                <a:gd fmla="*/ 10 w 16" name="T0"/>
                <a:gd fmla="*/ 0 h 26" name="T1"/>
                <a:gd fmla="*/ 10 w 16" name="T2"/>
                <a:gd fmla="*/ 0 h 26" name="T3"/>
                <a:gd fmla="*/ 8 w 16" name="T4"/>
                <a:gd fmla="*/ 0 h 26" name="T5"/>
                <a:gd fmla="*/ 6 w 16" name="T6"/>
                <a:gd fmla="*/ 2 h 26" name="T7"/>
                <a:gd fmla="*/ 4 w 16" name="T8"/>
                <a:gd fmla="*/ 4 h 26" name="T9"/>
                <a:gd fmla="*/ 2 w 16" name="T10"/>
                <a:gd fmla="*/ 6 h 26" name="T11"/>
                <a:gd fmla="*/ 0 w 16" name="T12"/>
                <a:gd fmla="*/ 12 h 26" name="T13"/>
                <a:gd fmla="*/ 0 w 16" name="T14"/>
                <a:gd fmla="*/ 12 h 26" name="T15"/>
                <a:gd fmla="*/ 2 w 16" name="T16"/>
                <a:gd fmla="*/ 14 h 26" name="T17"/>
                <a:gd fmla="*/ 2 w 16" name="T18"/>
                <a:gd fmla="*/ 16 h 26" name="T19"/>
                <a:gd fmla="*/ 6 w 16" name="T20"/>
                <a:gd fmla="*/ 20 h 26" name="T21"/>
                <a:gd fmla="*/ 10 w 16" name="T22"/>
                <a:gd fmla="*/ 24 h 26" name="T23"/>
                <a:gd fmla="*/ 16 w 16" name="T24"/>
                <a:gd fmla="*/ 26 h 26" name="T25"/>
                <a:gd fmla="*/ 10 w 16" name="T26"/>
                <a:gd fmla="*/ 0 h 26"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26" w="16">
                  <a:moveTo>
                    <a:pt x="10" y="0"/>
                  </a:moveTo>
                  <a:lnTo>
                    <a:pt x="10" y="0"/>
                  </a:lnTo>
                  <a:lnTo>
                    <a:pt x="8" y="0"/>
                  </a:lnTo>
                  <a:lnTo>
                    <a:pt x="6" y="2"/>
                  </a:lnTo>
                  <a:lnTo>
                    <a:pt x="4" y="4"/>
                  </a:lnTo>
                  <a:lnTo>
                    <a:pt x="2" y="6"/>
                  </a:lnTo>
                  <a:lnTo>
                    <a:pt x="0" y="12"/>
                  </a:lnTo>
                  <a:lnTo>
                    <a:pt x="0" y="12"/>
                  </a:lnTo>
                  <a:lnTo>
                    <a:pt x="2" y="14"/>
                  </a:lnTo>
                  <a:lnTo>
                    <a:pt x="2" y="16"/>
                  </a:lnTo>
                  <a:lnTo>
                    <a:pt x="6" y="20"/>
                  </a:lnTo>
                  <a:lnTo>
                    <a:pt x="10" y="24"/>
                  </a:lnTo>
                  <a:lnTo>
                    <a:pt x="16" y="26"/>
                  </a:lnTo>
                  <a:lnTo>
                    <a:pt x="1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0" name="Freeform 417"/>
            <p:cNvSpPr/>
            <p:nvPr/>
          </p:nvSpPr>
          <p:spPr bwMode="gray">
            <a:xfrm>
              <a:off x="542637" y="3096349"/>
              <a:ext cx="129598" cy="155413"/>
            </a:xfrm>
            <a:custGeom>
              <a:gdLst>
                <a:gd fmla="*/ 58 w 70" name="T0"/>
                <a:gd fmla="*/ 30 h 84" name="T1"/>
                <a:gd fmla="*/ 54 w 70" name="T2"/>
                <a:gd fmla="*/ 26 h 84" name="T3"/>
                <a:gd fmla="*/ 54 w 70" name="T4"/>
                <a:gd fmla="*/ 20 h 84" name="T5"/>
                <a:gd fmla="*/ 52 w 70" name="T6"/>
                <a:gd fmla="*/ 18 h 84" name="T7"/>
                <a:gd fmla="*/ 50 w 70" name="T8"/>
                <a:gd fmla="*/ 20 h 84" name="T9"/>
                <a:gd fmla="*/ 46 w 70" name="T10"/>
                <a:gd fmla="*/ 22 h 84" name="T11"/>
                <a:gd fmla="*/ 42 w 70" name="T12"/>
                <a:gd fmla="*/ 18 h 84" name="T13"/>
                <a:gd fmla="*/ 38 w 70" name="T14"/>
                <a:gd fmla="*/ 14 h 84" name="T15"/>
                <a:gd fmla="*/ 40 w 70" name="T16"/>
                <a:gd fmla="*/ 8 h 84" name="T17"/>
                <a:gd fmla="*/ 38 w 70" name="T18"/>
                <a:gd fmla="*/ 0 h 84" name="T19"/>
                <a:gd fmla="*/ 30 w 70" name="T20"/>
                <a:gd fmla="*/ 14 h 84" name="T21"/>
                <a:gd fmla="*/ 32 w 70" name="T22"/>
                <a:gd fmla="*/ 16 h 84" name="T23"/>
                <a:gd fmla="*/ 28 w 70" name="T24"/>
                <a:gd fmla="*/ 22 h 84" name="T25"/>
                <a:gd fmla="*/ 20 w 70" name="T26"/>
                <a:gd fmla="*/ 26 h 84" name="T27"/>
                <a:gd fmla="*/ 2 w 70" name="T28"/>
                <a:gd fmla="*/ 24 h 84" name="T29"/>
                <a:gd fmla="*/ 0 w 70" name="T30"/>
                <a:gd fmla="*/ 26 h 84" name="T31"/>
                <a:gd fmla="*/ 0 w 70" name="T32"/>
                <a:gd fmla="*/ 32 h 84" name="T33"/>
                <a:gd fmla="*/ 4 w 70" name="T34"/>
                <a:gd fmla="*/ 36 h 84" name="T35"/>
                <a:gd fmla="*/ 6 w 70" name="T36"/>
                <a:gd fmla="*/ 36 h 84" name="T37"/>
                <a:gd fmla="*/ 12 w 70" name="T38"/>
                <a:gd fmla="*/ 42 h 84" name="T39"/>
                <a:gd fmla="*/ 16 w 70" name="T40"/>
                <a:gd fmla="*/ 54 h 84" name="T41"/>
                <a:gd fmla="*/ 16 w 70" name="T42"/>
                <a:gd fmla="*/ 58 h 84" name="T43"/>
                <a:gd fmla="*/ 16 w 70" name="T44"/>
                <a:gd fmla="*/ 66 h 84" name="T45"/>
                <a:gd fmla="*/ 16 w 70" name="T46"/>
                <a:gd fmla="*/ 72 h 84" name="T47"/>
                <a:gd fmla="*/ 14 w 70" name="T48"/>
                <a:gd fmla="*/ 74 h 84" name="T49"/>
                <a:gd fmla="*/ 14 w 70" name="T50"/>
                <a:gd fmla="*/ 78 h 84" name="T51"/>
                <a:gd fmla="*/ 16 w 70" name="T52"/>
                <a:gd fmla="*/ 82 h 84" name="T53"/>
                <a:gd fmla="*/ 26 w 70" name="T54"/>
                <a:gd fmla="*/ 84 h 84" name="T55"/>
                <a:gd fmla="*/ 42 w 70" name="T56"/>
                <a:gd fmla="*/ 78 h 84" name="T57"/>
                <a:gd fmla="*/ 62 w 70" name="T58"/>
                <a:gd fmla="*/ 66 h 84" name="T59"/>
                <a:gd fmla="*/ 68 w 70" name="T60"/>
                <a:gd fmla="*/ 56 h 84" name="T61"/>
                <a:gd fmla="*/ 70 w 70" name="T62"/>
                <a:gd fmla="*/ 50 h 84" name="T63"/>
                <a:gd fmla="*/ 68 w 70" name="T64"/>
                <a:gd fmla="*/ 46 h 84" name="T65"/>
                <a:gd fmla="*/ 64 w 70" name="T66"/>
                <a:gd fmla="*/ 38 h 84" name="T67"/>
                <a:gd fmla="*/ 62 w 70" name="T68"/>
                <a:gd fmla="*/ 32 h 84"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84" w="70">
                  <a:moveTo>
                    <a:pt x="62" y="30"/>
                  </a:moveTo>
                  <a:lnTo>
                    <a:pt x="58" y="30"/>
                  </a:lnTo>
                  <a:lnTo>
                    <a:pt x="56" y="28"/>
                  </a:lnTo>
                  <a:lnTo>
                    <a:pt x="54" y="26"/>
                  </a:lnTo>
                  <a:lnTo>
                    <a:pt x="54" y="24"/>
                  </a:lnTo>
                  <a:lnTo>
                    <a:pt x="54" y="20"/>
                  </a:lnTo>
                  <a:lnTo>
                    <a:pt x="52" y="18"/>
                  </a:lnTo>
                  <a:lnTo>
                    <a:pt x="52" y="18"/>
                  </a:lnTo>
                  <a:lnTo>
                    <a:pt x="52" y="18"/>
                  </a:lnTo>
                  <a:lnTo>
                    <a:pt x="50" y="20"/>
                  </a:lnTo>
                  <a:lnTo>
                    <a:pt x="48" y="22"/>
                  </a:lnTo>
                  <a:lnTo>
                    <a:pt x="46" y="22"/>
                  </a:lnTo>
                  <a:lnTo>
                    <a:pt x="44" y="20"/>
                  </a:lnTo>
                  <a:lnTo>
                    <a:pt x="42" y="18"/>
                  </a:lnTo>
                  <a:lnTo>
                    <a:pt x="40" y="18"/>
                  </a:lnTo>
                  <a:lnTo>
                    <a:pt x="38" y="14"/>
                  </a:lnTo>
                  <a:lnTo>
                    <a:pt x="38" y="12"/>
                  </a:lnTo>
                  <a:lnTo>
                    <a:pt x="40" y="8"/>
                  </a:lnTo>
                  <a:lnTo>
                    <a:pt x="50" y="2"/>
                  </a:lnTo>
                  <a:lnTo>
                    <a:pt x="38" y="0"/>
                  </a:lnTo>
                  <a:lnTo>
                    <a:pt x="30" y="6"/>
                  </a:lnTo>
                  <a:lnTo>
                    <a:pt x="30" y="14"/>
                  </a:lnTo>
                  <a:lnTo>
                    <a:pt x="32" y="14"/>
                  </a:lnTo>
                  <a:lnTo>
                    <a:pt x="32" y="16"/>
                  </a:lnTo>
                  <a:lnTo>
                    <a:pt x="30" y="18"/>
                  </a:lnTo>
                  <a:lnTo>
                    <a:pt x="28" y="22"/>
                  </a:lnTo>
                  <a:lnTo>
                    <a:pt x="24" y="24"/>
                  </a:lnTo>
                  <a:lnTo>
                    <a:pt x="20" y="26"/>
                  </a:lnTo>
                  <a:lnTo>
                    <a:pt x="8" y="22"/>
                  </a:lnTo>
                  <a:lnTo>
                    <a:pt x="2" y="24"/>
                  </a:lnTo>
                  <a:lnTo>
                    <a:pt x="2" y="24"/>
                  </a:lnTo>
                  <a:lnTo>
                    <a:pt x="0" y="26"/>
                  </a:lnTo>
                  <a:lnTo>
                    <a:pt x="0" y="30"/>
                  </a:lnTo>
                  <a:lnTo>
                    <a:pt x="0" y="32"/>
                  </a:lnTo>
                  <a:lnTo>
                    <a:pt x="2" y="36"/>
                  </a:lnTo>
                  <a:lnTo>
                    <a:pt x="4" y="36"/>
                  </a:lnTo>
                  <a:lnTo>
                    <a:pt x="4" y="36"/>
                  </a:lnTo>
                  <a:lnTo>
                    <a:pt x="6" y="36"/>
                  </a:lnTo>
                  <a:lnTo>
                    <a:pt x="10" y="38"/>
                  </a:lnTo>
                  <a:lnTo>
                    <a:pt x="12" y="42"/>
                  </a:lnTo>
                  <a:lnTo>
                    <a:pt x="14" y="46"/>
                  </a:lnTo>
                  <a:lnTo>
                    <a:pt x="16" y="54"/>
                  </a:lnTo>
                  <a:lnTo>
                    <a:pt x="16" y="54"/>
                  </a:lnTo>
                  <a:lnTo>
                    <a:pt x="16" y="58"/>
                  </a:lnTo>
                  <a:lnTo>
                    <a:pt x="16" y="62"/>
                  </a:lnTo>
                  <a:lnTo>
                    <a:pt x="16" y="66"/>
                  </a:lnTo>
                  <a:lnTo>
                    <a:pt x="16" y="70"/>
                  </a:lnTo>
                  <a:lnTo>
                    <a:pt x="16" y="72"/>
                  </a:lnTo>
                  <a:lnTo>
                    <a:pt x="14" y="74"/>
                  </a:lnTo>
                  <a:lnTo>
                    <a:pt x="14" y="74"/>
                  </a:lnTo>
                  <a:lnTo>
                    <a:pt x="14" y="76"/>
                  </a:lnTo>
                  <a:lnTo>
                    <a:pt x="14" y="78"/>
                  </a:lnTo>
                  <a:lnTo>
                    <a:pt x="14" y="80"/>
                  </a:lnTo>
                  <a:lnTo>
                    <a:pt x="16" y="82"/>
                  </a:lnTo>
                  <a:lnTo>
                    <a:pt x="20" y="84"/>
                  </a:lnTo>
                  <a:lnTo>
                    <a:pt x="26" y="84"/>
                  </a:lnTo>
                  <a:lnTo>
                    <a:pt x="30" y="82"/>
                  </a:lnTo>
                  <a:lnTo>
                    <a:pt x="42" y="78"/>
                  </a:lnTo>
                  <a:lnTo>
                    <a:pt x="54" y="72"/>
                  </a:lnTo>
                  <a:lnTo>
                    <a:pt x="62" y="66"/>
                  </a:lnTo>
                  <a:lnTo>
                    <a:pt x="66" y="62"/>
                  </a:lnTo>
                  <a:lnTo>
                    <a:pt x="68" y="56"/>
                  </a:lnTo>
                  <a:lnTo>
                    <a:pt x="70" y="52"/>
                  </a:lnTo>
                  <a:lnTo>
                    <a:pt x="70" y="50"/>
                  </a:lnTo>
                  <a:lnTo>
                    <a:pt x="68" y="48"/>
                  </a:lnTo>
                  <a:lnTo>
                    <a:pt x="68" y="46"/>
                  </a:lnTo>
                  <a:lnTo>
                    <a:pt x="66" y="42"/>
                  </a:lnTo>
                  <a:lnTo>
                    <a:pt x="64" y="38"/>
                  </a:lnTo>
                  <a:lnTo>
                    <a:pt x="64" y="34"/>
                  </a:lnTo>
                  <a:lnTo>
                    <a:pt x="62" y="32"/>
                  </a:lnTo>
                  <a:lnTo>
                    <a:pt x="62" y="3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1" name="Freeform 418"/>
            <p:cNvSpPr/>
            <p:nvPr/>
          </p:nvSpPr>
          <p:spPr bwMode="gray">
            <a:xfrm>
              <a:off x="653721" y="2944637"/>
              <a:ext cx="199951" cy="370030"/>
            </a:xfrm>
            <a:custGeom>
              <a:gdLst>
                <a:gd fmla="*/ 38 w 108" name="T0"/>
                <a:gd fmla="*/ 2 h 200" name="T1"/>
                <a:gd fmla="*/ 32 w 108" name="T2"/>
                <a:gd fmla="*/ 0 h 200" name="T3"/>
                <a:gd fmla="*/ 24 w 108" name="T4"/>
                <a:gd fmla="*/ 2 h 200" name="T5"/>
                <a:gd fmla="*/ 14 w 108" name="T6"/>
                <a:gd fmla="*/ 16 h 200" name="T7"/>
                <a:gd fmla="*/ 16 w 108" name="T8"/>
                <a:gd fmla="*/ 22 h 200" name="T9"/>
                <a:gd fmla="*/ 14 w 108" name="T10"/>
                <a:gd fmla="*/ 32 h 200" name="T11"/>
                <a:gd fmla="*/ 10 w 108" name="T12"/>
                <a:gd fmla="*/ 36 h 200" name="T13"/>
                <a:gd fmla="*/ 6 w 108" name="T14"/>
                <a:gd fmla="*/ 44 h 200" name="T15"/>
                <a:gd fmla="*/ 4 w 108" name="T16"/>
                <a:gd fmla="*/ 52 h 200" name="T17"/>
                <a:gd fmla="*/ 14 w 108" name="T18"/>
                <a:gd fmla="*/ 54 h 200" name="T19"/>
                <a:gd fmla="*/ 12 w 108" name="T20"/>
                <a:gd fmla="*/ 58 h 200" name="T21"/>
                <a:gd fmla="*/ 12 w 108" name="T22"/>
                <a:gd fmla="*/ 64 h 200" name="T23"/>
                <a:gd fmla="*/ 14 w 108" name="T24"/>
                <a:gd fmla="*/ 70 h 200" name="T25"/>
                <a:gd fmla="*/ 24 w 108" name="T26"/>
                <a:gd fmla="*/ 76 h 200" name="T27"/>
                <a:gd fmla="*/ 24 w 108" name="T28"/>
                <a:gd fmla="*/ 82 h 200" name="T29"/>
                <a:gd fmla="*/ 22 w 108" name="T30"/>
                <a:gd fmla="*/ 86 h 200" name="T31"/>
                <a:gd fmla="*/ 18 w 108" name="T32"/>
                <a:gd fmla="*/ 94 h 200" name="T33"/>
                <a:gd fmla="*/ 20 w 108" name="T34"/>
                <a:gd fmla="*/ 98 h 200" name="T35"/>
                <a:gd fmla="*/ 32 w 108" name="T36"/>
                <a:gd fmla="*/ 92 h 200" name="T37"/>
                <a:gd fmla="*/ 36 w 108" name="T38"/>
                <a:gd fmla="*/ 102 h 200" name="T39"/>
                <a:gd fmla="*/ 40 w 108" name="T40"/>
                <a:gd fmla="*/ 114 h 200" name="T41"/>
                <a:gd fmla="*/ 22 w 108" name="T42"/>
                <a:gd fmla="*/ 128 h 200" name="T43"/>
                <a:gd fmla="*/ 28 w 108" name="T44"/>
                <a:gd fmla="*/ 140 h 200" name="T45"/>
                <a:gd fmla="*/ 20 w 108" name="T46"/>
                <a:gd fmla="*/ 154 h 200" name="T47"/>
                <a:gd fmla="*/ 18 w 108" name="T48"/>
                <a:gd fmla="*/ 156 h 200" name="T49"/>
                <a:gd fmla="*/ 18 w 108" name="T50"/>
                <a:gd fmla="*/ 160 h 200" name="T51"/>
                <a:gd fmla="*/ 38 w 108" name="T52"/>
                <a:gd fmla="*/ 164 h 200" name="T53"/>
                <a:gd fmla="*/ 52 w 108" name="T54"/>
                <a:gd fmla="*/ 158 h 200" name="T55"/>
                <a:gd fmla="*/ 52 w 108" name="T56"/>
                <a:gd fmla="*/ 162 h 200" name="T57"/>
                <a:gd fmla="*/ 44 w 108" name="T58"/>
                <a:gd fmla="*/ 166 h 200" name="T59"/>
                <a:gd fmla="*/ 0 w 108" name="T60"/>
                <a:gd fmla="*/ 196 h 200" name="T61"/>
                <a:gd fmla="*/ 28 w 108" name="T62"/>
                <a:gd fmla="*/ 190 h 200" name="T63"/>
                <a:gd fmla="*/ 58 w 108" name="T64"/>
                <a:gd fmla="*/ 188 h 200" name="T65"/>
                <a:gd fmla="*/ 108 w 108" name="T66"/>
                <a:gd fmla="*/ 174 h 200" name="T67"/>
                <a:gd fmla="*/ 98 w 108" name="T68"/>
                <a:gd fmla="*/ 164 h 200" name="T69"/>
                <a:gd fmla="*/ 102 w 108" name="T70"/>
                <a:gd fmla="*/ 158 h 200" name="T71"/>
                <a:gd fmla="*/ 102 w 108" name="T72"/>
                <a:gd fmla="*/ 150 h 200" name="T73"/>
                <a:gd fmla="*/ 100 w 108" name="T74"/>
                <a:gd fmla="*/ 146 h 200" name="T75"/>
                <a:gd fmla="*/ 94 w 108" name="T76"/>
                <a:gd fmla="*/ 140 h 200" name="T77"/>
                <a:gd fmla="*/ 88 w 108" name="T78"/>
                <a:gd fmla="*/ 136 h 200" name="T79"/>
                <a:gd fmla="*/ 84 w 108" name="T80"/>
                <a:gd fmla="*/ 120 h 200" name="T81"/>
                <a:gd fmla="*/ 66 w 108" name="T82"/>
                <a:gd fmla="*/ 100 h 200" name="T83"/>
                <a:gd fmla="*/ 64 w 108" name="T84"/>
                <a:gd fmla="*/ 84 h 200" name="T85"/>
                <a:gd fmla="*/ 56 w 108" name="T86"/>
                <a:gd fmla="*/ 68 h 200" name="T87"/>
                <a:gd fmla="*/ 56 w 108" name="T88"/>
                <a:gd fmla="*/ 44 h 200" name="T89"/>
                <a:gd fmla="*/ 56 w 108" name="T90"/>
                <a:gd fmla="*/ 42 h 200" name="T91"/>
                <a:gd fmla="*/ 52 w 108" name="T92"/>
                <a:gd fmla="*/ 36 h 200" name="T93"/>
                <a:gd fmla="*/ 48 w 108" name="T94"/>
                <a:gd fmla="*/ 34 h 200" name="T95"/>
                <a:gd fmla="*/ 44 w 108" name="T96"/>
                <a:gd fmla="*/ 32 h 200" name="T97"/>
                <a:gd fmla="*/ 36 w 108" name="T98"/>
                <a:gd fmla="*/ 28 h 200" name="T99"/>
                <a:gd fmla="*/ 34 w 108" name="T100"/>
                <a:gd fmla="*/ 26 h 200" name="T101"/>
                <a:gd fmla="*/ 34 w 108" name="T102"/>
                <a:gd fmla="*/ 20 h 200" name="T103"/>
                <a:gd fmla="*/ 38 w 108" name="T104"/>
                <a:gd fmla="*/ 14 h 200" name="T105"/>
                <a:gd fmla="*/ 40 w 108" name="T106"/>
                <a:gd fmla="*/ 8 h 200" name="T107"/>
                <a:gd fmla="*/ 40 w 108" name="T108"/>
                <a:gd fmla="*/ 4 h 200"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200" w="108">
                  <a:moveTo>
                    <a:pt x="40" y="2"/>
                  </a:moveTo>
                  <a:lnTo>
                    <a:pt x="38" y="2"/>
                  </a:lnTo>
                  <a:lnTo>
                    <a:pt x="36" y="2"/>
                  </a:lnTo>
                  <a:lnTo>
                    <a:pt x="32" y="0"/>
                  </a:lnTo>
                  <a:lnTo>
                    <a:pt x="28" y="0"/>
                  </a:lnTo>
                  <a:lnTo>
                    <a:pt x="24" y="2"/>
                  </a:lnTo>
                  <a:lnTo>
                    <a:pt x="14" y="16"/>
                  </a:lnTo>
                  <a:lnTo>
                    <a:pt x="14" y="16"/>
                  </a:lnTo>
                  <a:lnTo>
                    <a:pt x="16" y="18"/>
                  </a:lnTo>
                  <a:lnTo>
                    <a:pt x="16" y="22"/>
                  </a:lnTo>
                  <a:lnTo>
                    <a:pt x="16" y="26"/>
                  </a:lnTo>
                  <a:lnTo>
                    <a:pt x="14" y="32"/>
                  </a:lnTo>
                  <a:lnTo>
                    <a:pt x="14" y="32"/>
                  </a:lnTo>
                  <a:lnTo>
                    <a:pt x="10" y="36"/>
                  </a:lnTo>
                  <a:lnTo>
                    <a:pt x="8" y="38"/>
                  </a:lnTo>
                  <a:lnTo>
                    <a:pt x="6" y="44"/>
                  </a:lnTo>
                  <a:lnTo>
                    <a:pt x="4" y="48"/>
                  </a:lnTo>
                  <a:lnTo>
                    <a:pt x="4" y="52"/>
                  </a:lnTo>
                  <a:lnTo>
                    <a:pt x="6" y="56"/>
                  </a:lnTo>
                  <a:lnTo>
                    <a:pt x="14" y="54"/>
                  </a:lnTo>
                  <a:lnTo>
                    <a:pt x="14" y="56"/>
                  </a:lnTo>
                  <a:lnTo>
                    <a:pt x="12" y="58"/>
                  </a:lnTo>
                  <a:lnTo>
                    <a:pt x="12" y="60"/>
                  </a:lnTo>
                  <a:lnTo>
                    <a:pt x="12" y="64"/>
                  </a:lnTo>
                  <a:lnTo>
                    <a:pt x="12" y="66"/>
                  </a:lnTo>
                  <a:lnTo>
                    <a:pt x="14" y="70"/>
                  </a:lnTo>
                  <a:lnTo>
                    <a:pt x="16" y="72"/>
                  </a:lnTo>
                  <a:lnTo>
                    <a:pt x="24" y="76"/>
                  </a:lnTo>
                  <a:lnTo>
                    <a:pt x="24" y="80"/>
                  </a:lnTo>
                  <a:lnTo>
                    <a:pt x="24" y="82"/>
                  </a:lnTo>
                  <a:lnTo>
                    <a:pt x="22" y="84"/>
                  </a:lnTo>
                  <a:lnTo>
                    <a:pt x="22" y="86"/>
                  </a:lnTo>
                  <a:lnTo>
                    <a:pt x="20" y="90"/>
                  </a:lnTo>
                  <a:lnTo>
                    <a:pt x="18" y="94"/>
                  </a:lnTo>
                  <a:lnTo>
                    <a:pt x="18" y="96"/>
                  </a:lnTo>
                  <a:lnTo>
                    <a:pt x="20" y="98"/>
                  </a:lnTo>
                  <a:lnTo>
                    <a:pt x="22" y="100"/>
                  </a:lnTo>
                  <a:lnTo>
                    <a:pt x="32" y="92"/>
                  </a:lnTo>
                  <a:lnTo>
                    <a:pt x="44" y="94"/>
                  </a:lnTo>
                  <a:lnTo>
                    <a:pt x="36" y="102"/>
                  </a:lnTo>
                  <a:lnTo>
                    <a:pt x="34" y="114"/>
                  </a:lnTo>
                  <a:lnTo>
                    <a:pt x="40" y="114"/>
                  </a:lnTo>
                  <a:lnTo>
                    <a:pt x="40" y="128"/>
                  </a:lnTo>
                  <a:lnTo>
                    <a:pt x="22" y="128"/>
                  </a:lnTo>
                  <a:lnTo>
                    <a:pt x="22" y="138"/>
                  </a:lnTo>
                  <a:lnTo>
                    <a:pt x="28" y="140"/>
                  </a:lnTo>
                  <a:lnTo>
                    <a:pt x="20" y="152"/>
                  </a:lnTo>
                  <a:lnTo>
                    <a:pt x="20" y="154"/>
                  </a:lnTo>
                  <a:lnTo>
                    <a:pt x="18" y="154"/>
                  </a:lnTo>
                  <a:lnTo>
                    <a:pt x="18" y="156"/>
                  </a:lnTo>
                  <a:lnTo>
                    <a:pt x="18" y="158"/>
                  </a:lnTo>
                  <a:lnTo>
                    <a:pt x="18" y="160"/>
                  </a:lnTo>
                  <a:lnTo>
                    <a:pt x="20" y="160"/>
                  </a:lnTo>
                  <a:lnTo>
                    <a:pt x="38" y="164"/>
                  </a:lnTo>
                  <a:lnTo>
                    <a:pt x="48" y="160"/>
                  </a:lnTo>
                  <a:lnTo>
                    <a:pt x="52" y="158"/>
                  </a:lnTo>
                  <a:lnTo>
                    <a:pt x="52" y="160"/>
                  </a:lnTo>
                  <a:lnTo>
                    <a:pt x="52" y="162"/>
                  </a:lnTo>
                  <a:lnTo>
                    <a:pt x="48" y="164"/>
                  </a:lnTo>
                  <a:lnTo>
                    <a:pt x="44" y="166"/>
                  </a:lnTo>
                  <a:lnTo>
                    <a:pt x="20" y="176"/>
                  </a:lnTo>
                  <a:lnTo>
                    <a:pt x="0" y="196"/>
                  </a:lnTo>
                  <a:lnTo>
                    <a:pt x="10" y="200"/>
                  </a:lnTo>
                  <a:lnTo>
                    <a:pt x="28" y="190"/>
                  </a:lnTo>
                  <a:lnTo>
                    <a:pt x="36" y="188"/>
                  </a:lnTo>
                  <a:lnTo>
                    <a:pt x="58" y="188"/>
                  </a:lnTo>
                  <a:lnTo>
                    <a:pt x="84" y="182"/>
                  </a:lnTo>
                  <a:lnTo>
                    <a:pt x="108" y="174"/>
                  </a:lnTo>
                  <a:lnTo>
                    <a:pt x="96" y="164"/>
                  </a:lnTo>
                  <a:lnTo>
                    <a:pt x="98" y="164"/>
                  </a:lnTo>
                  <a:lnTo>
                    <a:pt x="100" y="162"/>
                  </a:lnTo>
                  <a:lnTo>
                    <a:pt x="102" y="158"/>
                  </a:lnTo>
                  <a:lnTo>
                    <a:pt x="102" y="154"/>
                  </a:lnTo>
                  <a:lnTo>
                    <a:pt x="102" y="150"/>
                  </a:lnTo>
                  <a:lnTo>
                    <a:pt x="102" y="148"/>
                  </a:lnTo>
                  <a:lnTo>
                    <a:pt x="100" y="146"/>
                  </a:lnTo>
                  <a:lnTo>
                    <a:pt x="98" y="142"/>
                  </a:lnTo>
                  <a:lnTo>
                    <a:pt x="94" y="140"/>
                  </a:lnTo>
                  <a:lnTo>
                    <a:pt x="90" y="138"/>
                  </a:lnTo>
                  <a:lnTo>
                    <a:pt x="88" y="136"/>
                  </a:lnTo>
                  <a:lnTo>
                    <a:pt x="86" y="132"/>
                  </a:lnTo>
                  <a:lnTo>
                    <a:pt x="84" y="120"/>
                  </a:lnTo>
                  <a:lnTo>
                    <a:pt x="78" y="108"/>
                  </a:lnTo>
                  <a:lnTo>
                    <a:pt x="66" y="100"/>
                  </a:lnTo>
                  <a:lnTo>
                    <a:pt x="66" y="94"/>
                  </a:lnTo>
                  <a:lnTo>
                    <a:pt x="64" y="84"/>
                  </a:lnTo>
                  <a:lnTo>
                    <a:pt x="60" y="72"/>
                  </a:lnTo>
                  <a:lnTo>
                    <a:pt x="56" y="68"/>
                  </a:lnTo>
                  <a:lnTo>
                    <a:pt x="48" y="62"/>
                  </a:lnTo>
                  <a:lnTo>
                    <a:pt x="56" y="44"/>
                  </a:lnTo>
                  <a:lnTo>
                    <a:pt x="56" y="44"/>
                  </a:lnTo>
                  <a:lnTo>
                    <a:pt x="56" y="42"/>
                  </a:lnTo>
                  <a:lnTo>
                    <a:pt x="54" y="38"/>
                  </a:lnTo>
                  <a:lnTo>
                    <a:pt x="52" y="36"/>
                  </a:lnTo>
                  <a:lnTo>
                    <a:pt x="52" y="34"/>
                  </a:lnTo>
                  <a:lnTo>
                    <a:pt x="48" y="34"/>
                  </a:lnTo>
                  <a:lnTo>
                    <a:pt x="46" y="32"/>
                  </a:lnTo>
                  <a:lnTo>
                    <a:pt x="44" y="32"/>
                  </a:lnTo>
                  <a:lnTo>
                    <a:pt x="44" y="30"/>
                  </a:lnTo>
                  <a:lnTo>
                    <a:pt x="36" y="28"/>
                  </a:lnTo>
                  <a:lnTo>
                    <a:pt x="34" y="28"/>
                  </a:lnTo>
                  <a:lnTo>
                    <a:pt x="34" y="26"/>
                  </a:lnTo>
                  <a:lnTo>
                    <a:pt x="34" y="22"/>
                  </a:lnTo>
                  <a:lnTo>
                    <a:pt x="34" y="20"/>
                  </a:lnTo>
                  <a:lnTo>
                    <a:pt x="36" y="16"/>
                  </a:lnTo>
                  <a:lnTo>
                    <a:pt x="38" y="14"/>
                  </a:lnTo>
                  <a:lnTo>
                    <a:pt x="40" y="12"/>
                  </a:lnTo>
                  <a:lnTo>
                    <a:pt x="40" y="8"/>
                  </a:lnTo>
                  <a:lnTo>
                    <a:pt x="42" y="6"/>
                  </a:lnTo>
                  <a:lnTo>
                    <a:pt x="40" y="4"/>
                  </a:lnTo>
                  <a:lnTo>
                    <a:pt x="40"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2" name="Freeform 419"/>
            <p:cNvSpPr/>
            <p:nvPr/>
          </p:nvSpPr>
          <p:spPr bwMode="gray">
            <a:xfrm>
              <a:off x="612990" y="3096349"/>
              <a:ext cx="66650" cy="59205"/>
            </a:xfrm>
            <a:custGeom>
              <a:gdLst>
                <a:gd fmla="*/ 16 w 36" name="T0"/>
                <a:gd fmla="*/ 0 h 32" name="T1"/>
                <a:gd fmla="*/ 16 w 36" name="T2"/>
                <a:gd fmla="*/ 0 h 32" name="T3"/>
                <a:gd fmla="*/ 18 w 36" name="T4"/>
                <a:gd fmla="*/ 0 h 32" name="T5"/>
                <a:gd fmla="*/ 20 w 36" name="T6"/>
                <a:gd fmla="*/ 0 h 32" name="T7"/>
                <a:gd fmla="*/ 24 w 36" name="T8"/>
                <a:gd fmla="*/ 0 h 32" name="T9"/>
                <a:gd fmla="*/ 28 w 36" name="T10"/>
                <a:gd fmla="*/ 0 h 32" name="T11"/>
                <a:gd fmla="*/ 30 w 36" name="T12"/>
                <a:gd fmla="*/ 2 h 32" name="T13"/>
                <a:gd fmla="*/ 32 w 36" name="T14"/>
                <a:gd fmla="*/ 6 h 32" name="T15"/>
                <a:gd fmla="*/ 32 w 36" name="T16"/>
                <a:gd fmla="*/ 6 h 32" name="T17"/>
                <a:gd fmla="*/ 34 w 36" name="T18"/>
                <a:gd fmla="*/ 8 h 32" name="T19"/>
                <a:gd fmla="*/ 36 w 36" name="T20"/>
                <a:gd fmla="*/ 12 h 32" name="T21"/>
                <a:gd fmla="*/ 36 w 36" name="T22"/>
                <a:gd fmla="*/ 16 h 32" name="T23"/>
                <a:gd fmla="*/ 36 w 36" name="T24"/>
                <a:gd fmla="*/ 22 h 32" name="T25"/>
                <a:gd fmla="*/ 32 w 36" name="T26"/>
                <a:gd fmla="*/ 28 h 32" name="T27"/>
                <a:gd fmla="*/ 32 w 36" name="T28"/>
                <a:gd fmla="*/ 28 h 32" name="T29"/>
                <a:gd fmla="*/ 30 w 36" name="T30"/>
                <a:gd fmla="*/ 30 h 32" name="T31"/>
                <a:gd fmla="*/ 28 w 36" name="T32"/>
                <a:gd fmla="*/ 32 h 32" name="T33"/>
                <a:gd fmla="*/ 26 w 36" name="T34"/>
                <a:gd fmla="*/ 30 h 32" name="T35"/>
                <a:gd fmla="*/ 24 w 36" name="T36"/>
                <a:gd fmla="*/ 30 h 32" name="T37"/>
                <a:gd fmla="*/ 20 w 36" name="T38"/>
                <a:gd fmla="*/ 30 h 32" name="T39"/>
                <a:gd fmla="*/ 18 w 36" name="T40"/>
                <a:gd fmla="*/ 28 h 32" name="T41"/>
                <a:gd fmla="*/ 16 w 36" name="T42"/>
                <a:gd fmla="*/ 26 h 32" name="T43"/>
                <a:gd fmla="*/ 16 w 36" name="T44"/>
                <a:gd fmla="*/ 24 h 32" name="T45"/>
                <a:gd fmla="*/ 16 w 36" name="T46"/>
                <a:gd fmla="*/ 20 h 32" name="T47"/>
                <a:gd fmla="*/ 14 w 36" name="T48"/>
                <a:gd fmla="*/ 18 h 32" name="T49"/>
                <a:gd fmla="*/ 14 w 36" name="T50"/>
                <a:gd fmla="*/ 18 h 32" name="T51"/>
                <a:gd fmla="*/ 14 w 36" name="T52"/>
                <a:gd fmla="*/ 18 h 32" name="T53"/>
                <a:gd fmla="*/ 12 w 36" name="T54"/>
                <a:gd fmla="*/ 20 h 32" name="T55"/>
                <a:gd fmla="*/ 10 w 36" name="T56"/>
                <a:gd fmla="*/ 22 h 32" name="T57"/>
                <a:gd fmla="*/ 8 w 36" name="T58"/>
                <a:gd fmla="*/ 22 h 32" name="T59"/>
                <a:gd fmla="*/ 6 w 36" name="T60"/>
                <a:gd fmla="*/ 20 h 32" name="T61"/>
                <a:gd fmla="*/ 4 w 36" name="T62"/>
                <a:gd fmla="*/ 18 h 32" name="T63"/>
                <a:gd fmla="*/ 2 w 36" name="T64"/>
                <a:gd fmla="*/ 18 h 32" name="T65"/>
                <a:gd fmla="*/ 0 w 36" name="T66"/>
                <a:gd fmla="*/ 14 h 32" name="T67"/>
                <a:gd fmla="*/ 0 w 36" name="T68"/>
                <a:gd fmla="*/ 12 h 32" name="T69"/>
                <a:gd fmla="*/ 2 w 36" name="T70"/>
                <a:gd fmla="*/ 8 h 32" name="T71"/>
                <a:gd fmla="*/ 16 w 36" name="T72"/>
                <a:gd fmla="*/ 0 h 32"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32" w="36">
                  <a:moveTo>
                    <a:pt x="16" y="0"/>
                  </a:moveTo>
                  <a:lnTo>
                    <a:pt x="16" y="0"/>
                  </a:lnTo>
                  <a:lnTo>
                    <a:pt x="18" y="0"/>
                  </a:lnTo>
                  <a:lnTo>
                    <a:pt x="20" y="0"/>
                  </a:lnTo>
                  <a:lnTo>
                    <a:pt x="24" y="0"/>
                  </a:lnTo>
                  <a:lnTo>
                    <a:pt x="28" y="0"/>
                  </a:lnTo>
                  <a:lnTo>
                    <a:pt x="30" y="2"/>
                  </a:lnTo>
                  <a:lnTo>
                    <a:pt x="32" y="6"/>
                  </a:lnTo>
                  <a:lnTo>
                    <a:pt x="32" y="6"/>
                  </a:lnTo>
                  <a:lnTo>
                    <a:pt x="34" y="8"/>
                  </a:lnTo>
                  <a:lnTo>
                    <a:pt x="36" y="12"/>
                  </a:lnTo>
                  <a:lnTo>
                    <a:pt x="36" y="16"/>
                  </a:lnTo>
                  <a:lnTo>
                    <a:pt x="36" y="22"/>
                  </a:lnTo>
                  <a:lnTo>
                    <a:pt x="32" y="28"/>
                  </a:lnTo>
                  <a:lnTo>
                    <a:pt x="32" y="28"/>
                  </a:lnTo>
                  <a:lnTo>
                    <a:pt x="30" y="30"/>
                  </a:lnTo>
                  <a:lnTo>
                    <a:pt x="28" y="32"/>
                  </a:lnTo>
                  <a:lnTo>
                    <a:pt x="26" y="30"/>
                  </a:lnTo>
                  <a:lnTo>
                    <a:pt x="24" y="30"/>
                  </a:lnTo>
                  <a:lnTo>
                    <a:pt x="20" y="30"/>
                  </a:lnTo>
                  <a:lnTo>
                    <a:pt x="18" y="28"/>
                  </a:lnTo>
                  <a:lnTo>
                    <a:pt x="16" y="26"/>
                  </a:lnTo>
                  <a:lnTo>
                    <a:pt x="16" y="24"/>
                  </a:lnTo>
                  <a:lnTo>
                    <a:pt x="16" y="20"/>
                  </a:lnTo>
                  <a:lnTo>
                    <a:pt x="14" y="18"/>
                  </a:lnTo>
                  <a:lnTo>
                    <a:pt x="14" y="18"/>
                  </a:lnTo>
                  <a:lnTo>
                    <a:pt x="14" y="18"/>
                  </a:lnTo>
                  <a:lnTo>
                    <a:pt x="12" y="20"/>
                  </a:lnTo>
                  <a:lnTo>
                    <a:pt x="10" y="22"/>
                  </a:lnTo>
                  <a:lnTo>
                    <a:pt x="8" y="22"/>
                  </a:lnTo>
                  <a:lnTo>
                    <a:pt x="6" y="20"/>
                  </a:lnTo>
                  <a:lnTo>
                    <a:pt x="4" y="18"/>
                  </a:lnTo>
                  <a:lnTo>
                    <a:pt x="2" y="18"/>
                  </a:lnTo>
                  <a:lnTo>
                    <a:pt x="0" y="14"/>
                  </a:lnTo>
                  <a:lnTo>
                    <a:pt x="0" y="12"/>
                  </a:lnTo>
                  <a:lnTo>
                    <a:pt x="2" y="8"/>
                  </a:lnTo>
                  <a:lnTo>
                    <a:pt x="1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3" name="Freeform 420"/>
            <p:cNvSpPr/>
            <p:nvPr/>
          </p:nvSpPr>
          <p:spPr bwMode="gray">
            <a:xfrm>
              <a:off x="990675" y="3000141"/>
              <a:ext cx="66650" cy="114709"/>
            </a:xfrm>
            <a:custGeom>
              <a:gdLst>
                <a:gd fmla="*/ 30 w 36" name="T0"/>
                <a:gd fmla="*/ 58 h 62" name="T1"/>
                <a:gd fmla="*/ 30 w 36" name="T2"/>
                <a:gd fmla="*/ 46 h 62" name="T3"/>
                <a:gd fmla="*/ 30 w 36" name="T4"/>
                <a:gd fmla="*/ 44 h 62" name="T5"/>
                <a:gd fmla="*/ 30 w 36" name="T6"/>
                <a:gd fmla="*/ 42 h 62" name="T7"/>
                <a:gd fmla="*/ 28 w 36" name="T8"/>
                <a:gd fmla="*/ 38 h 62" name="T9"/>
                <a:gd fmla="*/ 30 w 36" name="T10"/>
                <a:gd fmla="*/ 36 h 62" name="T11"/>
                <a:gd fmla="*/ 30 w 36" name="T12"/>
                <a:gd fmla="*/ 32 h 62" name="T13"/>
                <a:gd fmla="*/ 32 w 36" name="T14"/>
                <a:gd fmla="*/ 30 h 62" name="T15"/>
                <a:gd fmla="*/ 36 w 36" name="T16"/>
                <a:gd fmla="*/ 28 h 62" name="T17"/>
                <a:gd fmla="*/ 36 w 36" name="T18"/>
                <a:gd fmla="*/ 28 h 62" name="T19"/>
                <a:gd fmla="*/ 36 w 36" name="T20"/>
                <a:gd fmla="*/ 24 h 62" name="T21"/>
                <a:gd fmla="*/ 34 w 36" name="T22"/>
                <a:gd fmla="*/ 22 h 62" name="T23"/>
                <a:gd fmla="*/ 34 w 36" name="T24"/>
                <a:gd fmla="*/ 18 h 62" name="T25"/>
                <a:gd fmla="*/ 32 w 36" name="T26"/>
                <a:gd fmla="*/ 16 h 62" name="T27"/>
                <a:gd fmla="*/ 32 w 36" name="T28"/>
                <a:gd fmla="*/ 16 h 62" name="T29"/>
                <a:gd fmla="*/ 30 w 36" name="T30"/>
                <a:gd fmla="*/ 12 h 62" name="T31"/>
                <a:gd fmla="*/ 30 w 36" name="T32"/>
                <a:gd fmla="*/ 8 h 62" name="T33"/>
                <a:gd fmla="*/ 30 w 36" name="T34"/>
                <a:gd fmla="*/ 4 h 62" name="T35"/>
                <a:gd fmla="*/ 28 w 36" name="T36"/>
                <a:gd fmla="*/ 0 h 62" name="T37"/>
                <a:gd fmla="*/ 28 w 36" name="T38"/>
                <a:gd fmla="*/ 0 h 62" name="T39"/>
                <a:gd fmla="*/ 24 w 36" name="T40"/>
                <a:gd fmla="*/ 0 h 62" name="T41"/>
                <a:gd fmla="*/ 2 w 36" name="T42"/>
                <a:gd fmla="*/ 20 h 62" name="T43"/>
                <a:gd fmla="*/ 2 w 36" name="T44"/>
                <a:gd fmla="*/ 22 h 62" name="T45"/>
                <a:gd fmla="*/ 0 w 36" name="T46"/>
                <a:gd fmla="*/ 26 h 62" name="T47"/>
                <a:gd fmla="*/ 0 w 36" name="T48"/>
                <a:gd fmla="*/ 32 h 62" name="T49"/>
                <a:gd fmla="*/ 0 w 36" name="T50"/>
                <a:gd fmla="*/ 36 h 62" name="T51"/>
                <a:gd fmla="*/ 2 w 36" name="T52"/>
                <a:gd fmla="*/ 40 h 62" name="T53"/>
                <a:gd fmla="*/ 2 w 36" name="T54"/>
                <a:gd fmla="*/ 44 h 62" name="T55"/>
                <a:gd fmla="*/ 2 w 36" name="T56"/>
                <a:gd fmla="*/ 46 h 62" name="T57"/>
                <a:gd fmla="*/ 10 w 36" name="T58"/>
                <a:gd fmla="*/ 54 h 62" name="T59"/>
                <a:gd fmla="*/ 10 w 36" name="T60"/>
                <a:gd fmla="*/ 62 h 62" name="T61"/>
                <a:gd fmla="*/ 30 w 36" name="T62"/>
                <a:gd fmla="*/ 58 h 62"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62" w="36">
                  <a:moveTo>
                    <a:pt x="30" y="58"/>
                  </a:moveTo>
                  <a:lnTo>
                    <a:pt x="30" y="46"/>
                  </a:lnTo>
                  <a:lnTo>
                    <a:pt x="30" y="44"/>
                  </a:lnTo>
                  <a:lnTo>
                    <a:pt x="30" y="42"/>
                  </a:lnTo>
                  <a:lnTo>
                    <a:pt x="28" y="38"/>
                  </a:lnTo>
                  <a:lnTo>
                    <a:pt x="30" y="36"/>
                  </a:lnTo>
                  <a:lnTo>
                    <a:pt x="30" y="32"/>
                  </a:lnTo>
                  <a:lnTo>
                    <a:pt x="32" y="30"/>
                  </a:lnTo>
                  <a:lnTo>
                    <a:pt x="36" y="28"/>
                  </a:lnTo>
                  <a:lnTo>
                    <a:pt x="36" y="28"/>
                  </a:lnTo>
                  <a:lnTo>
                    <a:pt x="36" y="24"/>
                  </a:lnTo>
                  <a:lnTo>
                    <a:pt x="34" y="22"/>
                  </a:lnTo>
                  <a:lnTo>
                    <a:pt x="34" y="18"/>
                  </a:lnTo>
                  <a:lnTo>
                    <a:pt x="32" y="16"/>
                  </a:lnTo>
                  <a:lnTo>
                    <a:pt x="32" y="16"/>
                  </a:lnTo>
                  <a:lnTo>
                    <a:pt x="30" y="12"/>
                  </a:lnTo>
                  <a:lnTo>
                    <a:pt x="30" y="8"/>
                  </a:lnTo>
                  <a:lnTo>
                    <a:pt x="30" y="4"/>
                  </a:lnTo>
                  <a:lnTo>
                    <a:pt x="28" y="0"/>
                  </a:lnTo>
                  <a:lnTo>
                    <a:pt x="28" y="0"/>
                  </a:lnTo>
                  <a:lnTo>
                    <a:pt x="24" y="0"/>
                  </a:lnTo>
                  <a:lnTo>
                    <a:pt x="2" y="20"/>
                  </a:lnTo>
                  <a:lnTo>
                    <a:pt x="2" y="22"/>
                  </a:lnTo>
                  <a:lnTo>
                    <a:pt x="0" y="26"/>
                  </a:lnTo>
                  <a:lnTo>
                    <a:pt x="0" y="32"/>
                  </a:lnTo>
                  <a:lnTo>
                    <a:pt x="0" y="36"/>
                  </a:lnTo>
                  <a:lnTo>
                    <a:pt x="2" y="40"/>
                  </a:lnTo>
                  <a:lnTo>
                    <a:pt x="2" y="44"/>
                  </a:lnTo>
                  <a:lnTo>
                    <a:pt x="2" y="46"/>
                  </a:lnTo>
                  <a:lnTo>
                    <a:pt x="10" y="54"/>
                  </a:lnTo>
                  <a:lnTo>
                    <a:pt x="10" y="62"/>
                  </a:lnTo>
                  <a:lnTo>
                    <a:pt x="30" y="5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4" name="Freeform 421"/>
            <p:cNvSpPr/>
            <p:nvPr/>
          </p:nvSpPr>
          <p:spPr bwMode="gray">
            <a:xfrm>
              <a:off x="1083245" y="2374791"/>
              <a:ext cx="311035" cy="721558"/>
            </a:xfrm>
            <a:custGeom>
              <a:gdLst>
                <a:gd fmla="*/ 0 w 168" name="T0"/>
                <a:gd fmla="*/ 286 h 390" name="T1"/>
                <a:gd fmla="*/ 0 w 168" name="T2"/>
                <a:gd fmla="*/ 300 h 390" name="T3"/>
                <a:gd fmla="*/ 0 w 168" name="T4"/>
                <a:gd fmla="*/ 312 h 390" name="T5"/>
                <a:gd fmla="*/ 0 w 168" name="T6"/>
                <a:gd fmla="*/ 322 h 390" name="T7"/>
                <a:gd fmla="*/ 16 w 168" name="T8"/>
                <a:gd fmla="*/ 388 h 390" name="T9"/>
                <a:gd fmla="*/ 38 w 168" name="T10"/>
                <a:gd fmla="*/ 382 h 390" name="T11"/>
                <a:gd fmla="*/ 50 w 168" name="T12"/>
                <a:gd fmla="*/ 372 h 390" name="T13"/>
                <a:gd fmla="*/ 60 w 168" name="T14"/>
                <a:gd fmla="*/ 360 h 390" name="T15"/>
                <a:gd fmla="*/ 66 w 168" name="T16"/>
                <a:gd fmla="*/ 328 h 390" name="T17"/>
                <a:gd fmla="*/ 88 w 168" name="T18"/>
                <a:gd fmla="*/ 296 h 390" name="T19"/>
                <a:gd fmla="*/ 94 w 168" name="T20"/>
                <a:gd fmla="*/ 282 h 390" name="T21"/>
                <a:gd fmla="*/ 92 w 168" name="T22"/>
                <a:gd fmla="*/ 272 h 390" name="T23"/>
                <a:gd fmla="*/ 82 w 168" name="T24"/>
                <a:gd fmla="*/ 264 h 390" name="T25"/>
                <a:gd fmla="*/ 76 w 168" name="T26"/>
                <a:gd fmla="*/ 262 h 390" name="T27"/>
                <a:gd fmla="*/ 78 w 168" name="T28"/>
                <a:gd fmla="*/ 230 h 390" name="T29"/>
                <a:gd fmla="*/ 78 w 168" name="T30"/>
                <a:gd fmla="*/ 232 h 390" name="T31"/>
                <a:gd fmla="*/ 80 w 168" name="T32"/>
                <a:gd fmla="*/ 218 h 390" name="T33"/>
                <a:gd fmla="*/ 86 w 168" name="T34"/>
                <a:gd fmla="*/ 204 h 390" name="T35"/>
                <a:gd fmla="*/ 94 w 168" name="T36"/>
                <a:gd fmla="*/ 194 h 390" name="T37"/>
                <a:gd fmla="*/ 106 w 168" name="T38"/>
                <a:gd fmla="*/ 184 h 390" name="T39"/>
                <a:gd fmla="*/ 116 w 168" name="T40"/>
                <a:gd fmla="*/ 176 h 390" name="T41"/>
                <a:gd fmla="*/ 122 w 168" name="T42"/>
                <a:gd fmla="*/ 158 h 390" name="T43"/>
                <a:gd fmla="*/ 122 w 168" name="T44"/>
                <a:gd fmla="*/ 140 h 390" name="T45"/>
                <a:gd fmla="*/ 156 w 168" name="T46"/>
                <a:gd fmla="*/ 118 h 390" name="T47"/>
                <a:gd fmla="*/ 168 w 168" name="T48"/>
                <a:gd fmla="*/ 118 h 390" name="T49"/>
                <a:gd fmla="*/ 162 w 168" name="T50"/>
                <a:gd fmla="*/ 106 h 390" name="T51"/>
                <a:gd fmla="*/ 152 w 168" name="T52"/>
                <a:gd fmla="*/ 80 h 390" name="T53"/>
                <a:gd fmla="*/ 152 w 168" name="T54"/>
                <a:gd fmla="*/ 72 h 390" name="T55"/>
                <a:gd fmla="*/ 156 w 168" name="T56"/>
                <a:gd fmla="*/ 68 h 390" name="T57"/>
                <a:gd fmla="*/ 156 w 168" name="T58"/>
                <a:gd fmla="*/ 56 h 390" name="T59"/>
                <a:gd fmla="*/ 140 w 168" name="T60"/>
                <a:gd fmla="*/ 38 h 390" name="T61"/>
                <a:gd fmla="*/ 130 w 168" name="T62"/>
                <a:gd fmla="*/ 24 h 390" name="T63"/>
                <a:gd fmla="*/ 122 w 168" name="T64"/>
                <a:gd fmla="*/ 20 h 390" name="T65"/>
                <a:gd fmla="*/ 114 w 168" name="T66"/>
                <a:gd fmla="*/ 4 h 390" name="T67"/>
                <a:gd fmla="*/ 102 w 168" name="T68"/>
                <a:gd fmla="*/ 14 h 390" name="T69"/>
                <a:gd fmla="*/ 92 w 168" name="T70"/>
                <a:gd fmla="*/ 24 h 390" name="T71"/>
                <a:gd fmla="*/ 86 w 168" name="T72"/>
                <a:gd fmla="*/ 32 h 390" name="T73"/>
                <a:gd fmla="*/ 80 w 168" name="T74"/>
                <a:gd fmla="*/ 44 h 390" name="T75"/>
                <a:gd fmla="*/ 76 w 168" name="T76"/>
                <a:gd fmla="*/ 56 h 390" name="T77"/>
                <a:gd fmla="*/ 70 w 168" name="T78"/>
                <a:gd fmla="*/ 82 h 390" name="T79"/>
                <a:gd fmla="*/ 64 w 168" name="T80"/>
                <a:gd fmla="*/ 92 h 390" name="T81"/>
                <a:gd fmla="*/ 54 w 168" name="T82"/>
                <a:gd fmla="*/ 104 h 390" name="T83"/>
                <a:gd fmla="*/ 46 w 168" name="T84"/>
                <a:gd fmla="*/ 122 h 390" name="T85"/>
                <a:gd fmla="*/ 12 w 168" name="T86"/>
                <a:gd fmla="*/ 178 h 390" name="T87"/>
                <a:gd fmla="*/ 14 w 168" name="T88"/>
                <a:gd fmla="*/ 260 h 390" name="T89"/>
                <a:gd fmla="*/ 14 w 168" name="T90"/>
                <a:gd fmla="*/ 266 h 390" name="T91"/>
                <a:gd fmla="*/ 8 w 168" name="T92"/>
                <a:gd fmla="*/ 278 h 390" name="T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b="b" l="0" r="r" t="0"/>
              <a:pathLst>
                <a:path h="390" w="168">
                  <a:moveTo>
                    <a:pt x="0" y="280"/>
                  </a:moveTo>
                  <a:lnTo>
                    <a:pt x="0" y="282"/>
                  </a:lnTo>
                  <a:lnTo>
                    <a:pt x="0" y="286"/>
                  </a:lnTo>
                  <a:lnTo>
                    <a:pt x="0" y="292"/>
                  </a:lnTo>
                  <a:lnTo>
                    <a:pt x="0" y="296"/>
                  </a:lnTo>
                  <a:lnTo>
                    <a:pt x="0" y="300"/>
                  </a:lnTo>
                  <a:lnTo>
                    <a:pt x="0" y="302"/>
                  </a:lnTo>
                  <a:lnTo>
                    <a:pt x="0" y="308"/>
                  </a:lnTo>
                  <a:lnTo>
                    <a:pt x="0" y="312"/>
                  </a:lnTo>
                  <a:lnTo>
                    <a:pt x="0" y="318"/>
                  </a:lnTo>
                  <a:lnTo>
                    <a:pt x="0" y="322"/>
                  </a:lnTo>
                  <a:lnTo>
                    <a:pt x="0" y="322"/>
                  </a:lnTo>
                  <a:lnTo>
                    <a:pt x="0" y="350"/>
                  </a:lnTo>
                  <a:lnTo>
                    <a:pt x="12" y="368"/>
                  </a:lnTo>
                  <a:lnTo>
                    <a:pt x="16" y="388"/>
                  </a:lnTo>
                  <a:lnTo>
                    <a:pt x="24" y="390"/>
                  </a:lnTo>
                  <a:lnTo>
                    <a:pt x="36" y="386"/>
                  </a:lnTo>
                  <a:lnTo>
                    <a:pt x="38" y="382"/>
                  </a:lnTo>
                  <a:lnTo>
                    <a:pt x="42" y="378"/>
                  </a:lnTo>
                  <a:lnTo>
                    <a:pt x="46" y="374"/>
                  </a:lnTo>
                  <a:lnTo>
                    <a:pt x="50" y="372"/>
                  </a:lnTo>
                  <a:lnTo>
                    <a:pt x="54" y="372"/>
                  </a:lnTo>
                  <a:lnTo>
                    <a:pt x="54" y="370"/>
                  </a:lnTo>
                  <a:lnTo>
                    <a:pt x="60" y="360"/>
                  </a:lnTo>
                  <a:lnTo>
                    <a:pt x="64" y="346"/>
                  </a:lnTo>
                  <a:lnTo>
                    <a:pt x="66" y="334"/>
                  </a:lnTo>
                  <a:lnTo>
                    <a:pt x="66" y="328"/>
                  </a:lnTo>
                  <a:lnTo>
                    <a:pt x="66" y="320"/>
                  </a:lnTo>
                  <a:lnTo>
                    <a:pt x="84" y="300"/>
                  </a:lnTo>
                  <a:lnTo>
                    <a:pt x="88" y="296"/>
                  </a:lnTo>
                  <a:lnTo>
                    <a:pt x="92" y="290"/>
                  </a:lnTo>
                  <a:lnTo>
                    <a:pt x="92" y="286"/>
                  </a:lnTo>
                  <a:lnTo>
                    <a:pt x="94" y="282"/>
                  </a:lnTo>
                  <a:lnTo>
                    <a:pt x="94" y="278"/>
                  </a:lnTo>
                  <a:lnTo>
                    <a:pt x="92" y="278"/>
                  </a:lnTo>
                  <a:lnTo>
                    <a:pt x="92" y="272"/>
                  </a:lnTo>
                  <a:lnTo>
                    <a:pt x="90" y="268"/>
                  </a:lnTo>
                  <a:lnTo>
                    <a:pt x="86" y="266"/>
                  </a:lnTo>
                  <a:lnTo>
                    <a:pt x="82" y="264"/>
                  </a:lnTo>
                  <a:lnTo>
                    <a:pt x="80" y="264"/>
                  </a:lnTo>
                  <a:lnTo>
                    <a:pt x="78" y="262"/>
                  </a:lnTo>
                  <a:lnTo>
                    <a:pt x="76" y="262"/>
                  </a:lnTo>
                  <a:lnTo>
                    <a:pt x="78" y="228"/>
                  </a:lnTo>
                  <a:lnTo>
                    <a:pt x="78" y="230"/>
                  </a:lnTo>
                  <a:lnTo>
                    <a:pt x="78" y="230"/>
                  </a:lnTo>
                  <a:lnTo>
                    <a:pt x="78" y="232"/>
                  </a:lnTo>
                  <a:lnTo>
                    <a:pt x="78" y="232"/>
                  </a:lnTo>
                  <a:lnTo>
                    <a:pt x="78" y="232"/>
                  </a:lnTo>
                  <a:lnTo>
                    <a:pt x="78" y="230"/>
                  </a:lnTo>
                  <a:lnTo>
                    <a:pt x="80" y="226"/>
                  </a:lnTo>
                  <a:lnTo>
                    <a:pt x="80" y="218"/>
                  </a:lnTo>
                  <a:lnTo>
                    <a:pt x="82" y="212"/>
                  </a:lnTo>
                  <a:lnTo>
                    <a:pt x="84" y="208"/>
                  </a:lnTo>
                  <a:lnTo>
                    <a:pt x="86" y="204"/>
                  </a:lnTo>
                  <a:lnTo>
                    <a:pt x="88" y="200"/>
                  </a:lnTo>
                  <a:lnTo>
                    <a:pt x="90" y="196"/>
                  </a:lnTo>
                  <a:lnTo>
                    <a:pt x="94" y="194"/>
                  </a:lnTo>
                  <a:lnTo>
                    <a:pt x="98" y="190"/>
                  </a:lnTo>
                  <a:lnTo>
                    <a:pt x="104" y="188"/>
                  </a:lnTo>
                  <a:lnTo>
                    <a:pt x="106" y="184"/>
                  </a:lnTo>
                  <a:lnTo>
                    <a:pt x="110" y="184"/>
                  </a:lnTo>
                  <a:lnTo>
                    <a:pt x="110" y="182"/>
                  </a:lnTo>
                  <a:lnTo>
                    <a:pt x="116" y="176"/>
                  </a:lnTo>
                  <a:lnTo>
                    <a:pt x="120" y="170"/>
                  </a:lnTo>
                  <a:lnTo>
                    <a:pt x="122" y="164"/>
                  </a:lnTo>
                  <a:lnTo>
                    <a:pt x="122" y="158"/>
                  </a:lnTo>
                  <a:lnTo>
                    <a:pt x="122" y="156"/>
                  </a:lnTo>
                  <a:lnTo>
                    <a:pt x="122" y="154"/>
                  </a:lnTo>
                  <a:lnTo>
                    <a:pt x="122" y="140"/>
                  </a:lnTo>
                  <a:lnTo>
                    <a:pt x="134" y="130"/>
                  </a:lnTo>
                  <a:lnTo>
                    <a:pt x="144" y="120"/>
                  </a:lnTo>
                  <a:lnTo>
                    <a:pt x="156" y="118"/>
                  </a:lnTo>
                  <a:lnTo>
                    <a:pt x="166" y="120"/>
                  </a:lnTo>
                  <a:lnTo>
                    <a:pt x="166" y="120"/>
                  </a:lnTo>
                  <a:lnTo>
                    <a:pt x="168" y="118"/>
                  </a:lnTo>
                  <a:lnTo>
                    <a:pt x="168" y="116"/>
                  </a:lnTo>
                  <a:lnTo>
                    <a:pt x="166" y="114"/>
                  </a:lnTo>
                  <a:lnTo>
                    <a:pt x="162" y="106"/>
                  </a:lnTo>
                  <a:lnTo>
                    <a:pt x="158" y="96"/>
                  </a:lnTo>
                  <a:lnTo>
                    <a:pt x="154" y="86"/>
                  </a:lnTo>
                  <a:lnTo>
                    <a:pt x="152" y="80"/>
                  </a:lnTo>
                  <a:lnTo>
                    <a:pt x="152" y="78"/>
                  </a:lnTo>
                  <a:lnTo>
                    <a:pt x="152" y="76"/>
                  </a:lnTo>
                  <a:lnTo>
                    <a:pt x="152" y="72"/>
                  </a:lnTo>
                  <a:lnTo>
                    <a:pt x="152" y="72"/>
                  </a:lnTo>
                  <a:lnTo>
                    <a:pt x="154" y="70"/>
                  </a:lnTo>
                  <a:lnTo>
                    <a:pt x="156" y="68"/>
                  </a:lnTo>
                  <a:lnTo>
                    <a:pt x="158" y="64"/>
                  </a:lnTo>
                  <a:lnTo>
                    <a:pt x="158" y="60"/>
                  </a:lnTo>
                  <a:lnTo>
                    <a:pt x="156" y="56"/>
                  </a:lnTo>
                  <a:lnTo>
                    <a:pt x="152" y="50"/>
                  </a:lnTo>
                  <a:lnTo>
                    <a:pt x="142" y="42"/>
                  </a:lnTo>
                  <a:lnTo>
                    <a:pt x="140" y="38"/>
                  </a:lnTo>
                  <a:lnTo>
                    <a:pt x="136" y="32"/>
                  </a:lnTo>
                  <a:lnTo>
                    <a:pt x="132" y="28"/>
                  </a:lnTo>
                  <a:lnTo>
                    <a:pt x="130" y="24"/>
                  </a:lnTo>
                  <a:lnTo>
                    <a:pt x="126" y="22"/>
                  </a:lnTo>
                  <a:lnTo>
                    <a:pt x="124" y="20"/>
                  </a:lnTo>
                  <a:lnTo>
                    <a:pt x="122" y="20"/>
                  </a:lnTo>
                  <a:lnTo>
                    <a:pt x="118" y="0"/>
                  </a:lnTo>
                  <a:lnTo>
                    <a:pt x="116" y="2"/>
                  </a:lnTo>
                  <a:lnTo>
                    <a:pt x="114" y="4"/>
                  </a:lnTo>
                  <a:lnTo>
                    <a:pt x="110" y="6"/>
                  </a:lnTo>
                  <a:lnTo>
                    <a:pt x="106" y="10"/>
                  </a:lnTo>
                  <a:lnTo>
                    <a:pt x="102" y="14"/>
                  </a:lnTo>
                  <a:lnTo>
                    <a:pt x="98" y="18"/>
                  </a:lnTo>
                  <a:lnTo>
                    <a:pt x="94" y="22"/>
                  </a:lnTo>
                  <a:lnTo>
                    <a:pt x="92" y="24"/>
                  </a:lnTo>
                  <a:lnTo>
                    <a:pt x="90" y="26"/>
                  </a:lnTo>
                  <a:lnTo>
                    <a:pt x="88" y="28"/>
                  </a:lnTo>
                  <a:lnTo>
                    <a:pt x="86" y="32"/>
                  </a:lnTo>
                  <a:lnTo>
                    <a:pt x="84" y="36"/>
                  </a:lnTo>
                  <a:lnTo>
                    <a:pt x="82" y="40"/>
                  </a:lnTo>
                  <a:lnTo>
                    <a:pt x="80" y="44"/>
                  </a:lnTo>
                  <a:lnTo>
                    <a:pt x="78" y="48"/>
                  </a:lnTo>
                  <a:lnTo>
                    <a:pt x="78" y="52"/>
                  </a:lnTo>
                  <a:lnTo>
                    <a:pt x="76" y="56"/>
                  </a:lnTo>
                  <a:lnTo>
                    <a:pt x="72" y="60"/>
                  </a:lnTo>
                  <a:lnTo>
                    <a:pt x="72" y="82"/>
                  </a:lnTo>
                  <a:lnTo>
                    <a:pt x="70" y="82"/>
                  </a:lnTo>
                  <a:lnTo>
                    <a:pt x="70" y="84"/>
                  </a:lnTo>
                  <a:lnTo>
                    <a:pt x="66" y="88"/>
                  </a:lnTo>
                  <a:lnTo>
                    <a:pt x="64" y="92"/>
                  </a:lnTo>
                  <a:lnTo>
                    <a:pt x="60" y="96"/>
                  </a:lnTo>
                  <a:lnTo>
                    <a:pt x="56" y="100"/>
                  </a:lnTo>
                  <a:lnTo>
                    <a:pt x="54" y="104"/>
                  </a:lnTo>
                  <a:lnTo>
                    <a:pt x="50" y="106"/>
                  </a:lnTo>
                  <a:lnTo>
                    <a:pt x="48" y="106"/>
                  </a:lnTo>
                  <a:lnTo>
                    <a:pt x="46" y="122"/>
                  </a:lnTo>
                  <a:lnTo>
                    <a:pt x="36" y="140"/>
                  </a:lnTo>
                  <a:lnTo>
                    <a:pt x="34" y="164"/>
                  </a:lnTo>
                  <a:lnTo>
                    <a:pt x="12" y="178"/>
                  </a:lnTo>
                  <a:lnTo>
                    <a:pt x="16" y="184"/>
                  </a:lnTo>
                  <a:lnTo>
                    <a:pt x="16" y="234"/>
                  </a:lnTo>
                  <a:lnTo>
                    <a:pt x="14" y="260"/>
                  </a:lnTo>
                  <a:lnTo>
                    <a:pt x="14" y="262"/>
                  </a:lnTo>
                  <a:lnTo>
                    <a:pt x="14" y="264"/>
                  </a:lnTo>
                  <a:lnTo>
                    <a:pt x="14" y="266"/>
                  </a:lnTo>
                  <a:lnTo>
                    <a:pt x="12" y="270"/>
                  </a:lnTo>
                  <a:lnTo>
                    <a:pt x="12" y="274"/>
                  </a:lnTo>
                  <a:lnTo>
                    <a:pt x="8" y="278"/>
                  </a:lnTo>
                  <a:lnTo>
                    <a:pt x="4" y="280"/>
                  </a:lnTo>
                  <a:lnTo>
                    <a:pt x="0" y="28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5" name="Freeform 422"/>
            <p:cNvSpPr/>
            <p:nvPr/>
          </p:nvSpPr>
          <p:spPr bwMode="gray">
            <a:xfrm>
              <a:off x="1301710" y="2322987"/>
              <a:ext cx="229573" cy="573546"/>
            </a:xfrm>
            <a:custGeom>
              <a:gdLst>
                <a:gd fmla="*/ 102 w 124" name="T0"/>
                <a:gd fmla="*/ 62 h 310" name="T1"/>
                <a:gd fmla="*/ 122 w 124" name="T2"/>
                <a:gd fmla="*/ 112 h 310" name="T3"/>
                <a:gd fmla="*/ 112 w 124" name="T4"/>
                <a:gd fmla="*/ 128 h 310" name="T5"/>
                <a:gd fmla="*/ 114 w 124" name="T6"/>
                <a:gd fmla="*/ 134 h 310" name="T7"/>
                <a:gd fmla="*/ 118 w 124" name="T8"/>
                <a:gd fmla="*/ 144 h 310" name="T9"/>
                <a:gd fmla="*/ 118 w 124" name="T10"/>
                <a:gd fmla="*/ 152 h 310" name="T11"/>
                <a:gd fmla="*/ 114 w 124" name="T12"/>
                <a:gd fmla="*/ 182 h 310" name="T13"/>
                <a:gd fmla="*/ 114 w 124" name="T14"/>
                <a:gd fmla="*/ 212 h 310" name="T15"/>
                <a:gd fmla="*/ 122 w 124" name="T16"/>
                <a:gd fmla="*/ 222 h 310" name="T17"/>
                <a:gd fmla="*/ 124 w 124" name="T18"/>
                <a:gd fmla="*/ 254 h 310" name="T19"/>
                <a:gd fmla="*/ 124 w 124" name="T20"/>
                <a:gd fmla="*/ 260 h 310" name="T21"/>
                <a:gd fmla="*/ 90 w 124" name="T22"/>
                <a:gd fmla="*/ 292 h 310" name="T23"/>
                <a:gd fmla="*/ 92 w 124" name="T24"/>
                <a:gd fmla="*/ 294 h 310" name="T25"/>
                <a:gd fmla="*/ 88 w 124" name="T26"/>
                <a:gd fmla="*/ 294 h 310" name="T27"/>
                <a:gd fmla="*/ 80 w 124" name="T28"/>
                <a:gd fmla="*/ 292 h 310" name="T29"/>
                <a:gd fmla="*/ 72 w 124" name="T30"/>
                <a:gd fmla="*/ 296 h 310" name="T31"/>
                <a:gd fmla="*/ 54 w 124" name="T32"/>
                <a:gd fmla="*/ 302 h 310" name="T33"/>
                <a:gd fmla="*/ 48 w 124" name="T34"/>
                <a:gd fmla="*/ 304 h 310" name="T35"/>
                <a:gd fmla="*/ 38 w 124" name="T36"/>
                <a:gd fmla="*/ 306 h 310" name="T37"/>
                <a:gd fmla="*/ 24 w 124" name="T38"/>
                <a:gd fmla="*/ 306 h 310" name="T39"/>
                <a:gd fmla="*/ 20 w 124" name="T40"/>
                <a:gd fmla="*/ 304 h 310" name="T41"/>
                <a:gd fmla="*/ 12 w 124" name="T42"/>
                <a:gd fmla="*/ 298 h 310" name="T43"/>
                <a:gd fmla="*/ 6 w 124" name="T44"/>
                <a:gd fmla="*/ 292 h 310" name="T45"/>
                <a:gd fmla="*/ 4 w 124" name="T46"/>
                <a:gd fmla="*/ 286 h 310" name="T47"/>
                <a:gd fmla="*/ 4 w 124" name="T48"/>
                <a:gd fmla="*/ 278 h 310" name="T49"/>
                <a:gd fmla="*/ 4 w 124" name="T50"/>
                <a:gd fmla="*/ 268 h 310" name="T51"/>
                <a:gd fmla="*/ 4 w 124" name="T52"/>
                <a:gd fmla="*/ 230 h 310" name="T53"/>
                <a:gd fmla="*/ 6 w 124" name="T54"/>
                <a:gd fmla="*/ 224 h 310" name="T55"/>
                <a:gd fmla="*/ 12 w 124" name="T56"/>
                <a:gd fmla="*/ 212 h 310" name="T57"/>
                <a:gd fmla="*/ 42 w 124" name="T58"/>
                <a:gd fmla="*/ 186 h 310" name="T59"/>
                <a:gd fmla="*/ 50 w 124" name="T60"/>
                <a:gd fmla="*/ 178 h 310" name="T61"/>
                <a:gd fmla="*/ 56 w 124" name="T62"/>
                <a:gd fmla="*/ 158 h 310" name="T63"/>
                <a:gd fmla="*/ 48 w 124" name="T64"/>
                <a:gd fmla="*/ 148 h 310" name="T65"/>
                <a:gd fmla="*/ 50 w 124" name="T66"/>
                <a:gd fmla="*/ 146 h 310" name="T67"/>
                <a:gd fmla="*/ 48 w 124" name="T68"/>
                <a:gd fmla="*/ 142 h 310" name="T69"/>
                <a:gd fmla="*/ 38 w 124" name="T70"/>
                <a:gd fmla="*/ 122 h 310" name="T71"/>
                <a:gd fmla="*/ 34 w 124" name="T72"/>
                <a:gd fmla="*/ 100 h 310" name="T73"/>
                <a:gd fmla="*/ 36 w 124" name="T74"/>
                <a:gd fmla="*/ 98 h 310" name="T75"/>
                <a:gd fmla="*/ 40 w 124" name="T76"/>
                <a:gd fmla="*/ 94 h 310" name="T77"/>
                <a:gd fmla="*/ 38 w 124" name="T78"/>
                <a:gd fmla="*/ 86 h 310" name="T79"/>
                <a:gd fmla="*/ 32 w 124" name="T80"/>
                <a:gd fmla="*/ 76 h 310" name="T81"/>
                <a:gd fmla="*/ 22 w 124" name="T82"/>
                <a:gd fmla="*/ 68 h 310" name="T83"/>
                <a:gd fmla="*/ 18 w 124" name="T84"/>
                <a:gd fmla="*/ 62 h 310" name="T85"/>
                <a:gd fmla="*/ 10 w 124" name="T86"/>
                <a:gd fmla="*/ 52 h 310" name="T87"/>
                <a:gd fmla="*/ 0 w 124" name="T88"/>
                <a:gd fmla="*/ 28 h 310" name="T89"/>
                <a:gd fmla="*/ 10 w 124" name="T90"/>
                <a:gd fmla="*/ 20 h 310" name="T91"/>
                <a:gd fmla="*/ 28 w 124" name="T92"/>
                <a:gd fmla="*/ 16 h 310" name="T93"/>
                <a:gd fmla="*/ 40 w 124" name="T94"/>
                <a:gd fmla="*/ 24 h 310" name="T95"/>
                <a:gd fmla="*/ 58 w 124" name="T96"/>
                <a:gd fmla="*/ 22 h 310" name="T97"/>
                <a:gd fmla="*/ 72 w 124" name="T98"/>
                <a:gd fmla="*/ 14 h 310" name="T99"/>
                <a:gd fmla="*/ 72 w 124" name="T100"/>
                <a:gd fmla="*/ 12 h 310" name="T101"/>
                <a:gd fmla="*/ 76 w 124" name="T102"/>
                <a:gd fmla="*/ 6 h 310" name="T103"/>
                <a:gd fmla="*/ 82 w 124" name="T104"/>
                <a:gd fmla="*/ 2 h 310" name="T105"/>
                <a:gd fmla="*/ 92 w 124" name="T106"/>
                <a:gd fmla="*/ 2 h 310" name="T107"/>
                <a:gd fmla="*/ 120 w 124" name="T108"/>
                <a:gd fmla="*/ 20 h 310" name="T109"/>
                <a:gd fmla="*/ 116 w 124" name="T110"/>
                <a:gd fmla="*/ 26 h 310" name="T111"/>
                <a:gd fmla="*/ 102 w 124" name="T112"/>
                <a:gd fmla="*/ 46 h 310"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310" w="124">
                  <a:moveTo>
                    <a:pt x="102" y="46"/>
                  </a:moveTo>
                  <a:lnTo>
                    <a:pt x="102" y="62"/>
                  </a:lnTo>
                  <a:lnTo>
                    <a:pt x="122" y="82"/>
                  </a:lnTo>
                  <a:lnTo>
                    <a:pt x="122" y="112"/>
                  </a:lnTo>
                  <a:lnTo>
                    <a:pt x="110" y="126"/>
                  </a:lnTo>
                  <a:lnTo>
                    <a:pt x="112" y="128"/>
                  </a:lnTo>
                  <a:lnTo>
                    <a:pt x="112" y="130"/>
                  </a:lnTo>
                  <a:lnTo>
                    <a:pt x="114" y="134"/>
                  </a:lnTo>
                  <a:lnTo>
                    <a:pt x="116" y="140"/>
                  </a:lnTo>
                  <a:lnTo>
                    <a:pt x="118" y="144"/>
                  </a:lnTo>
                  <a:lnTo>
                    <a:pt x="118" y="146"/>
                  </a:lnTo>
                  <a:lnTo>
                    <a:pt x="118" y="152"/>
                  </a:lnTo>
                  <a:lnTo>
                    <a:pt x="116" y="164"/>
                  </a:lnTo>
                  <a:lnTo>
                    <a:pt x="114" y="182"/>
                  </a:lnTo>
                  <a:lnTo>
                    <a:pt x="114" y="200"/>
                  </a:lnTo>
                  <a:lnTo>
                    <a:pt x="114" y="212"/>
                  </a:lnTo>
                  <a:lnTo>
                    <a:pt x="118" y="218"/>
                  </a:lnTo>
                  <a:lnTo>
                    <a:pt x="122" y="222"/>
                  </a:lnTo>
                  <a:lnTo>
                    <a:pt x="124" y="234"/>
                  </a:lnTo>
                  <a:lnTo>
                    <a:pt x="124" y="254"/>
                  </a:lnTo>
                  <a:lnTo>
                    <a:pt x="124" y="258"/>
                  </a:lnTo>
                  <a:lnTo>
                    <a:pt x="124" y="260"/>
                  </a:lnTo>
                  <a:lnTo>
                    <a:pt x="122" y="260"/>
                  </a:lnTo>
                  <a:lnTo>
                    <a:pt x="90" y="292"/>
                  </a:lnTo>
                  <a:lnTo>
                    <a:pt x="90" y="294"/>
                  </a:lnTo>
                  <a:lnTo>
                    <a:pt x="92" y="294"/>
                  </a:lnTo>
                  <a:lnTo>
                    <a:pt x="90" y="294"/>
                  </a:lnTo>
                  <a:lnTo>
                    <a:pt x="88" y="294"/>
                  </a:lnTo>
                  <a:lnTo>
                    <a:pt x="84" y="292"/>
                  </a:lnTo>
                  <a:lnTo>
                    <a:pt x="80" y="292"/>
                  </a:lnTo>
                  <a:lnTo>
                    <a:pt x="76" y="294"/>
                  </a:lnTo>
                  <a:lnTo>
                    <a:pt x="72" y="296"/>
                  </a:lnTo>
                  <a:lnTo>
                    <a:pt x="68" y="298"/>
                  </a:lnTo>
                  <a:lnTo>
                    <a:pt x="54" y="302"/>
                  </a:lnTo>
                  <a:lnTo>
                    <a:pt x="52" y="302"/>
                  </a:lnTo>
                  <a:lnTo>
                    <a:pt x="48" y="304"/>
                  </a:lnTo>
                  <a:lnTo>
                    <a:pt x="44" y="304"/>
                  </a:lnTo>
                  <a:lnTo>
                    <a:pt x="38" y="306"/>
                  </a:lnTo>
                  <a:lnTo>
                    <a:pt x="34" y="310"/>
                  </a:lnTo>
                  <a:lnTo>
                    <a:pt x="24" y="306"/>
                  </a:lnTo>
                  <a:lnTo>
                    <a:pt x="22" y="304"/>
                  </a:lnTo>
                  <a:lnTo>
                    <a:pt x="20" y="304"/>
                  </a:lnTo>
                  <a:lnTo>
                    <a:pt x="16" y="300"/>
                  </a:lnTo>
                  <a:lnTo>
                    <a:pt x="12" y="298"/>
                  </a:lnTo>
                  <a:lnTo>
                    <a:pt x="8" y="294"/>
                  </a:lnTo>
                  <a:lnTo>
                    <a:pt x="6" y="292"/>
                  </a:lnTo>
                  <a:lnTo>
                    <a:pt x="4" y="288"/>
                  </a:lnTo>
                  <a:lnTo>
                    <a:pt x="4" y="286"/>
                  </a:lnTo>
                  <a:lnTo>
                    <a:pt x="4" y="284"/>
                  </a:lnTo>
                  <a:lnTo>
                    <a:pt x="4" y="278"/>
                  </a:lnTo>
                  <a:lnTo>
                    <a:pt x="4" y="272"/>
                  </a:lnTo>
                  <a:lnTo>
                    <a:pt x="4" y="268"/>
                  </a:lnTo>
                  <a:lnTo>
                    <a:pt x="4" y="262"/>
                  </a:lnTo>
                  <a:lnTo>
                    <a:pt x="4" y="230"/>
                  </a:lnTo>
                  <a:lnTo>
                    <a:pt x="4" y="228"/>
                  </a:lnTo>
                  <a:lnTo>
                    <a:pt x="6" y="224"/>
                  </a:lnTo>
                  <a:lnTo>
                    <a:pt x="8" y="218"/>
                  </a:lnTo>
                  <a:lnTo>
                    <a:pt x="12" y="212"/>
                  </a:lnTo>
                  <a:lnTo>
                    <a:pt x="20" y="206"/>
                  </a:lnTo>
                  <a:lnTo>
                    <a:pt x="42" y="186"/>
                  </a:lnTo>
                  <a:lnTo>
                    <a:pt x="46" y="184"/>
                  </a:lnTo>
                  <a:lnTo>
                    <a:pt x="50" y="178"/>
                  </a:lnTo>
                  <a:lnTo>
                    <a:pt x="56" y="170"/>
                  </a:lnTo>
                  <a:lnTo>
                    <a:pt x="56" y="158"/>
                  </a:lnTo>
                  <a:lnTo>
                    <a:pt x="48" y="148"/>
                  </a:lnTo>
                  <a:lnTo>
                    <a:pt x="48" y="148"/>
                  </a:lnTo>
                  <a:lnTo>
                    <a:pt x="50" y="146"/>
                  </a:lnTo>
                  <a:lnTo>
                    <a:pt x="50" y="146"/>
                  </a:lnTo>
                  <a:lnTo>
                    <a:pt x="50" y="144"/>
                  </a:lnTo>
                  <a:lnTo>
                    <a:pt x="48" y="142"/>
                  </a:lnTo>
                  <a:lnTo>
                    <a:pt x="42" y="132"/>
                  </a:lnTo>
                  <a:lnTo>
                    <a:pt x="38" y="122"/>
                  </a:lnTo>
                  <a:lnTo>
                    <a:pt x="34" y="110"/>
                  </a:lnTo>
                  <a:lnTo>
                    <a:pt x="34" y="100"/>
                  </a:lnTo>
                  <a:lnTo>
                    <a:pt x="34" y="100"/>
                  </a:lnTo>
                  <a:lnTo>
                    <a:pt x="36" y="98"/>
                  </a:lnTo>
                  <a:lnTo>
                    <a:pt x="38" y="96"/>
                  </a:lnTo>
                  <a:lnTo>
                    <a:pt x="40" y="94"/>
                  </a:lnTo>
                  <a:lnTo>
                    <a:pt x="40" y="90"/>
                  </a:lnTo>
                  <a:lnTo>
                    <a:pt x="38" y="86"/>
                  </a:lnTo>
                  <a:lnTo>
                    <a:pt x="36" y="82"/>
                  </a:lnTo>
                  <a:lnTo>
                    <a:pt x="32" y="76"/>
                  </a:lnTo>
                  <a:lnTo>
                    <a:pt x="24" y="70"/>
                  </a:lnTo>
                  <a:lnTo>
                    <a:pt x="22" y="68"/>
                  </a:lnTo>
                  <a:lnTo>
                    <a:pt x="22" y="66"/>
                  </a:lnTo>
                  <a:lnTo>
                    <a:pt x="18" y="62"/>
                  </a:lnTo>
                  <a:lnTo>
                    <a:pt x="16" y="56"/>
                  </a:lnTo>
                  <a:lnTo>
                    <a:pt x="10" y="52"/>
                  </a:lnTo>
                  <a:lnTo>
                    <a:pt x="4" y="48"/>
                  </a:lnTo>
                  <a:lnTo>
                    <a:pt x="0" y="28"/>
                  </a:lnTo>
                  <a:lnTo>
                    <a:pt x="2" y="26"/>
                  </a:lnTo>
                  <a:lnTo>
                    <a:pt x="10" y="20"/>
                  </a:lnTo>
                  <a:lnTo>
                    <a:pt x="18" y="16"/>
                  </a:lnTo>
                  <a:lnTo>
                    <a:pt x="28" y="16"/>
                  </a:lnTo>
                  <a:lnTo>
                    <a:pt x="38" y="22"/>
                  </a:lnTo>
                  <a:lnTo>
                    <a:pt x="40" y="24"/>
                  </a:lnTo>
                  <a:lnTo>
                    <a:pt x="48" y="24"/>
                  </a:lnTo>
                  <a:lnTo>
                    <a:pt x="58" y="22"/>
                  </a:lnTo>
                  <a:lnTo>
                    <a:pt x="66" y="20"/>
                  </a:lnTo>
                  <a:lnTo>
                    <a:pt x="72" y="14"/>
                  </a:lnTo>
                  <a:lnTo>
                    <a:pt x="72" y="14"/>
                  </a:lnTo>
                  <a:lnTo>
                    <a:pt x="72" y="12"/>
                  </a:lnTo>
                  <a:lnTo>
                    <a:pt x="74" y="8"/>
                  </a:lnTo>
                  <a:lnTo>
                    <a:pt x="76" y="6"/>
                  </a:lnTo>
                  <a:lnTo>
                    <a:pt x="78" y="2"/>
                  </a:lnTo>
                  <a:lnTo>
                    <a:pt x="82" y="2"/>
                  </a:lnTo>
                  <a:lnTo>
                    <a:pt x="86" y="0"/>
                  </a:lnTo>
                  <a:lnTo>
                    <a:pt x="92" y="2"/>
                  </a:lnTo>
                  <a:lnTo>
                    <a:pt x="122" y="18"/>
                  </a:lnTo>
                  <a:lnTo>
                    <a:pt x="120" y="20"/>
                  </a:lnTo>
                  <a:lnTo>
                    <a:pt x="120" y="22"/>
                  </a:lnTo>
                  <a:lnTo>
                    <a:pt x="116" y="26"/>
                  </a:lnTo>
                  <a:lnTo>
                    <a:pt x="110" y="28"/>
                  </a:lnTo>
                  <a:lnTo>
                    <a:pt x="102" y="4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6" name="Freeform 423"/>
            <p:cNvSpPr/>
            <p:nvPr/>
          </p:nvSpPr>
          <p:spPr bwMode="gray">
            <a:xfrm>
              <a:off x="1042514" y="3133352"/>
              <a:ext cx="99975" cy="155413"/>
            </a:xfrm>
            <a:custGeom>
              <a:gdLst>
                <a:gd fmla="*/ 18 w 54" name="T0"/>
                <a:gd fmla="*/ 80 h 84" name="T1"/>
                <a:gd fmla="*/ 4 w 54" name="T2"/>
                <a:gd fmla="*/ 82 h 84" name="T3"/>
                <a:gd fmla="*/ 0 w 54" name="T4"/>
                <a:gd fmla="*/ 78 h 84" name="T5"/>
                <a:gd fmla="*/ 2 w 54" name="T6"/>
                <a:gd fmla="*/ 74 h 84" name="T7"/>
                <a:gd fmla="*/ 4 w 54" name="T8"/>
                <a:gd fmla="*/ 72 h 84" name="T9"/>
                <a:gd fmla="*/ 4 w 54" name="T10"/>
                <a:gd fmla="*/ 62 h 84" name="T11"/>
                <a:gd fmla="*/ 10 w 54" name="T12"/>
                <a:gd fmla="*/ 56 h 84" name="T13"/>
                <a:gd fmla="*/ 14 w 54" name="T14"/>
                <a:gd fmla="*/ 54 h 84" name="T15"/>
                <a:gd fmla="*/ 10 w 54" name="T16"/>
                <a:gd fmla="*/ 48 h 84" name="T17"/>
                <a:gd fmla="*/ 10 w 54" name="T18"/>
                <a:gd fmla="*/ 46 h 84" name="T19"/>
                <a:gd fmla="*/ 12 w 54" name="T20"/>
                <a:gd fmla="*/ 44 h 84" name="T21"/>
                <a:gd fmla="*/ 16 w 54" name="T22"/>
                <a:gd fmla="*/ 40 h 84" name="T23"/>
                <a:gd fmla="*/ 16 w 54" name="T24"/>
                <a:gd fmla="*/ 36 h 84" name="T25"/>
                <a:gd fmla="*/ 12 w 54" name="T26"/>
                <a:gd fmla="*/ 30 h 84" name="T27"/>
                <a:gd fmla="*/ 16 w 54" name="T28"/>
                <a:gd fmla="*/ 28 h 84" name="T29"/>
                <a:gd fmla="*/ 20 w 54" name="T30"/>
                <a:gd fmla="*/ 28 h 84" name="T31"/>
                <a:gd fmla="*/ 20 w 54" name="T32"/>
                <a:gd fmla="*/ 28 h 84" name="T33"/>
                <a:gd fmla="*/ 14 w 54" name="T34"/>
                <a:gd fmla="*/ 26 h 84" name="T35"/>
                <a:gd fmla="*/ 10 w 54" name="T36"/>
                <a:gd fmla="*/ 26 h 84" name="T37"/>
                <a:gd fmla="*/ 10 w 54" name="T38"/>
                <a:gd fmla="*/ 20 h 84" name="T39"/>
                <a:gd fmla="*/ 10 w 54" name="T40"/>
                <a:gd fmla="*/ 14 h 84" name="T41"/>
                <a:gd fmla="*/ 14 w 54" name="T42"/>
                <a:gd fmla="*/ 14 h 84" name="T43"/>
                <a:gd fmla="*/ 20 w 54" name="T44"/>
                <a:gd fmla="*/ 10 h 84" name="T45"/>
                <a:gd fmla="*/ 38 w 54" name="T46"/>
                <a:gd fmla="*/ 2 h 84" name="T47"/>
                <a:gd fmla="*/ 46 w 54" name="T48"/>
                <a:gd fmla="*/ 12 h 84" name="T49"/>
                <a:gd fmla="*/ 46 w 54" name="T50"/>
                <a:gd fmla="*/ 20 h 84" name="T51"/>
                <a:gd fmla="*/ 46 w 54" name="T52"/>
                <a:gd fmla="*/ 28 h 84" name="T53"/>
                <a:gd fmla="*/ 46 w 54" name="T54"/>
                <a:gd fmla="*/ 30 h 84" name="T55"/>
                <a:gd fmla="*/ 46 w 54" name="T56"/>
                <a:gd fmla="*/ 34 h 84" name="T57"/>
                <a:gd fmla="*/ 42 w 54" name="T58"/>
                <a:gd fmla="*/ 36 h 84" name="T59"/>
                <a:gd fmla="*/ 46 w 54" name="T60"/>
                <a:gd fmla="*/ 40 h 84" name="T61"/>
                <a:gd fmla="*/ 50 w 54" name="T62"/>
                <a:gd fmla="*/ 42 h 84" name="T63"/>
                <a:gd fmla="*/ 52 w 54" name="T64"/>
                <a:gd fmla="*/ 46 h 84" name="T65"/>
                <a:gd fmla="*/ 54 w 54" name="T66"/>
                <a:gd fmla="*/ 50 h 84" name="T67"/>
                <a:gd fmla="*/ 52 w 54" name="T68"/>
                <a:gd fmla="*/ 52 h 84" name="T69"/>
                <a:gd fmla="*/ 48 w 54" name="T70"/>
                <a:gd fmla="*/ 56 h 84" name="T71"/>
                <a:gd fmla="*/ 48 w 54" name="T72"/>
                <a:gd fmla="*/ 58 h 84" name="T73"/>
                <a:gd fmla="*/ 50 w 54" name="T74"/>
                <a:gd fmla="*/ 60 h 84" name="T75"/>
                <a:gd fmla="*/ 50 w 54" name="T76"/>
                <a:gd fmla="*/ 64 h 84" name="T77"/>
                <a:gd fmla="*/ 48 w 54" name="T78"/>
                <a:gd fmla="*/ 68 h 84" name="T79"/>
                <a:gd fmla="*/ 48 w 54" name="T80"/>
                <a:gd fmla="*/ 70 h 84" name="T81"/>
                <a:gd fmla="*/ 50 w 54" name="T82"/>
                <a:gd fmla="*/ 74 h 84" name="T83"/>
                <a:gd fmla="*/ 50 w 54" name="T84"/>
                <a:gd fmla="*/ 78 h 84" name="T85"/>
                <a:gd fmla="*/ 48 w 54" name="T86"/>
                <a:gd fmla="*/ 80 h 84" name="T87"/>
                <a:gd fmla="*/ 44 w 54" name="T88"/>
                <a:gd fmla="*/ 76 h 84" name="T89"/>
                <a:gd fmla="*/ 46 w 54" name="T90"/>
                <a:gd fmla="*/ 80 h 84" name="T91"/>
                <a:gd fmla="*/ 42 w 54" name="T92"/>
                <a:gd fmla="*/ 80 h 84" name="T93"/>
                <a:gd fmla="*/ 38 w 54" name="T94"/>
                <a:gd fmla="*/ 82 h 84" name="T95"/>
                <a:gd fmla="*/ 34 w 54" name="T96"/>
                <a:gd fmla="*/ 82 h 84" name="T97"/>
                <a:gd fmla="*/ 32 w 54" name="T98"/>
                <a:gd fmla="*/ 84 h 84" name="T99"/>
                <a:gd fmla="*/ 28 w 54" name="T100"/>
                <a:gd fmla="*/ 84 h 84" name="T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b="b" l="0" r="r" t="0"/>
              <a:pathLst>
                <a:path h="84" w="54">
                  <a:moveTo>
                    <a:pt x="26" y="84"/>
                  </a:moveTo>
                  <a:lnTo>
                    <a:pt x="18" y="80"/>
                  </a:lnTo>
                  <a:lnTo>
                    <a:pt x="12" y="80"/>
                  </a:lnTo>
                  <a:lnTo>
                    <a:pt x="4" y="82"/>
                  </a:lnTo>
                  <a:lnTo>
                    <a:pt x="2" y="80"/>
                  </a:lnTo>
                  <a:lnTo>
                    <a:pt x="0" y="78"/>
                  </a:lnTo>
                  <a:lnTo>
                    <a:pt x="2" y="76"/>
                  </a:lnTo>
                  <a:lnTo>
                    <a:pt x="2" y="74"/>
                  </a:lnTo>
                  <a:lnTo>
                    <a:pt x="4" y="72"/>
                  </a:lnTo>
                  <a:lnTo>
                    <a:pt x="4" y="72"/>
                  </a:lnTo>
                  <a:lnTo>
                    <a:pt x="4" y="64"/>
                  </a:lnTo>
                  <a:lnTo>
                    <a:pt x="4" y="62"/>
                  </a:lnTo>
                  <a:lnTo>
                    <a:pt x="8" y="58"/>
                  </a:lnTo>
                  <a:lnTo>
                    <a:pt x="10" y="56"/>
                  </a:lnTo>
                  <a:lnTo>
                    <a:pt x="12" y="54"/>
                  </a:lnTo>
                  <a:lnTo>
                    <a:pt x="14" y="54"/>
                  </a:lnTo>
                  <a:lnTo>
                    <a:pt x="10" y="52"/>
                  </a:lnTo>
                  <a:lnTo>
                    <a:pt x="10" y="48"/>
                  </a:lnTo>
                  <a:lnTo>
                    <a:pt x="10" y="46"/>
                  </a:lnTo>
                  <a:lnTo>
                    <a:pt x="10" y="46"/>
                  </a:lnTo>
                  <a:lnTo>
                    <a:pt x="10" y="44"/>
                  </a:lnTo>
                  <a:lnTo>
                    <a:pt x="12" y="44"/>
                  </a:lnTo>
                  <a:lnTo>
                    <a:pt x="14" y="42"/>
                  </a:lnTo>
                  <a:lnTo>
                    <a:pt x="16" y="40"/>
                  </a:lnTo>
                  <a:lnTo>
                    <a:pt x="16" y="38"/>
                  </a:lnTo>
                  <a:lnTo>
                    <a:pt x="16" y="36"/>
                  </a:lnTo>
                  <a:lnTo>
                    <a:pt x="16" y="36"/>
                  </a:lnTo>
                  <a:lnTo>
                    <a:pt x="12" y="30"/>
                  </a:lnTo>
                  <a:lnTo>
                    <a:pt x="12" y="28"/>
                  </a:lnTo>
                  <a:lnTo>
                    <a:pt x="16" y="28"/>
                  </a:lnTo>
                  <a:lnTo>
                    <a:pt x="18" y="28"/>
                  </a:lnTo>
                  <a:lnTo>
                    <a:pt x="20" y="28"/>
                  </a:lnTo>
                  <a:lnTo>
                    <a:pt x="22" y="28"/>
                  </a:lnTo>
                  <a:lnTo>
                    <a:pt x="20" y="28"/>
                  </a:lnTo>
                  <a:lnTo>
                    <a:pt x="16" y="26"/>
                  </a:lnTo>
                  <a:lnTo>
                    <a:pt x="14" y="26"/>
                  </a:lnTo>
                  <a:lnTo>
                    <a:pt x="12" y="26"/>
                  </a:lnTo>
                  <a:lnTo>
                    <a:pt x="10" y="26"/>
                  </a:lnTo>
                  <a:lnTo>
                    <a:pt x="10" y="24"/>
                  </a:lnTo>
                  <a:lnTo>
                    <a:pt x="10" y="20"/>
                  </a:lnTo>
                  <a:lnTo>
                    <a:pt x="10" y="14"/>
                  </a:lnTo>
                  <a:lnTo>
                    <a:pt x="10" y="14"/>
                  </a:lnTo>
                  <a:lnTo>
                    <a:pt x="12" y="16"/>
                  </a:lnTo>
                  <a:lnTo>
                    <a:pt x="14" y="14"/>
                  </a:lnTo>
                  <a:lnTo>
                    <a:pt x="16" y="14"/>
                  </a:lnTo>
                  <a:lnTo>
                    <a:pt x="20" y="10"/>
                  </a:lnTo>
                  <a:lnTo>
                    <a:pt x="32" y="0"/>
                  </a:lnTo>
                  <a:lnTo>
                    <a:pt x="38" y="2"/>
                  </a:lnTo>
                  <a:lnTo>
                    <a:pt x="46" y="12"/>
                  </a:lnTo>
                  <a:lnTo>
                    <a:pt x="46" y="12"/>
                  </a:lnTo>
                  <a:lnTo>
                    <a:pt x="46" y="16"/>
                  </a:lnTo>
                  <a:lnTo>
                    <a:pt x="46" y="20"/>
                  </a:lnTo>
                  <a:lnTo>
                    <a:pt x="46" y="24"/>
                  </a:lnTo>
                  <a:lnTo>
                    <a:pt x="46" y="28"/>
                  </a:lnTo>
                  <a:lnTo>
                    <a:pt x="46" y="28"/>
                  </a:lnTo>
                  <a:lnTo>
                    <a:pt x="46" y="30"/>
                  </a:lnTo>
                  <a:lnTo>
                    <a:pt x="46" y="32"/>
                  </a:lnTo>
                  <a:lnTo>
                    <a:pt x="46" y="34"/>
                  </a:lnTo>
                  <a:lnTo>
                    <a:pt x="42" y="34"/>
                  </a:lnTo>
                  <a:lnTo>
                    <a:pt x="42" y="36"/>
                  </a:lnTo>
                  <a:lnTo>
                    <a:pt x="44" y="36"/>
                  </a:lnTo>
                  <a:lnTo>
                    <a:pt x="46" y="40"/>
                  </a:lnTo>
                  <a:lnTo>
                    <a:pt x="48" y="42"/>
                  </a:lnTo>
                  <a:lnTo>
                    <a:pt x="50" y="42"/>
                  </a:lnTo>
                  <a:lnTo>
                    <a:pt x="50" y="44"/>
                  </a:lnTo>
                  <a:lnTo>
                    <a:pt x="52" y="46"/>
                  </a:lnTo>
                  <a:lnTo>
                    <a:pt x="54" y="48"/>
                  </a:lnTo>
                  <a:lnTo>
                    <a:pt x="54" y="50"/>
                  </a:lnTo>
                  <a:lnTo>
                    <a:pt x="52" y="52"/>
                  </a:lnTo>
                  <a:lnTo>
                    <a:pt x="52" y="52"/>
                  </a:lnTo>
                  <a:lnTo>
                    <a:pt x="50" y="54"/>
                  </a:lnTo>
                  <a:lnTo>
                    <a:pt x="48" y="56"/>
                  </a:lnTo>
                  <a:lnTo>
                    <a:pt x="48" y="56"/>
                  </a:lnTo>
                  <a:lnTo>
                    <a:pt x="48" y="58"/>
                  </a:lnTo>
                  <a:lnTo>
                    <a:pt x="48" y="58"/>
                  </a:lnTo>
                  <a:lnTo>
                    <a:pt x="50" y="60"/>
                  </a:lnTo>
                  <a:lnTo>
                    <a:pt x="50" y="62"/>
                  </a:lnTo>
                  <a:lnTo>
                    <a:pt x="50" y="64"/>
                  </a:lnTo>
                  <a:lnTo>
                    <a:pt x="48" y="66"/>
                  </a:lnTo>
                  <a:lnTo>
                    <a:pt x="48" y="68"/>
                  </a:lnTo>
                  <a:lnTo>
                    <a:pt x="50" y="70"/>
                  </a:lnTo>
                  <a:lnTo>
                    <a:pt x="48" y="70"/>
                  </a:lnTo>
                  <a:lnTo>
                    <a:pt x="48" y="72"/>
                  </a:lnTo>
                  <a:lnTo>
                    <a:pt x="50" y="74"/>
                  </a:lnTo>
                  <a:lnTo>
                    <a:pt x="50" y="76"/>
                  </a:lnTo>
                  <a:lnTo>
                    <a:pt x="50" y="78"/>
                  </a:lnTo>
                  <a:lnTo>
                    <a:pt x="48" y="80"/>
                  </a:lnTo>
                  <a:lnTo>
                    <a:pt x="48" y="80"/>
                  </a:lnTo>
                  <a:lnTo>
                    <a:pt x="46" y="76"/>
                  </a:lnTo>
                  <a:lnTo>
                    <a:pt x="44" y="76"/>
                  </a:lnTo>
                  <a:lnTo>
                    <a:pt x="44" y="76"/>
                  </a:lnTo>
                  <a:lnTo>
                    <a:pt x="46" y="80"/>
                  </a:lnTo>
                  <a:lnTo>
                    <a:pt x="44" y="80"/>
                  </a:lnTo>
                  <a:lnTo>
                    <a:pt x="42" y="80"/>
                  </a:lnTo>
                  <a:lnTo>
                    <a:pt x="40" y="82"/>
                  </a:lnTo>
                  <a:lnTo>
                    <a:pt x="38" y="82"/>
                  </a:lnTo>
                  <a:lnTo>
                    <a:pt x="38" y="82"/>
                  </a:lnTo>
                  <a:lnTo>
                    <a:pt x="34" y="82"/>
                  </a:lnTo>
                  <a:lnTo>
                    <a:pt x="32" y="82"/>
                  </a:lnTo>
                  <a:lnTo>
                    <a:pt x="32" y="84"/>
                  </a:lnTo>
                  <a:lnTo>
                    <a:pt x="30" y="84"/>
                  </a:lnTo>
                  <a:lnTo>
                    <a:pt x="28" y="84"/>
                  </a:lnTo>
                  <a:lnTo>
                    <a:pt x="26" y="8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7" name="Freeform 424"/>
            <p:cNvSpPr/>
            <p:nvPr/>
          </p:nvSpPr>
          <p:spPr bwMode="gray">
            <a:xfrm>
              <a:off x="1416497" y="3581088"/>
              <a:ext cx="414713" cy="203516"/>
            </a:xfrm>
            <a:custGeom>
              <a:gdLst>
                <a:gd fmla="*/ 194 w 224" name="T0"/>
                <a:gd fmla="*/ 34 h 110" name="T1"/>
                <a:gd fmla="*/ 204 w 224" name="T2"/>
                <a:gd fmla="*/ 40 h 110" name="T3"/>
                <a:gd fmla="*/ 216 w 224" name="T4"/>
                <a:gd fmla="*/ 58 h 110" name="T5"/>
                <a:gd fmla="*/ 224 w 224" name="T6"/>
                <a:gd fmla="*/ 80 h 110" name="T7"/>
                <a:gd fmla="*/ 220 w 224" name="T8"/>
                <a:gd fmla="*/ 82 h 110" name="T9"/>
                <a:gd fmla="*/ 208 w 224" name="T10"/>
                <a:gd fmla="*/ 80 h 110" name="T11"/>
                <a:gd fmla="*/ 194 w 224" name="T12"/>
                <a:gd fmla="*/ 82 h 110" name="T13"/>
                <a:gd fmla="*/ 182 w 224" name="T14"/>
                <a:gd fmla="*/ 88 h 110" name="T15"/>
                <a:gd fmla="*/ 174 w 224" name="T16"/>
                <a:gd fmla="*/ 92 h 110" name="T17"/>
                <a:gd fmla="*/ 168 w 224" name="T18"/>
                <a:gd fmla="*/ 92 h 110" name="T19"/>
                <a:gd fmla="*/ 162 w 224" name="T20"/>
                <a:gd fmla="*/ 98 h 110" name="T21"/>
                <a:gd fmla="*/ 152 w 224" name="T22"/>
                <a:gd fmla="*/ 102 h 110" name="T23"/>
                <a:gd fmla="*/ 136 w 224" name="T24"/>
                <a:gd fmla="*/ 102 h 110" name="T25"/>
                <a:gd fmla="*/ 128 w 224" name="T26"/>
                <a:gd fmla="*/ 98 h 110" name="T27"/>
                <a:gd fmla="*/ 124 w 224" name="T28"/>
                <a:gd fmla="*/ 102 h 110" name="T29"/>
                <a:gd fmla="*/ 118 w 224" name="T30"/>
                <a:gd fmla="*/ 110 h 110" name="T31"/>
                <a:gd fmla="*/ 114 w 224" name="T32"/>
                <a:gd fmla="*/ 110 h 110" name="T33"/>
                <a:gd fmla="*/ 114 w 224" name="T34"/>
                <a:gd fmla="*/ 106 h 110" name="T35"/>
                <a:gd fmla="*/ 116 w 224" name="T36"/>
                <a:gd fmla="*/ 104 h 110" name="T37"/>
                <a:gd fmla="*/ 116 w 224" name="T38"/>
                <a:gd fmla="*/ 100 h 110" name="T39"/>
                <a:gd fmla="*/ 98 w 224" name="T40"/>
                <a:gd fmla="*/ 104 h 110" name="T41"/>
                <a:gd fmla="*/ 92 w 224" name="T42"/>
                <a:gd fmla="*/ 106 h 110" name="T43"/>
                <a:gd fmla="*/ 82 w 224" name="T44"/>
                <a:gd fmla="*/ 108 h 110" name="T45"/>
                <a:gd fmla="*/ 70 w 224" name="T46"/>
                <a:gd fmla="*/ 104 h 110" name="T47"/>
                <a:gd fmla="*/ 58 w 224" name="T48"/>
                <a:gd fmla="*/ 104 h 110" name="T49"/>
                <a:gd fmla="*/ 52 w 224" name="T50"/>
                <a:gd fmla="*/ 110 h 110" name="T51"/>
                <a:gd fmla="*/ 46 w 224" name="T52"/>
                <a:gd fmla="*/ 110 h 110" name="T53"/>
                <a:gd fmla="*/ 34 w 224" name="T54"/>
                <a:gd fmla="*/ 106 h 110" name="T55"/>
                <a:gd fmla="*/ 26 w 224" name="T56"/>
                <a:gd fmla="*/ 102 h 110" name="T57"/>
                <a:gd fmla="*/ 14 w 224" name="T58"/>
                <a:gd fmla="*/ 94 h 110" name="T59"/>
                <a:gd fmla="*/ 12 w 224" name="T60"/>
                <a:gd fmla="*/ 86 h 110" name="T61"/>
                <a:gd fmla="*/ 8 w 224" name="T62"/>
                <a:gd fmla="*/ 76 h 110" name="T63"/>
                <a:gd fmla="*/ 2 w 224" name="T64"/>
                <a:gd fmla="*/ 66 h 110" name="T65"/>
                <a:gd fmla="*/ 0 w 224" name="T66"/>
                <a:gd fmla="*/ 54 h 110" name="T67"/>
                <a:gd fmla="*/ 4 w 224" name="T68"/>
                <a:gd fmla="*/ 50 h 110" name="T69"/>
                <a:gd fmla="*/ 14 w 224" name="T70"/>
                <a:gd fmla="*/ 44 h 110" name="T71"/>
                <a:gd fmla="*/ 20 w 224" name="T72"/>
                <a:gd fmla="*/ 46 h 110" name="T73"/>
                <a:gd fmla="*/ 30 w 224" name="T74"/>
                <a:gd fmla="*/ 44 h 110" name="T75"/>
                <a:gd fmla="*/ 38 w 224" name="T76"/>
                <a:gd fmla="*/ 40 h 110" name="T77"/>
                <a:gd fmla="*/ 50 w 224" name="T78"/>
                <a:gd fmla="*/ 40 h 110" name="T79"/>
                <a:gd fmla="*/ 40 w 224" name="T80"/>
                <a:gd fmla="*/ 36 h 110" name="T81"/>
                <a:gd fmla="*/ 38 w 224" name="T82"/>
                <a:gd fmla="*/ 32 h 110" name="T83"/>
                <a:gd fmla="*/ 42 w 224" name="T84"/>
                <a:gd fmla="*/ 20 h 110" name="T85"/>
                <a:gd fmla="*/ 52 w 224" name="T86"/>
                <a:gd fmla="*/ 16 h 110" name="T87"/>
                <a:gd fmla="*/ 62 w 224" name="T88"/>
                <a:gd fmla="*/ 16 h 110" name="T89"/>
                <a:gd fmla="*/ 72 w 224" name="T90"/>
                <a:gd fmla="*/ 14 h 110" name="T91"/>
                <a:gd fmla="*/ 86 w 224" name="T92"/>
                <a:gd fmla="*/ 4 h 110" name="T93"/>
                <a:gd fmla="*/ 88 w 224" name="T94"/>
                <a:gd fmla="*/ 2 h 110" name="T95"/>
                <a:gd fmla="*/ 98 w 224" name="T96"/>
                <a:gd fmla="*/ 0 h 110" name="T97"/>
                <a:gd fmla="*/ 112 w 224" name="T98"/>
                <a:gd fmla="*/ 4 h 110" name="T99"/>
                <a:gd fmla="*/ 122 w 224" name="T100"/>
                <a:gd fmla="*/ 12 h 110" name="T101"/>
                <a:gd fmla="*/ 132 w 224" name="T102"/>
                <a:gd fmla="*/ 14 h 110" name="T103"/>
                <a:gd fmla="*/ 140 w 224" name="T104"/>
                <a:gd fmla="*/ 12 h 110" name="T105"/>
                <a:gd fmla="*/ 152 w 224" name="T106"/>
                <a:gd fmla="*/ 12 h 110" name="T107"/>
                <a:gd fmla="*/ 158 w 224" name="T108"/>
                <a:gd fmla="*/ 16 h 110" name="T109"/>
                <a:gd fmla="*/ 170 w 224" name="T110"/>
                <a:gd fmla="*/ 24 h 110" name="T111"/>
                <a:gd fmla="*/ 182 w 224" name="T112"/>
                <a:gd fmla="*/ 28 h 110"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110" w="224">
                  <a:moveTo>
                    <a:pt x="188" y="30"/>
                  </a:moveTo>
                  <a:lnTo>
                    <a:pt x="192" y="32"/>
                  </a:lnTo>
                  <a:lnTo>
                    <a:pt x="194" y="34"/>
                  </a:lnTo>
                  <a:lnTo>
                    <a:pt x="198" y="36"/>
                  </a:lnTo>
                  <a:lnTo>
                    <a:pt x="202" y="38"/>
                  </a:lnTo>
                  <a:lnTo>
                    <a:pt x="204" y="40"/>
                  </a:lnTo>
                  <a:lnTo>
                    <a:pt x="204" y="40"/>
                  </a:lnTo>
                  <a:lnTo>
                    <a:pt x="210" y="46"/>
                  </a:lnTo>
                  <a:lnTo>
                    <a:pt x="216" y="58"/>
                  </a:lnTo>
                  <a:lnTo>
                    <a:pt x="220" y="70"/>
                  </a:lnTo>
                  <a:lnTo>
                    <a:pt x="224" y="78"/>
                  </a:lnTo>
                  <a:lnTo>
                    <a:pt x="224" y="80"/>
                  </a:lnTo>
                  <a:lnTo>
                    <a:pt x="222" y="82"/>
                  </a:lnTo>
                  <a:lnTo>
                    <a:pt x="222" y="82"/>
                  </a:lnTo>
                  <a:lnTo>
                    <a:pt x="220" y="82"/>
                  </a:lnTo>
                  <a:lnTo>
                    <a:pt x="220" y="82"/>
                  </a:lnTo>
                  <a:lnTo>
                    <a:pt x="218" y="78"/>
                  </a:lnTo>
                  <a:lnTo>
                    <a:pt x="208" y="80"/>
                  </a:lnTo>
                  <a:lnTo>
                    <a:pt x="204" y="80"/>
                  </a:lnTo>
                  <a:lnTo>
                    <a:pt x="200" y="80"/>
                  </a:lnTo>
                  <a:lnTo>
                    <a:pt x="194" y="82"/>
                  </a:lnTo>
                  <a:lnTo>
                    <a:pt x="190" y="84"/>
                  </a:lnTo>
                  <a:lnTo>
                    <a:pt x="184" y="86"/>
                  </a:lnTo>
                  <a:lnTo>
                    <a:pt x="182" y="88"/>
                  </a:lnTo>
                  <a:lnTo>
                    <a:pt x="180" y="88"/>
                  </a:lnTo>
                  <a:lnTo>
                    <a:pt x="178" y="90"/>
                  </a:lnTo>
                  <a:lnTo>
                    <a:pt x="174" y="92"/>
                  </a:lnTo>
                  <a:lnTo>
                    <a:pt x="172" y="92"/>
                  </a:lnTo>
                  <a:lnTo>
                    <a:pt x="170" y="92"/>
                  </a:lnTo>
                  <a:lnTo>
                    <a:pt x="168" y="92"/>
                  </a:lnTo>
                  <a:lnTo>
                    <a:pt x="166" y="94"/>
                  </a:lnTo>
                  <a:lnTo>
                    <a:pt x="164" y="96"/>
                  </a:lnTo>
                  <a:lnTo>
                    <a:pt x="162" y="98"/>
                  </a:lnTo>
                  <a:lnTo>
                    <a:pt x="162" y="98"/>
                  </a:lnTo>
                  <a:lnTo>
                    <a:pt x="158" y="100"/>
                  </a:lnTo>
                  <a:lnTo>
                    <a:pt x="152" y="102"/>
                  </a:lnTo>
                  <a:lnTo>
                    <a:pt x="146" y="102"/>
                  </a:lnTo>
                  <a:lnTo>
                    <a:pt x="140" y="102"/>
                  </a:lnTo>
                  <a:lnTo>
                    <a:pt x="136" y="102"/>
                  </a:lnTo>
                  <a:lnTo>
                    <a:pt x="132" y="100"/>
                  </a:lnTo>
                  <a:lnTo>
                    <a:pt x="132" y="100"/>
                  </a:lnTo>
                  <a:lnTo>
                    <a:pt x="128" y="98"/>
                  </a:lnTo>
                  <a:lnTo>
                    <a:pt x="126" y="98"/>
                  </a:lnTo>
                  <a:lnTo>
                    <a:pt x="124" y="100"/>
                  </a:lnTo>
                  <a:lnTo>
                    <a:pt x="124" y="102"/>
                  </a:lnTo>
                  <a:lnTo>
                    <a:pt x="124" y="102"/>
                  </a:lnTo>
                  <a:lnTo>
                    <a:pt x="120" y="108"/>
                  </a:lnTo>
                  <a:lnTo>
                    <a:pt x="118" y="110"/>
                  </a:lnTo>
                  <a:lnTo>
                    <a:pt x="116" y="110"/>
                  </a:lnTo>
                  <a:lnTo>
                    <a:pt x="114" y="110"/>
                  </a:lnTo>
                  <a:lnTo>
                    <a:pt x="114" y="110"/>
                  </a:lnTo>
                  <a:lnTo>
                    <a:pt x="112" y="108"/>
                  </a:lnTo>
                  <a:lnTo>
                    <a:pt x="112" y="108"/>
                  </a:lnTo>
                  <a:lnTo>
                    <a:pt x="114" y="106"/>
                  </a:lnTo>
                  <a:lnTo>
                    <a:pt x="114" y="106"/>
                  </a:lnTo>
                  <a:lnTo>
                    <a:pt x="116" y="104"/>
                  </a:lnTo>
                  <a:lnTo>
                    <a:pt x="116" y="104"/>
                  </a:lnTo>
                  <a:lnTo>
                    <a:pt x="116" y="102"/>
                  </a:lnTo>
                  <a:lnTo>
                    <a:pt x="116" y="100"/>
                  </a:lnTo>
                  <a:lnTo>
                    <a:pt x="116" y="100"/>
                  </a:lnTo>
                  <a:lnTo>
                    <a:pt x="108" y="102"/>
                  </a:lnTo>
                  <a:lnTo>
                    <a:pt x="102" y="106"/>
                  </a:lnTo>
                  <a:lnTo>
                    <a:pt x="98" y="104"/>
                  </a:lnTo>
                  <a:lnTo>
                    <a:pt x="96" y="104"/>
                  </a:lnTo>
                  <a:lnTo>
                    <a:pt x="94" y="104"/>
                  </a:lnTo>
                  <a:lnTo>
                    <a:pt x="92" y="106"/>
                  </a:lnTo>
                  <a:lnTo>
                    <a:pt x="88" y="108"/>
                  </a:lnTo>
                  <a:lnTo>
                    <a:pt x="84" y="108"/>
                  </a:lnTo>
                  <a:lnTo>
                    <a:pt x="82" y="108"/>
                  </a:lnTo>
                  <a:lnTo>
                    <a:pt x="80" y="106"/>
                  </a:lnTo>
                  <a:lnTo>
                    <a:pt x="76" y="104"/>
                  </a:lnTo>
                  <a:lnTo>
                    <a:pt x="70" y="104"/>
                  </a:lnTo>
                  <a:lnTo>
                    <a:pt x="64" y="102"/>
                  </a:lnTo>
                  <a:lnTo>
                    <a:pt x="60" y="102"/>
                  </a:lnTo>
                  <a:lnTo>
                    <a:pt x="58" y="104"/>
                  </a:lnTo>
                  <a:lnTo>
                    <a:pt x="58" y="106"/>
                  </a:lnTo>
                  <a:lnTo>
                    <a:pt x="54" y="108"/>
                  </a:lnTo>
                  <a:lnTo>
                    <a:pt x="52" y="110"/>
                  </a:lnTo>
                  <a:lnTo>
                    <a:pt x="48" y="110"/>
                  </a:lnTo>
                  <a:lnTo>
                    <a:pt x="48" y="110"/>
                  </a:lnTo>
                  <a:lnTo>
                    <a:pt x="46" y="110"/>
                  </a:lnTo>
                  <a:lnTo>
                    <a:pt x="42" y="108"/>
                  </a:lnTo>
                  <a:lnTo>
                    <a:pt x="38" y="106"/>
                  </a:lnTo>
                  <a:lnTo>
                    <a:pt x="34" y="106"/>
                  </a:lnTo>
                  <a:lnTo>
                    <a:pt x="32" y="106"/>
                  </a:lnTo>
                  <a:lnTo>
                    <a:pt x="30" y="104"/>
                  </a:lnTo>
                  <a:lnTo>
                    <a:pt x="26" y="102"/>
                  </a:lnTo>
                  <a:lnTo>
                    <a:pt x="22" y="100"/>
                  </a:lnTo>
                  <a:lnTo>
                    <a:pt x="18" y="96"/>
                  </a:lnTo>
                  <a:lnTo>
                    <a:pt x="14" y="94"/>
                  </a:lnTo>
                  <a:lnTo>
                    <a:pt x="12" y="90"/>
                  </a:lnTo>
                  <a:lnTo>
                    <a:pt x="12" y="90"/>
                  </a:lnTo>
                  <a:lnTo>
                    <a:pt x="12" y="86"/>
                  </a:lnTo>
                  <a:lnTo>
                    <a:pt x="10" y="82"/>
                  </a:lnTo>
                  <a:lnTo>
                    <a:pt x="10" y="78"/>
                  </a:lnTo>
                  <a:lnTo>
                    <a:pt x="8" y="76"/>
                  </a:lnTo>
                  <a:lnTo>
                    <a:pt x="2" y="70"/>
                  </a:lnTo>
                  <a:lnTo>
                    <a:pt x="2" y="68"/>
                  </a:lnTo>
                  <a:lnTo>
                    <a:pt x="2" y="66"/>
                  </a:lnTo>
                  <a:lnTo>
                    <a:pt x="0" y="62"/>
                  </a:lnTo>
                  <a:lnTo>
                    <a:pt x="0" y="58"/>
                  </a:lnTo>
                  <a:lnTo>
                    <a:pt x="0" y="54"/>
                  </a:lnTo>
                  <a:lnTo>
                    <a:pt x="2" y="54"/>
                  </a:lnTo>
                  <a:lnTo>
                    <a:pt x="2" y="52"/>
                  </a:lnTo>
                  <a:lnTo>
                    <a:pt x="4" y="50"/>
                  </a:lnTo>
                  <a:lnTo>
                    <a:pt x="6" y="48"/>
                  </a:lnTo>
                  <a:lnTo>
                    <a:pt x="8" y="44"/>
                  </a:lnTo>
                  <a:lnTo>
                    <a:pt x="14" y="44"/>
                  </a:lnTo>
                  <a:lnTo>
                    <a:pt x="14" y="44"/>
                  </a:lnTo>
                  <a:lnTo>
                    <a:pt x="18" y="44"/>
                  </a:lnTo>
                  <a:lnTo>
                    <a:pt x="20" y="46"/>
                  </a:lnTo>
                  <a:lnTo>
                    <a:pt x="26" y="46"/>
                  </a:lnTo>
                  <a:lnTo>
                    <a:pt x="30" y="44"/>
                  </a:lnTo>
                  <a:lnTo>
                    <a:pt x="30" y="44"/>
                  </a:lnTo>
                  <a:lnTo>
                    <a:pt x="32" y="42"/>
                  </a:lnTo>
                  <a:lnTo>
                    <a:pt x="36" y="40"/>
                  </a:lnTo>
                  <a:lnTo>
                    <a:pt x="38" y="40"/>
                  </a:lnTo>
                  <a:lnTo>
                    <a:pt x="42" y="40"/>
                  </a:lnTo>
                  <a:lnTo>
                    <a:pt x="50" y="40"/>
                  </a:lnTo>
                  <a:lnTo>
                    <a:pt x="50" y="40"/>
                  </a:lnTo>
                  <a:lnTo>
                    <a:pt x="46" y="38"/>
                  </a:lnTo>
                  <a:lnTo>
                    <a:pt x="42" y="38"/>
                  </a:lnTo>
                  <a:lnTo>
                    <a:pt x="40" y="36"/>
                  </a:lnTo>
                  <a:lnTo>
                    <a:pt x="40" y="36"/>
                  </a:lnTo>
                  <a:lnTo>
                    <a:pt x="38" y="34"/>
                  </a:lnTo>
                  <a:lnTo>
                    <a:pt x="38" y="32"/>
                  </a:lnTo>
                  <a:lnTo>
                    <a:pt x="38" y="28"/>
                  </a:lnTo>
                  <a:lnTo>
                    <a:pt x="40" y="24"/>
                  </a:lnTo>
                  <a:lnTo>
                    <a:pt x="42" y="20"/>
                  </a:lnTo>
                  <a:lnTo>
                    <a:pt x="48" y="16"/>
                  </a:lnTo>
                  <a:lnTo>
                    <a:pt x="50" y="16"/>
                  </a:lnTo>
                  <a:lnTo>
                    <a:pt x="52" y="16"/>
                  </a:lnTo>
                  <a:lnTo>
                    <a:pt x="56" y="16"/>
                  </a:lnTo>
                  <a:lnTo>
                    <a:pt x="60" y="16"/>
                  </a:lnTo>
                  <a:lnTo>
                    <a:pt x="62" y="16"/>
                  </a:lnTo>
                  <a:lnTo>
                    <a:pt x="64" y="16"/>
                  </a:lnTo>
                  <a:lnTo>
                    <a:pt x="66" y="16"/>
                  </a:lnTo>
                  <a:lnTo>
                    <a:pt x="72" y="14"/>
                  </a:lnTo>
                  <a:lnTo>
                    <a:pt x="76" y="10"/>
                  </a:lnTo>
                  <a:lnTo>
                    <a:pt x="82" y="8"/>
                  </a:lnTo>
                  <a:lnTo>
                    <a:pt x="86" y="4"/>
                  </a:lnTo>
                  <a:lnTo>
                    <a:pt x="86" y="4"/>
                  </a:lnTo>
                  <a:lnTo>
                    <a:pt x="88" y="4"/>
                  </a:lnTo>
                  <a:lnTo>
                    <a:pt x="88" y="2"/>
                  </a:lnTo>
                  <a:lnTo>
                    <a:pt x="90" y="0"/>
                  </a:lnTo>
                  <a:lnTo>
                    <a:pt x="94" y="0"/>
                  </a:lnTo>
                  <a:lnTo>
                    <a:pt x="98" y="0"/>
                  </a:lnTo>
                  <a:lnTo>
                    <a:pt x="104" y="2"/>
                  </a:lnTo>
                  <a:lnTo>
                    <a:pt x="112" y="4"/>
                  </a:lnTo>
                  <a:lnTo>
                    <a:pt x="112" y="4"/>
                  </a:lnTo>
                  <a:lnTo>
                    <a:pt x="114" y="6"/>
                  </a:lnTo>
                  <a:lnTo>
                    <a:pt x="118" y="8"/>
                  </a:lnTo>
                  <a:lnTo>
                    <a:pt x="122" y="12"/>
                  </a:lnTo>
                  <a:lnTo>
                    <a:pt x="128" y="16"/>
                  </a:lnTo>
                  <a:lnTo>
                    <a:pt x="128" y="14"/>
                  </a:lnTo>
                  <a:lnTo>
                    <a:pt x="132" y="14"/>
                  </a:lnTo>
                  <a:lnTo>
                    <a:pt x="136" y="14"/>
                  </a:lnTo>
                  <a:lnTo>
                    <a:pt x="138" y="12"/>
                  </a:lnTo>
                  <a:lnTo>
                    <a:pt x="140" y="12"/>
                  </a:lnTo>
                  <a:lnTo>
                    <a:pt x="142" y="12"/>
                  </a:lnTo>
                  <a:lnTo>
                    <a:pt x="146" y="12"/>
                  </a:lnTo>
                  <a:lnTo>
                    <a:pt x="152" y="12"/>
                  </a:lnTo>
                  <a:lnTo>
                    <a:pt x="156" y="14"/>
                  </a:lnTo>
                  <a:lnTo>
                    <a:pt x="158" y="16"/>
                  </a:lnTo>
                  <a:lnTo>
                    <a:pt x="158" y="16"/>
                  </a:lnTo>
                  <a:lnTo>
                    <a:pt x="162" y="18"/>
                  </a:lnTo>
                  <a:lnTo>
                    <a:pt x="166" y="22"/>
                  </a:lnTo>
                  <a:lnTo>
                    <a:pt x="170" y="24"/>
                  </a:lnTo>
                  <a:lnTo>
                    <a:pt x="180" y="26"/>
                  </a:lnTo>
                  <a:lnTo>
                    <a:pt x="180" y="26"/>
                  </a:lnTo>
                  <a:lnTo>
                    <a:pt x="182" y="28"/>
                  </a:lnTo>
                  <a:lnTo>
                    <a:pt x="186" y="28"/>
                  </a:lnTo>
                  <a:lnTo>
                    <a:pt x="188" y="3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8" name="Freeform 425"/>
            <p:cNvSpPr/>
            <p:nvPr/>
          </p:nvSpPr>
          <p:spPr bwMode="gray">
            <a:xfrm>
              <a:off x="1283196" y="3451578"/>
              <a:ext cx="203654" cy="166513"/>
            </a:xfrm>
            <a:custGeom>
              <a:gdLst>
                <a:gd fmla="*/ 28 w 110" name="T0"/>
                <a:gd fmla="*/ 74 h 90" name="T1"/>
                <a:gd fmla="*/ 30 w 110" name="T2"/>
                <a:gd fmla="*/ 60 h 90" name="T3"/>
                <a:gd fmla="*/ 32 w 110" name="T4"/>
                <a:gd fmla="*/ 58 h 90" name="T5"/>
                <a:gd fmla="*/ 32 w 110" name="T6"/>
                <a:gd fmla="*/ 54 h 90" name="T7"/>
                <a:gd fmla="*/ 30 w 110" name="T8"/>
                <a:gd fmla="*/ 50 h 90" name="T9"/>
                <a:gd fmla="*/ 26 w 110" name="T10"/>
                <a:gd fmla="*/ 44 h 90" name="T11"/>
                <a:gd fmla="*/ 22 w 110" name="T12"/>
                <a:gd fmla="*/ 36 h 90" name="T13"/>
                <a:gd fmla="*/ 18 w 110" name="T14"/>
                <a:gd fmla="*/ 24 h 90" name="T15"/>
                <a:gd fmla="*/ 14 w 110" name="T16"/>
                <a:gd fmla="*/ 22 h 90" name="T17"/>
                <a:gd fmla="*/ 4 w 110" name="T18"/>
                <a:gd fmla="*/ 12 h 90" name="T19"/>
                <a:gd fmla="*/ 4 w 110" name="T20"/>
                <a:gd fmla="*/ 6 h 90" name="T21"/>
                <a:gd fmla="*/ 0 w 110" name="T22"/>
                <a:gd fmla="*/ 0 h 90" name="T23"/>
                <a:gd fmla="*/ 2 w 110" name="T24"/>
                <a:gd fmla="*/ 0 h 90" name="T25"/>
                <a:gd fmla="*/ 10 w 110" name="T26"/>
                <a:gd fmla="*/ 0 h 90" name="T27"/>
                <a:gd fmla="*/ 18 w 110" name="T28"/>
                <a:gd fmla="*/ 4 h 90" name="T29"/>
                <a:gd fmla="*/ 24 w 110" name="T30"/>
                <a:gd fmla="*/ 10 h 90" name="T31"/>
                <a:gd fmla="*/ 32 w 110" name="T32"/>
                <a:gd fmla="*/ 16 h 90" name="T33"/>
                <a:gd fmla="*/ 44 w 110" name="T34"/>
                <a:gd fmla="*/ 18 h 90" name="T35"/>
                <a:gd fmla="*/ 58 w 110" name="T36"/>
                <a:gd fmla="*/ 12 h 90" name="T37"/>
                <a:gd fmla="*/ 84 w 110" name="T38"/>
                <a:gd fmla="*/ 18 h 90" name="T39"/>
                <a:gd fmla="*/ 100 w 110" name="T40"/>
                <a:gd fmla="*/ 24 h 90" name="T41"/>
                <a:gd fmla="*/ 104 w 110" name="T42"/>
                <a:gd fmla="*/ 26 h 90" name="T43"/>
                <a:gd fmla="*/ 110 w 110" name="T44"/>
                <a:gd fmla="*/ 30 h 90" name="T45"/>
                <a:gd fmla="*/ 110 w 110" name="T46"/>
                <a:gd fmla="*/ 34 h 90" name="T47"/>
                <a:gd fmla="*/ 108 w 110" name="T48"/>
                <a:gd fmla="*/ 42 h 90" name="T49"/>
                <a:gd fmla="*/ 106 w 110" name="T50"/>
                <a:gd fmla="*/ 46 h 90" name="T51"/>
                <a:gd fmla="*/ 104 w 110" name="T52"/>
                <a:gd fmla="*/ 52 h 90" name="T53"/>
                <a:gd fmla="*/ 100 w 110" name="T54"/>
                <a:gd fmla="*/ 56 h 90" name="T55"/>
                <a:gd fmla="*/ 98 w 110" name="T56"/>
                <a:gd fmla="*/ 58 h 90" name="T57"/>
                <a:gd fmla="*/ 94 w 110" name="T58"/>
                <a:gd fmla="*/ 66 h 90" name="T59"/>
                <a:gd fmla="*/ 94 w 110" name="T60"/>
                <a:gd fmla="*/ 68 h 90" name="T61"/>
                <a:gd fmla="*/ 90 w 110" name="T62"/>
                <a:gd fmla="*/ 70 h 90" name="T63"/>
                <a:gd fmla="*/ 82 w 110" name="T64"/>
                <a:gd fmla="*/ 72 h 90" name="T65"/>
                <a:gd fmla="*/ 74 w 110" name="T66"/>
                <a:gd fmla="*/ 82 h 90" name="T67"/>
                <a:gd fmla="*/ 70 w 110" name="T68"/>
                <a:gd fmla="*/ 88 h 90" name="T69"/>
                <a:gd fmla="*/ 62 w 110" name="T70"/>
                <a:gd fmla="*/ 88 h 90" name="T71"/>
                <a:gd fmla="*/ 56 w 110" name="T72"/>
                <a:gd fmla="*/ 88 h 90" name="T73"/>
                <a:gd fmla="*/ 36 w 110" name="T74"/>
                <a:gd fmla="*/ 90 h 90"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90" w="110">
                  <a:moveTo>
                    <a:pt x="36" y="90"/>
                  </a:moveTo>
                  <a:lnTo>
                    <a:pt x="28" y="74"/>
                  </a:lnTo>
                  <a:lnTo>
                    <a:pt x="24" y="66"/>
                  </a:lnTo>
                  <a:lnTo>
                    <a:pt x="30" y="60"/>
                  </a:lnTo>
                  <a:lnTo>
                    <a:pt x="30" y="60"/>
                  </a:lnTo>
                  <a:lnTo>
                    <a:pt x="32" y="58"/>
                  </a:lnTo>
                  <a:lnTo>
                    <a:pt x="32" y="56"/>
                  </a:lnTo>
                  <a:lnTo>
                    <a:pt x="32" y="54"/>
                  </a:lnTo>
                  <a:lnTo>
                    <a:pt x="30" y="50"/>
                  </a:lnTo>
                  <a:lnTo>
                    <a:pt x="30" y="50"/>
                  </a:lnTo>
                  <a:lnTo>
                    <a:pt x="28" y="48"/>
                  </a:lnTo>
                  <a:lnTo>
                    <a:pt x="26" y="44"/>
                  </a:lnTo>
                  <a:lnTo>
                    <a:pt x="24" y="40"/>
                  </a:lnTo>
                  <a:lnTo>
                    <a:pt x="22" y="36"/>
                  </a:lnTo>
                  <a:lnTo>
                    <a:pt x="22" y="30"/>
                  </a:lnTo>
                  <a:lnTo>
                    <a:pt x="18" y="24"/>
                  </a:lnTo>
                  <a:lnTo>
                    <a:pt x="18" y="20"/>
                  </a:lnTo>
                  <a:lnTo>
                    <a:pt x="14" y="22"/>
                  </a:lnTo>
                  <a:lnTo>
                    <a:pt x="4" y="14"/>
                  </a:lnTo>
                  <a:lnTo>
                    <a:pt x="4" y="12"/>
                  </a:lnTo>
                  <a:lnTo>
                    <a:pt x="4" y="10"/>
                  </a:lnTo>
                  <a:lnTo>
                    <a:pt x="4" y="6"/>
                  </a:lnTo>
                  <a:lnTo>
                    <a:pt x="2" y="2"/>
                  </a:lnTo>
                  <a:lnTo>
                    <a:pt x="0" y="0"/>
                  </a:lnTo>
                  <a:lnTo>
                    <a:pt x="0" y="0"/>
                  </a:lnTo>
                  <a:lnTo>
                    <a:pt x="2" y="0"/>
                  </a:lnTo>
                  <a:lnTo>
                    <a:pt x="4" y="0"/>
                  </a:lnTo>
                  <a:lnTo>
                    <a:pt x="10" y="0"/>
                  </a:lnTo>
                  <a:lnTo>
                    <a:pt x="18" y="2"/>
                  </a:lnTo>
                  <a:lnTo>
                    <a:pt x="18" y="4"/>
                  </a:lnTo>
                  <a:lnTo>
                    <a:pt x="20" y="6"/>
                  </a:lnTo>
                  <a:lnTo>
                    <a:pt x="24" y="10"/>
                  </a:lnTo>
                  <a:lnTo>
                    <a:pt x="28" y="12"/>
                  </a:lnTo>
                  <a:lnTo>
                    <a:pt x="32" y="16"/>
                  </a:lnTo>
                  <a:lnTo>
                    <a:pt x="38" y="18"/>
                  </a:lnTo>
                  <a:lnTo>
                    <a:pt x="44" y="18"/>
                  </a:lnTo>
                  <a:lnTo>
                    <a:pt x="48" y="16"/>
                  </a:lnTo>
                  <a:lnTo>
                    <a:pt x="58" y="12"/>
                  </a:lnTo>
                  <a:lnTo>
                    <a:pt x="70" y="12"/>
                  </a:lnTo>
                  <a:lnTo>
                    <a:pt x="84" y="18"/>
                  </a:lnTo>
                  <a:lnTo>
                    <a:pt x="98" y="22"/>
                  </a:lnTo>
                  <a:lnTo>
                    <a:pt x="100" y="24"/>
                  </a:lnTo>
                  <a:lnTo>
                    <a:pt x="102" y="24"/>
                  </a:lnTo>
                  <a:lnTo>
                    <a:pt x="104" y="26"/>
                  </a:lnTo>
                  <a:lnTo>
                    <a:pt x="108" y="28"/>
                  </a:lnTo>
                  <a:lnTo>
                    <a:pt x="110" y="30"/>
                  </a:lnTo>
                  <a:lnTo>
                    <a:pt x="110" y="32"/>
                  </a:lnTo>
                  <a:lnTo>
                    <a:pt x="110" y="34"/>
                  </a:lnTo>
                  <a:lnTo>
                    <a:pt x="108" y="36"/>
                  </a:lnTo>
                  <a:lnTo>
                    <a:pt x="108" y="42"/>
                  </a:lnTo>
                  <a:lnTo>
                    <a:pt x="106" y="46"/>
                  </a:lnTo>
                  <a:lnTo>
                    <a:pt x="106" y="46"/>
                  </a:lnTo>
                  <a:lnTo>
                    <a:pt x="104" y="48"/>
                  </a:lnTo>
                  <a:lnTo>
                    <a:pt x="104" y="52"/>
                  </a:lnTo>
                  <a:lnTo>
                    <a:pt x="102" y="54"/>
                  </a:lnTo>
                  <a:lnTo>
                    <a:pt x="100" y="56"/>
                  </a:lnTo>
                  <a:lnTo>
                    <a:pt x="98" y="56"/>
                  </a:lnTo>
                  <a:lnTo>
                    <a:pt x="98" y="58"/>
                  </a:lnTo>
                  <a:lnTo>
                    <a:pt x="96" y="62"/>
                  </a:lnTo>
                  <a:lnTo>
                    <a:pt x="94" y="66"/>
                  </a:lnTo>
                  <a:lnTo>
                    <a:pt x="96" y="68"/>
                  </a:lnTo>
                  <a:lnTo>
                    <a:pt x="94" y="68"/>
                  </a:lnTo>
                  <a:lnTo>
                    <a:pt x="92" y="68"/>
                  </a:lnTo>
                  <a:lnTo>
                    <a:pt x="90" y="70"/>
                  </a:lnTo>
                  <a:lnTo>
                    <a:pt x="86" y="70"/>
                  </a:lnTo>
                  <a:lnTo>
                    <a:pt x="82" y="72"/>
                  </a:lnTo>
                  <a:lnTo>
                    <a:pt x="78" y="76"/>
                  </a:lnTo>
                  <a:lnTo>
                    <a:pt x="74" y="82"/>
                  </a:lnTo>
                  <a:lnTo>
                    <a:pt x="72" y="88"/>
                  </a:lnTo>
                  <a:lnTo>
                    <a:pt x="70" y="88"/>
                  </a:lnTo>
                  <a:lnTo>
                    <a:pt x="68" y="88"/>
                  </a:lnTo>
                  <a:lnTo>
                    <a:pt x="62" y="88"/>
                  </a:lnTo>
                  <a:lnTo>
                    <a:pt x="58" y="88"/>
                  </a:lnTo>
                  <a:lnTo>
                    <a:pt x="56" y="88"/>
                  </a:lnTo>
                  <a:lnTo>
                    <a:pt x="54" y="86"/>
                  </a:lnTo>
                  <a:lnTo>
                    <a:pt x="36" y="9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69" name="Freeform 426"/>
            <p:cNvSpPr/>
            <p:nvPr/>
          </p:nvSpPr>
          <p:spPr bwMode="gray">
            <a:xfrm>
              <a:off x="1260979" y="3610691"/>
              <a:ext cx="155517" cy="155413"/>
            </a:xfrm>
            <a:custGeom>
              <a:gdLst>
                <a:gd fmla="*/ 84 w 84" name="T0"/>
                <a:gd fmla="*/ 2 h 84" name="T1"/>
                <a:gd fmla="*/ 72 w 84" name="T2"/>
                <a:gd fmla="*/ 4 h 84" name="T3"/>
                <a:gd fmla="*/ 72 w 84" name="T4"/>
                <a:gd fmla="*/ 4 h 84" name="T5"/>
                <a:gd fmla="*/ 70 w 84" name="T6"/>
                <a:gd fmla="*/ 4 h 84" name="T7"/>
                <a:gd fmla="*/ 68 w 84" name="T8"/>
                <a:gd fmla="*/ 2 h 84" name="T9"/>
                <a:gd fmla="*/ 66 w 84" name="T10"/>
                <a:gd fmla="*/ 0 h 84" name="T11"/>
                <a:gd fmla="*/ 48 w 84" name="T12"/>
                <a:gd fmla="*/ 4 h 84" name="T13"/>
                <a:gd fmla="*/ 34 w 84" name="T14"/>
                <a:gd fmla="*/ 6 h 84" name="T15"/>
                <a:gd fmla="*/ 20 w 84" name="T16"/>
                <a:gd fmla="*/ 8 h 84" name="T17"/>
                <a:gd fmla="*/ 20 w 84" name="T18"/>
                <a:gd fmla="*/ 10 h 84" name="T19"/>
                <a:gd fmla="*/ 18 w 84" name="T20"/>
                <a:gd fmla="*/ 12 h 84" name="T21"/>
                <a:gd fmla="*/ 18 w 84" name="T22"/>
                <a:gd fmla="*/ 16 h 84" name="T23"/>
                <a:gd fmla="*/ 18 w 84" name="T24"/>
                <a:gd fmla="*/ 16 h 84" name="T25"/>
                <a:gd fmla="*/ 16 w 84" name="T26"/>
                <a:gd fmla="*/ 18 h 84" name="T27"/>
                <a:gd fmla="*/ 12 w 84" name="T28"/>
                <a:gd fmla="*/ 20 h 84" name="T29"/>
                <a:gd fmla="*/ 8 w 84" name="T30"/>
                <a:gd fmla="*/ 22 h 84" name="T31"/>
                <a:gd fmla="*/ 6 w 84" name="T32"/>
                <a:gd fmla="*/ 26 h 84" name="T33"/>
                <a:gd fmla="*/ 2 w 84" name="T34"/>
                <a:gd fmla="*/ 30 h 84" name="T35"/>
                <a:gd fmla="*/ 0 w 84" name="T36"/>
                <a:gd fmla="*/ 36 h 84" name="T37"/>
                <a:gd fmla="*/ 0 w 84" name="T38"/>
                <a:gd fmla="*/ 36 h 84" name="T39"/>
                <a:gd fmla="*/ 0 w 84" name="T40"/>
                <a:gd fmla="*/ 38 h 84" name="T41"/>
                <a:gd fmla="*/ 0 w 84" name="T42"/>
                <a:gd fmla="*/ 40 h 84" name="T43"/>
                <a:gd fmla="*/ 2 w 84" name="T44"/>
                <a:gd fmla="*/ 44 h 84" name="T45"/>
                <a:gd fmla="*/ 4 w 84" name="T46"/>
                <a:gd fmla="*/ 48 h 84" name="T47"/>
                <a:gd fmla="*/ 10 w 84" name="T48"/>
                <a:gd fmla="*/ 56 h 84" name="T49"/>
                <a:gd fmla="*/ 18 w 84" name="T50"/>
                <a:gd fmla="*/ 66 h 84" name="T51"/>
                <a:gd fmla="*/ 26 w 84" name="T52"/>
                <a:gd fmla="*/ 76 h 84" name="T53"/>
                <a:gd fmla="*/ 30 w 84" name="T54"/>
                <a:gd fmla="*/ 84 h 84" name="T55"/>
                <a:gd fmla="*/ 42 w 84" name="T56"/>
                <a:gd fmla="*/ 84 h 84" name="T57"/>
                <a:gd fmla="*/ 44 w 84" name="T58"/>
                <a:gd fmla="*/ 66 h 84" name="T59"/>
                <a:gd fmla="*/ 46 w 84" name="T60"/>
                <a:gd fmla="*/ 66 h 84" name="T61"/>
                <a:gd fmla="*/ 48 w 84" name="T62"/>
                <a:gd fmla="*/ 64 h 84" name="T63"/>
                <a:gd fmla="*/ 50 w 84" name="T64"/>
                <a:gd fmla="*/ 62 h 84" name="T65"/>
                <a:gd fmla="*/ 54 w 84" name="T66"/>
                <a:gd fmla="*/ 56 h 84" name="T67"/>
                <a:gd fmla="*/ 60 w 84" name="T68"/>
                <a:gd fmla="*/ 48 h 84" name="T69"/>
                <a:gd fmla="*/ 58 w 84" name="T70"/>
                <a:gd fmla="*/ 48 h 84" name="T71"/>
                <a:gd fmla="*/ 58 w 84" name="T72"/>
                <a:gd fmla="*/ 46 h 84" name="T73"/>
                <a:gd fmla="*/ 58 w 84" name="T74"/>
                <a:gd fmla="*/ 42 h 84" name="T75"/>
                <a:gd fmla="*/ 58 w 84" name="T76"/>
                <a:gd fmla="*/ 38 h 84" name="T77"/>
                <a:gd fmla="*/ 60 w 84" name="T78"/>
                <a:gd fmla="*/ 32 h 84" name="T79"/>
                <a:gd fmla="*/ 64 w 84" name="T80"/>
                <a:gd fmla="*/ 26 h 84" name="T81"/>
                <a:gd fmla="*/ 64 w 84" name="T82"/>
                <a:gd fmla="*/ 24 h 84" name="T83"/>
                <a:gd fmla="*/ 64 w 84" name="T84"/>
                <a:gd fmla="*/ 22 h 84" name="T85"/>
                <a:gd fmla="*/ 68 w 84" name="T86"/>
                <a:gd fmla="*/ 20 h 84" name="T87"/>
                <a:gd fmla="*/ 70 w 84" name="T88"/>
                <a:gd fmla="*/ 18 h 84" name="T89"/>
                <a:gd fmla="*/ 74 w 84" name="T90"/>
                <a:gd fmla="*/ 16 h 84" name="T91"/>
                <a:gd fmla="*/ 78 w 84" name="T92"/>
                <a:gd fmla="*/ 16 h 84" name="T93"/>
                <a:gd fmla="*/ 84 w 84" name="T94"/>
                <a:gd fmla="*/ 18 h 84" name="T95"/>
                <a:gd fmla="*/ 84 w 84" name="T96"/>
                <a:gd fmla="*/ 2 h 84" name="T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b="b" l="0" r="r" t="0"/>
              <a:pathLst>
                <a:path h="84" w="84">
                  <a:moveTo>
                    <a:pt x="84" y="2"/>
                  </a:moveTo>
                  <a:lnTo>
                    <a:pt x="72" y="4"/>
                  </a:lnTo>
                  <a:lnTo>
                    <a:pt x="72" y="4"/>
                  </a:lnTo>
                  <a:lnTo>
                    <a:pt x="70" y="4"/>
                  </a:lnTo>
                  <a:lnTo>
                    <a:pt x="68" y="2"/>
                  </a:lnTo>
                  <a:lnTo>
                    <a:pt x="66" y="0"/>
                  </a:lnTo>
                  <a:lnTo>
                    <a:pt x="48" y="4"/>
                  </a:lnTo>
                  <a:lnTo>
                    <a:pt x="34" y="6"/>
                  </a:lnTo>
                  <a:lnTo>
                    <a:pt x="20" y="8"/>
                  </a:lnTo>
                  <a:lnTo>
                    <a:pt x="20" y="10"/>
                  </a:lnTo>
                  <a:lnTo>
                    <a:pt x="18" y="12"/>
                  </a:lnTo>
                  <a:lnTo>
                    <a:pt x="18" y="16"/>
                  </a:lnTo>
                  <a:lnTo>
                    <a:pt x="18" y="16"/>
                  </a:lnTo>
                  <a:lnTo>
                    <a:pt x="16" y="18"/>
                  </a:lnTo>
                  <a:lnTo>
                    <a:pt x="12" y="20"/>
                  </a:lnTo>
                  <a:lnTo>
                    <a:pt x="8" y="22"/>
                  </a:lnTo>
                  <a:lnTo>
                    <a:pt x="6" y="26"/>
                  </a:lnTo>
                  <a:lnTo>
                    <a:pt x="2" y="30"/>
                  </a:lnTo>
                  <a:lnTo>
                    <a:pt x="0" y="36"/>
                  </a:lnTo>
                  <a:lnTo>
                    <a:pt x="0" y="36"/>
                  </a:lnTo>
                  <a:lnTo>
                    <a:pt x="0" y="38"/>
                  </a:lnTo>
                  <a:lnTo>
                    <a:pt x="0" y="40"/>
                  </a:lnTo>
                  <a:lnTo>
                    <a:pt x="2" y="44"/>
                  </a:lnTo>
                  <a:lnTo>
                    <a:pt x="4" y="48"/>
                  </a:lnTo>
                  <a:lnTo>
                    <a:pt x="10" y="56"/>
                  </a:lnTo>
                  <a:lnTo>
                    <a:pt x="18" y="66"/>
                  </a:lnTo>
                  <a:lnTo>
                    <a:pt x="26" y="76"/>
                  </a:lnTo>
                  <a:lnTo>
                    <a:pt x="30" y="84"/>
                  </a:lnTo>
                  <a:lnTo>
                    <a:pt x="42" y="84"/>
                  </a:lnTo>
                  <a:lnTo>
                    <a:pt x="44" y="66"/>
                  </a:lnTo>
                  <a:lnTo>
                    <a:pt x="46" y="66"/>
                  </a:lnTo>
                  <a:lnTo>
                    <a:pt x="48" y="64"/>
                  </a:lnTo>
                  <a:lnTo>
                    <a:pt x="50" y="62"/>
                  </a:lnTo>
                  <a:lnTo>
                    <a:pt x="54" y="56"/>
                  </a:lnTo>
                  <a:lnTo>
                    <a:pt x="60" y="48"/>
                  </a:lnTo>
                  <a:lnTo>
                    <a:pt x="58" y="48"/>
                  </a:lnTo>
                  <a:lnTo>
                    <a:pt x="58" y="46"/>
                  </a:lnTo>
                  <a:lnTo>
                    <a:pt x="58" y="42"/>
                  </a:lnTo>
                  <a:lnTo>
                    <a:pt x="58" y="38"/>
                  </a:lnTo>
                  <a:lnTo>
                    <a:pt x="60" y="32"/>
                  </a:lnTo>
                  <a:lnTo>
                    <a:pt x="64" y="26"/>
                  </a:lnTo>
                  <a:lnTo>
                    <a:pt x="64" y="24"/>
                  </a:lnTo>
                  <a:lnTo>
                    <a:pt x="64" y="22"/>
                  </a:lnTo>
                  <a:lnTo>
                    <a:pt x="68" y="20"/>
                  </a:lnTo>
                  <a:lnTo>
                    <a:pt x="70" y="18"/>
                  </a:lnTo>
                  <a:lnTo>
                    <a:pt x="74" y="16"/>
                  </a:lnTo>
                  <a:lnTo>
                    <a:pt x="78" y="16"/>
                  </a:lnTo>
                  <a:lnTo>
                    <a:pt x="84" y="18"/>
                  </a:lnTo>
                  <a:lnTo>
                    <a:pt x="84"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0" name="Freeform 427"/>
            <p:cNvSpPr/>
            <p:nvPr/>
          </p:nvSpPr>
          <p:spPr bwMode="gray">
            <a:xfrm>
              <a:off x="1246168" y="3558886"/>
              <a:ext cx="51839" cy="118410"/>
            </a:xfrm>
            <a:custGeom>
              <a:gdLst>
                <a:gd fmla="*/ 0 w 28" name="T0"/>
                <a:gd fmla="*/ 20 h 64" name="T1"/>
                <a:gd fmla="*/ 8 w 28" name="T2"/>
                <a:gd fmla="*/ 28 h 64" name="T3"/>
                <a:gd fmla="*/ 10 w 28" name="T4"/>
                <a:gd fmla="*/ 28 h 64" name="T5"/>
                <a:gd fmla="*/ 10 w 28" name="T6"/>
                <a:gd fmla="*/ 32 h 64" name="T7"/>
                <a:gd fmla="*/ 12 w 28" name="T8"/>
                <a:gd fmla="*/ 36 h 64" name="T9"/>
                <a:gd fmla="*/ 12 w 28" name="T10"/>
                <a:gd fmla="*/ 40 h 64" name="T11"/>
                <a:gd fmla="*/ 10 w 28" name="T12"/>
                <a:gd fmla="*/ 40 h 64" name="T13"/>
                <a:gd fmla="*/ 10 w 28" name="T14"/>
                <a:gd fmla="*/ 40 h 64" name="T15"/>
                <a:gd fmla="*/ 10 w 28" name="T16"/>
                <a:gd fmla="*/ 44 h 64" name="T17"/>
                <a:gd fmla="*/ 8 w 28" name="T18"/>
                <a:gd fmla="*/ 48 h 64" name="T19"/>
                <a:gd fmla="*/ 8 w 28" name="T20"/>
                <a:gd fmla="*/ 54 h 64" name="T21"/>
                <a:gd fmla="*/ 8 w 28" name="T22"/>
                <a:gd fmla="*/ 54 h 64" name="T23"/>
                <a:gd fmla="*/ 8 w 28" name="T24"/>
                <a:gd fmla="*/ 58 h 64" name="T25"/>
                <a:gd fmla="*/ 8 w 28" name="T26"/>
                <a:gd fmla="*/ 60 h 64" name="T27"/>
                <a:gd fmla="*/ 8 w 28" name="T28"/>
                <a:gd fmla="*/ 64 h 64" name="T29"/>
                <a:gd fmla="*/ 8 w 28" name="T30"/>
                <a:gd fmla="*/ 62 h 64" name="T31"/>
                <a:gd fmla="*/ 8 w 28" name="T32"/>
                <a:gd fmla="*/ 60 h 64" name="T33"/>
                <a:gd fmla="*/ 10 w 28" name="T34"/>
                <a:gd fmla="*/ 58 h 64" name="T35"/>
                <a:gd fmla="*/ 14 w 28" name="T36"/>
                <a:gd fmla="*/ 54 h 64" name="T37"/>
                <a:gd fmla="*/ 18 w 28" name="T38"/>
                <a:gd fmla="*/ 50 h 64" name="T39"/>
                <a:gd fmla="*/ 26 w 28" name="T40"/>
                <a:gd fmla="*/ 44 h 64" name="T41"/>
                <a:gd fmla="*/ 26 w 28" name="T42"/>
                <a:gd fmla="*/ 42 h 64" name="T43"/>
                <a:gd fmla="*/ 26 w 28" name="T44"/>
                <a:gd fmla="*/ 40 h 64" name="T45"/>
                <a:gd fmla="*/ 28 w 28" name="T46"/>
                <a:gd fmla="*/ 38 h 64" name="T47"/>
                <a:gd fmla="*/ 28 w 28" name="T48"/>
                <a:gd fmla="*/ 36 h 64" name="T49"/>
                <a:gd fmla="*/ 28 w 28" name="T50"/>
                <a:gd fmla="*/ 36 h 64" name="T51"/>
                <a:gd fmla="*/ 26 w 28" name="T52"/>
                <a:gd fmla="*/ 34 h 64" name="T53"/>
                <a:gd fmla="*/ 26 w 28" name="T54"/>
                <a:gd fmla="*/ 32 h 64" name="T55"/>
                <a:gd fmla="*/ 26 w 28" name="T56"/>
                <a:gd fmla="*/ 28 h 64" name="T57"/>
                <a:gd fmla="*/ 26 w 28" name="T58"/>
                <a:gd fmla="*/ 24 h 64" name="T59"/>
                <a:gd fmla="*/ 26 w 28" name="T60"/>
                <a:gd fmla="*/ 22 h 64" name="T61"/>
                <a:gd fmla="*/ 26 w 28" name="T62"/>
                <a:gd fmla="*/ 18 h 64" name="T63"/>
                <a:gd fmla="*/ 24 w 28" name="T64"/>
                <a:gd fmla="*/ 14 h 64" name="T65"/>
                <a:gd fmla="*/ 22 w 28" name="T66"/>
                <a:gd fmla="*/ 8 h 64" name="T67"/>
                <a:gd fmla="*/ 20 w 28" name="T68"/>
                <a:gd fmla="*/ 4 h 64" name="T69"/>
                <a:gd fmla="*/ 20 w 28" name="T70"/>
                <a:gd fmla="*/ 4 h 64" name="T71"/>
                <a:gd fmla="*/ 18 w 28" name="T72"/>
                <a:gd fmla="*/ 2 h 64" name="T73"/>
                <a:gd fmla="*/ 16 w 28" name="T74"/>
                <a:gd fmla="*/ 0 h 64" name="T75"/>
                <a:gd fmla="*/ 12 w 28" name="T76"/>
                <a:gd fmla="*/ 0 h 64" name="T77"/>
                <a:gd fmla="*/ 8 w 28" name="T78"/>
                <a:gd fmla="*/ 0 h 64" name="T79"/>
                <a:gd fmla="*/ 8 w 28" name="T80"/>
                <a:gd fmla="*/ 0 h 64" name="T81"/>
                <a:gd fmla="*/ 6 w 28" name="T82"/>
                <a:gd fmla="*/ 2 h 64" name="T83"/>
                <a:gd fmla="*/ 6 w 28" name="T84"/>
                <a:gd fmla="*/ 2 h 64" name="T85"/>
                <a:gd fmla="*/ 0 w 28" name="T86"/>
                <a:gd fmla="*/ 20 h 64"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64" w="28">
                  <a:moveTo>
                    <a:pt x="0" y="20"/>
                  </a:moveTo>
                  <a:lnTo>
                    <a:pt x="8" y="28"/>
                  </a:lnTo>
                  <a:lnTo>
                    <a:pt x="10" y="28"/>
                  </a:lnTo>
                  <a:lnTo>
                    <a:pt x="10" y="32"/>
                  </a:lnTo>
                  <a:lnTo>
                    <a:pt x="12" y="36"/>
                  </a:lnTo>
                  <a:lnTo>
                    <a:pt x="12" y="40"/>
                  </a:lnTo>
                  <a:lnTo>
                    <a:pt x="10" y="40"/>
                  </a:lnTo>
                  <a:lnTo>
                    <a:pt x="10" y="40"/>
                  </a:lnTo>
                  <a:lnTo>
                    <a:pt x="10" y="44"/>
                  </a:lnTo>
                  <a:lnTo>
                    <a:pt x="8" y="48"/>
                  </a:lnTo>
                  <a:lnTo>
                    <a:pt x="8" y="54"/>
                  </a:lnTo>
                  <a:lnTo>
                    <a:pt x="8" y="54"/>
                  </a:lnTo>
                  <a:lnTo>
                    <a:pt x="8" y="58"/>
                  </a:lnTo>
                  <a:lnTo>
                    <a:pt x="8" y="60"/>
                  </a:lnTo>
                  <a:lnTo>
                    <a:pt x="8" y="64"/>
                  </a:lnTo>
                  <a:lnTo>
                    <a:pt x="8" y="62"/>
                  </a:lnTo>
                  <a:lnTo>
                    <a:pt x="8" y="60"/>
                  </a:lnTo>
                  <a:lnTo>
                    <a:pt x="10" y="58"/>
                  </a:lnTo>
                  <a:lnTo>
                    <a:pt x="14" y="54"/>
                  </a:lnTo>
                  <a:lnTo>
                    <a:pt x="18" y="50"/>
                  </a:lnTo>
                  <a:lnTo>
                    <a:pt x="26" y="44"/>
                  </a:lnTo>
                  <a:lnTo>
                    <a:pt x="26" y="42"/>
                  </a:lnTo>
                  <a:lnTo>
                    <a:pt x="26" y="40"/>
                  </a:lnTo>
                  <a:lnTo>
                    <a:pt x="28" y="38"/>
                  </a:lnTo>
                  <a:lnTo>
                    <a:pt x="28" y="36"/>
                  </a:lnTo>
                  <a:lnTo>
                    <a:pt x="28" y="36"/>
                  </a:lnTo>
                  <a:lnTo>
                    <a:pt x="26" y="34"/>
                  </a:lnTo>
                  <a:lnTo>
                    <a:pt x="26" y="32"/>
                  </a:lnTo>
                  <a:lnTo>
                    <a:pt x="26" y="28"/>
                  </a:lnTo>
                  <a:lnTo>
                    <a:pt x="26" y="24"/>
                  </a:lnTo>
                  <a:lnTo>
                    <a:pt x="26" y="22"/>
                  </a:lnTo>
                  <a:lnTo>
                    <a:pt x="26" y="18"/>
                  </a:lnTo>
                  <a:lnTo>
                    <a:pt x="24" y="14"/>
                  </a:lnTo>
                  <a:lnTo>
                    <a:pt x="22" y="8"/>
                  </a:lnTo>
                  <a:lnTo>
                    <a:pt x="20" y="4"/>
                  </a:lnTo>
                  <a:lnTo>
                    <a:pt x="20" y="4"/>
                  </a:lnTo>
                  <a:lnTo>
                    <a:pt x="18" y="2"/>
                  </a:lnTo>
                  <a:lnTo>
                    <a:pt x="16" y="0"/>
                  </a:lnTo>
                  <a:lnTo>
                    <a:pt x="12" y="0"/>
                  </a:lnTo>
                  <a:lnTo>
                    <a:pt x="8" y="0"/>
                  </a:lnTo>
                  <a:lnTo>
                    <a:pt x="8" y="0"/>
                  </a:lnTo>
                  <a:lnTo>
                    <a:pt x="6" y="2"/>
                  </a:lnTo>
                  <a:lnTo>
                    <a:pt x="6" y="2"/>
                  </a:lnTo>
                  <a:lnTo>
                    <a:pt x="0" y="2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1" name="Freeform 428"/>
            <p:cNvSpPr/>
            <p:nvPr/>
          </p:nvSpPr>
          <p:spPr bwMode="gray">
            <a:xfrm>
              <a:off x="1086948" y="3414575"/>
              <a:ext cx="262898" cy="210917"/>
            </a:xfrm>
            <a:custGeom>
              <a:gdLst>
                <a:gd fmla="*/ 20 w 142" name="T0"/>
                <a:gd fmla="*/ 42 h 114" name="T1"/>
                <a:gd fmla="*/ 20 w 142" name="T2"/>
                <a:gd fmla="*/ 40 h 114" name="T3"/>
                <a:gd fmla="*/ 18 w 142" name="T4"/>
                <a:gd fmla="*/ 38 h 114" name="T5"/>
                <a:gd fmla="*/ 20 w 142" name="T6"/>
                <a:gd fmla="*/ 36 h 114" name="T7"/>
                <a:gd fmla="*/ 14 w 142" name="T8"/>
                <a:gd fmla="*/ 34 h 114" name="T9"/>
                <a:gd fmla="*/ 6 w 142" name="T10"/>
                <a:gd fmla="*/ 30 h 114" name="T11"/>
                <a:gd fmla="*/ 0 w 142" name="T12"/>
                <a:gd fmla="*/ 26 h 114" name="T13"/>
                <a:gd fmla="*/ 2 w 142" name="T14"/>
                <a:gd fmla="*/ 24 h 114" name="T15"/>
                <a:gd fmla="*/ 20 w 142" name="T16"/>
                <a:gd fmla="*/ 16 h 114" name="T17"/>
                <a:gd fmla="*/ 32 w 142" name="T18"/>
                <a:gd fmla="*/ 12 h 114" name="T19"/>
                <a:gd fmla="*/ 54 w 142" name="T20"/>
                <a:gd fmla="*/ 6 h 114" name="T21"/>
                <a:gd fmla="*/ 58 w 142" name="T22"/>
                <a:gd fmla="*/ 2 h 114" name="T23"/>
                <a:gd fmla="*/ 60 w 142" name="T24"/>
                <a:gd fmla="*/ 0 h 114" name="T25"/>
                <a:gd fmla="*/ 68 w 142" name="T26"/>
                <a:gd fmla="*/ 24 h 114" name="T27"/>
                <a:gd fmla="*/ 86 w 142" name="T28"/>
                <a:gd fmla="*/ 24 h 114" name="T29"/>
                <a:gd fmla="*/ 92 w 142" name="T30"/>
                <a:gd fmla="*/ 22 h 114" name="T31"/>
                <a:gd fmla="*/ 102 w 142" name="T32"/>
                <a:gd fmla="*/ 18 h 114" name="T33"/>
                <a:gd fmla="*/ 108 w 142" name="T34"/>
                <a:gd fmla="*/ 20 h 114" name="T35"/>
                <a:gd fmla="*/ 110 w 142" name="T36"/>
                <a:gd fmla="*/ 26 h 114" name="T37"/>
                <a:gd fmla="*/ 110 w 142" name="T38"/>
                <a:gd fmla="*/ 32 h 114" name="T39"/>
                <a:gd fmla="*/ 120 w 142" name="T40"/>
                <a:gd fmla="*/ 42 h 114" name="T41"/>
                <a:gd fmla="*/ 124 w 142" name="T42"/>
                <a:gd fmla="*/ 44 h 114" name="T43"/>
                <a:gd fmla="*/ 128 w 142" name="T44"/>
                <a:gd fmla="*/ 56 h 114" name="T45"/>
                <a:gd fmla="*/ 132 w 142" name="T46"/>
                <a:gd fmla="*/ 64 h 114" name="T47"/>
                <a:gd fmla="*/ 136 w 142" name="T48"/>
                <a:gd fmla="*/ 70 h 114" name="T49"/>
                <a:gd fmla="*/ 138 w 142" name="T50"/>
                <a:gd fmla="*/ 74 h 114" name="T51"/>
                <a:gd fmla="*/ 138 w 142" name="T52"/>
                <a:gd fmla="*/ 78 h 114" name="T53"/>
                <a:gd fmla="*/ 136 w 142" name="T54"/>
                <a:gd fmla="*/ 80 h 114" name="T55"/>
                <a:gd fmla="*/ 134 w 142" name="T56"/>
                <a:gd fmla="*/ 94 h 114" name="T57"/>
                <a:gd fmla="*/ 128 w 142" name="T58"/>
                <a:gd fmla="*/ 112 h 114" name="T59"/>
                <a:gd fmla="*/ 112 w 142" name="T60"/>
                <a:gd fmla="*/ 110 h 114" name="T61"/>
                <a:gd fmla="*/ 112 w 142" name="T62"/>
                <a:gd fmla="*/ 104 h 114" name="T63"/>
                <a:gd fmla="*/ 112 w 142" name="T64"/>
                <a:gd fmla="*/ 102 h 114" name="T65"/>
                <a:gd fmla="*/ 110 w 142" name="T66"/>
                <a:gd fmla="*/ 92 h 114" name="T67"/>
                <a:gd fmla="*/ 108 w 142" name="T68"/>
                <a:gd fmla="*/ 86 h 114" name="T69"/>
                <a:gd fmla="*/ 106 w 142" name="T70"/>
                <a:gd fmla="*/ 82 h 114" name="T71"/>
                <a:gd fmla="*/ 98 w 142" name="T72"/>
                <a:gd fmla="*/ 78 h 114" name="T73"/>
                <a:gd fmla="*/ 94 w 142" name="T74"/>
                <a:gd fmla="*/ 80 h 114" name="T75"/>
                <a:gd fmla="*/ 92 w 142" name="T76"/>
                <a:gd fmla="*/ 80 h 114" name="T77"/>
                <a:gd fmla="*/ 64 w 142" name="T78"/>
                <a:gd fmla="*/ 76 h 114" name="T79"/>
                <a:gd fmla="*/ 58 w 142" name="T80"/>
                <a:gd fmla="*/ 74 h 114" name="T81"/>
                <a:gd fmla="*/ 52 w 142" name="T82"/>
                <a:gd fmla="*/ 70 h 114" name="T83"/>
                <a:gd fmla="*/ 46 w 142" name="T84"/>
                <a:gd fmla="*/ 60 h 114" name="T85"/>
                <a:gd fmla="*/ 38 w 142" name="T86"/>
                <a:gd fmla="*/ 60 h 114"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114" w="142">
                  <a:moveTo>
                    <a:pt x="26" y="52"/>
                  </a:moveTo>
                  <a:lnTo>
                    <a:pt x="20" y="42"/>
                  </a:lnTo>
                  <a:lnTo>
                    <a:pt x="20" y="40"/>
                  </a:lnTo>
                  <a:lnTo>
                    <a:pt x="20" y="40"/>
                  </a:lnTo>
                  <a:lnTo>
                    <a:pt x="18" y="38"/>
                  </a:lnTo>
                  <a:lnTo>
                    <a:pt x="18" y="38"/>
                  </a:lnTo>
                  <a:lnTo>
                    <a:pt x="18" y="38"/>
                  </a:lnTo>
                  <a:lnTo>
                    <a:pt x="20" y="36"/>
                  </a:lnTo>
                  <a:lnTo>
                    <a:pt x="18" y="34"/>
                  </a:lnTo>
                  <a:lnTo>
                    <a:pt x="14" y="34"/>
                  </a:lnTo>
                  <a:lnTo>
                    <a:pt x="10" y="32"/>
                  </a:lnTo>
                  <a:lnTo>
                    <a:pt x="6" y="30"/>
                  </a:lnTo>
                  <a:lnTo>
                    <a:pt x="2" y="28"/>
                  </a:lnTo>
                  <a:lnTo>
                    <a:pt x="0" y="26"/>
                  </a:lnTo>
                  <a:lnTo>
                    <a:pt x="0" y="26"/>
                  </a:lnTo>
                  <a:lnTo>
                    <a:pt x="2" y="24"/>
                  </a:lnTo>
                  <a:lnTo>
                    <a:pt x="10" y="20"/>
                  </a:lnTo>
                  <a:lnTo>
                    <a:pt x="20" y="16"/>
                  </a:lnTo>
                  <a:lnTo>
                    <a:pt x="28" y="14"/>
                  </a:lnTo>
                  <a:lnTo>
                    <a:pt x="32" y="12"/>
                  </a:lnTo>
                  <a:lnTo>
                    <a:pt x="56" y="10"/>
                  </a:lnTo>
                  <a:lnTo>
                    <a:pt x="54" y="6"/>
                  </a:lnTo>
                  <a:lnTo>
                    <a:pt x="56" y="4"/>
                  </a:lnTo>
                  <a:lnTo>
                    <a:pt x="58" y="2"/>
                  </a:lnTo>
                  <a:lnTo>
                    <a:pt x="58" y="0"/>
                  </a:lnTo>
                  <a:lnTo>
                    <a:pt x="60" y="0"/>
                  </a:lnTo>
                  <a:lnTo>
                    <a:pt x="62" y="10"/>
                  </a:lnTo>
                  <a:lnTo>
                    <a:pt x="68" y="24"/>
                  </a:lnTo>
                  <a:lnTo>
                    <a:pt x="84" y="24"/>
                  </a:lnTo>
                  <a:lnTo>
                    <a:pt x="86" y="24"/>
                  </a:lnTo>
                  <a:lnTo>
                    <a:pt x="88" y="22"/>
                  </a:lnTo>
                  <a:lnTo>
                    <a:pt x="92" y="22"/>
                  </a:lnTo>
                  <a:lnTo>
                    <a:pt x="96" y="20"/>
                  </a:lnTo>
                  <a:lnTo>
                    <a:pt x="102" y="18"/>
                  </a:lnTo>
                  <a:lnTo>
                    <a:pt x="106" y="18"/>
                  </a:lnTo>
                  <a:lnTo>
                    <a:pt x="108" y="20"/>
                  </a:lnTo>
                  <a:lnTo>
                    <a:pt x="110" y="24"/>
                  </a:lnTo>
                  <a:lnTo>
                    <a:pt x="110" y="26"/>
                  </a:lnTo>
                  <a:lnTo>
                    <a:pt x="110" y="30"/>
                  </a:lnTo>
                  <a:lnTo>
                    <a:pt x="110" y="32"/>
                  </a:lnTo>
                  <a:lnTo>
                    <a:pt x="110" y="34"/>
                  </a:lnTo>
                  <a:lnTo>
                    <a:pt x="120" y="42"/>
                  </a:lnTo>
                  <a:lnTo>
                    <a:pt x="124" y="40"/>
                  </a:lnTo>
                  <a:lnTo>
                    <a:pt x="124" y="44"/>
                  </a:lnTo>
                  <a:lnTo>
                    <a:pt x="128" y="50"/>
                  </a:lnTo>
                  <a:lnTo>
                    <a:pt x="128" y="56"/>
                  </a:lnTo>
                  <a:lnTo>
                    <a:pt x="130" y="60"/>
                  </a:lnTo>
                  <a:lnTo>
                    <a:pt x="132" y="64"/>
                  </a:lnTo>
                  <a:lnTo>
                    <a:pt x="134" y="68"/>
                  </a:lnTo>
                  <a:lnTo>
                    <a:pt x="136" y="70"/>
                  </a:lnTo>
                  <a:lnTo>
                    <a:pt x="136" y="70"/>
                  </a:lnTo>
                  <a:lnTo>
                    <a:pt x="138" y="74"/>
                  </a:lnTo>
                  <a:lnTo>
                    <a:pt x="138" y="76"/>
                  </a:lnTo>
                  <a:lnTo>
                    <a:pt x="138" y="78"/>
                  </a:lnTo>
                  <a:lnTo>
                    <a:pt x="136" y="80"/>
                  </a:lnTo>
                  <a:lnTo>
                    <a:pt x="136" y="80"/>
                  </a:lnTo>
                  <a:lnTo>
                    <a:pt x="130" y="86"/>
                  </a:lnTo>
                  <a:lnTo>
                    <a:pt x="134" y="94"/>
                  </a:lnTo>
                  <a:lnTo>
                    <a:pt x="142" y="110"/>
                  </a:lnTo>
                  <a:lnTo>
                    <a:pt x="128" y="112"/>
                  </a:lnTo>
                  <a:lnTo>
                    <a:pt x="114" y="114"/>
                  </a:lnTo>
                  <a:lnTo>
                    <a:pt x="112" y="110"/>
                  </a:lnTo>
                  <a:lnTo>
                    <a:pt x="112" y="108"/>
                  </a:lnTo>
                  <a:lnTo>
                    <a:pt x="112" y="104"/>
                  </a:lnTo>
                  <a:lnTo>
                    <a:pt x="112" y="102"/>
                  </a:lnTo>
                  <a:lnTo>
                    <a:pt x="112" y="102"/>
                  </a:lnTo>
                  <a:lnTo>
                    <a:pt x="112" y="98"/>
                  </a:lnTo>
                  <a:lnTo>
                    <a:pt x="110" y="92"/>
                  </a:lnTo>
                  <a:lnTo>
                    <a:pt x="110" y="88"/>
                  </a:lnTo>
                  <a:lnTo>
                    <a:pt x="108" y="86"/>
                  </a:lnTo>
                  <a:lnTo>
                    <a:pt x="106" y="82"/>
                  </a:lnTo>
                  <a:lnTo>
                    <a:pt x="106" y="82"/>
                  </a:lnTo>
                  <a:lnTo>
                    <a:pt x="102" y="78"/>
                  </a:lnTo>
                  <a:lnTo>
                    <a:pt x="98" y="78"/>
                  </a:lnTo>
                  <a:lnTo>
                    <a:pt x="96" y="78"/>
                  </a:lnTo>
                  <a:lnTo>
                    <a:pt x="94" y="80"/>
                  </a:lnTo>
                  <a:lnTo>
                    <a:pt x="92" y="80"/>
                  </a:lnTo>
                  <a:lnTo>
                    <a:pt x="92" y="80"/>
                  </a:lnTo>
                  <a:lnTo>
                    <a:pt x="86" y="98"/>
                  </a:lnTo>
                  <a:lnTo>
                    <a:pt x="64" y="76"/>
                  </a:lnTo>
                  <a:lnTo>
                    <a:pt x="58" y="76"/>
                  </a:lnTo>
                  <a:lnTo>
                    <a:pt x="58" y="74"/>
                  </a:lnTo>
                  <a:lnTo>
                    <a:pt x="54" y="72"/>
                  </a:lnTo>
                  <a:lnTo>
                    <a:pt x="52" y="70"/>
                  </a:lnTo>
                  <a:lnTo>
                    <a:pt x="48" y="66"/>
                  </a:lnTo>
                  <a:lnTo>
                    <a:pt x="46" y="60"/>
                  </a:lnTo>
                  <a:lnTo>
                    <a:pt x="44" y="56"/>
                  </a:lnTo>
                  <a:lnTo>
                    <a:pt x="38" y="60"/>
                  </a:lnTo>
                  <a:lnTo>
                    <a:pt x="26" y="5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2" name="Freeform 429"/>
            <p:cNvSpPr/>
            <p:nvPr/>
          </p:nvSpPr>
          <p:spPr bwMode="gray">
            <a:xfrm>
              <a:off x="1198032" y="3351670"/>
              <a:ext cx="140706" cy="107309"/>
            </a:xfrm>
            <a:custGeom>
              <a:gdLst>
                <a:gd fmla="*/ 40 w 76" name="T0"/>
                <a:gd fmla="*/ 18 h 58" name="T1"/>
                <a:gd fmla="*/ 34 w 76" name="T2"/>
                <a:gd fmla="*/ 20 h 58" name="T3"/>
                <a:gd fmla="*/ 28 w 76" name="T4"/>
                <a:gd fmla="*/ 22 h 58" name="T5"/>
                <a:gd fmla="*/ 26 w 76" name="T6"/>
                <a:gd fmla="*/ 22 h 58" name="T7"/>
                <a:gd fmla="*/ 12 w 76" name="T8"/>
                <a:gd fmla="*/ 22 h 58" name="T9"/>
                <a:gd fmla="*/ 10 w 76" name="T10"/>
                <a:gd fmla="*/ 20 h 58" name="T11"/>
                <a:gd fmla="*/ 6 w 76" name="T12"/>
                <a:gd fmla="*/ 16 h 58" name="T13"/>
                <a:gd fmla="*/ 4 w 76" name="T14"/>
                <a:gd fmla="*/ 18 h 58" name="T15"/>
                <a:gd fmla="*/ 0 w 76" name="T16"/>
                <a:gd fmla="*/ 24 h 58" name="T17"/>
                <a:gd fmla="*/ 0 w 76" name="T18"/>
                <a:gd fmla="*/ 32 h 58" name="T19"/>
                <a:gd fmla="*/ 0 w 76" name="T20"/>
                <a:gd fmla="*/ 34 h 58" name="T21"/>
                <a:gd fmla="*/ 2 w 76" name="T22"/>
                <a:gd fmla="*/ 42 h 58" name="T23"/>
                <a:gd fmla="*/ 4 w 76" name="T24"/>
                <a:gd fmla="*/ 52 h 58" name="T25"/>
                <a:gd fmla="*/ 8 w 76" name="T26"/>
                <a:gd fmla="*/ 58 h 58" name="T27"/>
                <a:gd fmla="*/ 26 w 76" name="T28"/>
                <a:gd fmla="*/ 58 h 58" name="T29"/>
                <a:gd fmla="*/ 32 w 76" name="T30"/>
                <a:gd fmla="*/ 56 h 58" name="T31"/>
                <a:gd fmla="*/ 38 w 76" name="T32"/>
                <a:gd fmla="*/ 54 h 58" name="T33"/>
                <a:gd fmla="*/ 46 w 76" name="T34"/>
                <a:gd fmla="*/ 52 h 58" name="T35"/>
                <a:gd fmla="*/ 52 w 76" name="T36"/>
                <a:gd fmla="*/ 54 h 58" name="T37"/>
                <a:gd fmla="*/ 56 w 76" name="T38"/>
                <a:gd fmla="*/ 54 h 58" name="T39"/>
                <a:gd fmla="*/ 58 w 76" name="T40"/>
                <a:gd fmla="*/ 52 h 58" name="T41"/>
                <a:gd fmla="*/ 62 w 76" name="T42"/>
                <a:gd fmla="*/ 48 h 58" name="T43"/>
                <a:gd fmla="*/ 68 w 76" name="T44"/>
                <a:gd fmla="*/ 42 h 58" name="T45"/>
                <a:gd fmla="*/ 72 w 76" name="T46"/>
                <a:gd fmla="*/ 30 h 58" name="T47"/>
                <a:gd fmla="*/ 72 w 76" name="T48"/>
                <a:gd fmla="*/ 24 h 58" name="T49"/>
                <a:gd fmla="*/ 74 w 76" name="T50"/>
                <a:gd fmla="*/ 16 h 58" name="T51"/>
                <a:gd fmla="*/ 76 w 76" name="T52"/>
                <a:gd fmla="*/ 10 h 58" name="T53"/>
                <a:gd fmla="*/ 70 w 76" name="T54"/>
                <a:gd fmla="*/ 0 h 58" name="T55"/>
                <a:gd fmla="*/ 66 w 76" name="T56"/>
                <a:gd fmla="*/ 2 h 58" name="T57"/>
                <a:gd fmla="*/ 56 w 76" name="T58"/>
                <a:gd fmla="*/ 2 h 58" name="T59"/>
                <a:gd fmla="*/ 54 w 76" name="T60"/>
                <a:gd fmla="*/ 4 h 58" name="T61"/>
                <a:gd fmla="*/ 46 w 76" name="T62"/>
                <a:gd fmla="*/ 8 h 58" name="T63"/>
                <a:gd fmla="*/ 46 w 76" name="T64"/>
                <a:gd fmla="*/ 12 h 58" name="T65"/>
                <a:gd fmla="*/ 44 w 76" name="T66"/>
                <a:gd fmla="*/ 16 h 58" name="T67"/>
                <a:gd fmla="*/ 42 w 76" name="T68"/>
                <a:gd fmla="*/ 18 h 58"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57" w="76">
                  <a:moveTo>
                    <a:pt x="42" y="18"/>
                  </a:moveTo>
                  <a:lnTo>
                    <a:pt x="40" y="18"/>
                  </a:lnTo>
                  <a:lnTo>
                    <a:pt x="36" y="18"/>
                  </a:lnTo>
                  <a:lnTo>
                    <a:pt x="34" y="20"/>
                  </a:lnTo>
                  <a:lnTo>
                    <a:pt x="30" y="22"/>
                  </a:lnTo>
                  <a:lnTo>
                    <a:pt x="28" y="22"/>
                  </a:lnTo>
                  <a:lnTo>
                    <a:pt x="28" y="22"/>
                  </a:lnTo>
                  <a:lnTo>
                    <a:pt x="26" y="22"/>
                  </a:lnTo>
                  <a:lnTo>
                    <a:pt x="20" y="24"/>
                  </a:lnTo>
                  <a:lnTo>
                    <a:pt x="12" y="22"/>
                  </a:lnTo>
                  <a:lnTo>
                    <a:pt x="12" y="22"/>
                  </a:lnTo>
                  <a:lnTo>
                    <a:pt x="10" y="20"/>
                  </a:lnTo>
                  <a:lnTo>
                    <a:pt x="8" y="18"/>
                  </a:lnTo>
                  <a:lnTo>
                    <a:pt x="6" y="16"/>
                  </a:lnTo>
                  <a:lnTo>
                    <a:pt x="6" y="18"/>
                  </a:lnTo>
                  <a:lnTo>
                    <a:pt x="4" y="18"/>
                  </a:lnTo>
                  <a:lnTo>
                    <a:pt x="2" y="20"/>
                  </a:lnTo>
                  <a:lnTo>
                    <a:pt x="0" y="24"/>
                  </a:lnTo>
                  <a:lnTo>
                    <a:pt x="0" y="28"/>
                  </a:lnTo>
                  <a:lnTo>
                    <a:pt x="0" y="32"/>
                  </a:lnTo>
                  <a:lnTo>
                    <a:pt x="0" y="34"/>
                  </a:lnTo>
                  <a:lnTo>
                    <a:pt x="0" y="34"/>
                  </a:lnTo>
                  <a:lnTo>
                    <a:pt x="0" y="38"/>
                  </a:lnTo>
                  <a:lnTo>
                    <a:pt x="2" y="42"/>
                  </a:lnTo>
                  <a:lnTo>
                    <a:pt x="4" y="48"/>
                  </a:lnTo>
                  <a:lnTo>
                    <a:pt x="4" y="52"/>
                  </a:lnTo>
                  <a:lnTo>
                    <a:pt x="6" y="56"/>
                  </a:lnTo>
                  <a:lnTo>
                    <a:pt x="8" y="58"/>
                  </a:lnTo>
                  <a:lnTo>
                    <a:pt x="24" y="58"/>
                  </a:lnTo>
                  <a:lnTo>
                    <a:pt x="26" y="58"/>
                  </a:lnTo>
                  <a:lnTo>
                    <a:pt x="28" y="58"/>
                  </a:lnTo>
                  <a:lnTo>
                    <a:pt x="32" y="56"/>
                  </a:lnTo>
                  <a:lnTo>
                    <a:pt x="36" y="54"/>
                  </a:lnTo>
                  <a:lnTo>
                    <a:pt x="38" y="54"/>
                  </a:lnTo>
                  <a:lnTo>
                    <a:pt x="46" y="52"/>
                  </a:lnTo>
                  <a:lnTo>
                    <a:pt x="46" y="52"/>
                  </a:lnTo>
                  <a:lnTo>
                    <a:pt x="48" y="54"/>
                  </a:lnTo>
                  <a:lnTo>
                    <a:pt x="52" y="54"/>
                  </a:lnTo>
                  <a:lnTo>
                    <a:pt x="54" y="54"/>
                  </a:lnTo>
                  <a:lnTo>
                    <a:pt x="56" y="54"/>
                  </a:lnTo>
                  <a:lnTo>
                    <a:pt x="56" y="52"/>
                  </a:lnTo>
                  <a:lnTo>
                    <a:pt x="58" y="52"/>
                  </a:lnTo>
                  <a:lnTo>
                    <a:pt x="60" y="52"/>
                  </a:lnTo>
                  <a:lnTo>
                    <a:pt x="62" y="48"/>
                  </a:lnTo>
                  <a:lnTo>
                    <a:pt x="66" y="46"/>
                  </a:lnTo>
                  <a:lnTo>
                    <a:pt x="68" y="42"/>
                  </a:lnTo>
                  <a:lnTo>
                    <a:pt x="70" y="36"/>
                  </a:lnTo>
                  <a:lnTo>
                    <a:pt x="72" y="30"/>
                  </a:lnTo>
                  <a:lnTo>
                    <a:pt x="72" y="28"/>
                  </a:lnTo>
                  <a:lnTo>
                    <a:pt x="72" y="24"/>
                  </a:lnTo>
                  <a:lnTo>
                    <a:pt x="72" y="20"/>
                  </a:lnTo>
                  <a:lnTo>
                    <a:pt x="74" y="16"/>
                  </a:lnTo>
                  <a:lnTo>
                    <a:pt x="74" y="12"/>
                  </a:lnTo>
                  <a:lnTo>
                    <a:pt x="76" y="10"/>
                  </a:lnTo>
                  <a:lnTo>
                    <a:pt x="70" y="0"/>
                  </a:lnTo>
                  <a:lnTo>
                    <a:pt x="70" y="0"/>
                  </a:lnTo>
                  <a:lnTo>
                    <a:pt x="68" y="2"/>
                  </a:lnTo>
                  <a:lnTo>
                    <a:pt x="66" y="2"/>
                  </a:lnTo>
                  <a:lnTo>
                    <a:pt x="62" y="2"/>
                  </a:lnTo>
                  <a:lnTo>
                    <a:pt x="56" y="2"/>
                  </a:lnTo>
                  <a:lnTo>
                    <a:pt x="56" y="2"/>
                  </a:lnTo>
                  <a:lnTo>
                    <a:pt x="54" y="4"/>
                  </a:lnTo>
                  <a:lnTo>
                    <a:pt x="52" y="4"/>
                  </a:lnTo>
                  <a:lnTo>
                    <a:pt x="46" y="8"/>
                  </a:lnTo>
                  <a:lnTo>
                    <a:pt x="46" y="10"/>
                  </a:lnTo>
                  <a:lnTo>
                    <a:pt x="46" y="12"/>
                  </a:lnTo>
                  <a:lnTo>
                    <a:pt x="46" y="14"/>
                  </a:lnTo>
                  <a:lnTo>
                    <a:pt x="44" y="16"/>
                  </a:lnTo>
                  <a:lnTo>
                    <a:pt x="44" y="18"/>
                  </a:lnTo>
                  <a:lnTo>
                    <a:pt x="42" y="1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3" name="Freeform 430"/>
            <p:cNvSpPr/>
            <p:nvPr/>
          </p:nvSpPr>
          <p:spPr bwMode="gray">
            <a:xfrm>
              <a:off x="1090651" y="3273963"/>
              <a:ext cx="255493" cy="122110"/>
            </a:xfrm>
            <a:custGeom>
              <a:gdLst>
                <a:gd fmla="*/ 134 w 138" name="T0"/>
                <a:gd fmla="*/ 22 h 66" name="T1"/>
                <a:gd fmla="*/ 130 w 138" name="T2"/>
                <a:gd fmla="*/ 18 h 66" name="T3"/>
                <a:gd fmla="*/ 126 w 138" name="T4"/>
                <a:gd fmla="*/ 16 h 66" name="T5"/>
                <a:gd fmla="*/ 118 w 138" name="T6"/>
                <a:gd fmla="*/ 12 h 66" name="T7"/>
                <a:gd fmla="*/ 110 w 138" name="T8"/>
                <a:gd fmla="*/ 14 h 66" name="T9"/>
                <a:gd fmla="*/ 106 w 138" name="T10"/>
                <a:gd fmla="*/ 18 h 66" name="T11"/>
                <a:gd fmla="*/ 104 w 138" name="T12"/>
                <a:gd fmla="*/ 20 h 66" name="T13"/>
                <a:gd fmla="*/ 104 w 138" name="T14"/>
                <a:gd fmla="*/ 24 h 66" name="T15"/>
                <a:gd fmla="*/ 100 w 138" name="T16"/>
                <a:gd fmla="*/ 22 h 66" name="T17"/>
                <a:gd fmla="*/ 94 w 138" name="T18"/>
                <a:gd fmla="*/ 24 h 66" name="T19"/>
                <a:gd fmla="*/ 90 w 138" name="T20"/>
                <a:gd fmla="*/ 24 h 66" name="T21"/>
                <a:gd fmla="*/ 84 w 138" name="T22"/>
                <a:gd fmla="*/ 22 h 66" name="T23"/>
                <a:gd fmla="*/ 76 w 138" name="T24"/>
                <a:gd fmla="*/ 20 h 66" name="T25"/>
                <a:gd fmla="*/ 60 w 138" name="T26"/>
                <a:gd fmla="*/ 14 h 66" name="T27"/>
                <a:gd fmla="*/ 46 w 138" name="T28"/>
                <a:gd fmla="*/ 8 h 66" name="T29"/>
                <a:gd fmla="*/ 36 w 138" name="T30"/>
                <a:gd fmla="*/ 4 h 66" name="T31"/>
                <a:gd fmla="*/ 30 w 138" name="T32"/>
                <a:gd fmla="*/ 0 h 66" name="T33"/>
                <a:gd fmla="*/ 28 w 138" name="T34"/>
                <a:gd fmla="*/ 2 h 66" name="T35"/>
                <a:gd fmla="*/ 28 w 138" name="T36"/>
                <a:gd fmla="*/ 4 h 66" name="T37"/>
                <a:gd fmla="*/ 26 w 138" name="T38"/>
                <a:gd fmla="*/ 6 h 66" name="T39"/>
                <a:gd fmla="*/ 24 w 138" name="T40"/>
                <a:gd fmla="*/ 4 h 66" name="T41"/>
                <a:gd fmla="*/ 22 w 138" name="T42"/>
                <a:gd fmla="*/ 4 h 66" name="T43"/>
                <a:gd fmla="*/ 20 w 138" name="T44"/>
                <a:gd fmla="*/ 0 h 66" name="T45"/>
                <a:gd fmla="*/ 18 w 138" name="T46"/>
                <a:gd fmla="*/ 0 h 66" name="T47"/>
                <a:gd fmla="*/ 18 w 138" name="T48"/>
                <a:gd fmla="*/ 4 h 66" name="T49"/>
                <a:gd fmla="*/ 14 w 138" name="T50"/>
                <a:gd fmla="*/ 6 h 66" name="T51"/>
                <a:gd fmla="*/ 12 w 138" name="T52"/>
                <a:gd fmla="*/ 6 h 66" name="T53"/>
                <a:gd fmla="*/ 6 w 138" name="T54"/>
                <a:gd fmla="*/ 6 h 66" name="T55"/>
                <a:gd fmla="*/ 4 w 138" name="T56"/>
                <a:gd fmla="*/ 8 h 66" name="T57"/>
                <a:gd fmla="*/ 0 w 138" name="T58"/>
                <a:gd fmla="*/ 8 h 66" name="T59"/>
                <a:gd fmla="*/ 8 w 138" name="T60"/>
                <a:gd fmla="*/ 20 h 66" name="T61"/>
                <a:gd fmla="*/ 16 w 138" name="T62"/>
                <a:gd fmla="*/ 42 h 66" name="T63"/>
                <a:gd fmla="*/ 18 w 138" name="T64"/>
                <a:gd fmla="*/ 42 h 66" name="T65"/>
                <a:gd fmla="*/ 18 w 138" name="T66"/>
                <a:gd fmla="*/ 44 h 66" name="T67"/>
                <a:gd fmla="*/ 20 w 138" name="T68"/>
                <a:gd fmla="*/ 46 h 66" name="T69"/>
                <a:gd fmla="*/ 24 w 138" name="T70"/>
                <a:gd fmla="*/ 46 h 66" name="T71"/>
                <a:gd fmla="*/ 30 w 138" name="T72"/>
                <a:gd fmla="*/ 46 h 66" name="T73"/>
                <a:gd fmla="*/ 34 w 138" name="T74"/>
                <a:gd fmla="*/ 42 h 66" name="T75"/>
                <a:gd fmla="*/ 42 w 138" name="T76"/>
                <a:gd fmla="*/ 44 h 66" name="T77"/>
                <a:gd fmla="*/ 42 w 138" name="T78"/>
                <a:gd fmla="*/ 46 h 66" name="T79"/>
                <a:gd fmla="*/ 44 w 138" name="T80"/>
                <a:gd fmla="*/ 48 h 66" name="T81"/>
                <a:gd fmla="*/ 52 w 138" name="T82"/>
                <a:gd fmla="*/ 50 h 66" name="T83"/>
                <a:gd fmla="*/ 60 w 138" name="T84"/>
                <a:gd fmla="*/ 52 h 66" name="T85"/>
                <a:gd fmla="*/ 62 w 138" name="T86"/>
                <a:gd fmla="*/ 58 h 66" name="T87"/>
                <a:gd fmla="*/ 68 w 138" name="T88"/>
                <a:gd fmla="*/ 64 h 66" name="T89"/>
                <a:gd fmla="*/ 72 w 138" name="T90"/>
                <a:gd fmla="*/ 64 h 66" name="T91"/>
                <a:gd fmla="*/ 78 w 138" name="T92"/>
                <a:gd fmla="*/ 66 h 66" name="T93"/>
                <a:gd fmla="*/ 86 w 138" name="T94"/>
                <a:gd fmla="*/ 64 h 66" name="T95"/>
                <a:gd fmla="*/ 90 w 138" name="T96"/>
                <a:gd fmla="*/ 62 h 66" name="T97"/>
                <a:gd fmla="*/ 98 w 138" name="T98"/>
                <a:gd fmla="*/ 60 h 66" name="T99"/>
                <a:gd fmla="*/ 102 w 138" name="T100"/>
                <a:gd fmla="*/ 58 h 66" name="T101"/>
                <a:gd fmla="*/ 104 w 138" name="T102"/>
                <a:gd fmla="*/ 54 h 66" name="T103"/>
                <a:gd fmla="*/ 104 w 138" name="T104"/>
                <a:gd fmla="*/ 50 h 66" name="T105"/>
                <a:gd fmla="*/ 108 w 138" name="T106"/>
                <a:gd fmla="*/ 48 h 66" name="T107"/>
                <a:gd fmla="*/ 112 w 138" name="T108"/>
                <a:gd fmla="*/ 44 h 66" name="T109"/>
                <a:gd fmla="*/ 118 w 138" name="T110"/>
                <a:gd fmla="*/ 46 h 66" name="T111"/>
                <a:gd fmla="*/ 126 w 138" name="T112"/>
                <a:gd fmla="*/ 44 h 66" name="T113"/>
                <a:gd fmla="*/ 130 w 138" name="T114"/>
                <a:gd fmla="*/ 40 h 66" name="T115"/>
                <a:gd fmla="*/ 136 w 138" name="T116"/>
                <a:gd fmla="*/ 38 h 66" name="T117"/>
                <a:gd fmla="*/ 138 w 138" name="T118"/>
                <a:gd fmla="*/ 38 h 66" name="T119"/>
                <a:gd fmla="*/ 136 w 138" name="T120"/>
                <a:gd fmla="*/ 36 h 66" name="T121"/>
                <a:gd fmla="*/ 136 w 138" name="T122"/>
                <a:gd fmla="*/ 30 h 66" name="T123"/>
                <a:gd fmla="*/ 138 w 138" name="T124"/>
                <a:gd fmla="*/ 24 h 66"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66" w="138">
                  <a:moveTo>
                    <a:pt x="138" y="24"/>
                  </a:moveTo>
                  <a:lnTo>
                    <a:pt x="134" y="22"/>
                  </a:lnTo>
                  <a:lnTo>
                    <a:pt x="132" y="20"/>
                  </a:lnTo>
                  <a:lnTo>
                    <a:pt x="130" y="18"/>
                  </a:lnTo>
                  <a:lnTo>
                    <a:pt x="128" y="16"/>
                  </a:lnTo>
                  <a:lnTo>
                    <a:pt x="126" y="16"/>
                  </a:lnTo>
                  <a:lnTo>
                    <a:pt x="122" y="12"/>
                  </a:lnTo>
                  <a:lnTo>
                    <a:pt x="118" y="12"/>
                  </a:lnTo>
                  <a:lnTo>
                    <a:pt x="114" y="14"/>
                  </a:lnTo>
                  <a:lnTo>
                    <a:pt x="110" y="14"/>
                  </a:lnTo>
                  <a:lnTo>
                    <a:pt x="108" y="16"/>
                  </a:lnTo>
                  <a:lnTo>
                    <a:pt x="106" y="18"/>
                  </a:lnTo>
                  <a:lnTo>
                    <a:pt x="104" y="18"/>
                  </a:lnTo>
                  <a:lnTo>
                    <a:pt x="104" y="20"/>
                  </a:lnTo>
                  <a:lnTo>
                    <a:pt x="104" y="22"/>
                  </a:lnTo>
                  <a:lnTo>
                    <a:pt x="104" y="24"/>
                  </a:lnTo>
                  <a:lnTo>
                    <a:pt x="102" y="24"/>
                  </a:lnTo>
                  <a:lnTo>
                    <a:pt x="100" y="22"/>
                  </a:lnTo>
                  <a:lnTo>
                    <a:pt x="96" y="22"/>
                  </a:lnTo>
                  <a:lnTo>
                    <a:pt x="94" y="24"/>
                  </a:lnTo>
                  <a:lnTo>
                    <a:pt x="92" y="24"/>
                  </a:lnTo>
                  <a:lnTo>
                    <a:pt x="90" y="24"/>
                  </a:lnTo>
                  <a:lnTo>
                    <a:pt x="84" y="26"/>
                  </a:lnTo>
                  <a:lnTo>
                    <a:pt x="84" y="22"/>
                  </a:lnTo>
                  <a:lnTo>
                    <a:pt x="80" y="22"/>
                  </a:lnTo>
                  <a:lnTo>
                    <a:pt x="76" y="20"/>
                  </a:lnTo>
                  <a:lnTo>
                    <a:pt x="68" y="14"/>
                  </a:lnTo>
                  <a:lnTo>
                    <a:pt x="60" y="14"/>
                  </a:lnTo>
                  <a:lnTo>
                    <a:pt x="58" y="8"/>
                  </a:lnTo>
                  <a:lnTo>
                    <a:pt x="46" y="8"/>
                  </a:lnTo>
                  <a:lnTo>
                    <a:pt x="42" y="4"/>
                  </a:lnTo>
                  <a:lnTo>
                    <a:pt x="36" y="4"/>
                  </a:lnTo>
                  <a:lnTo>
                    <a:pt x="34" y="0"/>
                  </a:lnTo>
                  <a:lnTo>
                    <a:pt x="30" y="0"/>
                  </a:lnTo>
                  <a:lnTo>
                    <a:pt x="30" y="2"/>
                  </a:lnTo>
                  <a:lnTo>
                    <a:pt x="28" y="2"/>
                  </a:lnTo>
                  <a:lnTo>
                    <a:pt x="28" y="4"/>
                  </a:lnTo>
                  <a:lnTo>
                    <a:pt x="28" y="4"/>
                  </a:lnTo>
                  <a:lnTo>
                    <a:pt x="28" y="6"/>
                  </a:lnTo>
                  <a:lnTo>
                    <a:pt x="26" y="6"/>
                  </a:lnTo>
                  <a:lnTo>
                    <a:pt x="24" y="6"/>
                  </a:lnTo>
                  <a:lnTo>
                    <a:pt x="24" y="4"/>
                  </a:lnTo>
                  <a:lnTo>
                    <a:pt x="22" y="4"/>
                  </a:lnTo>
                  <a:lnTo>
                    <a:pt x="22" y="4"/>
                  </a:lnTo>
                  <a:lnTo>
                    <a:pt x="22" y="2"/>
                  </a:lnTo>
                  <a:lnTo>
                    <a:pt x="20" y="0"/>
                  </a:lnTo>
                  <a:lnTo>
                    <a:pt x="18" y="0"/>
                  </a:lnTo>
                  <a:lnTo>
                    <a:pt x="18" y="0"/>
                  </a:lnTo>
                  <a:lnTo>
                    <a:pt x="20" y="4"/>
                  </a:lnTo>
                  <a:lnTo>
                    <a:pt x="18" y="4"/>
                  </a:lnTo>
                  <a:lnTo>
                    <a:pt x="16" y="4"/>
                  </a:lnTo>
                  <a:lnTo>
                    <a:pt x="14" y="6"/>
                  </a:lnTo>
                  <a:lnTo>
                    <a:pt x="12" y="6"/>
                  </a:lnTo>
                  <a:lnTo>
                    <a:pt x="12" y="6"/>
                  </a:lnTo>
                  <a:lnTo>
                    <a:pt x="8" y="6"/>
                  </a:lnTo>
                  <a:lnTo>
                    <a:pt x="6" y="6"/>
                  </a:lnTo>
                  <a:lnTo>
                    <a:pt x="6" y="8"/>
                  </a:lnTo>
                  <a:lnTo>
                    <a:pt x="4" y="8"/>
                  </a:lnTo>
                  <a:lnTo>
                    <a:pt x="2" y="8"/>
                  </a:lnTo>
                  <a:lnTo>
                    <a:pt x="0" y="8"/>
                  </a:lnTo>
                  <a:lnTo>
                    <a:pt x="0" y="18"/>
                  </a:lnTo>
                  <a:lnTo>
                    <a:pt x="8" y="20"/>
                  </a:lnTo>
                  <a:lnTo>
                    <a:pt x="12" y="26"/>
                  </a:lnTo>
                  <a:lnTo>
                    <a:pt x="16" y="42"/>
                  </a:lnTo>
                  <a:lnTo>
                    <a:pt x="16" y="42"/>
                  </a:lnTo>
                  <a:lnTo>
                    <a:pt x="18" y="42"/>
                  </a:lnTo>
                  <a:lnTo>
                    <a:pt x="18" y="44"/>
                  </a:lnTo>
                  <a:lnTo>
                    <a:pt x="18" y="44"/>
                  </a:lnTo>
                  <a:lnTo>
                    <a:pt x="18" y="46"/>
                  </a:lnTo>
                  <a:lnTo>
                    <a:pt x="20" y="46"/>
                  </a:lnTo>
                  <a:lnTo>
                    <a:pt x="22" y="46"/>
                  </a:lnTo>
                  <a:lnTo>
                    <a:pt x="24" y="46"/>
                  </a:lnTo>
                  <a:lnTo>
                    <a:pt x="26" y="48"/>
                  </a:lnTo>
                  <a:lnTo>
                    <a:pt x="30" y="46"/>
                  </a:lnTo>
                  <a:lnTo>
                    <a:pt x="32" y="46"/>
                  </a:lnTo>
                  <a:lnTo>
                    <a:pt x="34" y="42"/>
                  </a:lnTo>
                  <a:lnTo>
                    <a:pt x="42" y="42"/>
                  </a:lnTo>
                  <a:lnTo>
                    <a:pt x="42" y="44"/>
                  </a:lnTo>
                  <a:lnTo>
                    <a:pt x="42" y="44"/>
                  </a:lnTo>
                  <a:lnTo>
                    <a:pt x="42" y="46"/>
                  </a:lnTo>
                  <a:lnTo>
                    <a:pt x="42" y="48"/>
                  </a:lnTo>
                  <a:lnTo>
                    <a:pt x="44" y="48"/>
                  </a:lnTo>
                  <a:lnTo>
                    <a:pt x="46" y="50"/>
                  </a:lnTo>
                  <a:lnTo>
                    <a:pt x="52" y="50"/>
                  </a:lnTo>
                  <a:lnTo>
                    <a:pt x="58" y="50"/>
                  </a:lnTo>
                  <a:lnTo>
                    <a:pt x="60" y="52"/>
                  </a:lnTo>
                  <a:lnTo>
                    <a:pt x="60" y="54"/>
                  </a:lnTo>
                  <a:lnTo>
                    <a:pt x="62" y="58"/>
                  </a:lnTo>
                  <a:lnTo>
                    <a:pt x="66" y="60"/>
                  </a:lnTo>
                  <a:lnTo>
                    <a:pt x="68" y="64"/>
                  </a:lnTo>
                  <a:lnTo>
                    <a:pt x="70" y="64"/>
                  </a:lnTo>
                  <a:lnTo>
                    <a:pt x="72" y="64"/>
                  </a:lnTo>
                  <a:lnTo>
                    <a:pt x="74" y="66"/>
                  </a:lnTo>
                  <a:lnTo>
                    <a:pt x="78" y="66"/>
                  </a:lnTo>
                  <a:lnTo>
                    <a:pt x="82" y="66"/>
                  </a:lnTo>
                  <a:lnTo>
                    <a:pt x="86" y="64"/>
                  </a:lnTo>
                  <a:lnTo>
                    <a:pt x="86" y="64"/>
                  </a:lnTo>
                  <a:lnTo>
                    <a:pt x="90" y="62"/>
                  </a:lnTo>
                  <a:lnTo>
                    <a:pt x="94" y="60"/>
                  </a:lnTo>
                  <a:lnTo>
                    <a:pt x="98" y="60"/>
                  </a:lnTo>
                  <a:lnTo>
                    <a:pt x="102" y="60"/>
                  </a:lnTo>
                  <a:lnTo>
                    <a:pt x="102" y="58"/>
                  </a:lnTo>
                  <a:lnTo>
                    <a:pt x="104" y="56"/>
                  </a:lnTo>
                  <a:lnTo>
                    <a:pt x="104" y="54"/>
                  </a:lnTo>
                  <a:lnTo>
                    <a:pt x="104" y="52"/>
                  </a:lnTo>
                  <a:lnTo>
                    <a:pt x="104" y="50"/>
                  </a:lnTo>
                  <a:lnTo>
                    <a:pt x="106" y="50"/>
                  </a:lnTo>
                  <a:lnTo>
                    <a:pt x="108" y="48"/>
                  </a:lnTo>
                  <a:lnTo>
                    <a:pt x="110" y="46"/>
                  </a:lnTo>
                  <a:lnTo>
                    <a:pt x="112" y="44"/>
                  </a:lnTo>
                  <a:lnTo>
                    <a:pt x="114" y="44"/>
                  </a:lnTo>
                  <a:lnTo>
                    <a:pt x="118" y="46"/>
                  </a:lnTo>
                  <a:lnTo>
                    <a:pt x="122" y="44"/>
                  </a:lnTo>
                  <a:lnTo>
                    <a:pt x="126" y="44"/>
                  </a:lnTo>
                  <a:lnTo>
                    <a:pt x="128" y="42"/>
                  </a:lnTo>
                  <a:lnTo>
                    <a:pt x="130" y="40"/>
                  </a:lnTo>
                  <a:lnTo>
                    <a:pt x="132" y="38"/>
                  </a:lnTo>
                  <a:lnTo>
                    <a:pt x="136" y="38"/>
                  </a:lnTo>
                  <a:lnTo>
                    <a:pt x="138" y="38"/>
                  </a:lnTo>
                  <a:lnTo>
                    <a:pt x="138" y="38"/>
                  </a:lnTo>
                  <a:lnTo>
                    <a:pt x="138" y="38"/>
                  </a:lnTo>
                  <a:lnTo>
                    <a:pt x="136" y="36"/>
                  </a:lnTo>
                  <a:lnTo>
                    <a:pt x="136" y="34"/>
                  </a:lnTo>
                  <a:lnTo>
                    <a:pt x="136" y="30"/>
                  </a:lnTo>
                  <a:lnTo>
                    <a:pt x="138" y="26"/>
                  </a:lnTo>
                  <a:lnTo>
                    <a:pt x="138" y="2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4" name="Freeform 431"/>
            <p:cNvSpPr/>
            <p:nvPr/>
          </p:nvSpPr>
          <p:spPr bwMode="gray">
            <a:xfrm>
              <a:off x="1120273" y="3096349"/>
              <a:ext cx="281412" cy="225718"/>
            </a:xfrm>
            <a:custGeom>
              <a:gdLst>
                <a:gd fmla="*/ 84 w 152" name="T0"/>
                <a:gd fmla="*/ 2 h 122" name="T1"/>
                <a:gd fmla="*/ 80 w 152" name="T2"/>
                <a:gd fmla="*/ 10 h 122" name="T3"/>
                <a:gd fmla="*/ 60 w 152" name="T4"/>
                <a:gd fmla="*/ 18 h 122" name="T5"/>
                <a:gd fmla="*/ 52 w 152" name="T6"/>
                <a:gd fmla="*/ 18 h 122" name="T7"/>
                <a:gd fmla="*/ 46 w 152" name="T8"/>
                <a:gd fmla="*/ 16 h 122" name="T9"/>
                <a:gd fmla="*/ 36 w 152" name="T10"/>
                <a:gd fmla="*/ 22 h 122" name="T11"/>
                <a:gd fmla="*/ 30 w 152" name="T12"/>
                <a:gd fmla="*/ 28 h 122" name="T13"/>
                <a:gd fmla="*/ 4 w 152" name="T14"/>
                <a:gd fmla="*/ 36 h 122" name="T15"/>
                <a:gd fmla="*/ 4 w 152" name="T16"/>
                <a:gd fmla="*/ 48 h 122" name="T17"/>
                <a:gd fmla="*/ 4 w 152" name="T18"/>
                <a:gd fmla="*/ 52 h 122" name="T19"/>
                <a:gd fmla="*/ 0 w 152" name="T20"/>
                <a:gd fmla="*/ 56 h 122" name="T21"/>
                <a:gd fmla="*/ 6 w 152" name="T22"/>
                <a:gd fmla="*/ 62 h 122" name="T23"/>
                <a:gd fmla="*/ 10 w 152" name="T24"/>
                <a:gd fmla="*/ 66 h 122" name="T25"/>
                <a:gd fmla="*/ 10 w 152" name="T26"/>
                <a:gd fmla="*/ 72 h 122" name="T27"/>
                <a:gd fmla="*/ 6 w 152" name="T28"/>
                <a:gd fmla="*/ 76 h 122" name="T29"/>
                <a:gd fmla="*/ 6 w 152" name="T30"/>
                <a:gd fmla="*/ 78 h 122" name="T31"/>
                <a:gd fmla="*/ 8 w 152" name="T32"/>
                <a:gd fmla="*/ 84 h 122" name="T33"/>
                <a:gd fmla="*/ 8 w 152" name="T34"/>
                <a:gd fmla="*/ 90 h 122" name="T35"/>
                <a:gd fmla="*/ 8 w 152" name="T36"/>
                <a:gd fmla="*/ 94 h 122" name="T37"/>
                <a:gd fmla="*/ 6 w 152" name="T38"/>
                <a:gd fmla="*/ 100 h 122" name="T39"/>
                <a:gd fmla="*/ 8 w 152" name="T40"/>
                <a:gd fmla="*/ 100 h 122" name="T41"/>
                <a:gd fmla="*/ 12 w 152" name="T42"/>
                <a:gd fmla="*/ 102 h 122" name="T43"/>
                <a:gd fmla="*/ 12 w 152" name="T44"/>
                <a:gd fmla="*/ 98 h 122" name="T45"/>
                <a:gd fmla="*/ 18 w 152" name="T46"/>
                <a:gd fmla="*/ 96 h 122" name="T47"/>
                <a:gd fmla="*/ 30 w 152" name="T48"/>
                <a:gd fmla="*/ 104 h 122" name="T49"/>
                <a:gd fmla="*/ 52 w 152" name="T50"/>
                <a:gd fmla="*/ 110 h 122" name="T51"/>
                <a:gd fmla="*/ 68 w 152" name="T52"/>
                <a:gd fmla="*/ 118 h 122" name="T53"/>
                <a:gd fmla="*/ 76 w 152" name="T54"/>
                <a:gd fmla="*/ 120 h 122" name="T55"/>
                <a:gd fmla="*/ 84 w 152" name="T56"/>
                <a:gd fmla="*/ 118 h 122" name="T57"/>
                <a:gd fmla="*/ 88 w 152" name="T58"/>
                <a:gd fmla="*/ 118 h 122" name="T59"/>
                <a:gd fmla="*/ 90 w 152" name="T60"/>
                <a:gd fmla="*/ 114 h 122" name="T61"/>
                <a:gd fmla="*/ 98 w 152" name="T62"/>
                <a:gd fmla="*/ 110 h 122" name="T63"/>
                <a:gd fmla="*/ 110 w 152" name="T64"/>
                <a:gd fmla="*/ 112 h 122" name="T65"/>
                <a:gd fmla="*/ 116 w 152" name="T66"/>
                <a:gd fmla="*/ 116 h 122" name="T67"/>
                <a:gd fmla="*/ 124 w 152" name="T68"/>
                <a:gd fmla="*/ 120 h 122" name="T69"/>
                <a:gd fmla="*/ 128 w 152" name="T70"/>
                <a:gd fmla="*/ 118 h 122" name="T71"/>
                <a:gd fmla="*/ 150 w 152" name="T72"/>
                <a:gd fmla="*/ 104 h 122" name="T73"/>
                <a:gd fmla="*/ 152 w 152" name="T74"/>
                <a:gd fmla="*/ 100 h 122" name="T75"/>
                <a:gd fmla="*/ 146 w 152" name="T76"/>
                <a:gd fmla="*/ 86 h 122" name="T77"/>
                <a:gd fmla="*/ 142 w 152" name="T78"/>
                <a:gd fmla="*/ 78 h 122" name="T79"/>
                <a:gd fmla="*/ 132 w 152" name="T80"/>
                <a:gd fmla="*/ 64 h 122" name="T81"/>
                <a:gd fmla="*/ 126 w 152" name="T82"/>
                <a:gd fmla="*/ 58 h 122" name="T83"/>
                <a:gd fmla="*/ 132 w 152" name="T84"/>
                <a:gd fmla="*/ 54 h 122" name="T85"/>
                <a:gd fmla="*/ 134 w 152" name="T86"/>
                <a:gd fmla="*/ 40 h 122" name="T87"/>
                <a:gd fmla="*/ 130 w 152" name="T88"/>
                <a:gd fmla="*/ 32 h 122" name="T89"/>
                <a:gd fmla="*/ 124 w 152" name="T90"/>
                <a:gd fmla="*/ 18 h 122" name="T91"/>
                <a:gd fmla="*/ 116 w 152" name="T92"/>
                <a:gd fmla="*/ 12 h 122" name="T93"/>
                <a:gd fmla="*/ 112 w 152" name="T94"/>
                <a:gd fmla="*/ 6 h 122" name="T95"/>
                <a:gd fmla="*/ 104 w 152" name="T96"/>
                <a:gd fmla="*/ 8 h 122" name="T97"/>
                <a:gd fmla="*/ 94 w 152" name="T98"/>
                <a:gd fmla="*/ 8 h 122"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122" w="152">
                  <a:moveTo>
                    <a:pt x="90" y="4"/>
                  </a:moveTo>
                  <a:lnTo>
                    <a:pt x="84" y="0"/>
                  </a:lnTo>
                  <a:lnTo>
                    <a:pt x="84" y="2"/>
                  </a:lnTo>
                  <a:lnTo>
                    <a:pt x="82" y="4"/>
                  </a:lnTo>
                  <a:lnTo>
                    <a:pt x="82" y="8"/>
                  </a:lnTo>
                  <a:lnTo>
                    <a:pt x="80" y="10"/>
                  </a:lnTo>
                  <a:lnTo>
                    <a:pt x="78" y="12"/>
                  </a:lnTo>
                  <a:lnTo>
                    <a:pt x="78" y="12"/>
                  </a:lnTo>
                  <a:lnTo>
                    <a:pt x="60" y="18"/>
                  </a:lnTo>
                  <a:lnTo>
                    <a:pt x="56" y="18"/>
                  </a:lnTo>
                  <a:lnTo>
                    <a:pt x="52" y="18"/>
                  </a:lnTo>
                  <a:lnTo>
                    <a:pt x="52" y="18"/>
                  </a:lnTo>
                  <a:lnTo>
                    <a:pt x="52" y="16"/>
                  </a:lnTo>
                  <a:lnTo>
                    <a:pt x="48" y="16"/>
                  </a:lnTo>
                  <a:lnTo>
                    <a:pt x="46" y="16"/>
                  </a:lnTo>
                  <a:lnTo>
                    <a:pt x="42" y="16"/>
                  </a:lnTo>
                  <a:lnTo>
                    <a:pt x="38" y="20"/>
                  </a:lnTo>
                  <a:lnTo>
                    <a:pt x="36" y="22"/>
                  </a:lnTo>
                  <a:lnTo>
                    <a:pt x="32" y="24"/>
                  </a:lnTo>
                  <a:lnTo>
                    <a:pt x="30" y="26"/>
                  </a:lnTo>
                  <a:lnTo>
                    <a:pt x="30" y="28"/>
                  </a:lnTo>
                  <a:lnTo>
                    <a:pt x="4" y="32"/>
                  </a:lnTo>
                  <a:lnTo>
                    <a:pt x="4" y="32"/>
                  </a:lnTo>
                  <a:lnTo>
                    <a:pt x="4" y="36"/>
                  </a:lnTo>
                  <a:lnTo>
                    <a:pt x="4" y="40"/>
                  </a:lnTo>
                  <a:lnTo>
                    <a:pt x="4" y="44"/>
                  </a:lnTo>
                  <a:lnTo>
                    <a:pt x="4" y="48"/>
                  </a:lnTo>
                  <a:lnTo>
                    <a:pt x="4" y="48"/>
                  </a:lnTo>
                  <a:lnTo>
                    <a:pt x="4" y="50"/>
                  </a:lnTo>
                  <a:lnTo>
                    <a:pt x="4" y="52"/>
                  </a:lnTo>
                  <a:lnTo>
                    <a:pt x="4" y="54"/>
                  </a:lnTo>
                  <a:lnTo>
                    <a:pt x="0" y="54"/>
                  </a:lnTo>
                  <a:lnTo>
                    <a:pt x="0" y="56"/>
                  </a:lnTo>
                  <a:lnTo>
                    <a:pt x="2" y="56"/>
                  </a:lnTo>
                  <a:lnTo>
                    <a:pt x="4" y="60"/>
                  </a:lnTo>
                  <a:lnTo>
                    <a:pt x="6" y="62"/>
                  </a:lnTo>
                  <a:lnTo>
                    <a:pt x="8" y="62"/>
                  </a:lnTo>
                  <a:lnTo>
                    <a:pt x="8" y="64"/>
                  </a:lnTo>
                  <a:lnTo>
                    <a:pt x="10" y="66"/>
                  </a:lnTo>
                  <a:lnTo>
                    <a:pt x="12" y="68"/>
                  </a:lnTo>
                  <a:lnTo>
                    <a:pt x="12" y="70"/>
                  </a:lnTo>
                  <a:lnTo>
                    <a:pt x="10" y="72"/>
                  </a:lnTo>
                  <a:lnTo>
                    <a:pt x="10" y="72"/>
                  </a:lnTo>
                  <a:lnTo>
                    <a:pt x="8" y="74"/>
                  </a:lnTo>
                  <a:lnTo>
                    <a:pt x="6" y="76"/>
                  </a:lnTo>
                  <a:lnTo>
                    <a:pt x="6" y="76"/>
                  </a:lnTo>
                  <a:lnTo>
                    <a:pt x="6" y="78"/>
                  </a:lnTo>
                  <a:lnTo>
                    <a:pt x="6" y="78"/>
                  </a:lnTo>
                  <a:lnTo>
                    <a:pt x="8" y="80"/>
                  </a:lnTo>
                  <a:lnTo>
                    <a:pt x="8" y="82"/>
                  </a:lnTo>
                  <a:lnTo>
                    <a:pt x="8" y="84"/>
                  </a:lnTo>
                  <a:lnTo>
                    <a:pt x="6" y="86"/>
                  </a:lnTo>
                  <a:lnTo>
                    <a:pt x="6" y="88"/>
                  </a:lnTo>
                  <a:lnTo>
                    <a:pt x="8" y="90"/>
                  </a:lnTo>
                  <a:lnTo>
                    <a:pt x="6" y="90"/>
                  </a:lnTo>
                  <a:lnTo>
                    <a:pt x="6" y="92"/>
                  </a:lnTo>
                  <a:lnTo>
                    <a:pt x="8" y="94"/>
                  </a:lnTo>
                  <a:lnTo>
                    <a:pt x="8" y="96"/>
                  </a:lnTo>
                  <a:lnTo>
                    <a:pt x="8" y="98"/>
                  </a:lnTo>
                  <a:lnTo>
                    <a:pt x="6" y="100"/>
                  </a:lnTo>
                  <a:lnTo>
                    <a:pt x="6" y="100"/>
                  </a:lnTo>
                  <a:lnTo>
                    <a:pt x="6" y="100"/>
                  </a:lnTo>
                  <a:lnTo>
                    <a:pt x="8" y="100"/>
                  </a:lnTo>
                  <a:lnTo>
                    <a:pt x="8" y="102"/>
                  </a:lnTo>
                  <a:lnTo>
                    <a:pt x="10" y="102"/>
                  </a:lnTo>
                  <a:lnTo>
                    <a:pt x="12" y="102"/>
                  </a:lnTo>
                  <a:lnTo>
                    <a:pt x="12" y="100"/>
                  </a:lnTo>
                  <a:lnTo>
                    <a:pt x="12" y="100"/>
                  </a:lnTo>
                  <a:lnTo>
                    <a:pt x="12" y="98"/>
                  </a:lnTo>
                  <a:lnTo>
                    <a:pt x="14" y="98"/>
                  </a:lnTo>
                  <a:lnTo>
                    <a:pt x="14" y="96"/>
                  </a:lnTo>
                  <a:lnTo>
                    <a:pt x="18" y="96"/>
                  </a:lnTo>
                  <a:lnTo>
                    <a:pt x="20" y="100"/>
                  </a:lnTo>
                  <a:lnTo>
                    <a:pt x="26" y="100"/>
                  </a:lnTo>
                  <a:lnTo>
                    <a:pt x="30" y="104"/>
                  </a:lnTo>
                  <a:lnTo>
                    <a:pt x="42" y="104"/>
                  </a:lnTo>
                  <a:lnTo>
                    <a:pt x="44" y="110"/>
                  </a:lnTo>
                  <a:lnTo>
                    <a:pt x="52" y="110"/>
                  </a:lnTo>
                  <a:lnTo>
                    <a:pt x="60" y="116"/>
                  </a:lnTo>
                  <a:lnTo>
                    <a:pt x="64" y="118"/>
                  </a:lnTo>
                  <a:lnTo>
                    <a:pt x="68" y="118"/>
                  </a:lnTo>
                  <a:lnTo>
                    <a:pt x="68" y="122"/>
                  </a:lnTo>
                  <a:lnTo>
                    <a:pt x="74" y="120"/>
                  </a:lnTo>
                  <a:lnTo>
                    <a:pt x="76" y="120"/>
                  </a:lnTo>
                  <a:lnTo>
                    <a:pt x="78" y="120"/>
                  </a:lnTo>
                  <a:lnTo>
                    <a:pt x="80" y="118"/>
                  </a:lnTo>
                  <a:lnTo>
                    <a:pt x="84" y="118"/>
                  </a:lnTo>
                  <a:lnTo>
                    <a:pt x="86" y="120"/>
                  </a:lnTo>
                  <a:lnTo>
                    <a:pt x="88" y="120"/>
                  </a:lnTo>
                  <a:lnTo>
                    <a:pt x="88" y="118"/>
                  </a:lnTo>
                  <a:lnTo>
                    <a:pt x="88" y="116"/>
                  </a:lnTo>
                  <a:lnTo>
                    <a:pt x="88" y="114"/>
                  </a:lnTo>
                  <a:lnTo>
                    <a:pt x="90" y="114"/>
                  </a:lnTo>
                  <a:lnTo>
                    <a:pt x="92" y="112"/>
                  </a:lnTo>
                  <a:lnTo>
                    <a:pt x="94" y="110"/>
                  </a:lnTo>
                  <a:lnTo>
                    <a:pt x="98" y="110"/>
                  </a:lnTo>
                  <a:lnTo>
                    <a:pt x="102" y="108"/>
                  </a:lnTo>
                  <a:lnTo>
                    <a:pt x="106" y="108"/>
                  </a:lnTo>
                  <a:lnTo>
                    <a:pt x="110" y="112"/>
                  </a:lnTo>
                  <a:lnTo>
                    <a:pt x="112" y="112"/>
                  </a:lnTo>
                  <a:lnTo>
                    <a:pt x="114" y="114"/>
                  </a:lnTo>
                  <a:lnTo>
                    <a:pt x="116" y="116"/>
                  </a:lnTo>
                  <a:lnTo>
                    <a:pt x="118" y="118"/>
                  </a:lnTo>
                  <a:lnTo>
                    <a:pt x="122" y="120"/>
                  </a:lnTo>
                  <a:lnTo>
                    <a:pt x="124" y="120"/>
                  </a:lnTo>
                  <a:lnTo>
                    <a:pt x="126" y="120"/>
                  </a:lnTo>
                  <a:lnTo>
                    <a:pt x="128" y="120"/>
                  </a:lnTo>
                  <a:lnTo>
                    <a:pt x="128" y="118"/>
                  </a:lnTo>
                  <a:lnTo>
                    <a:pt x="150" y="104"/>
                  </a:lnTo>
                  <a:lnTo>
                    <a:pt x="150" y="104"/>
                  </a:lnTo>
                  <a:lnTo>
                    <a:pt x="150" y="104"/>
                  </a:lnTo>
                  <a:lnTo>
                    <a:pt x="150" y="104"/>
                  </a:lnTo>
                  <a:lnTo>
                    <a:pt x="152" y="102"/>
                  </a:lnTo>
                  <a:lnTo>
                    <a:pt x="152" y="100"/>
                  </a:lnTo>
                  <a:lnTo>
                    <a:pt x="150" y="98"/>
                  </a:lnTo>
                  <a:lnTo>
                    <a:pt x="148" y="92"/>
                  </a:lnTo>
                  <a:lnTo>
                    <a:pt x="146" y="86"/>
                  </a:lnTo>
                  <a:lnTo>
                    <a:pt x="146" y="84"/>
                  </a:lnTo>
                  <a:lnTo>
                    <a:pt x="144" y="82"/>
                  </a:lnTo>
                  <a:lnTo>
                    <a:pt x="142" y="78"/>
                  </a:lnTo>
                  <a:lnTo>
                    <a:pt x="140" y="72"/>
                  </a:lnTo>
                  <a:lnTo>
                    <a:pt x="136" y="68"/>
                  </a:lnTo>
                  <a:lnTo>
                    <a:pt x="132" y="64"/>
                  </a:lnTo>
                  <a:lnTo>
                    <a:pt x="130" y="60"/>
                  </a:lnTo>
                  <a:lnTo>
                    <a:pt x="126" y="58"/>
                  </a:lnTo>
                  <a:lnTo>
                    <a:pt x="126" y="58"/>
                  </a:lnTo>
                  <a:lnTo>
                    <a:pt x="128" y="58"/>
                  </a:lnTo>
                  <a:lnTo>
                    <a:pt x="130" y="56"/>
                  </a:lnTo>
                  <a:lnTo>
                    <a:pt x="132" y="54"/>
                  </a:lnTo>
                  <a:lnTo>
                    <a:pt x="134" y="50"/>
                  </a:lnTo>
                  <a:lnTo>
                    <a:pt x="136" y="46"/>
                  </a:lnTo>
                  <a:lnTo>
                    <a:pt x="134" y="40"/>
                  </a:lnTo>
                  <a:lnTo>
                    <a:pt x="134" y="40"/>
                  </a:lnTo>
                  <a:lnTo>
                    <a:pt x="132" y="36"/>
                  </a:lnTo>
                  <a:lnTo>
                    <a:pt x="130" y="32"/>
                  </a:lnTo>
                  <a:lnTo>
                    <a:pt x="128" y="28"/>
                  </a:lnTo>
                  <a:lnTo>
                    <a:pt x="126" y="22"/>
                  </a:lnTo>
                  <a:lnTo>
                    <a:pt x="124" y="18"/>
                  </a:lnTo>
                  <a:lnTo>
                    <a:pt x="122" y="16"/>
                  </a:lnTo>
                  <a:lnTo>
                    <a:pt x="120" y="14"/>
                  </a:lnTo>
                  <a:lnTo>
                    <a:pt x="116" y="12"/>
                  </a:lnTo>
                  <a:lnTo>
                    <a:pt x="114" y="10"/>
                  </a:lnTo>
                  <a:lnTo>
                    <a:pt x="112" y="8"/>
                  </a:lnTo>
                  <a:lnTo>
                    <a:pt x="112" y="6"/>
                  </a:lnTo>
                  <a:lnTo>
                    <a:pt x="110" y="6"/>
                  </a:lnTo>
                  <a:lnTo>
                    <a:pt x="108" y="8"/>
                  </a:lnTo>
                  <a:lnTo>
                    <a:pt x="104" y="8"/>
                  </a:lnTo>
                  <a:lnTo>
                    <a:pt x="98" y="8"/>
                  </a:lnTo>
                  <a:lnTo>
                    <a:pt x="98" y="8"/>
                  </a:lnTo>
                  <a:lnTo>
                    <a:pt x="94" y="8"/>
                  </a:lnTo>
                  <a:lnTo>
                    <a:pt x="92" y="6"/>
                  </a:lnTo>
                  <a:lnTo>
                    <a:pt x="90" y="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5" name="Freeform 432"/>
            <p:cNvSpPr/>
            <p:nvPr/>
          </p:nvSpPr>
          <p:spPr bwMode="gray">
            <a:xfrm>
              <a:off x="1301710" y="3351670"/>
              <a:ext cx="188842" cy="155413"/>
            </a:xfrm>
            <a:custGeom>
              <a:gdLst>
                <a:gd fmla="*/ 20 w 102" name="T0"/>
                <a:gd fmla="*/ 6 h 84" name="T1"/>
                <a:gd fmla="*/ 26 w 102" name="T2"/>
                <a:gd fmla="*/ 2 h 84" name="T3"/>
                <a:gd fmla="*/ 38 w 102" name="T4"/>
                <a:gd fmla="*/ 2 h 84" name="T5"/>
                <a:gd fmla="*/ 48 w 102" name="T6"/>
                <a:gd fmla="*/ 4 h 84" name="T7"/>
                <a:gd fmla="*/ 52 w 102" name="T8"/>
                <a:gd fmla="*/ 6 h 84" name="T9"/>
                <a:gd fmla="*/ 60 w 102" name="T10"/>
                <a:gd fmla="*/ 6 h 84" name="T11"/>
                <a:gd fmla="*/ 68 w 102" name="T12"/>
                <a:gd fmla="*/ 4 h 84" name="T13"/>
                <a:gd fmla="*/ 72 w 102" name="T14"/>
                <a:gd fmla="*/ 0 h 84" name="T15"/>
                <a:gd fmla="*/ 76 w 102" name="T16"/>
                <a:gd fmla="*/ 2 h 84" name="T17"/>
                <a:gd fmla="*/ 84 w 102" name="T18"/>
                <a:gd fmla="*/ 6 h 84" name="T19"/>
                <a:gd fmla="*/ 92 w 102" name="T20"/>
                <a:gd fmla="*/ 14 h 84" name="T21"/>
                <a:gd fmla="*/ 94 w 102" name="T22"/>
                <a:gd fmla="*/ 20 h 84" name="T23"/>
                <a:gd fmla="*/ 96 w 102" name="T24"/>
                <a:gd fmla="*/ 30 h 84" name="T25"/>
                <a:gd fmla="*/ 98 w 102" name="T26"/>
                <a:gd fmla="*/ 40 h 84" name="T27"/>
                <a:gd fmla="*/ 96 w 102" name="T28"/>
                <a:gd fmla="*/ 54 h 84" name="T29"/>
                <a:gd fmla="*/ 98 w 102" name="T30"/>
                <a:gd fmla="*/ 60 h 84" name="T31"/>
                <a:gd fmla="*/ 102 w 102" name="T32"/>
                <a:gd fmla="*/ 64 h 84" name="T33"/>
                <a:gd fmla="*/ 100 w 102" name="T34"/>
                <a:gd fmla="*/ 66 h 84" name="T35"/>
                <a:gd fmla="*/ 100 w 102" name="T36"/>
                <a:gd fmla="*/ 70 h 84" name="T37"/>
                <a:gd fmla="*/ 100 w 102" name="T38"/>
                <a:gd fmla="*/ 74 h 84" name="T39"/>
                <a:gd fmla="*/ 100 w 102" name="T40"/>
                <a:gd fmla="*/ 82 h 84" name="T41"/>
                <a:gd fmla="*/ 100 w 102" name="T42"/>
                <a:gd fmla="*/ 84 h 84" name="T43"/>
                <a:gd fmla="*/ 94 w 102" name="T44"/>
                <a:gd fmla="*/ 80 h 84" name="T45"/>
                <a:gd fmla="*/ 88 w 102" name="T46"/>
                <a:gd fmla="*/ 76 h 84" name="T47"/>
                <a:gd fmla="*/ 74 w 102" name="T48"/>
                <a:gd fmla="*/ 72 h 84" name="T49"/>
                <a:gd fmla="*/ 72 w 102" name="T50"/>
                <a:gd fmla="*/ 70 h 84" name="T51"/>
                <a:gd fmla="*/ 64 w 102" name="T52"/>
                <a:gd fmla="*/ 66 h 84" name="T53"/>
                <a:gd fmla="*/ 60 w 102" name="T54"/>
                <a:gd fmla="*/ 66 h 84" name="T55"/>
                <a:gd fmla="*/ 48 w 102" name="T56"/>
                <a:gd fmla="*/ 66 h 84" name="T57"/>
                <a:gd fmla="*/ 34 w 102" name="T58"/>
                <a:gd fmla="*/ 72 h 84" name="T59"/>
                <a:gd fmla="*/ 32 w 102" name="T60"/>
                <a:gd fmla="*/ 72 h 84" name="T61"/>
                <a:gd fmla="*/ 26 w 102" name="T62"/>
                <a:gd fmla="*/ 72 h 84" name="T63"/>
                <a:gd fmla="*/ 16 w 102" name="T64"/>
                <a:gd fmla="*/ 64 h 84" name="T65"/>
                <a:gd fmla="*/ 8 w 102" name="T66"/>
                <a:gd fmla="*/ 58 h 84" name="T67"/>
                <a:gd fmla="*/ 0 w 102" name="T68"/>
                <a:gd fmla="*/ 54 h 84" name="T69"/>
                <a:gd fmla="*/ 4 w 102" name="T70"/>
                <a:gd fmla="*/ 52 h 84" name="T71"/>
                <a:gd fmla="*/ 10 w 102" name="T72"/>
                <a:gd fmla="*/ 44 h 84" name="T73"/>
                <a:gd fmla="*/ 16 w 102" name="T74"/>
                <a:gd fmla="*/ 36 h 84" name="T75"/>
                <a:gd fmla="*/ 16 w 102" name="T76"/>
                <a:gd fmla="*/ 32 h 84" name="T77"/>
                <a:gd fmla="*/ 18 w 102" name="T78"/>
                <a:gd fmla="*/ 20 h 84" name="T79"/>
                <a:gd fmla="*/ 18 w 102" name="T80"/>
                <a:gd fmla="*/ 12 h 84" name="T81"/>
                <a:gd fmla="*/ 20 w 102" name="T82"/>
                <a:gd fmla="*/ 6 h 84"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84" w="102">
                  <a:moveTo>
                    <a:pt x="20" y="6"/>
                  </a:moveTo>
                  <a:lnTo>
                    <a:pt x="20" y="6"/>
                  </a:lnTo>
                  <a:lnTo>
                    <a:pt x="22" y="4"/>
                  </a:lnTo>
                  <a:lnTo>
                    <a:pt x="26" y="2"/>
                  </a:lnTo>
                  <a:lnTo>
                    <a:pt x="32" y="2"/>
                  </a:lnTo>
                  <a:lnTo>
                    <a:pt x="38" y="2"/>
                  </a:lnTo>
                  <a:lnTo>
                    <a:pt x="42" y="2"/>
                  </a:lnTo>
                  <a:lnTo>
                    <a:pt x="48" y="4"/>
                  </a:lnTo>
                  <a:lnTo>
                    <a:pt x="50" y="4"/>
                  </a:lnTo>
                  <a:lnTo>
                    <a:pt x="52" y="6"/>
                  </a:lnTo>
                  <a:lnTo>
                    <a:pt x="56" y="6"/>
                  </a:lnTo>
                  <a:lnTo>
                    <a:pt x="60" y="6"/>
                  </a:lnTo>
                  <a:lnTo>
                    <a:pt x="66" y="6"/>
                  </a:lnTo>
                  <a:lnTo>
                    <a:pt x="68" y="4"/>
                  </a:lnTo>
                  <a:lnTo>
                    <a:pt x="70" y="4"/>
                  </a:lnTo>
                  <a:lnTo>
                    <a:pt x="72" y="0"/>
                  </a:lnTo>
                  <a:lnTo>
                    <a:pt x="72" y="0"/>
                  </a:lnTo>
                  <a:lnTo>
                    <a:pt x="76" y="2"/>
                  </a:lnTo>
                  <a:lnTo>
                    <a:pt x="80" y="4"/>
                  </a:lnTo>
                  <a:lnTo>
                    <a:pt x="84" y="6"/>
                  </a:lnTo>
                  <a:lnTo>
                    <a:pt x="88" y="10"/>
                  </a:lnTo>
                  <a:lnTo>
                    <a:pt x="92" y="14"/>
                  </a:lnTo>
                  <a:lnTo>
                    <a:pt x="92" y="16"/>
                  </a:lnTo>
                  <a:lnTo>
                    <a:pt x="94" y="20"/>
                  </a:lnTo>
                  <a:lnTo>
                    <a:pt x="96" y="24"/>
                  </a:lnTo>
                  <a:lnTo>
                    <a:pt x="96" y="30"/>
                  </a:lnTo>
                  <a:lnTo>
                    <a:pt x="98" y="34"/>
                  </a:lnTo>
                  <a:lnTo>
                    <a:pt x="98" y="40"/>
                  </a:lnTo>
                  <a:lnTo>
                    <a:pt x="96" y="48"/>
                  </a:lnTo>
                  <a:lnTo>
                    <a:pt x="96" y="54"/>
                  </a:lnTo>
                  <a:lnTo>
                    <a:pt x="96" y="58"/>
                  </a:lnTo>
                  <a:lnTo>
                    <a:pt x="98" y="60"/>
                  </a:lnTo>
                  <a:lnTo>
                    <a:pt x="100" y="62"/>
                  </a:lnTo>
                  <a:lnTo>
                    <a:pt x="102" y="64"/>
                  </a:lnTo>
                  <a:lnTo>
                    <a:pt x="102" y="64"/>
                  </a:lnTo>
                  <a:lnTo>
                    <a:pt x="100" y="66"/>
                  </a:lnTo>
                  <a:lnTo>
                    <a:pt x="100" y="68"/>
                  </a:lnTo>
                  <a:lnTo>
                    <a:pt x="100" y="70"/>
                  </a:lnTo>
                  <a:lnTo>
                    <a:pt x="100" y="72"/>
                  </a:lnTo>
                  <a:lnTo>
                    <a:pt x="100" y="74"/>
                  </a:lnTo>
                  <a:lnTo>
                    <a:pt x="100" y="78"/>
                  </a:lnTo>
                  <a:lnTo>
                    <a:pt x="100" y="82"/>
                  </a:lnTo>
                  <a:lnTo>
                    <a:pt x="100" y="84"/>
                  </a:lnTo>
                  <a:lnTo>
                    <a:pt x="100" y="84"/>
                  </a:lnTo>
                  <a:lnTo>
                    <a:pt x="98" y="82"/>
                  </a:lnTo>
                  <a:lnTo>
                    <a:pt x="94" y="80"/>
                  </a:lnTo>
                  <a:lnTo>
                    <a:pt x="92" y="78"/>
                  </a:lnTo>
                  <a:lnTo>
                    <a:pt x="88" y="76"/>
                  </a:lnTo>
                  <a:lnTo>
                    <a:pt x="84" y="76"/>
                  </a:lnTo>
                  <a:lnTo>
                    <a:pt x="74" y="72"/>
                  </a:lnTo>
                  <a:lnTo>
                    <a:pt x="74" y="70"/>
                  </a:lnTo>
                  <a:lnTo>
                    <a:pt x="72" y="70"/>
                  </a:lnTo>
                  <a:lnTo>
                    <a:pt x="68" y="68"/>
                  </a:lnTo>
                  <a:lnTo>
                    <a:pt x="64" y="66"/>
                  </a:lnTo>
                  <a:lnTo>
                    <a:pt x="60" y="66"/>
                  </a:lnTo>
                  <a:lnTo>
                    <a:pt x="60" y="66"/>
                  </a:lnTo>
                  <a:lnTo>
                    <a:pt x="54" y="66"/>
                  </a:lnTo>
                  <a:lnTo>
                    <a:pt x="48" y="66"/>
                  </a:lnTo>
                  <a:lnTo>
                    <a:pt x="42" y="68"/>
                  </a:lnTo>
                  <a:lnTo>
                    <a:pt x="34" y="72"/>
                  </a:lnTo>
                  <a:lnTo>
                    <a:pt x="34" y="72"/>
                  </a:lnTo>
                  <a:lnTo>
                    <a:pt x="32" y="72"/>
                  </a:lnTo>
                  <a:lnTo>
                    <a:pt x="30" y="72"/>
                  </a:lnTo>
                  <a:lnTo>
                    <a:pt x="26" y="72"/>
                  </a:lnTo>
                  <a:lnTo>
                    <a:pt x="22" y="68"/>
                  </a:lnTo>
                  <a:lnTo>
                    <a:pt x="16" y="64"/>
                  </a:lnTo>
                  <a:lnTo>
                    <a:pt x="8" y="58"/>
                  </a:lnTo>
                  <a:lnTo>
                    <a:pt x="8" y="58"/>
                  </a:lnTo>
                  <a:lnTo>
                    <a:pt x="4" y="56"/>
                  </a:lnTo>
                  <a:lnTo>
                    <a:pt x="0" y="54"/>
                  </a:lnTo>
                  <a:lnTo>
                    <a:pt x="2" y="54"/>
                  </a:lnTo>
                  <a:lnTo>
                    <a:pt x="4" y="52"/>
                  </a:lnTo>
                  <a:lnTo>
                    <a:pt x="8" y="48"/>
                  </a:lnTo>
                  <a:lnTo>
                    <a:pt x="10" y="44"/>
                  </a:lnTo>
                  <a:lnTo>
                    <a:pt x="14" y="40"/>
                  </a:lnTo>
                  <a:lnTo>
                    <a:pt x="16" y="36"/>
                  </a:lnTo>
                  <a:lnTo>
                    <a:pt x="16" y="34"/>
                  </a:lnTo>
                  <a:lnTo>
                    <a:pt x="16" y="32"/>
                  </a:lnTo>
                  <a:lnTo>
                    <a:pt x="16" y="26"/>
                  </a:lnTo>
                  <a:lnTo>
                    <a:pt x="18" y="20"/>
                  </a:lnTo>
                  <a:lnTo>
                    <a:pt x="18" y="14"/>
                  </a:lnTo>
                  <a:lnTo>
                    <a:pt x="18" y="12"/>
                  </a:lnTo>
                  <a:lnTo>
                    <a:pt x="20" y="10"/>
                  </a:lnTo>
                  <a:lnTo>
                    <a:pt x="20" y="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6" name="Freeform 433"/>
            <p:cNvSpPr/>
            <p:nvPr/>
          </p:nvSpPr>
          <p:spPr bwMode="gray">
            <a:xfrm>
              <a:off x="1412794" y="3577388"/>
              <a:ext cx="77759" cy="81407"/>
            </a:xfrm>
            <a:custGeom>
              <a:gdLst>
                <a:gd fmla="*/ 26 w 42" name="T0"/>
                <a:gd fmla="*/ 0 h 44" name="T1"/>
                <a:gd fmla="*/ 26 w 42" name="T2"/>
                <a:gd fmla="*/ 2 h 44" name="T3"/>
                <a:gd fmla="*/ 26 w 42" name="T4"/>
                <a:gd fmla="*/ 2 h 44" name="T5"/>
                <a:gd fmla="*/ 26 w 42" name="T6"/>
                <a:gd fmla="*/ 4 h 44" name="T7"/>
                <a:gd fmla="*/ 28 w 42" name="T8"/>
                <a:gd fmla="*/ 6 h 44" name="T9"/>
                <a:gd fmla="*/ 32 w 42" name="T10"/>
                <a:gd fmla="*/ 10 h 44" name="T11"/>
                <a:gd fmla="*/ 36 w 42" name="T12"/>
                <a:gd fmla="*/ 14 h 44" name="T13"/>
                <a:gd fmla="*/ 42 w 42" name="T14"/>
                <a:gd fmla="*/ 22 h 44" name="T15"/>
                <a:gd fmla="*/ 40 w 42" name="T16"/>
                <a:gd fmla="*/ 22 h 44" name="T17"/>
                <a:gd fmla="*/ 40 w 42" name="T18"/>
                <a:gd fmla="*/ 24 h 44" name="T19"/>
                <a:gd fmla="*/ 38 w 42" name="T20"/>
                <a:gd fmla="*/ 28 h 44" name="T21"/>
                <a:gd fmla="*/ 36 w 42" name="T22"/>
                <a:gd fmla="*/ 30 h 44" name="T23"/>
                <a:gd fmla="*/ 34 w 42" name="T24"/>
                <a:gd fmla="*/ 30 h 44" name="T25"/>
                <a:gd fmla="*/ 34 w 42" name="T26"/>
                <a:gd fmla="*/ 30 h 44" name="T27"/>
                <a:gd fmla="*/ 30 w 42" name="T28"/>
                <a:gd fmla="*/ 30 h 44" name="T29"/>
                <a:gd fmla="*/ 28 w 42" name="T30"/>
                <a:gd fmla="*/ 32 h 44" name="T31"/>
                <a:gd fmla="*/ 24 w 42" name="T32"/>
                <a:gd fmla="*/ 32 h 44" name="T33"/>
                <a:gd fmla="*/ 22 w 42" name="T34"/>
                <a:gd fmla="*/ 32 h 44" name="T35"/>
                <a:gd fmla="*/ 22 w 42" name="T36"/>
                <a:gd fmla="*/ 32 h 44" name="T37"/>
                <a:gd fmla="*/ 20 w 42" name="T38"/>
                <a:gd fmla="*/ 34 h 44" name="T39"/>
                <a:gd fmla="*/ 18 w 42" name="T40"/>
                <a:gd fmla="*/ 36 h 44" name="T41"/>
                <a:gd fmla="*/ 16 w 42" name="T42"/>
                <a:gd fmla="*/ 38 h 44" name="T43"/>
                <a:gd fmla="*/ 16 w 42" name="T44"/>
                <a:gd fmla="*/ 38 h 44" name="T45"/>
                <a:gd fmla="*/ 14 w 42" name="T46"/>
                <a:gd fmla="*/ 40 h 44" name="T47"/>
                <a:gd fmla="*/ 12 w 42" name="T48"/>
                <a:gd fmla="*/ 42 h 44" name="T49"/>
                <a:gd fmla="*/ 10 w 42" name="T50"/>
                <a:gd fmla="*/ 42 h 44" name="T51"/>
                <a:gd fmla="*/ 10 w 42" name="T52"/>
                <a:gd fmla="*/ 42 h 44" name="T53"/>
                <a:gd fmla="*/ 8 w 42" name="T54"/>
                <a:gd fmla="*/ 44 h 44" name="T55"/>
                <a:gd fmla="*/ 4 w 42" name="T56"/>
                <a:gd fmla="*/ 44 h 44" name="T57"/>
                <a:gd fmla="*/ 2 w 42" name="T58"/>
                <a:gd fmla="*/ 44 h 44" name="T59"/>
                <a:gd fmla="*/ 0 w 42" name="T60"/>
                <a:gd fmla="*/ 44 h 44" name="T61"/>
                <a:gd fmla="*/ 2 w 42" name="T62"/>
                <a:gd fmla="*/ 36 h 44" name="T63"/>
                <a:gd fmla="*/ 2 w 42" name="T64"/>
                <a:gd fmla="*/ 20 h 44" name="T65"/>
                <a:gd fmla="*/ 2 w 42" name="T66"/>
                <a:gd fmla="*/ 20 h 44" name="T67"/>
                <a:gd fmla="*/ 4 w 42" name="T68"/>
                <a:gd fmla="*/ 16 h 44" name="T69"/>
                <a:gd fmla="*/ 4 w 42" name="T70"/>
                <a:gd fmla="*/ 12 h 44" name="T71"/>
                <a:gd fmla="*/ 8 w 42" name="T72"/>
                <a:gd fmla="*/ 8 h 44" name="T73"/>
                <a:gd fmla="*/ 12 w 42" name="T74"/>
                <a:gd fmla="*/ 4 h 44" name="T75"/>
                <a:gd fmla="*/ 14 w 42" name="T76"/>
                <a:gd fmla="*/ 4 h 44" name="T77"/>
                <a:gd fmla="*/ 16 w 42" name="T78"/>
                <a:gd fmla="*/ 2 h 44" name="T79"/>
                <a:gd fmla="*/ 20 w 42" name="T80"/>
                <a:gd fmla="*/ 0 h 44" name="T81"/>
                <a:gd fmla="*/ 26 w 42" name="T82"/>
                <a:gd fmla="*/ 0 h 44"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44" w="42">
                  <a:moveTo>
                    <a:pt x="26" y="0"/>
                  </a:moveTo>
                  <a:lnTo>
                    <a:pt x="26" y="2"/>
                  </a:lnTo>
                  <a:lnTo>
                    <a:pt x="26" y="2"/>
                  </a:lnTo>
                  <a:lnTo>
                    <a:pt x="26" y="4"/>
                  </a:lnTo>
                  <a:lnTo>
                    <a:pt x="28" y="6"/>
                  </a:lnTo>
                  <a:lnTo>
                    <a:pt x="32" y="10"/>
                  </a:lnTo>
                  <a:lnTo>
                    <a:pt x="36" y="14"/>
                  </a:lnTo>
                  <a:lnTo>
                    <a:pt x="42" y="22"/>
                  </a:lnTo>
                  <a:lnTo>
                    <a:pt x="40" y="22"/>
                  </a:lnTo>
                  <a:lnTo>
                    <a:pt x="40" y="24"/>
                  </a:lnTo>
                  <a:lnTo>
                    <a:pt x="38" y="28"/>
                  </a:lnTo>
                  <a:lnTo>
                    <a:pt x="36" y="30"/>
                  </a:lnTo>
                  <a:lnTo>
                    <a:pt x="34" y="30"/>
                  </a:lnTo>
                  <a:lnTo>
                    <a:pt x="34" y="30"/>
                  </a:lnTo>
                  <a:lnTo>
                    <a:pt x="30" y="30"/>
                  </a:lnTo>
                  <a:lnTo>
                    <a:pt x="28" y="32"/>
                  </a:lnTo>
                  <a:lnTo>
                    <a:pt x="24" y="32"/>
                  </a:lnTo>
                  <a:lnTo>
                    <a:pt x="22" y="32"/>
                  </a:lnTo>
                  <a:lnTo>
                    <a:pt x="22" y="32"/>
                  </a:lnTo>
                  <a:lnTo>
                    <a:pt x="20" y="34"/>
                  </a:lnTo>
                  <a:lnTo>
                    <a:pt x="18" y="36"/>
                  </a:lnTo>
                  <a:lnTo>
                    <a:pt x="16" y="38"/>
                  </a:lnTo>
                  <a:lnTo>
                    <a:pt x="16" y="38"/>
                  </a:lnTo>
                  <a:lnTo>
                    <a:pt x="14" y="40"/>
                  </a:lnTo>
                  <a:lnTo>
                    <a:pt x="12" y="42"/>
                  </a:lnTo>
                  <a:lnTo>
                    <a:pt x="10" y="42"/>
                  </a:lnTo>
                  <a:lnTo>
                    <a:pt x="10" y="42"/>
                  </a:lnTo>
                  <a:lnTo>
                    <a:pt x="8" y="44"/>
                  </a:lnTo>
                  <a:lnTo>
                    <a:pt x="4" y="44"/>
                  </a:lnTo>
                  <a:lnTo>
                    <a:pt x="2" y="44"/>
                  </a:lnTo>
                  <a:lnTo>
                    <a:pt x="0" y="44"/>
                  </a:lnTo>
                  <a:lnTo>
                    <a:pt x="2" y="36"/>
                  </a:lnTo>
                  <a:lnTo>
                    <a:pt x="2" y="20"/>
                  </a:lnTo>
                  <a:lnTo>
                    <a:pt x="2" y="20"/>
                  </a:lnTo>
                  <a:lnTo>
                    <a:pt x="4" y="16"/>
                  </a:lnTo>
                  <a:lnTo>
                    <a:pt x="4" y="12"/>
                  </a:lnTo>
                  <a:lnTo>
                    <a:pt x="8" y="8"/>
                  </a:lnTo>
                  <a:lnTo>
                    <a:pt x="12" y="4"/>
                  </a:lnTo>
                  <a:lnTo>
                    <a:pt x="14" y="4"/>
                  </a:lnTo>
                  <a:lnTo>
                    <a:pt x="16" y="2"/>
                  </a:lnTo>
                  <a:lnTo>
                    <a:pt x="20" y="0"/>
                  </a:lnTo>
                  <a:lnTo>
                    <a:pt x="2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7" name="Freeform 434"/>
            <p:cNvSpPr/>
            <p:nvPr/>
          </p:nvSpPr>
          <p:spPr bwMode="gray">
            <a:xfrm>
              <a:off x="1609042" y="3906715"/>
              <a:ext cx="499877" cy="429235"/>
            </a:xfrm>
            <a:custGeom>
              <a:gdLst>
                <a:gd fmla="*/ 34 w 270" name="T0"/>
                <a:gd fmla="*/ 8 h 232" name="T1"/>
                <a:gd fmla="*/ 42 w 270" name="T2"/>
                <a:gd fmla="*/ 24 h 232" name="T3"/>
                <a:gd fmla="*/ 36 w 270" name="T4"/>
                <a:gd fmla="*/ 30 h 232" name="T5"/>
                <a:gd fmla="*/ 30 w 270" name="T6"/>
                <a:gd fmla="*/ 36 h 232" name="T7"/>
                <a:gd fmla="*/ 26 w 270" name="T8"/>
                <a:gd fmla="*/ 40 h 232" name="T9"/>
                <a:gd fmla="*/ 0 w 270" name="T10"/>
                <a:gd fmla="*/ 40 h 232" name="T11"/>
                <a:gd fmla="*/ 6 w 270" name="T12"/>
                <a:gd fmla="*/ 56 h 232" name="T13"/>
                <a:gd fmla="*/ 8 w 270" name="T14"/>
                <a:gd fmla="*/ 60 h 232" name="T15"/>
                <a:gd fmla="*/ 12 w 270" name="T16"/>
                <a:gd fmla="*/ 68 h 232" name="T17"/>
                <a:gd fmla="*/ 18 w 270" name="T18"/>
                <a:gd fmla="*/ 78 h 232" name="T19"/>
                <a:gd fmla="*/ 26 w 270" name="T20"/>
                <a:gd fmla="*/ 90 h 232" name="T21"/>
                <a:gd fmla="*/ 38 w 270" name="T22"/>
                <a:gd fmla="*/ 110 h 232" name="T23"/>
                <a:gd fmla="*/ 42 w 270" name="T24"/>
                <a:gd fmla="*/ 118 h 232" name="T25"/>
                <a:gd fmla="*/ 52 w 270" name="T26"/>
                <a:gd fmla="*/ 140 h 232" name="T27"/>
                <a:gd fmla="*/ 68 w 270" name="T28"/>
                <a:gd fmla="*/ 170 h 232" name="T29"/>
                <a:gd fmla="*/ 80 w 270" name="T30"/>
                <a:gd fmla="*/ 188 h 232" name="T31"/>
                <a:gd fmla="*/ 92 w 270" name="T32"/>
                <a:gd fmla="*/ 212 h 232" name="T33"/>
                <a:gd fmla="*/ 96 w 270" name="T34"/>
                <a:gd fmla="*/ 212 h 232" name="T35"/>
                <a:gd fmla="*/ 100 w 270" name="T36"/>
                <a:gd fmla="*/ 210 h 232" name="T37"/>
                <a:gd fmla="*/ 104 w 270" name="T38"/>
                <a:gd fmla="*/ 206 h 232" name="T39"/>
                <a:gd fmla="*/ 104 w 270" name="T40"/>
                <a:gd fmla="*/ 202 h 232" name="T41"/>
                <a:gd fmla="*/ 106 w 270" name="T42"/>
                <a:gd fmla="*/ 204 h 232" name="T43"/>
                <a:gd fmla="*/ 110 w 270" name="T44"/>
                <a:gd fmla="*/ 204 h 232" name="T45"/>
                <a:gd fmla="*/ 136 w 270" name="T46"/>
                <a:gd fmla="*/ 232 h 232" name="T47"/>
                <a:gd fmla="*/ 140 w 270" name="T48"/>
                <a:gd fmla="*/ 228 h 232" name="T49"/>
                <a:gd fmla="*/ 146 w 270" name="T50"/>
                <a:gd fmla="*/ 220 h 232" name="T51"/>
                <a:gd fmla="*/ 152 w 270" name="T52"/>
                <a:gd fmla="*/ 212 h 232" name="T53"/>
                <a:gd fmla="*/ 158 w 270" name="T54"/>
                <a:gd fmla="*/ 204 h 232" name="T55"/>
                <a:gd fmla="*/ 166 w 270" name="T56"/>
                <a:gd fmla="*/ 200 h 232" name="T57"/>
                <a:gd fmla="*/ 194 w 270" name="T58"/>
                <a:gd fmla="*/ 188 h 232" name="T59"/>
                <a:gd fmla="*/ 220 w 270" name="T60"/>
                <a:gd fmla="*/ 184 h 232" name="T61"/>
                <a:gd fmla="*/ 224 w 270" name="T62"/>
                <a:gd fmla="*/ 182 h 232" name="T63"/>
                <a:gd fmla="*/ 248 w 270" name="T64"/>
                <a:gd fmla="*/ 170 h 232" name="T65"/>
                <a:gd fmla="*/ 268 w 270" name="T66"/>
                <a:gd fmla="*/ 148 h 232" name="T67"/>
                <a:gd fmla="*/ 268 w 270" name="T68"/>
                <a:gd fmla="*/ 132 h 232" name="T69"/>
                <a:gd fmla="*/ 268 w 270" name="T70"/>
                <a:gd fmla="*/ 126 h 232" name="T71"/>
                <a:gd fmla="*/ 270 w 270" name="T72"/>
                <a:gd fmla="*/ 122 h 232" name="T73"/>
                <a:gd fmla="*/ 234 w 270" name="T74"/>
                <a:gd fmla="*/ 124 h 232" name="T75"/>
                <a:gd fmla="*/ 232 w 270" name="T76"/>
                <a:gd fmla="*/ 122 h 232" name="T77"/>
                <a:gd fmla="*/ 228 w 270" name="T78"/>
                <a:gd fmla="*/ 120 h 232" name="T79"/>
                <a:gd fmla="*/ 228 w 270" name="T80"/>
                <a:gd fmla="*/ 116 h 232" name="T81"/>
                <a:gd fmla="*/ 220 w 270" name="T82"/>
                <a:gd fmla="*/ 108 h 232" name="T83"/>
                <a:gd fmla="*/ 216 w 270" name="T84"/>
                <a:gd fmla="*/ 110 h 232" name="T85"/>
                <a:gd fmla="*/ 210 w 270" name="T86"/>
                <a:gd fmla="*/ 110 h 232" name="T87"/>
                <a:gd fmla="*/ 206 w 270" name="T88"/>
                <a:gd fmla="*/ 106 h 232" name="T89"/>
                <a:gd fmla="*/ 202 w 270" name="T90"/>
                <a:gd fmla="*/ 98 h 232" name="T91"/>
                <a:gd fmla="*/ 196 w 270" name="T92"/>
                <a:gd fmla="*/ 88 h 232" name="T93"/>
                <a:gd fmla="*/ 192 w 270" name="T94"/>
                <a:gd fmla="*/ 80 h 232" name="T95"/>
                <a:gd fmla="*/ 172 w 270" name="T96"/>
                <a:gd fmla="*/ 54 h 232" name="T97"/>
                <a:gd fmla="*/ 154 w 270" name="T98"/>
                <a:gd fmla="*/ 52 h 232" name="T99"/>
                <a:gd fmla="*/ 150 w 270" name="T100"/>
                <a:gd fmla="*/ 48 h 232" name="T101"/>
                <a:gd fmla="*/ 144 w 270" name="T102"/>
                <a:gd fmla="*/ 46 h 232" name="T103"/>
                <a:gd fmla="*/ 138 w 270" name="T104"/>
                <a:gd fmla="*/ 40 h 232" name="T105"/>
                <a:gd fmla="*/ 130 w 270" name="T106"/>
                <a:gd fmla="*/ 34 h 232" name="T107"/>
                <a:gd fmla="*/ 120 w 270" name="T108"/>
                <a:gd fmla="*/ 28 h 232" name="T109"/>
                <a:gd fmla="*/ 102 w 270" name="T110"/>
                <a:gd fmla="*/ 16 h 232" name="T111"/>
                <a:gd fmla="*/ 68 w 270" name="T112"/>
                <a:gd fmla="*/ 4 h 232" name="T113"/>
                <a:gd fmla="*/ 62 w 270" name="T114"/>
                <a:gd fmla="*/ 0 h 232" name="T115"/>
                <a:gd fmla="*/ 58 w 270" name="T116"/>
                <a:gd fmla="*/ 2 h 232"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231" w="270">
                  <a:moveTo>
                    <a:pt x="54" y="4"/>
                  </a:moveTo>
                  <a:lnTo>
                    <a:pt x="34" y="8"/>
                  </a:lnTo>
                  <a:lnTo>
                    <a:pt x="42" y="22"/>
                  </a:lnTo>
                  <a:lnTo>
                    <a:pt x="42" y="24"/>
                  </a:lnTo>
                  <a:lnTo>
                    <a:pt x="40" y="26"/>
                  </a:lnTo>
                  <a:lnTo>
                    <a:pt x="36" y="30"/>
                  </a:lnTo>
                  <a:lnTo>
                    <a:pt x="34" y="34"/>
                  </a:lnTo>
                  <a:lnTo>
                    <a:pt x="30" y="36"/>
                  </a:lnTo>
                  <a:lnTo>
                    <a:pt x="28" y="38"/>
                  </a:lnTo>
                  <a:lnTo>
                    <a:pt x="26" y="40"/>
                  </a:lnTo>
                  <a:lnTo>
                    <a:pt x="24" y="42"/>
                  </a:lnTo>
                  <a:lnTo>
                    <a:pt x="0" y="40"/>
                  </a:lnTo>
                  <a:lnTo>
                    <a:pt x="2" y="46"/>
                  </a:lnTo>
                  <a:lnTo>
                    <a:pt x="6" y="56"/>
                  </a:lnTo>
                  <a:lnTo>
                    <a:pt x="6" y="58"/>
                  </a:lnTo>
                  <a:lnTo>
                    <a:pt x="8" y="60"/>
                  </a:lnTo>
                  <a:lnTo>
                    <a:pt x="10" y="64"/>
                  </a:lnTo>
                  <a:lnTo>
                    <a:pt x="12" y="68"/>
                  </a:lnTo>
                  <a:lnTo>
                    <a:pt x="16" y="74"/>
                  </a:lnTo>
                  <a:lnTo>
                    <a:pt x="18" y="78"/>
                  </a:lnTo>
                  <a:lnTo>
                    <a:pt x="22" y="82"/>
                  </a:lnTo>
                  <a:lnTo>
                    <a:pt x="26" y="90"/>
                  </a:lnTo>
                  <a:lnTo>
                    <a:pt x="34" y="100"/>
                  </a:lnTo>
                  <a:lnTo>
                    <a:pt x="38" y="110"/>
                  </a:lnTo>
                  <a:lnTo>
                    <a:pt x="42" y="114"/>
                  </a:lnTo>
                  <a:lnTo>
                    <a:pt x="42" y="118"/>
                  </a:lnTo>
                  <a:lnTo>
                    <a:pt x="46" y="128"/>
                  </a:lnTo>
                  <a:lnTo>
                    <a:pt x="52" y="140"/>
                  </a:lnTo>
                  <a:lnTo>
                    <a:pt x="58" y="152"/>
                  </a:lnTo>
                  <a:lnTo>
                    <a:pt x="68" y="170"/>
                  </a:lnTo>
                  <a:lnTo>
                    <a:pt x="72" y="176"/>
                  </a:lnTo>
                  <a:lnTo>
                    <a:pt x="80" y="188"/>
                  </a:lnTo>
                  <a:lnTo>
                    <a:pt x="86" y="202"/>
                  </a:lnTo>
                  <a:lnTo>
                    <a:pt x="92" y="212"/>
                  </a:lnTo>
                  <a:lnTo>
                    <a:pt x="94" y="216"/>
                  </a:lnTo>
                  <a:lnTo>
                    <a:pt x="96" y="212"/>
                  </a:lnTo>
                  <a:lnTo>
                    <a:pt x="98" y="212"/>
                  </a:lnTo>
                  <a:lnTo>
                    <a:pt x="100" y="210"/>
                  </a:lnTo>
                  <a:lnTo>
                    <a:pt x="102" y="210"/>
                  </a:lnTo>
                  <a:lnTo>
                    <a:pt x="104" y="206"/>
                  </a:lnTo>
                  <a:lnTo>
                    <a:pt x="104" y="202"/>
                  </a:lnTo>
                  <a:lnTo>
                    <a:pt x="104" y="202"/>
                  </a:lnTo>
                  <a:lnTo>
                    <a:pt x="104" y="202"/>
                  </a:lnTo>
                  <a:lnTo>
                    <a:pt x="106" y="204"/>
                  </a:lnTo>
                  <a:lnTo>
                    <a:pt x="108" y="204"/>
                  </a:lnTo>
                  <a:lnTo>
                    <a:pt x="110" y="204"/>
                  </a:lnTo>
                  <a:lnTo>
                    <a:pt x="114" y="204"/>
                  </a:lnTo>
                  <a:lnTo>
                    <a:pt x="136" y="232"/>
                  </a:lnTo>
                  <a:lnTo>
                    <a:pt x="140" y="228"/>
                  </a:lnTo>
                  <a:lnTo>
                    <a:pt x="140" y="228"/>
                  </a:lnTo>
                  <a:lnTo>
                    <a:pt x="142" y="224"/>
                  </a:lnTo>
                  <a:lnTo>
                    <a:pt x="146" y="220"/>
                  </a:lnTo>
                  <a:lnTo>
                    <a:pt x="148" y="216"/>
                  </a:lnTo>
                  <a:lnTo>
                    <a:pt x="152" y="212"/>
                  </a:lnTo>
                  <a:lnTo>
                    <a:pt x="156" y="206"/>
                  </a:lnTo>
                  <a:lnTo>
                    <a:pt x="158" y="204"/>
                  </a:lnTo>
                  <a:lnTo>
                    <a:pt x="160" y="202"/>
                  </a:lnTo>
                  <a:lnTo>
                    <a:pt x="166" y="200"/>
                  </a:lnTo>
                  <a:lnTo>
                    <a:pt x="178" y="194"/>
                  </a:lnTo>
                  <a:lnTo>
                    <a:pt x="194" y="188"/>
                  </a:lnTo>
                  <a:lnTo>
                    <a:pt x="208" y="184"/>
                  </a:lnTo>
                  <a:lnTo>
                    <a:pt x="220" y="184"/>
                  </a:lnTo>
                  <a:lnTo>
                    <a:pt x="220" y="182"/>
                  </a:lnTo>
                  <a:lnTo>
                    <a:pt x="224" y="182"/>
                  </a:lnTo>
                  <a:lnTo>
                    <a:pt x="236" y="178"/>
                  </a:lnTo>
                  <a:lnTo>
                    <a:pt x="248" y="170"/>
                  </a:lnTo>
                  <a:lnTo>
                    <a:pt x="260" y="160"/>
                  </a:lnTo>
                  <a:lnTo>
                    <a:pt x="268" y="148"/>
                  </a:lnTo>
                  <a:lnTo>
                    <a:pt x="270" y="132"/>
                  </a:lnTo>
                  <a:lnTo>
                    <a:pt x="268" y="132"/>
                  </a:lnTo>
                  <a:lnTo>
                    <a:pt x="268" y="130"/>
                  </a:lnTo>
                  <a:lnTo>
                    <a:pt x="268" y="126"/>
                  </a:lnTo>
                  <a:lnTo>
                    <a:pt x="268" y="124"/>
                  </a:lnTo>
                  <a:lnTo>
                    <a:pt x="270" y="122"/>
                  </a:lnTo>
                  <a:lnTo>
                    <a:pt x="254" y="124"/>
                  </a:lnTo>
                  <a:lnTo>
                    <a:pt x="234" y="124"/>
                  </a:lnTo>
                  <a:lnTo>
                    <a:pt x="234" y="124"/>
                  </a:lnTo>
                  <a:lnTo>
                    <a:pt x="232" y="122"/>
                  </a:lnTo>
                  <a:lnTo>
                    <a:pt x="230" y="122"/>
                  </a:lnTo>
                  <a:lnTo>
                    <a:pt x="228" y="120"/>
                  </a:lnTo>
                  <a:lnTo>
                    <a:pt x="228" y="118"/>
                  </a:lnTo>
                  <a:lnTo>
                    <a:pt x="228" y="116"/>
                  </a:lnTo>
                  <a:lnTo>
                    <a:pt x="230" y="110"/>
                  </a:lnTo>
                  <a:lnTo>
                    <a:pt x="220" y="108"/>
                  </a:lnTo>
                  <a:lnTo>
                    <a:pt x="218" y="108"/>
                  </a:lnTo>
                  <a:lnTo>
                    <a:pt x="216" y="110"/>
                  </a:lnTo>
                  <a:lnTo>
                    <a:pt x="214" y="110"/>
                  </a:lnTo>
                  <a:lnTo>
                    <a:pt x="210" y="110"/>
                  </a:lnTo>
                  <a:lnTo>
                    <a:pt x="206" y="108"/>
                  </a:lnTo>
                  <a:lnTo>
                    <a:pt x="206" y="106"/>
                  </a:lnTo>
                  <a:lnTo>
                    <a:pt x="204" y="102"/>
                  </a:lnTo>
                  <a:lnTo>
                    <a:pt x="202" y="98"/>
                  </a:lnTo>
                  <a:lnTo>
                    <a:pt x="200" y="92"/>
                  </a:lnTo>
                  <a:lnTo>
                    <a:pt x="196" y="88"/>
                  </a:lnTo>
                  <a:lnTo>
                    <a:pt x="194" y="84"/>
                  </a:lnTo>
                  <a:lnTo>
                    <a:pt x="192" y="80"/>
                  </a:lnTo>
                  <a:lnTo>
                    <a:pt x="192" y="80"/>
                  </a:lnTo>
                  <a:lnTo>
                    <a:pt x="172" y="54"/>
                  </a:lnTo>
                  <a:lnTo>
                    <a:pt x="154" y="54"/>
                  </a:lnTo>
                  <a:lnTo>
                    <a:pt x="154" y="52"/>
                  </a:lnTo>
                  <a:lnTo>
                    <a:pt x="152" y="50"/>
                  </a:lnTo>
                  <a:lnTo>
                    <a:pt x="150" y="48"/>
                  </a:lnTo>
                  <a:lnTo>
                    <a:pt x="144" y="46"/>
                  </a:lnTo>
                  <a:lnTo>
                    <a:pt x="144" y="46"/>
                  </a:lnTo>
                  <a:lnTo>
                    <a:pt x="142" y="44"/>
                  </a:lnTo>
                  <a:lnTo>
                    <a:pt x="138" y="40"/>
                  </a:lnTo>
                  <a:lnTo>
                    <a:pt x="134" y="38"/>
                  </a:lnTo>
                  <a:lnTo>
                    <a:pt x="130" y="34"/>
                  </a:lnTo>
                  <a:lnTo>
                    <a:pt x="124" y="30"/>
                  </a:lnTo>
                  <a:lnTo>
                    <a:pt x="120" y="28"/>
                  </a:lnTo>
                  <a:lnTo>
                    <a:pt x="114" y="26"/>
                  </a:lnTo>
                  <a:lnTo>
                    <a:pt x="102" y="16"/>
                  </a:lnTo>
                  <a:lnTo>
                    <a:pt x="94" y="16"/>
                  </a:lnTo>
                  <a:lnTo>
                    <a:pt x="68" y="4"/>
                  </a:lnTo>
                  <a:lnTo>
                    <a:pt x="62" y="0"/>
                  </a:lnTo>
                  <a:lnTo>
                    <a:pt x="62" y="0"/>
                  </a:lnTo>
                  <a:lnTo>
                    <a:pt x="60" y="2"/>
                  </a:lnTo>
                  <a:lnTo>
                    <a:pt x="58" y="2"/>
                  </a:lnTo>
                  <a:lnTo>
                    <a:pt x="54" y="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8" name="Freeform 435"/>
            <p:cNvSpPr/>
            <p:nvPr/>
          </p:nvSpPr>
          <p:spPr bwMode="gray">
            <a:xfrm>
              <a:off x="1783073" y="4280445"/>
              <a:ext cx="77759" cy="122110"/>
            </a:xfrm>
            <a:custGeom>
              <a:gdLst>
                <a:gd fmla="*/ 20 w 42" name="T0"/>
                <a:gd fmla="*/ 66 h 66" name="T1"/>
                <a:gd fmla="*/ 16 w 42" name="T2"/>
                <a:gd fmla="*/ 64 h 66" name="T3"/>
                <a:gd fmla="*/ 12 w 42" name="T4"/>
                <a:gd fmla="*/ 62 h 66" name="T5"/>
                <a:gd fmla="*/ 10 w 42" name="T6"/>
                <a:gd fmla="*/ 62 h 66" name="T7"/>
                <a:gd fmla="*/ 10 w 42" name="T8"/>
                <a:gd fmla="*/ 60 h 66" name="T9"/>
                <a:gd fmla="*/ 8 w 42" name="T10"/>
                <a:gd fmla="*/ 46 h 66" name="T11"/>
                <a:gd fmla="*/ 2 w 42" name="T12"/>
                <a:gd fmla="*/ 38 h 66" name="T13"/>
                <a:gd fmla="*/ 2 w 42" name="T14"/>
                <a:gd fmla="*/ 36 h 66" name="T15"/>
                <a:gd fmla="*/ 2 w 42" name="T16"/>
                <a:gd fmla="*/ 32 h 66" name="T17"/>
                <a:gd fmla="*/ 2 w 42" name="T18"/>
                <a:gd fmla="*/ 26 h 66" name="T19"/>
                <a:gd fmla="*/ 2 w 42" name="T20"/>
                <a:gd fmla="*/ 20 h 66" name="T21"/>
                <a:gd fmla="*/ 0 w 42" name="T22"/>
                <a:gd fmla="*/ 14 h 66" name="T23"/>
                <a:gd fmla="*/ 0 w 42" name="T24"/>
                <a:gd fmla="*/ 14 h 66" name="T25"/>
                <a:gd fmla="*/ 2 w 42" name="T26"/>
                <a:gd fmla="*/ 12 h 66" name="T27"/>
                <a:gd fmla="*/ 4 w 42" name="T28"/>
                <a:gd fmla="*/ 10 h 66" name="T29"/>
                <a:gd fmla="*/ 6 w 42" name="T30"/>
                <a:gd fmla="*/ 8 h 66" name="T31"/>
                <a:gd fmla="*/ 8 w 42" name="T32"/>
                <a:gd fmla="*/ 8 h 66" name="T33"/>
                <a:gd fmla="*/ 8 w 42" name="T34"/>
                <a:gd fmla="*/ 8 h 66" name="T35"/>
                <a:gd fmla="*/ 8 w 42" name="T36"/>
                <a:gd fmla="*/ 6 h 66" name="T37"/>
                <a:gd fmla="*/ 10 w 42" name="T38"/>
                <a:gd fmla="*/ 4 h 66" name="T39"/>
                <a:gd fmla="*/ 10 w 42" name="T40"/>
                <a:gd fmla="*/ 2 h 66" name="T41"/>
                <a:gd fmla="*/ 10 w 42" name="T42"/>
                <a:gd fmla="*/ 2 h 66" name="T43"/>
                <a:gd fmla="*/ 10 w 42" name="T44"/>
                <a:gd fmla="*/ 0 h 66" name="T45"/>
                <a:gd fmla="*/ 10 w 42" name="T46"/>
                <a:gd fmla="*/ 0 h 66" name="T47"/>
                <a:gd fmla="*/ 14 w 42" name="T48"/>
                <a:gd fmla="*/ 2 h 66" name="T49"/>
                <a:gd fmla="*/ 14 w 42" name="T50"/>
                <a:gd fmla="*/ 2 h 66" name="T51"/>
                <a:gd fmla="*/ 18 w 42" name="T52"/>
                <a:gd fmla="*/ 2 h 66" name="T53"/>
                <a:gd fmla="*/ 20 w 42" name="T54"/>
                <a:gd fmla="*/ 2 h 66" name="T55"/>
                <a:gd fmla="*/ 42 w 42" name="T56"/>
                <a:gd fmla="*/ 30 h 66" name="T57"/>
                <a:gd fmla="*/ 42 w 42" name="T58"/>
                <a:gd fmla="*/ 30 h 66" name="T59"/>
                <a:gd fmla="*/ 40 w 42" name="T60"/>
                <a:gd fmla="*/ 32 h 66" name="T61"/>
                <a:gd fmla="*/ 38 w 42" name="T62"/>
                <a:gd fmla="*/ 34 h 66" name="T63"/>
                <a:gd fmla="*/ 38 w 42" name="T64"/>
                <a:gd fmla="*/ 36 h 66" name="T65"/>
                <a:gd fmla="*/ 38 w 42" name="T66"/>
                <a:gd fmla="*/ 40 h 66" name="T67"/>
                <a:gd fmla="*/ 40 w 42" name="T68"/>
                <a:gd fmla="*/ 40 h 66" name="T69"/>
                <a:gd fmla="*/ 40 w 42" name="T70"/>
                <a:gd fmla="*/ 42 h 66" name="T71"/>
                <a:gd fmla="*/ 40 w 42" name="T72"/>
                <a:gd fmla="*/ 44 h 66" name="T73"/>
                <a:gd fmla="*/ 40 w 42" name="T74"/>
                <a:gd fmla="*/ 46 h 66" name="T75"/>
                <a:gd fmla="*/ 40 w 42" name="T76"/>
                <a:gd fmla="*/ 48 h 66" name="T77"/>
                <a:gd fmla="*/ 38 w 42" name="T78"/>
                <a:gd fmla="*/ 48 h 66" name="T79"/>
                <a:gd fmla="*/ 36 w 42" name="T80"/>
                <a:gd fmla="*/ 48 h 66" name="T81"/>
                <a:gd fmla="*/ 36 w 42" name="T82"/>
                <a:gd fmla="*/ 48 h 66" name="T83"/>
                <a:gd fmla="*/ 34 w 42" name="T84"/>
                <a:gd fmla="*/ 48 h 66" name="T85"/>
                <a:gd fmla="*/ 34 w 42" name="T86"/>
                <a:gd fmla="*/ 50 h 66" name="T87"/>
                <a:gd fmla="*/ 32 w 42" name="T88"/>
                <a:gd fmla="*/ 52 h 66" name="T89"/>
                <a:gd fmla="*/ 30 w 42" name="T90"/>
                <a:gd fmla="*/ 54 h 66" name="T91"/>
                <a:gd fmla="*/ 28 w 42" name="T92"/>
                <a:gd fmla="*/ 56 h 66" name="T93"/>
                <a:gd fmla="*/ 28 w 42" name="T94"/>
                <a:gd fmla="*/ 56 h 66" name="T95"/>
                <a:gd fmla="*/ 30 w 42" name="T96"/>
                <a:gd fmla="*/ 60 h 66" name="T97"/>
                <a:gd fmla="*/ 28 w 42" name="T98"/>
                <a:gd fmla="*/ 62 h 66" name="T99"/>
                <a:gd fmla="*/ 28 w 42" name="T100"/>
                <a:gd fmla="*/ 62 h 66" name="T101"/>
                <a:gd fmla="*/ 26 w 42" name="T102"/>
                <a:gd fmla="*/ 60 h 66" name="T103"/>
                <a:gd fmla="*/ 24 w 42" name="T104"/>
                <a:gd fmla="*/ 60 h 66" name="T105"/>
                <a:gd fmla="*/ 24 w 42" name="T106"/>
                <a:gd fmla="*/ 62 h 66" name="T107"/>
                <a:gd fmla="*/ 22 w 42" name="T108"/>
                <a:gd fmla="*/ 64 h 66" name="T109"/>
                <a:gd fmla="*/ 20 w 42" name="T110"/>
                <a:gd fmla="*/ 66 h 66" name="T111"/>
                <a:gd fmla="*/ 20 w 42" name="T112"/>
                <a:gd fmla="*/ 66 h 66"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66" w="42">
                  <a:moveTo>
                    <a:pt x="20" y="66"/>
                  </a:moveTo>
                  <a:lnTo>
                    <a:pt x="16" y="64"/>
                  </a:lnTo>
                  <a:lnTo>
                    <a:pt x="12" y="62"/>
                  </a:lnTo>
                  <a:lnTo>
                    <a:pt x="10" y="62"/>
                  </a:lnTo>
                  <a:lnTo>
                    <a:pt x="10" y="60"/>
                  </a:lnTo>
                  <a:lnTo>
                    <a:pt x="8" y="46"/>
                  </a:lnTo>
                  <a:lnTo>
                    <a:pt x="2" y="38"/>
                  </a:lnTo>
                  <a:lnTo>
                    <a:pt x="2" y="36"/>
                  </a:lnTo>
                  <a:lnTo>
                    <a:pt x="2" y="32"/>
                  </a:lnTo>
                  <a:lnTo>
                    <a:pt x="2" y="26"/>
                  </a:lnTo>
                  <a:lnTo>
                    <a:pt x="2" y="20"/>
                  </a:lnTo>
                  <a:lnTo>
                    <a:pt x="0" y="14"/>
                  </a:lnTo>
                  <a:lnTo>
                    <a:pt x="0" y="14"/>
                  </a:lnTo>
                  <a:lnTo>
                    <a:pt x="2" y="12"/>
                  </a:lnTo>
                  <a:lnTo>
                    <a:pt x="4" y="10"/>
                  </a:lnTo>
                  <a:lnTo>
                    <a:pt x="6" y="8"/>
                  </a:lnTo>
                  <a:lnTo>
                    <a:pt x="8" y="8"/>
                  </a:lnTo>
                  <a:lnTo>
                    <a:pt x="8" y="8"/>
                  </a:lnTo>
                  <a:lnTo>
                    <a:pt x="8" y="6"/>
                  </a:lnTo>
                  <a:lnTo>
                    <a:pt x="10" y="4"/>
                  </a:lnTo>
                  <a:lnTo>
                    <a:pt x="10" y="2"/>
                  </a:lnTo>
                  <a:lnTo>
                    <a:pt x="10" y="2"/>
                  </a:lnTo>
                  <a:lnTo>
                    <a:pt x="10" y="0"/>
                  </a:lnTo>
                  <a:lnTo>
                    <a:pt x="10" y="0"/>
                  </a:lnTo>
                  <a:lnTo>
                    <a:pt x="14" y="2"/>
                  </a:lnTo>
                  <a:lnTo>
                    <a:pt x="14" y="2"/>
                  </a:lnTo>
                  <a:lnTo>
                    <a:pt x="18" y="2"/>
                  </a:lnTo>
                  <a:lnTo>
                    <a:pt x="20" y="2"/>
                  </a:lnTo>
                  <a:lnTo>
                    <a:pt x="42" y="30"/>
                  </a:lnTo>
                  <a:lnTo>
                    <a:pt x="42" y="30"/>
                  </a:lnTo>
                  <a:lnTo>
                    <a:pt x="40" y="32"/>
                  </a:lnTo>
                  <a:lnTo>
                    <a:pt x="38" y="34"/>
                  </a:lnTo>
                  <a:lnTo>
                    <a:pt x="38" y="36"/>
                  </a:lnTo>
                  <a:lnTo>
                    <a:pt x="38" y="40"/>
                  </a:lnTo>
                  <a:lnTo>
                    <a:pt x="40" y="40"/>
                  </a:lnTo>
                  <a:lnTo>
                    <a:pt x="40" y="42"/>
                  </a:lnTo>
                  <a:lnTo>
                    <a:pt x="40" y="44"/>
                  </a:lnTo>
                  <a:lnTo>
                    <a:pt x="40" y="46"/>
                  </a:lnTo>
                  <a:lnTo>
                    <a:pt x="40" y="48"/>
                  </a:lnTo>
                  <a:lnTo>
                    <a:pt x="38" y="48"/>
                  </a:lnTo>
                  <a:lnTo>
                    <a:pt x="36" y="48"/>
                  </a:lnTo>
                  <a:lnTo>
                    <a:pt x="36" y="48"/>
                  </a:lnTo>
                  <a:lnTo>
                    <a:pt x="34" y="48"/>
                  </a:lnTo>
                  <a:lnTo>
                    <a:pt x="34" y="50"/>
                  </a:lnTo>
                  <a:lnTo>
                    <a:pt x="32" y="52"/>
                  </a:lnTo>
                  <a:lnTo>
                    <a:pt x="30" y="54"/>
                  </a:lnTo>
                  <a:lnTo>
                    <a:pt x="28" y="56"/>
                  </a:lnTo>
                  <a:lnTo>
                    <a:pt x="28" y="56"/>
                  </a:lnTo>
                  <a:lnTo>
                    <a:pt x="30" y="60"/>
                  </a:lnTo>
                  <a:lnTo>
                    <a:pt x="28" y="62"/>
                  </a:lnTo>
                  <a:lnTo>
                    <a:pt x="28" y="62"/>
                  </a:lnTo>
                  <a:lnTo>
                    <a:pt x="26" y="60"/>
                  </a:lnTo>
                  <a:lnTo>
                    <a:pt x="24" y="60"/>
                  </a:lnTo>
                  <a:lnTo>
                    <a:pt x="24" y="62"/>
                  </a:lnTo>
                  <a:lnTo>
                    <a:pt x="22" y="64"/>
                  </a:lnTo>
                  <a:lnTo>
                    <a:pt x="20" y="66"/>
                  </a:lnTo>
                  <a:lnTo>
                    <a:pt x="20" y="6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79" name="Freeform 436"/>
            <p:cNvSpPr/>
            <p:nvPr/>
          </p:nvSpPr>
          <p:spPr bwMode="gray">
            <a:xfrm>
              <a:off x="1820101" y="4247142"/>
              <a:ext cx="218465" cy="159113"/>
            </a:xfrm>
            <a:custGeom>
              <a:gdLst>
                <a:gd fmla="*/ 118 w 118" name="T0"/>
                <a:gd fmla="*/ 28 h 86" name="T1"/>
                <a:gd fmla="*/ 102 w 118" name="T2"/>
                <a:gd fmla="*/ 32 h 86" name="T3"/>
                <a:gd fmla="*/ 94 w 118" name="T4"/>
                <a:gd fmla="*/ 38 h 86" name="T5"/>
                <a:gd fmla="*/ 86 w 118" name="T6"/>
                <a:gd fmla="*/ 46 h 86" name="T7"/>
                <a:gd fmla="*/ 80 w 118" name="T8"/>
                <a:gd fmla="*/ 54 h 86" name="T9"/>
                <a:gd fmla="*/ 74 w 118" name="T10"/>
                <a:gd fmla="*/ 58 h 86" name="T11"/>
                <a:gd fmla="*/ 68 w 118" name="T12"/>
                <a:gd fmla="*/ 60 h 86" name="T13"/>
                <a:gd fmla="*/ 62 w 118" name="T14"/>
                <a:gd fmla="*/ 62 h 86" name="T15"/>
                <a:gd fmla="*/ 58 w 118" name="T16"/>
                <a:gd fmla="*/ 64 h 86" name="T17"/>
                <a:gd fmla="*/ 54 w 118" name="T18"/>
                <a:gd fmla="*/ 64 h 86" name="T19"/>
                <a:gd fmla="*/ 52 w 118" name="T20"/>
                <a:gd fmla="*/ 64 h 86" name="T21"/>
                <a:gd fmla="*/ 36 w 118" name="T22"/>
                <a:gd fmla="*/ 78 h 86" name="T23"/>
                <a:gd fmla="*/ 6 w 118" name="T24"/>
                <a:gd fmla="*/ 86 h 86" name="T25"/>
                <a:gd fmla="*/ 2 w 118" name="T26"/>
                <a:gd fmla="*/ 84 h 86" name="T27"/>
                <a:gd fmla="*/ 0 w 118" name="T28"/>
                <a:gd fmla="*/ 84 h 86" name="T29"/>
                <a:gd fmla="*/ 0 w 118" name="T30"/>
                <a:gd fmla="*/ 84 h 86" name="T31"/>
                <a:gd fmla="*/ 2 w 118" name="T32"/>
                <a:gd fmla="*/ 84 h 86" name="T33"/>
                <a:gd fmla="*/ 4 w 118" name="T34"/>
                <a:gd fmla="*/ 80 h 86" name="T35"/>
                <a:gd fmla="*/ 4 w 118" name="T36"/>
                <a:gd fmla="*/ 80 h 86" name="T37"/>
                <a:gd fmla="*/ 6 w 118" name="T38"/>
                <a:gd fmla="*/ 80 h 86" name="T39"/>
                <a:gd fmla="*/ 8 w 118" name="T40"/>
                <a:gd fmla="*/ 80 h 86" name="T41"/>
                <a:gd fmla="*/ 10 w 118" name="T42"/>
                <a:gd fmla="*/ 78 h 86" name="T43"/>
                <a:gd fmla="*/ 8 w 118" name="T44"/>
                <a:gd fmla="*/ 74 h 86" name="T45"/>
                <a:gd fmla="*/ 12 w 118" name="T46"/>
                <a:gd fmla="*/ 68 h 86" name="T47"/>
                <a:gd fmla="*/ 14 w 118" name="T48"/>
                <a:gd fmla="*/ 68 h 86" name="T49"/>
                <a:gd fmla="*/ 14 w 118" name="T50"/>
                <a:gd fmla="*/ 66 h 86" name="T51"/>
                <a:gd fmla="*/ 16 w 118" name="T52"/>
                <a:gd fmla="*/ 66 h 86" name="T53"/>
                <a:gd fmla="*/ 18 w 118" name="T54"/>
                <a:gd fmla="*/ 66 h 86" name="T55"/>
                <a:gd fmla="*/ 20 w 118" name="T56"/>
                <a:gd fmla="*/ 66 h 86" name="T57"/>
                <a:gd fmla="*/ 20 w 118" name="T58"/>
                <a:gd fmla="*/ 66 h 86" name="T59"/>
                <a:gd fmla="*/ 22 w 118" name="T60"/>
                <a:gd fmla="*/ 64 h 86" name="T61"/>
                <a:gd fmla="*/ 20 w 118" name="T62"/>
                <a:gd fmla="*/ 62 h 86" name="T63"/>
                <a:gd fmla="*/ 20 w 118" name="T64"/>
                <a:gd fmla="*/ 60 h 86" name="T65"/>
                <a:gd fmla="*/ 20 w 118" name="T66"/>
                <a:gd fmla="*/ 58 h 86" name="T67"/>
                <a:gd fmla="*/ 18 w 118" name="T68"/>
                <a:gd fmla="*/ 56 h 86" name="T69"/>
                <a:gd fmla="*/ 18 w 118" name="T70"/>
                <a:gd fmla="*/ 54 h 86" name="T71"/>
                <a:gd fmla="*/ 18 w 118" name="T72"/>
                <a:gd fmla="*/ 50 h 86" name="T73"/>
                <a:gd fmla="*/ 22 w 118" name="T74"/>
                <a:gd fmla="*/ 48 h 86" name="T75"/>
                <a:gd fmla="*/ 22 w 118" name="T76"/>
                <a:gd fmla="*/ 48 h 86" name="T77"/>
                <a:gd fmla="*/ 24 w 118" name="T78"/>
                <a:gd fmla="*/ 46 h 86" name="T79"/>
                <a:gd fmla="*/ 26 w 118" name="T80"/>
                <a:gd fmla="*/ 44 h 86" name="T81"/>
                <a:gd fmla="*/ 26 w 118" name="T82"/>
                <a:gd fmla="*/ 44 h 86" name="T83"/>
                <a:gd fmla="*/ 28 w 118" name="T84"/>
                <a:gd fmla="*/ 42 h 86" name="T85"/>
                <a:gd fmla="*/ 30 w 118" name="T86"/>
                <a:gd fmla="*/ 38 h 86" name="T87"/>
                <a:gd fmla="*/ 34 w 118" name="T88"/>
                <a:gd fmla="*/ 34 h 86" name="T89"/>
                <a:gd fmla="*/ 38 w 118" name="T90"/>
                <a:gd fmla="*/ 30 h 86" name="T91"/>
                <a:gd fmla="*/ 40 w 118" name="T92"/>
                <a:gd fmla="*/ 24 h 86" name="T93"/>
                <a:gd fmla="*/ 44 w 118" name="T94"/>
                <a:gd fmla="*/ 20 h 86" name="T95"/>
                <a:gd fmla="*/ 48 w 118" name="T96"/>
                <a:gd fmla="*/ 18 h 86" name="T97"/>
                <a:gd fmla="*/ 50 w 118" name="T98"/>
                <a:gd fmla="*/ 16 h 86" name="T99"/>
                <a:gd fmla="*/ 54 w 118" name="T100"/>
                <a:gd fmla="*/ 14 h 86" name="T101"/>
                <a:gd fmla="*/ 66 w 118" name="T102"/>
                <a:gd fmla="*/ 10 h 86" name="T103"/>
                <a:gd fmla="*/ 80 w 118" name="T104"/>
                <a:gd fmla="*/ 6 h 86" name="T105"/>
                <a:gd fmla="*/ 94 w 118" name="T106"/>
                <a:gd fmla="*/ 0 h 86" name="T107"/>
                <a:gd fmla="*/ 104 w 118" name="T108"/>
                <a:gd fmla="*/ 0 h 86" name="T109"/>
                <a:gd fmla="*/ 104 w 118" name="T110"/>
                <a:gd fmla="*/ 0 h 86" name="T111"/>
                <a:gd fmla="*/ 106 w 118" name="T112"/>
                <a:gd fmla="*/ 0 h 86" name="T113"/>
                <a:gd fmla="*/ 108 w 118" name="T114"/>
                <a:gd fmla="*/ 2 h 86" name="T115"/>
                <a:gd fmla="*/ 118 w 118" name="T116"/>
                <a:gd fmla="*/ 28 h 86"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86" w="118">
                  <a:moveTo>
                    <a:pt x="118" y="28"/>
                  </a:moveTo>
                  <a:lnTo>
                    <a:pt x="102" y="32"/>
                  </a:lnTo>
                  <a:lnTo>
                    <a:pt x="94" y="38"/>
                  </a:lnTo>
                  <a:lnTo>
                    <a:pt x="86" y="46"/>
                  </a:lnTo>
                  <a:lnTo>
                    <a:pt x="80" y="54"/>
                  </a:lnTo>
                  <a:lnTo>
                    <a:pt x="74" y="58"/>
                  </a:lnTo>
                  <a:lnTo>
                    <a:pt x="68" y="60"/>
                  </a:lnTo>
                  <a:lnTo>
                    <a:pt x="62" y="62"/>
                  </a:lnTo>
                  <a:lnTo>
                    <a:pt x="58" y="64"/>
                  </a:lnTo>
                  <a:lnTo>
                    <a:pt x="54" y="64"/>
                  </a:lnTo>
                  <a:lnTo>
                    <a:pt x="52" y="64"/>
                  </a:lnTo>
                  <a:lnTo>
                    <a:pt x="36" y="78"/>
                  </a:lnTo>
                  <a:lnTo>
                    <a:pt x="6" y="86"/>
                  </a:lnTo>
                  <a:lnTo>
                    <a:pt x="2" y="84"/>
                  </a:lnTo>
                  <a:lnTo>
                    <a:pt x="0" y="84"/>
                  </a:lnTo>
                  <a:lnTo>
                    <a:pt x="0" y="84"/>
                  </a:lnTo>
                  <a:lnTo>
                    <a:pt x="2" y="84"/>
                  </a:lnTo>
                  <a:lnTo>
                    <a:pt x="4" y="80"/>
                  </a:lnTo>
                  <a:lnTo>
                    <a:pt x="4" y="80"/>
                  </a:lnTo>
                  <a:lnTo>
                    <a:pt x="6" y="80"/>
                  </a:lnTo>
                  <a:lnTo>
                    <a:pt x="8" y="80"/>
                  </a:lnTo>
                  <a:lnTo>
                    <a:pt x="10" y="78"/>
                  </a:lnTo>
                  <a:lnTo>
                    <a:pt x="8" y="74"/>
                  </a:lnTo>
                  <a:lnTo>
                    <a:pt x="12" y="68"/>
                  </a:lnTo>
                  <a:lnTo>
                    <a:pt x="14" y="68"/>
                  </a:lnTo>
                  <a:lnTo>
                    <a:pt x="14" y="66"/>
                  </a:lnTo>
                  <a:lnTo>
                    <a:pt x="16" y="66"/>
                  </a:lnTo>
                  <a:lnTo>
                    <a:pt x="18" y="66"/>
                  </a:lnTo>
                  <a:lnTo>
                    <a:pt x="20" y="66"/>
                  </a:lnTo>
                  <a:lnTo>
                    <a:pt x="20" y="66"/>
                  </a:lnTo>
                  <a:lnTo>
                    <a:pt x="22" y="64"/>
                  </a:lnTo>
                  <a:lnTo>
                    <a:pt x="20" y="62"/>
                  </a:lnTo>
                  <a:lnTo>
                    <a:pt x="20" y="60"/>
                  </a:lnTo>
                  <a:lnTo>
                    <a:pt x="20" y="58"/>
                  </a:lnTo>
                  <a:lnTo>
                    <a:pt x="18" y="56"/>
                  </a:lnTo>
                  <a:lnTo>
                    <a:pt x="18" y="54"/>
                  </a:lnTo>
                  <a:lnTo>
                    <a:pt x="18" y="50"/>
                  </a:lnTo>
                  <a:lnTo>
                    <a:pt x="22" y="48"/>
                  </a:lnTo>
                  <a:lnTo>
                    <a:pt x="22" y="48"/>
                  </a:lnTo>
                  <a:lnTo>
                    <a:pt x="24" y="46"/>
                  </a:lnTo>
                  <a:lnTo>
                    <a:pt x="26" y="44"/>
                  </a:lnTo>
                  <a:lnTo>
                    <a:pt x="26" y="44"/>
                  </a:lnTo>
                  <a:lnTo>
                    <a:pt x="28" y="42"/>
                  </a:lnTo>
                  <a:lnTo>
                    <a:pt x="30" y="38"/>
                  </a:lnTo>
                  <a:lnTo>
                    <a:pt x="34" y="34"/>
                  </a:lnTo>
                  <a:lnTo>
                    <a:pt x="38" y="30"/>
                  </a:lnTo>
                  <a:lnTo>
                    <a:pt x="40" y="24"/>
                  </a:lnTo>
                  <a:lnTo>
                    <a:pt x="44" y="20"/>
                  </a:lnTo>
                  <a:lnTo>
                    <a:pt x="48" y="18"/>
                  </a:lnTo>
                  <a:lnTo>
                    <a:pt x="50" y="16"/>
                  </a:lnTo>
                  <a:lnTo>
                    <a:pt x="54" y="14"/>
                  </a:lnTo>
                  <a:lnTo>
                    <a:pt x="66" y="10"/>
                  </a:lnTo>
                  <a:lnTo>
                    <a:pt x="80" y="6"/>
                  </a:lnTo>
                  <a:lnTo>
                    <a:pt x="94" y="0"/>
                  </a:lnTo>
                  <a:lnTo>
                    <a:pt x="104" y="0"/>
                  </a:lnTo>
                  <a:lnTo>
                    <a:pt x="104" y="0"/>
                  </a:lnTo>
                  <a:lnTo>
                    <a:pt x="106" y="0"/>
                  </a:lnTo>
                  <a:lnTo>
                    <a:pt x="108" y="2"/>
                  </a:lnTo>
                  <a:lnTo>
                    <a:pt x="118" y="2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0" name="Freeform 437"/>
            <p:cNvSpPr/>
            <p:nvPr/>
          </p:nvSpPr>
          <p:spPr bwMode="gray">
            <a:xfrm>
              <a:off x="2016349" y="4110231"/>
              <a:ext cx="170328" cy="188715"/>
            </a:xfrm>
            <a:custGeom>
              <a:gdLst>
                <a:gd fmla="*/ 72 w 92" name="T0"/>
                <a:gd fmla="*/ 0 h 102" name="T1"/>
                <a:gd fmla="*/ 72 w 92" name="T2"/>
                <a:gd fmla="*/ 4 h 102" name="T3"/>
                <a:gd fmla="*/ 72 w 92" name="T4"/>
                <a:gd fmla="*/ 8 h 102" name="T5"/>
                <a:gd fmla="*/ 72 w 92" name="T6"/>
                <a:gd fmla="*/ 8 h 102" name="T7"/>
                <a:gd fmla="*/ 76 w 92" name="T8"/>
                <a:gd fmla="*/ 14 h 102" name="T9"/>
                <a:gd fmla="*/ 80 w 92" name="T10"/>
                <a:gd fmla="*/ 18 h 102" name="T11"/>
                <a:gd fmla="*/ 84 w 92" name="T12"/>
                <a:gd fmla="*/ 22 h 102" name="T13"/>
                <a:gd fmla="*/ 88 w 92" name="T14"/>
                <a:gd fmla="*/ 22 h 102" name="T15"/>
                <a:gd fmla="*/ 90 w 92" name="T16"/>
                <a:gd fmla="*/ 24 h 102" name="T17"/>
                <a:gd fmla="*/ 90 w 92" name="T18"/>
                <a:gd fmla="*/ 24 h 102" name="T19"/>
                <a:gd fmla="*/ 92 w 92" name="T20"/>
                <a:gd fmla="*/ 30 h 102" name="T21"/>
                <a:gd fmla="*/ 92 w 92" name="T22"/>
                <a:gd fmla="*/ 34 h 102" name="T23"/>
                <a:gd fmla="*/ 90 w 92" name="T24"/>
                <a:gd fmla="*/ 40 h 102" name="T25"/>
                <a:gd fmla="*/ 86 w 92" name="T26"/>
                <a:gd fmla="*/ 44 h 102" name="T27"/>
                <a:gd fmla="*/ 82 w 92" name="T28"/>
                <a:gd fmla="*/ 46 h 102" name="T29"/>
                <a:gd fmla="*/ 78 w 92" name="T30"/>
                <a:gd fmla="*/ 50 h 102" name="T31"/>
                <a:gd fmla="*/ 76 w 92" name="T32"/>
                <a:gd fmla="*/ 50 h 102" name="T33"/>
                <a:gd fmla="*/ 74 w 92" name="T34"/>
                <a:gd fmla="*/ 50 h 102" name="T35"/>
                <a:gd fmla="*/ 74 w 92" name="T36"/>
                <a:gd fmla="*/ 56 h 102" name="T37"/>
                <a:gd fmla="*/ 72 w 92" name="T38"/>
                <a:gd fmla="*/ 58 h 102" name="T39"/>
                <a:gd fmla="*/ 70 w 92" name="T40"/>
                <a:gd fmla="*/ 62 h 102" name="T41"/>
                <a:gd fmla="*/ 66 w 92" name="T42"/>
                <a:gd fmla="*/ 64 h 102" name="T43"/>
                <a:gd fmla="*/ 64 w 92" name="T44"/>
                <a:gd fmla="*/ 64 h 102" name="T45"/>
                <a:gd fmla="*/ 64 w 92" name="T46"/>
                <a:gd fmla="*/ 66 h 102" name="T47"/>
                <a:gd fmla="*/ 58 w 92" name="T48"/>
                <a:gd fmla="*/ 66 h 102" name="T49"/>
                <a:gd fmla="*/ 54 w 92" name="T50"/>
                <a:gd fmla="*/ 68 h 102" name="T51"/>
                <a:gd fmla="*/ 52 w 92" name="T52"/>
                <a:gd fmla="*/ 72 h 102" name="T53"/>
                <a:gd fmla="*/ 50 w 92" name="T54"/>
                <a:gd fmla="*/ 74 h 102" name="T55"/>
                <a:gd fmla="*/ 50 w 92" name="T56"/>
                <a:gd fmla="*/ 76 h 102" name="T57"/>
                <a:gd fmla="*/ 50 w 92" name="T58"/>
                <a:gd fmla="*/ 78 h 102" name="T59"/>
                <a:gd fmla="*/ 50 w 92" name="T60"/>
                <a:gd fmla="*/ 80 h 102" name="T61"/>
                <a:gd fmla="*/ 48 w 92" name="T62"/>
                <a:gd fmla="*/ 82 h 102" name="T63"/>
                <a:gd fmla="*/ 42 w 92" name="T64"/>
                <a:gd fmla="*/ 90 h 102" name="T65"/>
                <a:gd fmla="*/ 30 w 92" name="T66"/>
                <a:gd fmla="*/ 98 h 102" name="T67"/>
                <a:gd fmla="*/ 12 w 92" name="T68"/>
                <a:gd fmla="*/ 102 h 102" name="T69"/>
                <a:gd fmla="*/ 2 w 92" name="T70"/>
                <a:gd fmla="*/ 76 h 102" name="T71"/>
                <a:gd fmla="*/ 0 w 92" name="T72"/>
                <a:gd fmla="*/ 74 h 102" name="T73"/>
                <a:gd fmla="*/ 0 w 92" name="T74"/>
                <a:gd fmla="*/ 74 h 102" name="T75"/>
                <a:gd fmla="*/ 0 w 92" name="T76"/>
                <a:gd fmla="*/ 74 h 102" name="T77"/>
                <a:gd fmla="*/ 2 w 92" name="T78"/>
                <a:gd fmla="*/ 72 h 102" name="T79"/>
                <a:gd fmla="*/ 12 w 92" name="T80"/>
                <a:gd fmla="*/ 68 h 102" name="T81"/>
                <a:gd fmla="*/ 26 w 92" name="T82"/>
                <a:gd fmla="*/ 62 h 102" name="T83"/>
                <a:gd fmla="*/ 38 w 92" name="T84"/>
                <a:gd fmla="*/ 54 h 102" name="T85"/>
                <a:gd fmla="*/ 46 w 92" name="T86"/>
                <a:gd fmla="*/ 42 h 102" name="T87"/>
                <a:gd fmla="*/ 50 w 92" name="T88"/>
                <a:gd fmla="*/ 28 h 102" name="T89"/>
                <a:gd fmla="*/ 50 w 92" name="T90"/>
                <a:gd fmla="*/ 26 h 102" name="T91"/>
                <a:gd fmla="*/ 50 w 92" name="T92"/>
                <a:gd fmla="*/ 24 h 102" name="T93"/>
                <a:gd fmla="*/ 48 w 92" name="T94"/>
                <a:gd fmla="*/ 20 h 102" name="T95"/>
                <a:gd fmla="*/ 48 w 92" name="T96"/>
                <a:gd fmla="*/ 18 h 102" name="T97"/>
                <a:gd fmla="*/ 48 w 92" name="T98"/>
                <a:gd fmla="*/ 16 h 102" name="T99"/>
                <a:gd fmla="*/ 48 w 92" name="T100"/>
                <a:gd fmla="*/ 14 h 102" name="T101"/>
                <a:gd fmla="*/ 48 w 92" name="T102"/>
                <a:gd fmla="*/ 12 h 102" name="T103"/>
                <a:gd fmla="*/ 50 w 92" name="T104"/>
                <a:gd fmla="*/ 12 h 102" name="T105"/>
                <a:gd fmla="*/ 52 w 92" name="T106"/>
                <a:gd fmla="*/ 12 h 102" name="T107"/>
                <a:gd fmla="*/ 54 w 92" name="T108"/>
                <a:gd fmla="*/ 12 h 102" name="T109"/>
                <a:gd fmla="*/ 58 w 92" name="T110"/>
                <a:gd fmla="*/ 10 h 102" name="T111"/>
                <a:gd fmla="*/ 60 w 92" name="T112"/>
                <a:gd fmla="*/ 8 h 102" name="T113"/>
                <a:gd fmla="*/ 60 w 92" name="T114"/>
                <a:gd fmla="*/ 8 h 102" name="T115"/>
                <a:gd fmla="*/ 60 w 92" name="T116"/>
                <a:gd fmla="*/ 6 h 102" name="T117"/>
                <a:gd fmla="*/ 62 w 92" name="T118"/>
                <a:gd fmla="*/ 4 h 102" name="T119"/>
                <a:gd fmla="*/ 64 w 92" name="T120"/>
                <a:gd fmla="*/ 4 h 102" name="T121"/>
                <a:gd fmla="*/ 64 w 92" name="T122"/>
                <a:gd fmla="*/ 4 h 102" name="T123"/>
                <a:gd fmla="*/ 72 w 92" name="T124"/>
                <a:gd fmla="*/ 0 h 102"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102" w="92">
                  <a:moveTo>
                    <a:pt x="72" y="0"/>
                  </a:moveTo>
                  <a:lnTo>
                    <a:pt x="72" y="4"/>
                  </a:lnTo>
                  <a:lnTo>
                    <a:pt x="72" y="8"/>
                  </a:lnTo>
                  <a:lnTo>
                    <a:pt x="72" y="8"/>
                  </a:lnTo>
                  <a:lnTo>
                    <a:pt x="76" y="14"/>
                  </a:lnTo>
                  <a:lnTo>
                    <a:pt x="80" y="18"/>
                  </a:lnTo>
                  <a:lnTo>
                    <a:pt x="84" y="22"/>
                  </a:lnTo>
                  <a:lnTo>
                    <a:pt x="88" y="22"/>
                  </a:lnTo>
                  <a:lnTo>
                    <a:pt x="90" y="24"/>
                  </a:lnTo>
                  <a:lnTo>
                    <a:pt x="90" y="24"/>
                  </a:lnTo>
                  <a:lnTo>
                    <a:pt x="92" y="30"/>
                  </a:lnTo>
                  <a:lnTo>
                    <a:pt x="92" y="34"/>
                  </a:lnTo>
                  <a:lnTo>
                    <a:pt x="90" y="40"/>
                  </a:lnTo>
                  <a:lnTo>
                    <a:pt x="86" y="44"/>
                  </a:lnTo>
                  <a:lnTo>
                    <a:pt x="82" y="46"/>
                  </a:lnTo>
                  <a:lnTo>
                    <a:pt x="78" y="50"/>
                  </a:lnTo>
                  <a:lnTo>
                    <a:pt x="76" y="50"/>
                  </a:lnTo>
                  <a:lnTo>
                    <a:pt x="74" y="50"/>
                  </a:lnTo>
                  <a:lnTo>
                    <a:pt x="74" y="56"/>
                  </a:lnTo>
                  <a:lnTo>
                    <a:pt x="72" y="58"/>
                  </a:lnTo>
                  <a:lnTo>
                    <a:pt x="70" y="62"/>
                  </a:lnTo>
                  <a:lnTo>
                    <a:pt x="66" y="64"/>
                  </a:lnTo>
                  <a:lnTo>
                    <a:pt x="64" y="64"/>
                  </a:lnTo>
                  <a:lnTo>
                    <a:pt x="64" y="66"/>
                  </a:lnTo>
                  <a:lnTo>
                    <a:pt x="58" y="66"/>
                  </a:lnTo>
                  <a:lnTo>
                    <a:pt x="54" y="68"/>
                  </a:lnTo>
                  <a:lnTo>
                    <a:pt x="52" y="72"/>
                  </a:lnTo>
                  <a:lnTo>
                    <a:pt x="50" y="74"/>
                  </a:lnTo>
                  <a:lnTo>
                    <a:pt x="50" y="76"/>
                  </a:lnTo>
                  <a:lnTo>
                    <a:pt x="50" y="78"/>
                  </a:lnTo>
                  <a:lnTo>
                    <a:pt x="50" y="80"/>
                  </a:lnTo>
                  <a:lnTo>
                    <a:pt x="48" y="82"/>
                  </a:lnTo>
                  <a:lnTo>
                    <a:pt x="42" y="90"/>
                  </a:lnTo>
                  <a:lnTo>
                    <a:pt x="30" y="98"/>
                  </a:lnTo>
                  <a:lnTo>
                    <a:pt x="12" y="102"/>
                  </a:lnTo>
                  <a:lnTo>
                    <a:pt x="2" y="76"/>
                  </a:lnTo>
                  <a:lnTo>
                    <a:pt x="0" y="74"/>
                  </a:lnTo>
                  <a:lnTo>
                    <a:pt x="0" y="74"/>
                  </a:lnTo>
                  <a:lnTo>
                    <a:pt x="0" y="74"/>
                  </a:lnTo>
                  <a:lnTo>
                    <a:pt x="2" y="72"/>
                  </a:lnTo>
                  <a:lnTo>
                    <a:pt x="12" y="68"/>
                  </a:lnTo>
                  <a:lnTo>
                    <a:pt x="26" y="62"/>
                  </a:lnTo>
                  <a:lnTo>
                    <a:pt x="38" y="54"/>
                  </a:lnTo>
                  <a:lnTo>
                    <a:pt x="46" y="42"/>
                  </a:lnTo>
                  <a:lnTo>
                    <a:pt x="50" y="28"/>
                  </a:lnTo>
                  <a:lnTo>
                    <a:pt x="50" y="26"/>
                  </a:lnTo>
                  <a:lnTo>
                    <a:pt x="50" y="24"/>
                  </a:lnTo>
                  <a:lnTo>
                    <a:pt x="48" y="20"/>
                  </a:lnTo>
                  <a:lnTo>
                    <a:pt x="48" y="18"/>
                  </a:lnTo>
                  <a:lnTo>
                    <a:pt x="48" y="16"/>
                  </a:lnTo>
                  <a:lnTo>
                    <a:pt x="48" y="14"/>
                  </a:lnTo>
                  <a:lnTo>
                    <a:pt x="48" y="12"/>
                  </a:lnTo>
                  <a:lnTo>
                    <a:pt x="50" y="12"/>
                  </a:lnTo>
                  <a:lnTo>
                    <a:pt x="52" y="12"/>
                  </a:lnTo>
                  <a:lnTo>
                    <a:pt x="54" y="12"/>
                  </a:lnTo>
                  <a:lnTo>
                    <a:pt x="58" y="10"/>
                  </a:lnTo>
                  <a:lnTo>
                    <a:pt x="60" y="8"/>
                  </a:lnTo>
                  <a:lnTo>
                    <a:pt x="60" y="8"/>
                  </a:lnTo>
                  <a:lnTo>
                    <a:pt x="60" y="6"/>
                  </a:lnTo>
                  <a:lnTo>
                    <a:pt x="62" y="4"/>
                  </a:lnTo>
                  <a:lnTo>
                    <a:pt x="64" y="4"/>
                  </a:lnTo>
                  <a:lnTo>
                    <a:pt x="64" y="4"/>
                  </a:lnTo>
                  <a:lnTo>
                    <a:pt x="72"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1" name="Freeform 438"/>
            <p:cNvSpPr/>
            <p:nvPr/>
          </p:nvSpPr>
          <p:spPr bwMode="gray">
            <a:xfrm>
              <a:off x="1690503" y="3725400"/>
              <a:ext cx="214762" cy="247920"/>
            </a:xfrm>
            <a:custGeom>
              <a:gdLst>
                <a:gd fmla="*/ 86 w 116" name="T0"/>
                <a:gd fmla="*/ 132 h 134" name="T1"/>
                <a:gd fmla="*/ 80 w 116" name="T2"/>
                <a:gd fmla="*/ 130 h 134" name="T3"/>
                <a:gd fmla="*/ 70 w 116" name="T4"/>
                <a:gd fmla="*/ 124 h 134" name="T5"/>
                <a:gd fmla="*/ 50 w 116" name="T6"/>
                <a:gd fmla="*/ 114 h 134" name="T7"/>
                <a:gd fmla="*/ 18 w 116" name="T8"/>
                <a:gd fmla="*/ 98 h 134" name="T9"/>
                <a:gd fmla="*/ 16 w 116" name="T10"/>
                <a:gd fmla="*/ 92 h 134" name="T11"/>
                <a:gd fmla="*/ 0 w 116" name="T12"/>
                <a:gd fmla="*/ 68 h 134" name="T13"/>
                <a:gd fmla="*/ 26 w 116" name="T14"/>
                <a:gd fmla="*/ 44 h 134" name="T15"/>
                <a:gd fmla="*/ 26 w 116" name="T16"/>
                <a:gd fmla="*/ 40 h 134" name="T17"/>
                <a:gd fmla="*/ 26 w 116" name="T18"/>
                <a:gd fmla="*/ 36 h 134" name="T19"/>
                <a:gd fmla="*/ 26 w 116" name="T20"/>
                <a:gd fmla="*/ 32 h 134" name="T21"/>
                <a:gd fmla="*/ 28 w 116" name="T22"/>
                <a:gd fmla="*/ 30 h 134" name="T23"/>
                <a:gd fmla="*/ 30 w 116" name="T24"/>
                <a:gd fmla="*/ 26 h 134" name="T25"/>
                <a:gd fmla="*/ 34 w 116" name="T26"/>
                <a:gd fmla="*/ 22 h 134" name="T27"/>
                <a:gd fmla="*/ 36 w 116" name="T28"/>
                <a:gd fmla="*/ 16 h 134" name="T29"/>
                <a:gd fmla="*/ 38 w 116" name="T30"/>
                <a:gd fmla="*/ 10 h 134" name="T31"/>
                <a:gd fmla="*/ 40 w 116" name="T32"/>
                <a:gd fmla="*/ 6 h 134" name="T33"/>
                <a:gd fmla="*/ 46 w 116" name="T34"/>
                <a:gd fmla="*/ 4 h 134" name="T35"/>
                <a:gd fmla="*/ 54 w 116" name="T36"/>
                <a:gd fmla="*/ 2 h 134" name="T37"/>
                <a:gd fmla="*/ 70 w 116" name="T38"/>
                <a:gd fmla="*/ 0 h 134" name="T39"/>
                <a:gd fmla="*/ 70 w 116" name="T40"/>
                <a:gd fmla="*/ 2 h 134" name="T41"/>
                <a:gd fmla="*/ 74 w 116" name="T42"/>
                <a:gd fmla="*/ 4 h 134" name="T43"/>
                <a:gd fmla="*/ 78 w 116" name="T44"/>
                <a:gd fmla="*/ 2 h 134" name="T45"/>
                <a:gd fmla="*/ 82 w 116" name="T46"/>
                <a:gd fmla="*/ 4 h 134" name="T47"/>
                <a:gd fmla="*/ 84 w 116" name="T48"/>
                <a:gd fmla="*/ 10 h 134" name="T49"/>
                <a:gd fmla="*/ 82 w 116" name="T50"/>
                <a:gd fmla="*/ 12 h 134" name="T51"/>
                <a:gd fmla="*/ 80 w 116" name="T52"/>
                <a:gd fmla="*/ 16 h 134" name="T53"/>
                <a:gd fmla="*/ 84 w 116" name="T54"/>
                <a:gd fmla="*/ 18 h 134" name="T55"/>
                <a:gd fmla="*/ 88 w 116" name="T56"/>
                <a:gd fmla="*/ 22 h 134" name="T57"/>
                <a:gd fmla="*/ 90 w 116" name="T58"/>
                <a:gd fmla="*/ 26 h 134" name="T59"/>
                <a:gd fmla="*/ 96 w 116" name="T60"/>
                <a:gd fmla="*/ 32 h 134" name="T61"/>
                <a:gd fmla="*/ 98 w 116" name="T62"/>
                <a:gd fmla="*/ 38 h 134" name="T63"/>
                <a:gd fmla="*/ 96 w 116" name="T64"/>
                <a:gd fmla="*/ 42 h 134" name="T65"/>
                <a:gd fmla="*/ 92 w 116" name="T66"/>
                <a:gd fmla="*/ 52 h 134" name="T67"/>
                <a:gd fmla="*/ 90 w 116" name="T68"/>
                <a:gd fmla="*/ 60 h 134" name="T69"/>
                <a:gd fmla="*/ 92 w 116" name="T70"/>
                <a:gd fmla="*/ 64 h 134" name="T71"/>
                <a:gd fmla="*/ 96 w 116" name="T72"/>
                <a:gd fmla="*/ 72 h 134" name="T73"/>
                <a:gd fmla="*/ 100 w 116" name="T74"/>
                <a:gd fmla="*/ 82 h 134" name="T75"/>
                <a:gd fmla="*/ 106 w 116" name="T76"/>
                <a:gd fmla="*/ 86 h 134" name="T77"/>
                <a:gd fmla="*/ 106 w 116" name="T78"/>
                <a:gd fmla="*/ 90 h 134" name="T79"/>
                <a:gd fmla="*/ 108 w 116" name="T80"/>
                <a:gd fmla="*/ 96 h 134" name="T81"/>
                <a:gd fmla="*/ 108 w 116" name="T82"/>
                <a:gd fmla="*/ 98 h 134" name="T83"/>
                <a:gd fmla="*/ 112 w 116" name="T84"/>
                <a:gd fmla="*/ 102 h 134" name="T85"/>
                <a:gd fmla="*/ 114 w 116" name="T86"/>
                <a:gd fmla="*/ 106 h 134" name="T87"/>
                <a:gd fmla="*/ 116 w 116" name="T88"/>
                <a:gd fmla="*/ 112 h 134" name="T89"/>
                <a:gd fmla="*/ 114 w 116" name="T90"/>
                <a:gd fmla="*/ 124 h 134" name="T91"/>
                <a:gd fmla="*/ 112 w 116" name="T92"/>
                <a:gd fmla="*/ 124 h 134" name="T93"/>
                <a:gd fmla="*/ 108 w 116" name="T94"/>
                <a:gd fmla="*/ 128 h 134"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134" w="115">
                  <a:moveTo>
                    <a:pt x="88" y="134"/>
                  </a:moveTo>
                  <a:lnTo>
                    <a:pt x="86" y="132"/>
                  </a:lnTo>
                  <a:lnTo>
                    <a:pt x="84" y="132"/>
                  </a:lnTo>
                  <a:lnTo>
                    <a:pt x="80" y="130"/>
                  </a:lnTo>
                  <a:lnTo>
                    <a:pt x="76" y="126"/>
                  </a:lnTo>
                  <a:lnTo>
                    <a:pt x="70" y="124"/>
                  </a:lnTo>
                  <a:lnTo>
                    <a:pt x="58" y="114"/>
                  </a:lnTo>
                  <a:lnTo>
                    <a:pt x="50" y="114"/>
                  </a:lnTo>
                  <a:lnTo>
                    <a:pt x="24" y="102"/>
                  </a:lnTo>
                  <a:lnTo>
                    <a:pt x="18" y="98"/>
                  </a:lnTo>
                  <a:lnTo>
                    <a:pt x="18" y="96"/>
                  </a:lnTo>
                  <a:lnTo>
                    <a:pt x="16" y="92"/>
                  </a:lnTo>
                  <a:lnTo>
                    <a:pt x="4" y="76"/>
                  </a:lnTo>
                  <a:lnTo>
                    <a:pt x="0" y="68"/>
                  </a:lnTo>
                  <a:lnTo>
                    <a:pt x="26" y="46"/>
                  </a:lnTo>
                  <a:lnTo>
                    <a:pt x="26" y="44"/>
                  </a:lnTo>
                  <a:lnTo>
                    <a:pt x="26" y="42"/>
                  </a:lnTo>
                  <a:lnTo>
                    <a:pt x="26" y="40"/>
                  </a:lnTo>
                  <a:lnTo>
                    <a:pt x="26" y="38"/>
                  </a:lnTo>
                  <a:lnTo>
                    <a:pt x="26" y="36"/>
                  </a:lnTo>
                  <a:lnTo>
                    <a:pt x="26" y="34"/>
                  </a:lnTo>
                  <a:lnTo>
                    <a:pt x="26" y="32"/>
                  </a:lnTo>
                  <a:lnTo>
                    <a:pt x="28" y="30"/>
                  </a:lnTo>
                  <a:lnTo>
                    <a:pt x="28" y="30"/>
                  </a:lnTo>
                  <a:lnTo>
                    <a:pt x="28" y="28"/>
                  </a:lnTo>
                  <a:lnTo>
                    <a:pt x="30" y="26"/>
                  </a:lnTo>
                  <a:lnTo>
                    <a:pt x="32" y="22"/>
                  </a:lnTo>
                  <a:lnTo>
                    <a:pt x="34" y="22"/>
                  </a:lnTo>
                  <a:lnTo>
                    <a:pt x="34" y="20"/>
                  </a:lnTo>
                  <a:lnTo>
                    <a:pt x="36" y="16"/>
                  </a:lnTo>
                  <a:lnTo>
                    <a:pt x="38" y="12"/>
                  </a:lnTo>
                  <a:lnTo>
                    <a:pt x="38" y="10"/>
                  </a:lnTo>
                  <a:lnTo>
                    <a:pt x="40" y="8"/>
                  </a:lnTo>
                  <a:lnTo>
                    <a:pt x="40" y="6"/>
                  </a:lnTo>
                  <a:lnTo>
                    <a:pt x="42" y="6"/>
                  </a:lnTo>
                  <a:lnTo>
                    <a:pt x="46" y="4"/>
                  </a:lnTo>
                  <a:lnTo>
                    <a:pt x="50" y="2"/>
                  </a:lnTo>
                  <a:lnTo>
                    <a:pt x="54" y="2"/>
                  </a:lnTo>
                  <a:lnTo>
                    <a:pt x="60" y="2"/>
                  </a:lnTo>
                  <a:lnTo>
                    <a:pt x="70" y="0"/>
                  </a:lnTo>
                  <a:lnTo>
                    <a:pt x="70" y="0"/>
                  </a:lnTo>
                  <a:lnTo>
                    <a:pt x="70" y="2"/>
                  </a:lnTo>
                  <a:lnTo>
                    <a:pt x="72" y="4"/>
                  </a:lnTo>
                  <a:lnTo>
                    <a:pt x="74" y="4"/>
                  </a:lnTo>
                  <a:lnTo>
                    <a:pt x="76" y="4"/>
                  </a:lnTo>
                  <a:lnTo>
                    <a:pt x="78" y="2"/>
                  </a:lnTo>
                  <a:lnTo>
                    <a:pt x="82" y="4"/>
                  </a:lnTo>
                  <a:lnTo>
                    <a:pt x="82" y="4"/>
                  </a:lnTo>
                  <a:lnTo>
                    <a:pt x="82" y="8"/>
                  </a:lnTo>
                  <a:lnTo>
                    <a:pt x="84" y="10"/>
                  </a:lnTo>
                  <a:lnTo>
                    <a:pt x="82" y="10"/>
                  </a:lnTo>
                  <a:lnTo>
                    <a:pt x="82" y="12"/>
                  </a:lnTo>
                  <a:lnTo>
                    <a:pt x="80" y="14"/>
                  </a:lnTo>
                  <a:lnTo>
                    <a:pt x="80" y="16"/>
                  </a:lnTo>
                  <a:lnTo>
                    <a:pt x="82" y="16"/>
                  </a:lnTo>
                  <a:lnTo>
                    <a:pt x="84" y="18"/>
                  </a:lnTo>
                  <a:lnTo>
                    <a:pt x="86" y="20"/>
                  </a:lnTo>
                  <a:lnTo>
                    <a:pt x="88" y="22"/>
                  </a:lnTo>
                  <a:lnTo>
                    <a:pt x="88" y="24"/>
                  </a:lnTo>
                  <a:lnTo>
                    <a:pt x="90" y="26"/>
                  </a:lnTo>
                  <a:lnTo>
                    <a:pt x="94" y="28"/>
                  </a:lnTo>
                  <a:lnTo>
                    <a:pt x="96" y="32"/>
                  </a:lnTo>
                  <a:lnTo>
                    <a:pt x="98" y="34"/>
                  </a:lnTo>
                  <a:lnTo>
                    <a:pt x="98" y="38"/>
                  </a:lnTo>
                  <a:lnTo>
                    <a:pt x="98" y="38"/>
                  </a:lnTo>
                  <a:lnTo>
                    <a:pt x="96" y="42"/>
                  </a:lnTo>
                  <a:lnTo>
                    <a:pt x="94" y="46"/>
                  </a:lnTo>
                  <a:lnTo>
                    <a:pt x="92" y="52"/>
                  </a:lnTo>
                  <a:lnTo>
                    <a:pt x="92" y="56"/>
                  </a:lnTo>
                  <a:lnTo>
                    <a:pt x="90" y="60"/>
                  </a:lnTo>
                  <a:lnTo>
                    <a:pt x="92" y="64"/>
                  </a:lnTo>
                  <a:lnTo>
                    <a:pt x="92" y="64"/>
                  </a:lnTo>
                  <a:lnTo>
                    <a:pt x="94" y="68"/>
                  </a:lnTo>
                  <a:lnTo>
                    <a:pt x="96" y="72"/>
                  </a:lnTo>
                  <a:lnTo>
                    <a:pt x="98" y="76"/>
                  </a:lnTo>
                  <a:lnTo>
                    <a:pt x="100" y="82"/>
                  </a:lnTo>
                  <a:lnTo>
                    <a:pt x="104" y="84"/>
                  </a:lnTo>
                  <a:lnTo>
                    <a:pt x="106" y="86"/>
                  </a:lnTo>
                  <a:lnTo>
                    <a:pt x="106" y="88"/>
                  </a:lnTo>
                  <a:lnTo>
                    <a:pt x="106" y="90"/>
                  </a:lnTo>
                  <a:lnTo>
                    <a:pt x="106" y="92"/>
                  </a:lnTo>
                  <a:lnTo>
                    <a:pt x="108" y="96"/>
                  </a:lnTo>
                  <a:lnTo>
                    <a:pt x="108" y="96"/>
                  </a:lnTo>
                  <a:lnTo>
                    <a:pt x="108" y="98"/>
                  </a:lnTo>
                  <a:lnTo>
                    <a:pt x="110" y="100"/>
                  </a:lnTo>
                  <a:lnTo>
                    <a:pt x="112" y="102"/>
                  </a:lnTo>
                  <a:lnTo>
                    <a:pt x="114" y="104"/>
                  </a:lnTo>
                  <a:lnTo>
                    <a:pt x="114" y="106"/>
                  </a:lnTo>
                  <a:lnTo>
                    <a:pt x="114" y="108"/>
                  </a:lnTo>
                  <a:lnTo>
                    <a:pt x="116" y="112"/>
                  </a:lnTo>
                  <a:lnTo>
                    <a:pt x="116" y="114"/>
                  </a:lnTo>
                  <a:lnTo>
                    <a:pt x="114" y="124"/>
                  </a:lnTo>
                  <a:lnTo>
                    <a:pt x="114" y="124"/>
                  </a:lnTo>
                  <a:lnTo>
                    <a:pt x="112" y="124"/>
                  </a:lnTo>
                  <a:lnTo>
                    <a:pt x="110" y="126"/>
                  </a:lnTo>
                  <a:lnTo>
                    <a:pt x="108" y="128"/>
                  </a:lnTo>
                  <a:lnTo>
                    <a:pt x="88" y="13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2" name="Freeform 439"/>
            <p:cNvSpPr/>
            <p:nvPr/>
          </p:nvSpPr>
          <p:spPr bwMode="gray">
            <a:xfrm>
              <a:off x="1609042" y="3851210"/>
              <a:ext cx="114787" cy="133211"/>
            </a:xfrm>
            <a:custGeom>
              <a:gdLst>
                <a:gd fmla="*/ 4 w 62" name="T0"/>
                <a:gd fmla="*/ 40 h 72" name="T1"/>
                <a:gd fmla="*/ 4 w 62" name="T2"/>
                <a:gd fmla="*/ 8 h 72" name="T3"/>
                <a:gd fmla="*/ 4 w 62" name="T4"/>
                <a:gd fmla="*/ 8 h 72" name="T5"/>
                <a:gd fmla="*/ 6 w 62" name="T6"/>
                <a:gd fmla="*/ 10 h 72" name="T7"/>
                <a:gd fmla="*/ 8 w 62" name="T8"/>
                <a:gd fmla="*/ 10 h 72" name="T9"/>
                <a:gd fmla="*/ 8 w 62" name="T10"/>
                <a:gd fmla="*/ 10 h 72" name="T11"/>
                <a:gd fmla="*/ 8 w 62" name="T12"/>
                <a:gd fmla="*/ 12 h 72" name="T13"/>
                <a:gd fmla="*/ 10 w 62" name="T14"/>
                <a:gd fmla="*/ 14 h 72" name="T15"/>
                <a:gd fmla="*/ 12 w 62" name="T16"/>
                <a:gd fmla="*/ 16 h 72" name="T17"/>
                <a:gd fmla="*/ 16 w 62" name="T18"/>
                <a:gd fmla="*/ 16 h 72" name="T19"/>
                <a:gd fmla="*/ 20 w 62" name="T20"/>
                <a:gd fmla="*/ 16 h 72" name="T21"/>
                <a:gd fmla="*/ 26 w 62" name="T22"/>
                <a:gd fmla="*/ 14 h 72" name="T23"/>
                <a:gd fmla="*/ 44 w 62" name="T24"/>
                <a:gd fmla="*/ 0 h 72" name="T25"/>
                <a:gd fmla="*/ 44 w 62" name="T26"/>
                <a:gd fmla="*/ 0 h 72" name="T27"/>
                <a:gd fmla="*/ 44 w 62" name="T28"/>
                <a:gd fmla="*/ 0 h 72" name="T29"/>
                <a:gd fmla="*/ 46 w 62" name="T30"/>
                <a:gd fmla="*/ 4 h 72" name="T31"/>
                <a:gd fmla="*/ 48 w 62" name="T32"/>
                <a:gd fmla="*/ 8 h 72" name="T33"/>
                <a:gd fmla="*/ 48 w 62" name="T34"/>
                <a:gd fmla="*/ 8 h 72" name="T35"/>
                <a:gd fmla="*/ 50 w 62" name="T36"/>
                <a:gd fmla="*/ 10 h 72" name="T37"/>
                <a:gd fmla="*/ 54 w 62" name="T38"/>
                <a:gd fmla="*/ 14 h 72" name="T39"/>
                <a:gd fmla="*/ 56 w 62" name="T40"/>
                <a:gd fmla="*/ 18 h 72" name="T41"/>
                <a:gd fmla="*/ 58 w 62" name="T42"/>
                <a:gd fmla="*/ 22 h 72" name="T43"/>
                <a:gd fmla="*/ 60 w 62" name="T44"/>
                <a:gd fmla="*/ 26 h 72" name="T45"/>
                <a:gd fmla="*/ 62 w 62" name="T46"/>
                <a:gd fmla="*/ 28 h 72" name="T47"/>
                <a:gd fmla="*/ 62 w 62" name="T48"/>
                <a:gd fmla="*/ 28 h 72" name="T49"/>
                <a:gd fmla="*/ 62 w 62" name="T50"/>
                <a:gd fmla="*/ 30 h 72" name="T51"/>
                <a:gd fmla="*/ 62 w 62" name="T52"/>
                <a:gd fmla="*/ 30 h 72" name="T53"/>
                <a:gd fmla="*/ 60 w 62" name="T54"/>
                <a:gd fmla="*/ 32 h 72" name="T55"/>
                <a:gd fmla="*/ 56 w 62" name="T56"/>
                <a:gd fmla="*/ 34 h 72" name="T57"/>
                <a:gd fmla="*/ 48 w 62" name="T58"/>
                <a:gd fmla="*/ 34 h 72" name="T59"/>
                <a:gd fmla="*/ 40 w 62" name="T60"/>
                <a:gd fmla="*/ 36 h 72" name="T61"/>
                <a:gd fmla="*/ 34 w 62" name="T62"/>
                <a:gd fmla="*/ 38 h 72" name="T63"/>
                <a:gd fmla="*/ 34 w 62" name="T64"/>
                <a:gd fmla="*/ 38 h 72" name="T65"/>
                <a:gd fmla="*/ 36 w 62" name="T66"/>
                <a:gd fmla="*/ 42 h 72" name="T67"/>
                <a:gd fmla="*/ 38 w 62" name="T68"/>
                <a:gd fmla="*/ 46 h 72" name="T69"/>
                <a:gd fmla="*/ 40 w 62" name="T70"/>
                <a:gd fmla="*/ 50 h 72" name="T71"/>
                <a:gd fmla="*/ 42 w 62" name="T72"/>
                <a:gd fmla="*/ 52 h 72" name="T73"/>
                <a:gd fmla="*/ 42 w 62" name="T74"/>
                <a:gd fmla="*/ 56 h 72" name="T75"/>
                <a:gd fmla="*/ 40 w 62" name="T76"/>
                <a:gd fmla="*/ 56 h 72" name="T77"/>
                <a:gd fmla="*/ 38 w 62" name="T78"/>
                <a:gd fmla="*/ 58 h 72" name="T79"/>
                <a:gd fmla="*/ 36 w 62" name="T80"/>
                <a:gd fmla="*/ 62 h 72" name="T81"/>
                <a:gd fmla="*/ 32 w 62" name="T82"/>
                <a:gd fmla="*/ 66 h 72" name="T83"/>
                <a:gd fmla="*/ 30 w 62" name="T84"/>
                <a:gd fmla="*/ 68 h 72" name="T85"/>
                <a:gd fmla="*/ 28 w 62" name="T86"/>
                <a:gd fmla="*/ 68 h 72" name="T87"/>
                <a:gd fmla="*/ 26 w 62" name="T88"/>
                <a:gd fmla="*/ 68 h 72" name="T89"/>
                <a:gd fmla="*/ 26 w 62" name="T90"/>
                <a:gd fmla="*/ 70 h 72" name="T91"/>
                <a:gd fmla="*/ 26 w 62" name="T92"/>
                <a:gd fmla="*/ 72 h 72" name="T93"/>
                <a:gd fmla="*/ 24 w 62" name="T94"/>
                <a:gd fmla="*/ 72 h 72" name="T95"/>
                <a:gd fmla="*/ 20 w 62" name="T96"/>
                <a:gd fmla="*/ 70 h 72" name="T97"/>
                <a:gd fmla="*/ 14 w 62" name="T98"/>
                <a:gd fmla="*/ 70 h 72" name="T99"/>
                <a:gd fmla="*/ 8 w 62" name="T100"/>
                <a:gd fmla="*/ 70 h 72" name="T101"/>
                <a:gd fmla="*/ 2 w 62" name="T102"/>
                <a:gd fmla="*/ 70 h 72" name="T103"/>
                <a:gd fmla="*/ 0 w 62" name="T104"/>
                <a:gd fmla="*/ 70 h 72" name="T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b="b" l="0" r="r" t="0"/>
              <a:pathLst>
                <a:path h="72" w="62">
                  <a:moveTo>
                    <a:pt x="4" y="40"/>
                  </a:moveTo>
                  <a:lnTo>
                    <a:pt x="4" y="8"/>
                  </a:lnTo>
                  <a:lnTo>
                    <a:pt x="4" y="8"/>
                  </a:lnTo>
                  <a:lnTo>
                    <a:pt x="6" y="10"/>
                  </a:lnTo>
                  <a:lnTo>
                    <a:pt x="8" y="10"/>
                  </a:lnTo>
                  <a:lnTo>
                    <a:pt x="8" y="10"/>
                  </a:lnTo>
                  <a:lnTo>
                    <a:pt x="8" y="12"/>
                  </a:lnTo>
                  <a:lnTo>
                    <a:pt x="10" y="14"/>
                  </a:lnTo>
                  <a:lnTo>
                    <a:pt x="12" y="16"/>
                  </a:lnTo>
                  <a:lnTo>
                    <a:pt x="16" y="16"/>
                  </a:lnTo>
                  <a:lnTo>
                    <a:pt x="20" y="16"/>
                  </a:lnTo>
                  <a:lnTo>
                    <a:pt x="26" y="14"/>
                  </a:lnTo>
                  <a:lnTo>
                    <a:pt x="44" y="0"/>
                  </a:lnTo>
                  <a:lnTo>
                    <a:pt x="44" y="0"/>
                  </a:lnTo>
                  <a:lnTo>
                    <a:pt x="44" y="0"/>
                  </a:lnTo>
                  <a:lnTo>
                    <a:pt x="46" y="4"/>
                  </a:lnTo>
                  <a:lnTo>
                    <a:pt x="48" y="8"/>
                  </a:lnTo>
                  <a:lnTo>
                    <a:pt x="48" y="8"/>
                  </a:lnTo>
                  <a:lnTo>
                    <a:pt x="50" y="10"/>
                  </a:lnTo>
                  <a:lnTo>
                    <a:pt x="54" y="14"/>
                  </a:lnTo>
                  <a:lnTo>
                    <a:pt x="56" y="18"/>
                  </a:lnTo>
                  <a:lnTo>
                    <a:pt x="58" y="22"/>
                  </a:lnTo>
                  <a:lnTo>
                    <a:pt x="60" y="26"/>
                  </a:lnTo>
                  <a:lnTo>
                    <a:pt x="62" y="28"/>
                  </a:lnTo>
                  <a:lnTo>
                    <a:pt x="62" y="28"/>
                  </a:lnTo>
                  <a:lnTo>
                    <a:pt x="62" y="30"/>
                  </a:lnTo>
                  <a:lnTo>
                    <a:pt x="62" y="30"/>
                  </a:lnTo>
                  <a:lnTo>
                    <a:pt x="60" y="32"/>
                  </a:lnTo>
                  <a:lnTo>
                    <a:pt x="56" y="34"/>
                  </a:lnTo>
                  <a:lnTo>
                    <a:pt x="48" y="34"/>
                  </a:lnTo>
                  <a:lnTo>
                    <a:pt x="40" y="36"/>
                  </a:lnTo>
                  <a:lnTo>
                    <a:pt x="34" y="38"/>
                  </a:lnTo>
                  <a:lnTo>
                    <a:pt x="34" y="38"/>
                  </a:lnTo>
                  <a:lnTo>
                    <a:pt x="36" y="42"/>
                  </a:lnTo>
                  <a:lnTo>
                    <a:pt x="38" y="46"/>
                  </a:lnTo>
                  <a:lnTo>
                    <a:pt x="40" y="50"/>
                  </a:lnTo>
                  <a:lnTo>
                    <a:pt x="42" y="52"/>
                  </a:lnTo>
                  <a:lnTo>
                    <a:pt x="42" y="56"/>
                  </a:lnTo>
                  <a:lnTo>
                    <a:pt x="40" y="56"/>
                  </a:lnTo>
                  <a:lnTo>
                    <a:pt x="38" y="58"/>
                  </a:lnTo>
                  <a:lnTo>
                    <a:pt x="36" y="62"/>
                  </a:lnTo>
                  <a:lnTo>
                    <a:pt x="32" y="66"/>
                  </a:lnTo>
                  <a:lnTo>
                    <a:pt x="30" y="68"/>
                  </a:lnTo>
                  <a:lnTo>
                    <a:pt x="28" y="68"/>
                  </a:lnTo>
                  <a:lnTo>
                    <a:pt x="26" y="68"/>
                  </a:lnTo>
                  <a:lnTo>
                    <a:pt x="26" y="70"/>
                  </a:lnTo>
                  <a:lnTo>
                    <a:pt x="26" y="72"/>
                  </a:lnTo>
                  <a:lnTo>
                    <a:pt x="24" y="72"/>
                  </a:lnTo>
                  <a:lnTo>
                    <a:pt x="20" y="70"/>
                  </a:lnTo>
                  <a:lnTo>
                    <a:pt x="14" y="70"/>
                  </a:lnTo>
                  <a:lnTo>
                    <a:pt x="8" y="70"/>
                  </a:lnTo>
                  <a:lnTo>
                    <a:pt x="2" y="70"/>
                  </a:lnTo>
                  <a:lnTo>
                    <a:pt x="0" y="7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3" name="Freeform 440"/>
            <p:cNvSpPr/>
            <p:nvPr/>
          </p:nvSpPr>
          <p:spPr bwMode="gray">
            <a:xfrm>
              <a:off x="1575717" y="3866011"/>
              <a:ext cx="40731" cy="114709"/>
            </a:xfrm>
            <a:custGeom>
              <a:gdLst>
                <a:gd fmla="*/ 22 w 22" name="T0"/>
                <a:gd fmla="*/ 0 h 62" name="T1"/>
                <a:gd fmla="*/ 16 w 22" name="T2"/>
                <a:gd fmla="*/ 2 h 62" name="T3"/>
                <a:gd fmla="*/ 16 w 22" name="T4"/>
                <a:gd fmla="*/ 2 h 62" name="T5"/>
                <a:gd fmla="*/ 16 w 22" name="T6"/>
                <a:gd fmla="*/ 6 h 62" name="T7"/>
                <a:gd fmla="*/ 16 w 22" name="T8"/>
                <a:gd fmla="*/ 8 h 62" name="T9"/>
                <a:gd fmla="*/ 14 w 22" name="T10"/>
                <a:gd fmla="*/ 12 h 62" name="T11"/>
                <a:gd fmla="*/ 14 w 22" name="T12"/>
                <a:gd fmla="*/ 14 h 62" name="T13"/>
                <a:gd fmla="*/ 14 w 22" name="T14"/>
                <a:gd fmla="*/ 14 h 62" name="T15"/>
                <a:gd fmla="*/ 14 w 22" name="T16"/>
                <a:gd fmla="*/ 16 h 62" name="T17"/>
                <a:gd fmla="*/ 12 w 22" name="T18"/>
                <a:gd fmla="*/ 20 h 62" name="T19"/>
                <a:gd fmla="*/ 8 w 22" name="T20"/>
                <a:gd fmla="*/ 24 h 62" name="T21"/>
                <a:gd fmla="*/ 0 w 22" name="T22"/>
                <a:gd fmla="*/ 30 h 62" name="T23"/>
                <a:gd fmla="*/ 0 w 22" name="T24"/>
                <a:gd fmla="*/ 30 h 62" name="T25"/>
                <a:gd fmla="*/ 2 w 22" name="T26"/>
                <a:gd fmla="*/ 32 h 62" name="T27"/>
                <a:gd fmla="*/ 4 w 22" name="T28"/>
                <a:gd fmla="*/ 38 h 62" name="T29"/>
                <a:gd fmla="*/ 8 w 22" name="T30"/>
                <a:gd fmla="*/ 48 h 62" name="T31"/>
                <a:gd fmla="*/ 18 w 22" name="T32"/>
                <a:gd fmla="*/ 62 h 62" name="T33"/>
                <a:gd fmla="*/ 18 w 22" name="T34"/>
                <a:gd fmla="*/ 60 h 62" name="T35"/>
                <a:gd fmla="*/ 18 w 22" name="T36"/>
                <a:gd fmla="*/ 56 h 62" name="T37"/>
                <a:gd fmla="*/ 18 w 22" name="T38"/>
                <a:gd fmla="*/ 52 h 62" name="T39"/>
                <a:gd fmla="*/ 18 w 22" name="T40"/>
                <a:gd fmla="*/ 44 h 62" name="T41"/>
                <a:gd fmla="*/ 20 w 22" name="T42"/>
                <a:gd fmla="*/ 40 h 62" name="T43"/>
                <a:gd fmla="*/ 20 w 22" name="T44"/>
                <a:gd fmla="*/ 34 h 62" name="T45"/>
                <a:gd fmla="*/ 22 w 22" name="T46"/>
                <a:gd fmla="*/ 32 h 62" name="T47"/>
                <a:gd fmla="*/ 22 w 22" name="T48"/>
                <a:gd fmla="*/ 26 h 62" name="T49"/>
                <a:gd fmla="*/ 22 w 22" name="T50"/>
                <a:gd fmla="*/ 14 h 62" name="T51"/>
                <a:gd fmla="*/ 22 w 22" name="T52"/>
                <a:gd fmla="*/ 0 h 62" name="T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62" w="22">
                  <a:moveTo>
                    <a:pt x="22" y="0"/>
                  </a:moveTo>
                  <a:lnTo>
                    <a:pt x="16" y="2"/>
                  </a:lnTo>
                  <a:lnTo>
                    <a:pt x="16" y="2"/>
                  </a:lnTo>
                  <a:lnTo>
                    <a:pt x="16" y="6"/>
                  </a:lnTo>
                  <a:lnTo>
                    <a:pt x="16" y="8"/>
                  </a:lnTo>
                  <a:lnTo>
                    <a:pt x="14" y="12"/>
                  </a:lnTo>
                  <a:lnTo>
                    <a:pt x="14" y="14"/>
                  </a:lnTo>
                  <a:lnTo>
                    <a:pt x="14" y="14"/>
                  </a:lnTo>
                  <a:lnTo>
                    <a:pt x="14" y="16"/>
                  </a:lnTo>
                  <a:lnTo>
                    <a:pt x="12" y="20"/>
                  </a:lnTo>
                  <a:lnTo>
                    <a:pt x="8" y="24"/>
                  </a:lnTo>
                  <a:lnTo>
                    <a:pt x="0" y="30"/>
                  </a:lnTo>
                  <a:lnTo>
                    <a:pt x="0" y="30"/>
                  </a:lnTo>
                  <a:lnTo>
                    <a:pt x="2" y="32"/>
                  </a:lnTo>
                  <a:lnTo>
                    <a:pt x="4" y="38"/>
                  </a:lnTo>
                  <a:lnTo>
                    <a:pt x="8" y="48"/>
                  </a:lnTo>
                  <a:lnTo>
                    <a:pt x="18" y="62"/>
                  </a:lnTo>
                  <a:lnTo>
                    <a:pt x="18" y="60"/>
                  </a:lnTo>
                  <a:lnTo>
                    <a:pt x="18" y="56"/>
                  </a:lnTo>
                  <a:lnTo>
                    <a:pt x="18" y="52"/>
                  </a:lnTo>
                  <a:lnTo>
                    <a:pt x="18" y="44"/>
                  </a:lnTo>
                  <a:lnTo>
                    <a:pt x="20" y="40"/>
                  </a:lnTo>
                  <a:lnTo>
                    <a:pt x="20" y="34"/>
                  </a:lnTo>
                  <a:lnTo>
                    <a:pt x="22" y="32"/>
                  </a:lnTo>
                  <a:lnTo>
                    <a:pt x="22" y="26"/>
                  </a:lnTo>
                  <a:lnTo>
                    <a:pt x="22" y="14"/>
                  </a:lnTo>
                  <a:lnTo>
                    <a:pt x="22"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4" name="Freeform 441"/>
            <p:cNvSpPr/>
            <p:nvPr/>
          </p:nvSpPr>
          <p:spPr bwMode="gray">
            <a:xfrm>
              <a:off x="1616447" y="3740201"/>
              <a:ext cx="148112" cy="140611"/>
            </a:xfrm>
            <a:custGeom>
              <a:gdLst>
                <a:gd fmla="*/ 70 w 80" name="T0"/>
                <a:gd fmla="*/ 4 h 76" name="T1"/>
                <a:gd fmla="*/ 64 w 80" name="T2"/>
                <a:gd fmla="*/ 6 h 76" name="T3"/>
                <a:gd fmla="*/ 60 w 80" name="T4"/>
                <a:gd fmla="*/ 6 h 76" name="T5"/>
                <a:gd fmla="*/ 56 w 80" name="T6"/>
                <a:gd fmla="*/ 10 h 76" name="T7"/>
                <a:gd fmla="*/ 54 w 80" name="T8"/>
                <a:gd fmla="*/ 12 h 76" name="T9"/>
                <a:gd fmla="*/ 44 w 80" name="T10"/>
                <a:gd fmla="*/ 16 h 76" name="T11"/>
                <a:gd fmla="*/ 32 w 80" name="T12"/>
                <a:gd fmla="*/ 16 h 76" name="T13"/>
                <a:gd fmla="*/ 24 w 80" name="T14"/>
                <a:gd fmla="*/ 14 h 76" name="T15"/>
                <a:gd fmla="*/ 20 w 80" name="T16"/>
                <a:gd fmla="*/ 12 h 76" name="T17"/>
                <a:gd fmla="*/ 16 w 80" name="T18"/>
                <a:gd fmla="*/ 14 h 76" name="T19"/>
                <a:gd fmla="*/ 16 w 80" name="T20"/>
                <a:gd fmla="*/ 16 h 76" name="T21"/>
                <a:gd fmla="*/ 10 w 80" name="T22"/>
                <a:gd fmla="*/ 24 h 76" name="T23"/>
                <a:gd fmla="*/ 8 w 80" name="T24"/>
                <a:gd fmla="*/ 24 h 76" name="T25"/>
                <a:gd fmla="*/ 6 w 80" name="T26"/>
                <a:gd fmla="*/ 24 h 76" name="T27"/>
                <a:gd fmla="*/ 4 w 80" name="T28"/>
                <a:gd fmla="*/ 24 h 76" name="T29"/>
                <a:gd fmla="*/ 6 w 80" name="T30"/>
                <a:gd fmla="*/ 26 h 76" name="T31"/>
                <a:gd fmla="*/ 6 w 80" name="T32"/>
                <a:gd fmla="*/ 30 h 76" name="T33"/>
                <a:gd fmla="*/ 4 w 80" name="T34"/>
                <a:gd fmla="*/ 34 h 76" name="T35"/>
                <a:gd fmla="*/ 4 w 80" name="T36"/>
                <a:gd fmla="*/ 36 h 76" name="T37"/>
                <a:gd fmla="*/ 2 w 80" name="T38"/>
                <a:gd fmla="*/ 42 h 76" name="T39"/>
                <a:gd fmla="*/ 4 w 80" name="T40"/>
                <a:gd fmla="*/ 42 h 76" name="T41"/>
                <a:gd fmla="*/ 8 w 80" name="T42"/>
                <a:gd fmla="*/ 42 h 76" name="T43"/>
                <a:gd fmla="*/ 12 w 80" name="T44"/>
                <a:gd fmla="*/ 44 h 76" name="T45"/>
                <a:gd fmla="*/ 8 w 80" name="T46"/>
                <a:gd fmla="*/ 50 h 76" name="T47"/>
                <a:gd fmla="*/ 8 w 80" name="T48"/>
                <a:gd fmla="*/ 54 h 76" name="T49"/>
                <a:gd fmla="*/ 6 w 80" name="T50"/>
                <a:gd fmla="*/ 58 h 76" name="T51"/>
                <a:gd fmla="*/ 4 w 80" name="T52"/>
                <a:gd fmla="*/ 62 h 76" name="T53"/>
                <a:gd fmla="*/ 4 w 80" name="T54"/>
                <a:gd fmla="*/ 62 h 76" name="T55"/>
                <a:gd fmla="*/ 2 w 80" name="T56"/>
                <a:gd fmla="*/ 66 h 76" name="T57"/>
                <a:gd fmla="*/ 0 w 80" name="T58"/>
                <a:gd fmla="*/ 68 h 76" name="T59"/>
                <a:gd fmla="*/ 4 w 80" name="T60"/>
                <a:gd fmla="*/ 70 h 76" name="T61"/>
                <a:gd fmla="*/ 4 w 80" name="T62"/>
                <a:gd fmla="*/ 72 h 76" name="T63"/>
                <a:gd fmla="*/ 8 w 80" name="T64"/>
                <a:gd fmla="*/ 76 h 76" name="T65"/>
                <a:gd fmla="*/ 16 w 80" name="T66"/>
                <a:gd fmla="*/ 76 h 76" name="T67"/>
                <a:gd fmla="*/ 66 w 80" name="T68"/>
                <a:gd fmla="*/ 38 h 76" name="T69"/>
                <a:gd fmla="*/ 66 w 80" name="T70"/>
                <a:gd fmla="*/ 34 h 76" name="T71"/>
                <a:gd fmla="*/ 66 w 80" name="T72"/>
                <a:gd fmla="*/ 30 h 76" name="T73"/>
                <a:gd fmla="*/ 66 w 80" name="T74"/>
                <a:gd fmla="*/ 26 h 76" name="T75"/>
                <a:gd fmla="*/ 66 w 80" name="T76"/>
                <a:gd fmla="*/ 22 h 76" name="T77"/>
                <a:gd fmla="*/ 70 w 80" name="T78"/>
                <a:gd fmla="*/ 20 h 76" name="T79"/>
                <a:gd fmla="*/ 72 w 80" name="T80"/>
                <a:gd fmla="*/ 14 h 76" name="T81"/>
                <a:gd fmla="*/ 74 w 80" name="T82"/>
                <a:gd fmla="*/ 12 h 76" name="T83"/>
                <a:gd fmla="*/ 78 w 80" name="T84"/>
                <a:gd fmla="*/ 4 h 76" name="T85"/>
                <a:gd fmla="*/ 80 w 80" name="T86"/>
                <a:gd fmla="*/ 0 h 7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76" w="80">
                  <a:moveTo>
                    <a:pt x="72" y="2"/>
                  </a:moveTo>
                  <a:lnTo>
                    <a:pt x="70" y="4"/>
                  </a:lnTo>
                  <a:lnTo>
                    <a:pt x="66" y="6"/>
                  </a:lnTo>
                  <a:lnTo>
                    <a:pt x="64" y="6"/>
                  </a:lnTo>
                  <a:lnTo>
                    <a:pt x="62" y="6"/>
                  </a:lnTo>
                  <a:lnTo>
                    <a:pt x="60" y="6"/>
                  </a:lnTo>
                  <a:lnTo>
                    <a:pt x="58" y="8"/>
                  </a:lnTo>
                  <a:lnTo>
                    <a:pt x="56" y="10"/>
                  </a:lnTo>
                  <a:lnTo>
                    <a:pt x="54" y="12"/>
                  </a:lnTo>
                  <a:lnTo>
                    <a:pt x="54" y="12"/>
                  </a:lnTo>
                  <a:lnTo>
                    <a:pt x="50" y="14"/>
                  </a:lnTo>
                  <a:lnTo>
                    <a:pt x="44" y="16"/>
                  </a:lnTo>
                  <a:lnTo>
                    <a:pt x="38" y="16"/>
                  </a:lnTo>
                  <a:lnTo>
                    <a:pt x="32" y="16"/>
                  </a:lnTo>
                  <a:lnTo>
                    <a:pt x="28" y="16"/>
                  </a:lnTo>
                  <a:lnTo>
                    <a:pt x="24" y="14"/>
                  </a:lnTo>
                  <a:lnTo>
                    <a:pt x="24" y="14"/>
                  </a:lnTo>
                  <a:lnTo>
                    <a:pt x="20" y="12"/>
                  </a:lnTo>
                  <a:lnTo>
                    <a:pt x="18" y="12"/>
                  </a:lnTo>
                  <a:lnTo>
                    <a:pt x="16" y="14"/>
                  </a:lnTo>
                  <a:lnTo>
                    <a:pt x="16" y="16"/>
                  </a:lnTo>
                  <a:lnTo>
                    <a:pt x="16" y="16"/>
                  </a:lnTo>
                  <a:lnTo>
                    <a:pt x="12" y="20"/>
                  </a:lnTo>
                  <a:lnTo>
                    <a:pt x="10" y="24"/>
                  </a:lnTo>
                  <a:lnTo>
                    <a:pt x="8" y="24"/>
                  </a:lnTo>
                  <a:lnTo>
                    <a:pt x="8" y="24"/>
                  </a:lnTo>
                  <a:lnTo>
                    <a:pt x="6" y="24"/>
                  </a:lnTo>
                  <a:lnTo>
                    <a:pt x="6" y="24"/>
                  </a:lnTo>
                  <a:lnTo>
                    <a:pt x="4" y="22"/>
                  </a:lnTo>
                  <a:lnTo>
                    <a:pt x="4" y="24"/>
                  </a:lnTo>
                  <a:lnTo>
                    <a:pt x="6" y="26"/>
                  </a:lnTo>
                  <a:lnTo>
                    <a:pt x="6" y="26"/>
                  </a:lnTo>
                  <a:lnTo>
                    <a:pt x="6" y="28"/>
                  </a:lnTo>
                  <a:lnTo>
                    <a:pt x="6" y="30"/>
                  </a:lnTo>
                  <a:lnTo>
                    <a:pt x="6" y="32"/>
                  </a:lnTo>
                  <a:lnTo>
                    <a:pt x="4" y="34"/>
                  </a:lnTo>
                  <a:lnTo>
                    <a:pt x="4" y="36"/>
                  </a:lnTo>
                  <a:lnTo>
                    <a:pt x="4" y="36"/>
                  </a:lnTo>
                  <a:lnTo>
                    <a:pt x="4" y="38"/>
                  </a:lnTo>
                  <a:lnTo>
                    <a:pt x="2" y="42"/>
                  </a:lnTo>
                  <a:lnTo>
                    <a:pt x="4" y="42"/>
                  </a:lnTo>
                  <a:lnTo>
                    <a:pt x="4" y="42"/>
                  </a:lnTo>
                  <a:lnTo>
                    <a:pt x="6" y="42"/>
                  </a:lnTo>
                  <a:lnTo>
                    <a:pt x="8" y="42"/>
                  </a:lnTo>
                  <a:lnTo>
                    <a:pt x="10" y="42"/>
                  </a:lnTo>
                  <a:lnTo>
                    <a:pt x="12" y="44"/>
                  </a:lnTo>
                  <a:lnTo>
                    <a:pt x="12" y="46"/>
                  </a:lnTo>
                  <a:lnTo>
                    <a:pt x="8" y="50"/>
                  </a:lnTo>
                  <a:lnTo>
                    <a:pt x="8" y="52"/>
                  </a:lnTo>
                  <a:lnTo>
                    <a:pt x="8" y="54"/>
                  </a:lnTo>
                  <a:lnTo>
                    <a:pt x="8" y="56"/>
                  </a:lnTo>
                  <a:lnTo>
                    <a:pt x="6" y="58"/>
                  </a:lnTo>
                  <a:lnTo>
                    <a:pt x="6" y="60"/>
                  </a:lnTo>
                  <a:lnTo>
                    <a:pt x="4" y="62"/>
                  </a:lnTo>
                  <a:lnTo>
                    <a:pt x="4" y="62"/>
                  </a:lnTo>
                  <a:lnTo>
                    <a:pt x="4" y="62"/>
                  </a:lnTo>
                  <a:lnTo>
                    <a:pt x="4" y="64"/>
                  </a:lnTo>
                  <a:lnTo>
                    <a:pt x="2" y="66"/>
                  </a:lnTo>
                  <a:lnTo>
                    <a:pt x="0" y="68"/>
                  </a:lnTo>
                  <a:lnTo>
                    <a:pt x="0" y="68"/>
                  </a:lnTo>
                  <a:lnTo>
                    <a:pt x="2" y="70"/>
                  </a:lnTo>
                  <a:lnTo>
                    <a:pt x="4" y="70"/>
                  </a:lnTo>
                  <a:lnTo>
                    <a:pt x="4" y="70"/>
                  </a:lnTo>
                  <a:lnTo>
                    <a:pt x="4" y="72"/>
                  </a:lnTo>
                  <a:lnTo>
                    <a:pt x="6" y="74"/>
                  </a:lnTo>
                  <a:lnTo>
                    <a:pt x="8" y="76"/>
                  </a:lnTo>
                  <a:lnTo>
                    <a:pt x="12" y="76"/>
                  </a:lnTo>
                  <a:lnTo>
                    <a:pt x="16" y="76"/>
                  </a:lnTo>
                  <a:lnTo>
                    <a:pt x="22" y="74"/>
                  </a:lnTo>
                  <a:lnTo>
                    <a:pt x="66" y="38"/>
                  </a:lnTo>
                  <a:lnTo>
                    <a:pt x="66" y="36"/>
                  </a:lnTo>
                  <a:lnTo>
                    <a:pt x="66" y="34"/>
                  </a:lnTo>
                  <a:lnTo>
                    <a:pt x="66" y="32"/>
                  </a:lnTo>
                  <a:lnTo>
                    <a:pt x="66" y="30"/>
                  </a:lnTo>
                  <a:lnTo>
                    <a:pt x="66" y="28"/>
                  </a:lnTo>
                  <a:lnTo>
                    <a:pt x="66" y="26"/>
                  </a:lnTo>
                  <a:lnTo>
                    <a:pt x="66" y="24"/>
                  </a:lnTo>
                  <a:lnTo>
                    <a:pt x="66" y="22"/>
                  </a:lnTo>
                  <a:lnTo>
                    <a:pt x="68" y="22"/>
                  </a:lnTo>
                  <a:lnTo>
                    <a:pt x="70" y="20"/>
                  </a:lnTo>
                  <a:lnTo>
                    <a:pt x="72" y="18"/>
                  </a:lnTo>
                  <a:lnTo>
                    <a:pt x="72" y="14"/>
                  </a:lnTo>
                  <a:lnTo>
                    <a:pt x="74" y="14"/>
                  </a:lnTo>
                  <a:lnTo>
                    <a:pt x="74" y="12"/>
                  </a:lnTo>
                  <a:lnTo>
                    <a:pt x="76" y="8"/>
                  </a:lnTo>
                  <a:lnTo>
                    <a:pt x="78" y="4"/>
                  </a:lnTo>
                  <a:lnTo>
                    <a:pt x="78" y="2"/>
                  </a:lnTo>
                  <a:lnTo>
                    <a:pt x="80" y="0"/>
                  </a:lnTo>
                  <a:lnTo>
                    <a:pt x="72"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5" name="Freeform 442"/>
            <p:cNvSpPr/>
            <p:nvPr/>
          </p:nvSpPr>
          <p:spPr bwMode="gray">
            <a:xfrm>
              <a:off x="1808993" y="3655094"/>
              <a:ext cx="433227" cy="458837"/>
            </a:xfrm>
            <a:custGeom>
              <a:gdLst>
                <a:gd fmla="*/ 18 w 234" name="T0"/>
                <a:gd fmla="*/ 42 h 248" name="T1"/>
                <a:gd fmla="*/ 20 w 234" name="T2"/>
                <a:gd fmla="*/ 48 h 248" name="T3"/>
                <a:gd fmla="*/ 16 w 234" name="T4"/>
                <a:gd fmla="*/ 52 h 248" name="T5"/>
                <a:gd fmla="*/ 20 w 234" name="T6"/>
                <a:gd fmla="*/ 56 h 248" name="T7"/>
                <a:gd fmla="*/ 24 w 234" name="T8"/>
                <a:gd fmla="*/ 62 h 248" name="T9"/>
                <a:gd fmla="*/ 32 w 234" name="T10"/>
                <a:gd fmla="*/ 70 h 248" name="T11"/>
                <a:gd fmla="*/ 34 w 234" name="T12"/>
                <a:gd fmla="*/ 76 h 248" name="T13"/>
                <a:gd fmla="*/ 28 w 234" name="T14"/>
                <a:gd fmla="*/ 90 h 248" name="T15"/>
                <a:gd fmla="*/ 28 w 234" name="T16"/>
                <a:gd fmla="*/ 102 h 248" name="T17"/>
                <a:gd fmla="*/ 32 w 234" name="T18"/>
                <a:gd fmla="*/ 110 h 248" name="T19"/>
                <a:gd fmla="*/ 40 w 234" name="T20"/>
                <a:gd fmla="*/ 122 h 248" name="T21"/>
                <a:gd fmla="*/ 42 w 234" name="T22"/>
                <a:gd fmla="*/ 128 h 248" name="T23"/>
                <a:gd fmla="*/ 44 w 234" name="T24"/>
                <a:gd fmla="*/ 134 h 248" name="T25"/>
                <a:gd fmla="*/ 48 w 234" name="T26"/>
                <a:gd fmla="*/ 140 h 248" name="T27"/>
                <a:gd fmla="*/ 50 w 234" name="T28"/>
                <a:gd fmla="*/ 146 h 248" name="T29"/>
                <a:gd fmla="*/ 50 w 234" name="T30"/>
                <a:gd fmla="*/ 162 h 248" name="T31"/>
                <a:gd fmla="*/ 78 w 234" name="T32"/>
                <a:gd fmla="*/ 162 h 248" name="T33"/>
                <a:gd fmla="*/ 88 w 234" name="T34"/>
                <a:gd fmla="*/ 174 h 248" name="T35"/>
                <a:gd fmla="*/ 114 w 234" name="T36"/>
                <a:gd fmla="*/ 204 h 248" name="T37"/>
                <a:gd fmla="*/ 128 w 234" name="T38"/>
                <a:gd fmla="*/ 208 h 248" name="T39"/>
                <a:gd fmla="*/ 142 w 234" name="T40"/>
                <a:gd fmla="*/ 210 h 248" name="T41"/>
                <a:gd fmla="*/ 152 w 234" name="T42"/>
                <a:gd fmla="*/ 210 h 248" name="T43"/>
                <a:gd fmla="*/ 168 w 234" name="T44"/>
                <a:gd fmla="*/ 226 h 248" name="T45"/>
                <a:gd fmla="*/ 178 w 234" name="T46"/>
                <a:gd fmla="*/ 232 h 248" name="T47"/>
                <a:gd fmla="*/ 188 w 234" name="T48"/>
                <a:gd fmla="*/ 228 h 248" name="T49"/>
                <a:gd fmla="*/ 198 w 234" name="T50"/>
                <a:gd fmla="*/ 232 h 248" name="T51"/>
                <a:gd fmla="*/ 208 w 234" name="T52"/>
                <a:gd fmla="*/ 248 h 248" name="T53"/>
                <a:gd fmla="*/ 222 w 234" name="T54"/>
                <a:gd fmla="*/ 236 h 248" name="T55"/>
                <a:gd fmla="*/ 222 w 234" name="T56"/>
                <a:gd fmla="*/ 224 h 248" name="T57"/>
                <a:gd fmla="*/ 224 w 234" name="T58"/>
                <a:gd fmla="*/ 214 h 248" name="T59"/>
                <a:gd fmla="*/ 232 w 234" name="T60"/>
                <a:gd fmla="*/ 206 h 248" name="T61"/>
                <a:gd fmla="*/ 232 w 234" name="T62"/>
                <a:gd fmla="*/ 198 h 248" name="T63"/>
                <a:gd fmla="*/ 218 w 234" name="T64"/>
                <a:gd fmla="*/ 172 h 248" name="T65"/>
                <a:gd fmla="*/ 216 w 234" name="T66"/>
                <a:gd fmla="*/ 104 h 248" name="T67"/>
                <a:gd fmla="*/ 212 w 234" name="T68"/>
                <a:gd fmla="*/ 70 h 248" name="T69"/>
                <a:gd fmla="*/ 184 w 234" name="T70"/>
                <a:gd fmla="*/ 52 h 248" name="T71"/>
                <a:gd fmla="*/ 176 w 234" name="T72"/>
                <a:gd fmla="*/ 48 h 248" name="T73"/>
                <a:gd fmla="*/ 160 w 234" name="T74"/>
                <a:gd fmla="*/ 44 h 248" name="T75"/>
                <a:gd fmla="*/ 126 w 234" name="T76"/>
                <a:gd fmla="*/ 54 h 248" name="T77"/>
                <a:gd fmla="*/ 122 w 234" name="T78"/>
                <a:gd fmla="*/ 56 h 248" name="T79"/>
                <a:gd fmla="*/ 102 w 234" name="T80"/>
                <a:gd fmla="*/ 58 h 248" name="T81"/>
                <a:gd fmla="*/ 98 w 234" name="T82"/>
                <a:gd fmla="*/ 60 h 248" name="T83"/>
                <a:gd fmla="*/ 82 w 234" name="T84"/>
                <a:gd fmla="*/ 50 h 248" name="T85"/>
                <a:gd fmla="*/ 62 w 234" name="T86"/>
                <a:gd fmla="*/ 12 h 248" name="T87"/>
                <a:gd fmla="*/ 56 w 234" name="T88"/>
                <a:gd fmla="*/ 6 h 248" name="T89"/>
                <a:gd fmla="*/ 38 w 234" name="T90"/>
                <a:gd fmla="*/ 16 h 248" name="T91"/>
                <a:gd fmla="*/ 30 w 234" name="T92"/>
                <a:gd fmla="*/ 18 h 248" name="T93"/>
                <a:gd fmla="*/ 0 w 234" name="T94"/>
                <a:gd fmla="*/ 10 h 248" name="T95"/>
                <a:gd fmla="*/ 4 w 234" name="T96"/>
                <a:gd fmla="*/ 16 h 248" name="T97"/>
                <a:gd fmla="*/ 8 w 234" name="T98"/>
                <a:gd fmla="*/ 26 h 248" name="T99"/>
                <a:gd fmla="*/ 12 w 234" name="T100"/>
                <a:gd fmla="*/ 40 h 248" name="T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b="b" l="0" r="r" t="0"/>
              <a:pathLst>
                <a:path h="248" w="234">
                  <a:moveTo>
                    <a:pt x="14" y="42"/>
                  </a:moveTo>
                  <a:lnTo>
                    <a:pt x="16" y="42"/>
                  </a:lnTo>
                  <a:lnTo>
                    <a:pt x="18" y="42"/>
                  </a:lnTo>
                  <a:lnTo>
                    <a:pt x="18" y="42"/>
                  </a:lnTo>
                  <a:lnTo>
                    <a:pt x="18" y="46"/>
                  </a:lnTo>
                  <a:lnTo>
                    <a:pt x="20" y="48"/>
                  </a:lnTo>
                  <a:lnTo>
                    <a:pt x="18" y="48"/>
                  </a:lnTo>
                  <a:lnTo>
                    <a:pt x="18" y="50"/>
                  </a:lnTo>
                  <a:lnTo>
                    <a:pt x="16" y="52"/>
                  </a:lnTo>
                  <a:lnTo>
                    <a:pt x="16" y="54"/>
                  </a:lnTo>
                  <a:lnTo>
                    <a:pt x="18" y="54"/>
                  </a:lnTo>
                  <a:lnTo>
                    <a:pt x="20" y="56"/>
                  </a:lnTo>
                  <a:lnTo>
                    <a:pt x="22" y="58"/>
                  </a:lnTo>
                  <a:lnTo>
                    <a:pt x="24" y="60"/>
                  </a:lnTo>
                  <a:lnTo>
                    <a:pt x="24" y="62"/>
                  </a:lnTo>
                  <a:lnTo>
                    <a:pt x="26" y="64"/>
                  </a:lnTo>
                  <a:lnTo>
                    <a:pt x="30" y="66"/>
                  </a:lnTo>
                  <a:lnTo>
                    <a:pt x="32" y="70"/>
                  </a:lnTo>
                  <a:lnTo>
                    <a:pt x="34" y="72"/>
                  </a:lnTo>
                  <a:lnTo>
                    <a:pt x="34" y="76"/>
                  </a:lnTo>
                  <a:lnTo>
                    <a:pt x="34" y="76"/>
                  </a:lnTo>
                  <a:lnTo>
                    <a:pt x="32" y="80"/>
                  </a:lnTo>
                  <a:lnTo>
                    <a:pt x="30" y="84"/>
                  </a:lnTo>
                  <a:lnTo>
                    <a:pt x="28" y="90"/>
                  </a:lnTo>
                  <a:lnTo>
                    <a:pt x="28" y="94"/>
                  </a:lnTo>
                  <a:lnTo>
                    <a:pt x="26" y="98"/>
                  </a:lnTo>
                  <a:lnTo>
                    <a:pt x="28" y="102"/>
                  </a:lnTo>
                  <a:lnTo>
                    <a:pt x="28" y="102"/>
                  </a:lnTo>
                  <a:lnTo>
                    <a:pt x="30" y="106"/>
                  </a:lnTo>
                  <a:lnTo>
                    <a:pt x="32" y="110"/>
                  </a:lnTo>
                  <a:lnTo>
                    <a:pt x="34" y="114"/>
                  </a:lnTo>
                  <a:lnTo>
                    <a:pt x="36" y="120"/>
                  </a:lnTo>
                  <a:lnTo>
                    <a:pt x="40" y="122"/>
                  </a:lnTo>
                  <a:lnTo>
                    <a:pt x="42" y="124"/>
                  </a:lnTo>
                  <a:lnTo>
                    <a:pt x="42" y="126"/>
                  </a:lnTo>
                  <a:lnTo>
                    <a:pt x="42" y="128"/>
                  </a:lnTo>
                  <a:lnTo>
                    <a:pt x="42" y="130"/>
                  </a:lnTo>
                  <a:lnTo>
                    <a:pt x="44" y="134"/>
                  </a:lnTo>
                  <a:lnTo>
                    <a:pt x="44" y="134"/>
                  </a:lnTo>
                  <a:lnTo>
                    <a:pt x="44" y="136"/>
                  </a:lnTo>
                  <a:lnTo>
                    <a:pt x="46" y="138"/>
                  </a:lnTo>
                  <a:lnTo>
                    <a:pt x="48" y="140"/>
                  </a:lnTo>
                  <a:lnTo>
                    <a:pt x="50" y="142"/>
                  </a:lnTo>
                  <a:lnTo>
                    <a:pt x="50" y="144"/>
                  </a:lnTo>
                  <a:lnTo>
                    <a:pt x="50" y="146"/>
                  </a:lnTo>
                  <a:lnTo>
                    <a:pt x="52" y="150"/>
                  </a:lnTo>
                  <a:lnTo>
                    <a:pt x="52" y="152"/>
                  </a:lnTo>
                  <a:lnTo>
                    <a:pt x="50" y="162"/>
                  </a:lnTo>
                  <a:lnTo>
                    <a:pt x="64" y="164"/>
                  </a:lnTo>
                  <a:lnTo>
                    <a:pt x="78" y="162"/>
                  </a:lnTo>
                  <a:lnTo>
                    <a:pt x="78" y="162"/>
                  </a:lnTo>
                  <a:lnTo>
                    <a:pt x="80" y="164"/>
                  </a:lnTo>
                  <a:lnTo>
                    <a:pt x="84" y="168"/>
                  </a:lnTo>
                  <a:lnTo>
                    <a:pt x="88" y="174"/>
                  </a:lnTo>
                  <a:lnTo>
                    <a:pt x="94" y="182"/>
                  </a:lnTo>
                  <a:lnTo>
                    <a:pt x="114" y="202"/>
                  </a:lnTo>
                  <a:lnTo>
                    <a:pt x="114" y="204"/>
                  </a:lnTo>
                  <a:lnTo>
                    <a:pt x="118" y="204"/>
                  </a:lnTo>
                  <a:lnTo>
                    <a:pt x="122" y="206"/>
                  </a:lnTo>
                  <a:lnTo>
                    <a:pt x="128" y="208"/>
                  </a:lnTo>
                  <a:lnTo>
                    <a:pt x="132" y="208"/>
                  </a:lnTo>
                  <a:lnTo>
                    <a:pt x="136" y="210"/>
                  </a:lnTo>
                  <a:lnTo>
                    <a:pt x="142" y="210"/>
                  </a:lnTo>
                  <a:lnTo>
                    <a:pt x="148" y="210"/>
                  </a:lnTo>
                  <a:lnTo>
                    <a:pt x="150" y="210"/>
                  </a:lnTo>
                  <a:lnTo>
                    <a:pt x="152" y="210"/>
                  </a:lnTo>
                  <a:lnTo>
                    <a:pt x="160" y="206"/>
                  </a:lnTo>
                  <a:lnTo>
                    <a:pt x="166" y="214"/>
                  </a:lnTo>
                  <a:lnTo>
                    <a:pt x="168" y="226"/>
                  </a:lnTo>
                  <a:lnTo>
                    <a:pt x="176" y="234"/>
                  </a:lnTo>
                  <a:lnTo>
                    <a:pt x="176" y="232"/>
                  </a:lnTo>
                  <a:lnTo>
                    <a:pt x="178" y="232"/>
                  </a:lnTo>
                  <a:lnTo>
                    <a:pt x="180" y="230"/>
                  </a:lnTo>
                  <a:lnTo>
                    <a:pt x="184" y="230"/>
                  </a:lnTo>
                  <a:lnTo>
                    <a:pt x="188" y="228"/>
                  </a:lnTo>
                  <a:lnTo>
                    <a:pt x="190" y="228"/>
                  </a:lnTo>
                  <a:lnTo>
                    <a:pt x="194" y="230"/>
                  </a:lnTo>
                  <a:lnTo>
                    <a:pt x="198" y="232"/>
                  </a:lnTo>
                  <a:lnTo>
                    <a:pt x="200" y="234"/>
                  </a:lnTo>
                  <a:lnTo>
                    <a:pt x="200" y="240"/>
                  </a:lnTo>
                  <a:lnTo>
                    <a:pt x="208" y="248"/>
                  </a:lnTo>
                  <a:lnTo>
                    <a:pt x="224" y="240"/>
                  </a:lnTo>
                  <a:lnTo>
                    <a:pt x="224" y="238"/>
                  </a:lnTo>
                  <a:lnTo>
                    <a:pt x="222" y="236"/>
                  </a:lnTo>
                  <a:lnTo>
                    <a:pt x="222" y="230"/>
                  </a:lnTo>
                  <a:lnTo>
                    <a:pt x="222" y="226"/>
                  </a:lnTo>
                  <a:lnTo>
                    <a:pt x="222" y="224"/>
                  </a:lnTo>
                  <a:lnTo>
                    <a:pt x="222" y="222"/>
                  </a:lnTo>
                  <a:lnTo>
                    <a:pt x="222" y="218"/>
                  </a:lnTo>
                  <a:lnTo>
                    <a:pt x="224" y="214"/>
                  </a:lnTo>
                  <a:lnTo>
                    <a:pt x="228" y="210"/>
                  </a:lnTo>
                  <a:lnTo>
                    <a:pt x="232" y="208"/>
                  </a:lnTo>
                  <a:lnTo>
                    <a:pt x="232" y="206"/>
                  </a:lnTo>
                  <a:lnTo>
                    <a:pt x="232" y="204"/>
                  </a:lnTo>
                  <a:lnTo>
                    <a:pt x="234" y="202"/>
                  </a:lnTo>
                  <a:lnTo>
                    <a:pt x="232" y="198"/>
                  </a:lnTo>
                  <a:lnTo>
                    <a:pt x="232" y="196"/>
                  </a:lnTo>
                  <a:lnTo>
                    <a:pt x="230" y="194"/>
                  </a:lnTo>
                  <a:lnTo>
                    <a:pt x="218" y="172"/>
                  </a:lnTo>
                  <a:lnTo>
                    <a:pt x="206" y="152"/>
                  </a:lnTo>
                  <a:lnTo>
                    <a:pt x="206" y="120"/>
                  </a:lnTo>
                  <a:lnTo>
                    <a:pt x="216" y="104"/>
                  </a:lnTo>
                  <a:lnTo>
                    <a:pt x="218" y="80"/>
                  </a:lnTo>
                  <a:lnTo>
                    <a:pt x="216" y="76"/>
                  </a:lnTo>
                  <a:lnTo>
                    <a:pt x="212" y="70"/>
                  </a:lnTo>
                  <a:lnTo>
                    <a:pt x="206" y="62"/>
                  </a:lnTo>
                  <a:lnTo>
                    <a:pt x="196" y="54"/>
                  </a:lnTo>
                  <a:lnTo>
                    <a:pt x="184" y="52"/>
                  </a:lnTo>
                  <a:lnTo>
                    <a:pt x="182" y="50"/>
                  </a:lnTo>
                  <a:lnTo>
                    <a:pt x="180" y="50"/>
                  </a:lnTo>
                  <a:lnTo>
                    <a:pt x="176" y="48"/>
                  </a:lnTo>
                  <a:lnTo>
                    <a:pt x="172" y="48"/>
                  </a:lnTo>
                  <a:lnTo>
                    <a:pt x="170" y="46"/>
                  </a:lnTo>
                  <a:lnTo>
                    <a:pt x="160" y="44"/>
                  </a:lnTo>
                  <a:lnTo>
                    <a:pt x="144" y="44"/>
                  </a:lnTo>
                  <a:lnTo>
                    <a:pt x="126" y="54"/>
                  </a:lnTo>
                  <a:lnTo>
                    <a:pt x="126" y="54"/>
                  </a:lnTo>
                  <a:lnTo>
                    <a:pt x="126" y="54"/>
                  </a:lnTo>
                  <a:lnTo>
                    <a:pt x="124" y="56"/>
                  </a:lnTo>
                  <a:lnTo>
                    <a:pt x="122" y="56"/>
                  </a:lnTo>
                  <a:lnTo>
                    <a:pt x="118" y="58"/>
                  </a:lnTo>
                  <a:lnTo>
                    <a:pt x="112" y="58"/>
                  </a:lnTo>
                  <a:lnTo>
                    <a:pt x="102" y="58"/>
                  </a:lnTo>
                  <a:lnTo>
                    <a:pt x="102" y="58"/>
                  </a:lnTo>
                  <a:lnTo>
                    <a:pt x="100" y="60"/>
                  </a:lnTo>
                  <a:lnTo>
                    <a:pt x="98" y="60"/>
                  </a:lnTo>
                  <a:lnTo>
                    <a:pt x="96" y="58"/>
                  </a:lnTo>
                  <a:lnTo>
                    <a:pt x="90" y="56"/>
                  </a:lnTo>
                  <a:lnTo>
                    <a:pt x="82" y="50"/>
                  </a:lnTo>
                  <a:lnTo>
                    <a:pt x="76" y="40"/>
                  </a:lnTo>
                  <a:lnTo>
                    <a:pt x="72" y="26"/>
                  </a:lnTo>
                  <a:lnTo>
                    <a:pt x="62" y="12"/>
                  </a:lnTo>
                  <a:lnTo>
                    <a:pt x="62" y="12"/>
                  </a:lnTo>
                  <a:lnTo>
                    <a:pt x="60" y="10"/>
                  </a:lnTo>
                  <a:lnTo>
                    <a:pt x="56" y="6"/>
                  </a:lnTo>
                  <a:lnTo>
                    <a:pt x="54" y="4"/>
                  </a:lnTo>
                  <a:lnTo>
                    <a:pt x="52" y="0"/>
                  </a:lnTo>
                  <a:lnTo>
                    <a:pt x="38" y="16"/>
                  </a:lnTo>
                  <a:lnTo>
                    <a:pt x="36" y="16"/>
                  </a:lnTo>
                  <a:lnTo>
                    <a:pt x="34" y="18"/>
                  </a:lnTo>
                  <a:lnTo>
                    <a:pt x="30" y="18"/>
                  </a:lnTo>
                  <a:lnTo>
                    <a:pt x="26" y="18"/>
                  </a:lnTo>
                  <a:lnTo>
                    <a:pt x="22" y="14"/>
                  </a:lnTo>
                  <a:lnTo>
                    <a:pt x="0" y="10"/>
                  </a:lnTo>
                  <a:lnTo>
                    <a:pt x="0" y="12"/>
                  </a:lnTo>
                  <a:lnTo>
                    <a:pt x="2" y="14"/>
                  </a:lnTo>
                  <a:lnTo>
                    <a:pt x="4" y="16"/>
                  </a:lnTo>
                  <a:lnTo>
                    <a:pt x="4" y="20"/>
                  </a:lnTo>
                  <a:lnTo>
                    <a:pt x="6" y="24"/>
                  </a:lnTo>
                  <a:lnTo>
                    <a:pt x="8" y="26"/>
                  </a:lnTo>
                  <a:lnTo>
                    <a:pt x="12" y="38"/>
                  </a:lnTo>
                  <a:lnTo>
                    <a:pt x="12" y="38"/>
                  </a:lnTo>
                  <a:lnTo>
                    <a:pt x="12" y="40"/>
                  </a:lnTo>
                  <a:lnTo>
                    <a:pt x="10" y="42"/>
                  </a:lnTo>
                  <a:lnTo>
                    <a:pt x="14" y="4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6" name="Freeform 443"/>
            <p:cNvSpPr/>
            <p:nvPr/>
          </p:nvSpPr>
          <p:spPr bwMode="gray">
            <a:xfrm>
              <a:off x="1038812" y="4809588"/>
              <a:ext cx="51839" cy="40703"/>
            </a:xfrm>
            <a:custGeom>
              <a:gdLst>
                <a:gd fmla="*/ 2 w 28" name="T0"/>
                <a:gd fmla="*/ 10 h 22" name="T1"/>
                <a:gd fmla="*/ 4 w 28" name="T2"/>
                <a:gd fmla="*/ 22 h 22" name="T3"/>
                <a:gd fmla="*/ 28 w 28" name="T4"/>
                <a:gd fmla="*/ 4 h 22" name="T5"/>
                <a:gd fmla="*/ 26 w 28" name="T6"/>
                <a:gd fmla="*/ 2 h 22" name="T7"/>
                <a:gd fmla="*/ 26 w 28" name="T8"/>
                <a:gd fmla="*/ 2 h 22" name="T9"/>
                <a:gd fmla="*/ 24 w 28" name="T10"/>
                <a:gd fmla="*/ 0 h 22" name="T11"/>
                <a:gd fmla="*/ 22 w 28" name="T12"/>
                <a:gd fmla="*/ 0 h 22" name="T13"/>
                <a:gd fmla="*/ 20 w 28" name="T14"/>
                <a:gd fmla="*/ 0 h 22" name="T15"/>
                <a:gd fmla="*/ 14 w 28" name="T16"/>
                <a:gd fmla="*/ 2 h 22" name="T17"/>
                <a:gd fmla="*/ 0 w 28" name="T18"/>
                <a:gd fmla="*/ 8 h 22" name="T19"/>
                <a:gd fmla="*/ 2 w 28" name="T20"/>
                <a:gd fmla="*/ 10 h 2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22" w="28">
                  <a:moveTo>
                    <a:pt x="2" y="10"/>
                  </a:moveTo>
                  <a:lnTo>
                    <a:pt x="4" y="22"/>
                  </a:lnTo>
                  <a:lnTo>
                    <a:pt x="28" y="4"/>
                  </a:lnTo>
                  <a:lnTo>
                    <a:pt x="26" y="2"/>
                  </a:lnTo>
                  <a:lnTo>
                    <a:pt x="26" y="2"/>
                  </a:lnTo>
                  <a:lnTo>
                    <a:pt x="24" y="0"/>
                  </a:lnTo>
                  <a:lnTo>
                    <a:pt x="22" y="0"/>
                  </a:lnTo>
                  <a:lnTo>
                    <a:pt x="20" y="0"/>
                  </a:lnTo>
                  <a:lnTo>
                    <a:pt x="14" y="2"/>
                  </a:lnTo>
                  <a:lnTo>
                    <a:pt x="0" y="8"/>
                  </a:lnTo>
                  <a:lnTo>
                    <a:pt x="2" y="1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7" name="Freeform 444"/>
            <p:cNvSpPr/>
            <p:nvPr/>
          </p:nvSpPr>
          <p:spPr bwMode="gray">
            <a:xfrm>
              <a:off x="564854" y="3743901"/>
              <a:ext cx="481363" cy="455137"/>
            </a:xfrm>
            <a:custGeom>
              <a:gdLst>
                <a:gd fmla="*/ 0 w 260" name="T0"/>
                <a:gd fmla="*/ 128 h 246" name="T1"/>
                <a:gd fmla="*/ 20 w 260" name="T2"/>
                <a:gd fmla="*/ 114 h 246" name="T3"/>
                <a:gd fmla="*/ 86 w 260" name="T4"/>
                <a:gd fmla="*/ 92 h 246" name="T5"/>
                <a:gd fmla="*/ 88 w 260" name="T6"/>
                <a:gd fmla="*/ 76 h 246" name="T7"/>
                <a:gd fmla="*/ 94 w 260" name="T8"/>
                <a:gd fmla="*/ 72 h 246" name="T9"/>
                <a:gd fmla="*/ 102 w 260" name="T10"/>
                <a:gd fmla="*/ 72 h 246" name="T11"/>
                <a:gd fmla="*/ 108 w 260" name="T12"/>
                <a:gd fmla="*/ 72 h 246" name="T13"/>
                <a:gd fmla="*/ 102 w 260" name="T14"/>
                <a:gd fmla="*/ 64 h 246" name="T15"/>
                <a:gd fmla="*/ 98 w 260" name="T16"/>
                <a:gd fmla="*/ 56 h 246" name="T17"/>
                <a:gd fmla="*/ 98 w 260" name="T18"/>
                <a:gd fmla="*/ 46 h 246" name="T19"/>
                <a:gd fmla="*/ 96 w 260" name="T20"/>
                <a:gd fmla="*/ 36 h 246" name="T21"/>
                <a:gd fmla="*/ 90 w 260" name="T22"/>
                <a:gd fmla="*/ 30 h 246" name="T23"/>
                <a:gd fmla="*/ 86 w 260" name="T24"/>
                <a:gd fmla="*/ 30 h 246" name="T25"/>
                <a:gd fmla="*/ 92 w 260" name="T26"/>
                <a:gd fmla="*/ 26 h 246" name="T27"/>
                <a:gd fmla="*/ 116 w 260" name="T28"/>
                <a:gd fmla="*/ 16 h 246" name="T29"/>
                <a:gd fmla="*/ 126 w 260" name="T30"/>
                <a:gd fmla="*/ 14 h 246" name="T31"/>
                <a:gd fmla="*/ 136 w 260" name="T32"/>
                <a:gd fmla="*/ 10 h 246" name="T33"/>
                <a:gd fmla="*/ 142 w 260" name="T34"/>
                <a:gd fmla="*/ 8 h 246" name="T35"/>
                <a:gd fmla="*/ 148 w 260" name="T36"/>
                <a:gd fmla="*/ 8 h 246" name="T37"/>
                <a:gd fmla="*/ 170 w 260" name="T38"/>
                <a:gd fmla="*/ 4 h 246" name="T39"/>
                <a:gd fmla="*/ 198 w 260" name="T40"/>
                <a:gd fmla="*/ 2 h 246" name="T41"/>
                <a:gd fmla="*/ 202 w 260" name="T42"/>
                <a:gd fmla="*/ 0 h 246" name="T43"/>
                <a:gd fmla="*/ 210 w 260" name="T44"/>
                <a:gd fmla="*/ 2 h 246" name="T45"/>
                <a:gd fmla="*/ 216 w 260" name="T46"/>
                <a:gd fmla="*/ 4 h 246" name="T47"/>
                <a:gd fmla="*/ 218 w 260" name="T48"/>
                <a:gd fmla="*/ 8 h 246" name="T49"/>
                <a:gd fmla="*/ 216 w 260" name="T50"/>
                <a:gd fmla="*/ 14 h 246" name="T51"/>
                <a:gd fmla="*/ 216 w 260" name="T52"/>
                <a:gd fmla="*/ 24 h 246" name="T53"/>
                <a:gd fmla="*/ 214 w 260" name="T54"/>
                <a:gd fmla="*/ 28 h 246" name="T55"/>
                <a:gd fmla="*/ 212 w 260" name="T56"/>
                <a:gd fmla="*/ 34 h 246" name="T57"/>
                <a:gd fmla="*/ 210 w 260" name="T58"/>
                <a:gd fmla="*/ 36 h 246" name="T59"/>
                <a:gd fmla="*/ 210 w 260" name="T60"/>
                <a:gd fmla="*/ 40 h 246" name="T61"/>
                <a:gd fmla="*/ 212 w 260" name="T62"/>
                <a:gd fmla="*/ 46 h 246" name="T63"/>
                <a:gd fmla="*/ 214 w 260" name="T64"/>
                <a:gd fmla="*/ 50 h 246" name="T65"/>
                <a:gd fmla="*/ 214 w 260" name="T66"/>
                <a:gd fmla="*/ 54 h 246" name="T67"/>
                <a:gd fmla="*/ 216 w 260" name="T68"/>
                <a:gd fmla="*/ 60 h 246" name="T69"/>
                <a:gd fmla="*/ 218 w 260" name="T70"/>
                <a:gd fmla="*/ 60 h 246" name="T71"/>
                <a:gd fmla="*/ 220 w 260" name="T72"/>
                <a:gd fmla="*/ 64 h 246" name="T73"/>
                <a:gd fmla="*/ 224 w 260" name="T74"/>
                <a:gd fmla="*/ 88 h 246" name="T75"/>
                <a:gd fmla="*/ 234 w 260" name="T76"/>
                <a:gd fmla="*/ 110 h 246" name="T77"/>
                <a:gd fmla="*/ 234 w 260" name="T78"/>
                <a:gd fmla="*/ 110 h 246" name="T79"/>
                <a:gd fmla="*/ 234 w 260" name="T80"/>
                <a:gd fmla="*/ 116 h 246" name="T81"/>
                <a:gd fmla="*/ 236 w 260" name="T82"/>
                <a:gd fmla="*/ 126 h 246" name="T83"/>
                <a:gd fmla="*/ 238 w 260" name="T84"/>
                <a:gd fmla="*/ 134 h 246" name="T85"/>
                <a:gd fmla="*/ 238 w 260" name="T86"/>
                <a:gd fmla="*/ 138 h 246" name="T87"/>
                <a:gd fmla="*/ 240 w 260" name="T88"/>
                <a:gd fmla="*/ 142 h 246" name="T89"/>
                <a:gd fmla="*/ 244 w 260" name="T90"/>
                <a:gd fmla="*/ 146 h 246" name="T91"/>
                <a:gd fmla="*/ 244 w 260" name="T92"/>
                <a:gd fmla="*/ 154 h 246" name="T93"/>
                <a:gd fmla="*/ 242 w 260" name="T94"/>
                <a:gd fmla="*/ 166 h 246" name="T95"/>
                <a:gd fmla="*/ 244 w 260" name="T96"/>
                <a:gd fmla="*/ 168 h 246" name="T97"/>
                <a:gd fmla="*/ 246 w 260" name="T98"/>
                <a:gd fmla="*/ 174 h 246" name="T99"/>
                <a:gd fmla="*/ 246 w 260" name="T100"/>
                <a:gd fmla="*/ 180 h 246" name="T101"/>
                <a:gd fmla="*/ 250 w 260" name="T102"/>
                <a:gd fmla="*/ 186 h 246" name="T103"/>
                <a:gd fmla="*/ 192 w 260" name="T104"/>
                <a:gd fmla="*/ 236 h 246" name="T105"/>
                <a:gd fmla="*/ 148 w 260" name="T106"/>
                <a:gd fmla="*/ 230 h 246" name="T107"/>
                <a:gd fmla="*/ 4 w 260" name="T108"/>
                <a:gd fmla="*/ 144 h 246"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246" w="260">
                  <a:moveTo>
                    <a:pt x="4" y="144"/>
                  </a:moveTo>
                  <a:lnTo>
                    <a:pt x="0" y="128"/>
                  </a:lnTo>
                  <a:lnTo>
                    <a:pt x="12" y="122"/>
                  </a:lnTo>
                  <a:lnTo>
                    <a:pt x="20" y="114"/>
                  </a:lnTo>
                  <a:lnTo>
                    <a:pt x="34" y="110"/>
                  </a:lnTo>
                  <a:lnTo>
                    <a:pt x="86" y="92"/>
                  </a:lnTo>
                  <a:lnTo>
                    <a:pt x="88" y="80"/>
                  </a:lnTo>
                  <a:lnTo>
                    <a:pt x="88" y="76"/>
                  </a:lnTo>
                  <a:lnTo>
                    <a:pt x="92" y="74"/>
                  </a:lnTo>
                  <a:lnTo>
                    <a:pt x="94" y="72"/>
                  </a:lnTo>
                  <a:lnTo>
                    <a:pt x="98" y="72"/>
                  </a:lnTo>
                  <a:lnTo>
                    <a:pt x="102" y="72"/>
                  </a:lnTo>
                  <a:lnTo>
                    <a:pt x="106" y="72"/>
                  </a:lnTo>
                  <a:lnTo>
                    <a:pt x="108" y="72"/>
                  </a:lnTo>
                  <a:lnTo>
                    <a:pt x="110" y="72"/>
                  </a:lnTo>
                  <a:lnTo>
                    <a:pt x="102" y="64"/>
                  </a:lnTo>
                  <a:lnTo>
                    <a:pt x="100" y="60"/>
                  </a:lnTo>
                  <a:lnTo>
                    <a:pt x="98" y="56"/>
                  </a:lnTo>
                  <a:lnTo>
                    <a:pt x="98" y="52"/>
                  </a:lnTo>
                  <a:lnTo>
                    <a:pt x="98" y="46"/>
                  </a:lnTo>
                  <a:lnTo>
                    <a:pt x="98" y="40"/>
                  </a:lnTo>
                  <a:lnTo>
                    <a:pt x="96" y="36"/>
                  </a:lnTo>
                  <a:lnTo>
                    <a:pt x="94" y="32"/>
                  </a:lnTo>
                  <a:lnTo>
                    <a:pt x="90" y="30"/>
                  </a:lnTo>
                  <a:lnTo>
                    <a:pt x="88" y="30"/>
                  </a:lnTo>
                  <a:lnTo>
                    <a:pt x="86" y="30"/>
                  </a:lnTo>
                  <a:lnTo>
                    <a:pt x="88" y="28"/>
                  </a:lnTo>
                  <a:lnTo>
                    <a:pt x="92" y="26"/>
                  </a:lnTo>
                  <a:lnTo>
                    <a:pt x="94" y="24"/>
                  </a:lnTo>
                  <a:lnTo>
                    <a:pt x="116" y="16"/>
                  </a:lnTo>
                  <a:lnTo>
                    <a:pt x="120" y="14"/>
                  </a:lnTo>
                  <a:lnTo>
                    <a:pt x="126" y="14"/>
                  </a:lnTo>
                  <a:lnTo>
                    <a:pt x="130" y="12"/>
                  </a:lnTo>
                  <a:lnTo>
                    <a:pt x="136" y="10"/>
                  </a:lnTo>
                  <a:lnTo>
                    <a:pt x="140" y="10"/>
                  </a:lnTo>
                  <a:lnTo>
                    <a:pt x="142" y="8"/>
                  </a:lnTo>
                  <a:lnTo>
                    <a:pt x="144" y="8"/>
                  </a:lnTo>
                  <a:lnTo>
                    <a:pt x="148" y="8"/>
                  </a:lnTo>
                  <a:lnTo>
                    <a:pt x="158" y="4"/>
                  </a:lnTo>
                  <a:lnTo>
                    <a:pt x="170" y="4"/>
                  </a:lnTo>
                  <a:lnTo>
                    <a:pt x="176" y="4"/>
                  </a:lnTo>
                  <a:lnTo>
                    <a:pt x="198" y="2"/>
                  </a:lnTo>
                  <a:lnTo>
                    <a:pt x="198" y="2"/>
                  </a:lnTo>
                  <a:lnTo>
                    <a:pt x="202" y="0"/>
                  </a:lnTo>
                  <a:lnTo>
                    <a:pt x="206" y="0"/>
                  </a:lnTo>
                  <a:lnTo>
                    <a:pt x="210" y="2"/>
                  </a:lnTo>
                  <a:lnTo>
                    <a:pt x="214" y="2"/>
                  </a:lnTo>
                  <a:lnTo>
                    <a:pt x="216" y="4"/>
                  </a:lnTo>
                  <a:lnTo>
                    <a:pt x="220" y="8"/>
                  </a:lnTo>
                  <a:lnTo>
                    <a:pt x="218" y="8"/>
                  </a:lnTo>
                  <a:lnTo>
                    <a:pt x="218" y="10"/>
                  </a:lnTo>
                  <a:lnTo>
                    <a:pt x="216" y="14"/>
                  </a:lnTo>
                  <a:lnTo>
                    <a:pt x="216" y="18"/>
                  </a:lnTo>
                  <a:lnTo>
                    <a:pt x="216" y="24"/>
                  </a:lnTo>
                  <a:lnTo>
                    <a:pt x="214" y="24"/>
                  </a:lnTo>
                  <a:lnTo>
                    <a:pt x="214" y="28"/>
                  </a:lnTo>
                  <a:lnTo>
                    <a:pt x="214" y="30"/>
                  </a:lnTo>
                  <a:lnTo>
                    <a:pt x="212" y="34"/>
                  </a:lnTo>
                  <a:lnTo>
                    <a:pt x="210" y="34"/>
                  </a:lnTo>
                  <a:lnTo>
                    <a:pt x="210" y="36"/>
                  </a:lnTo>
                  <a:lnTo>
                    <a:pt x="210" y="38"/>
                  </a:lnTo>
                  <a:lnTo>
                    <a:pt x="210" y="40"/>
                  </a:lnTo>
                  <a:lnTo>
                    <a:pt x="212" y="44"/>
                  </a:lnTo>
                  <a:lnTo>
                    <a:pt x="212" y="46"/>
                  </a:lnTo>
                  <a:lnTo>
                    <a:pt x="212" y="48"/>
                  </a:lnTo>
                  <a:lnTo>
                    <a:pt x="214" y="50"/>
                  </a:lnTo>
                  <a:lnTo>
                    <a:pt x="214" y="52"/>
                  </a:lnTo>
                  <a:lnTo>
                    <a:pt x="214" y="54"/>
                  </a:lnTo>
                  <a:lnTo>
                    <a:pt x="214" y="56"/>
                  </a:lnTo>
                  <a:lnTo>
                    <a:pt x="216" y="60"/>
                  </a:lnTo>
                  <a:lnTo>
                    <a:pt x="218" y="60"/>
                  </a:lnTo>
                  <a:lnTo>
                    <a:pt x="218" y="60"/>
                  </a:lnTo>
                  <a:lnTo>
                    <a:pt x="220" y="62"/>
                  </a:lnTo>
                  <a:lnTo>
                    <a:pt x="220" y="64"/>
                  </a:lnTo>
                  <a:lnTo>
                    <a:pt x="222" y="74"/>
                  </a:lnTo>
                  <a:lnTo>
                    <a:pt x="224" y="88"/>
                  </a:lnTo>
                  <a:lnTo>
                    <a:pt x="228" y="102"/>
                  </a:lnTo>
                  <a:lnTo>
                    <a:pt x="234" y="110"/>
                  </a:lnTo>
                  <a:lnTo>
                    <a:pt x="234" y="110"/>
                  </a:lnTo>
                  <a:lnTo>
                    <a:pt x="234" y="110"/>
                  </a:lnTo>
                  <a:lnTo>
                    <a:pt x="234" y="112"/>
                  </a:lnTo>
                  <a:lnTo>
                    <a:pt x="234" y="116"/>
                  </a:lnTo>
                  <a:lnTo>
                    <a:pt x="234" y="120"/>
                  </a:lnTo>
                  <a:lnTo>
                    <a:pt x="236" y="126"/>
                  </a:lnTo>
                  <a:lnTo>
                    <a:pt x="236" y="130"/>
                  </a:lnTo>
                  <a:lnTo>
                    <a:pt x="238" y="134"/>
                  </a:lnTo>
                  <a:lnTo>
                    <a:pt x="238" y="138"/>
                  </a:lnTo>
                  <a:lnTo>
                    <a:pt x="238" y="138"/>
                  </a:lnTo>
                  <a:lnTo>
                    <a:pt x="238" y="140"/>
                  </a:lnTo>
                  <a:lnTo>
                    <a:pt x="240" y="142"/>
                  </a:lnTo>
                  <a:lnTo>
                    <a:pt x="244" y="144"/>
                  </a:lnTo>
                  <a:lnTo>
                    <a:pt x="244" y="146"/>
                  </a:lnTo>
                  <a:lnTo>
                    <a:pt x="244" y="150"/>
                  </a:lnTo>
                  <a:lnTo>
                    <a:pt x="244" y="154"/>
                  </a:lnTo>
                  <a:lnTo>
                    <a:pt x="246" y="158"/>
                  </a:lnTo>
                  <a:lnTo>
                    <a:pt x="242" y="166"/>
                  </a:lnTo>
                  <a:lnTo>
                    <a:pt x="242" y="166"/>
                  </a:lnTo>
                  <a:lnTo>
                    <a:pt x="244" y="168"/>
                  </a:lnTo>
                  <a:lnTo>
                    <a:pt x="246" y="170"/>
                  </a:lnTo>
                  <a:lnTo>
                    <a:pt x="246" y="174"/>
                  </a:lnTo>
                  <a:lnTo>
                    <a:pt x="246" y="176"/>
                  </a:lnTo>
                  <a:lnTo>
                    <a:pt x="246" y="180"/>
                  </a:lnTo>
                  <a:lnTo>
                    <a:pt x="248" y="184"/>
                  </a:lnTo>
                  <a:lnTo>
                    <a:pt x="250" y="186"/>
                  </a:lnTo>
                  <a:lnTo>
                    <a:pt x="260" y="200"/>
                  </a:lnTo>
                  <a:lnTo>
                    <a:pt x="192" y="236"/>
                  </a:lnTo>
                  <a:lnTo>
                    <a:pt x="152" y="246"/>
                  </a:lnTo>
                  <a:lnTo>
                    <a:pt x="148" y="230"/>
                  </a:lnTo>
                  <a:lnTo>
                    <a:pt x="120" y="230"/>
                  </a:lnTo>
                  <a:lnTo>
                    <a:pt x="4" y="14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8" name="Freeform 445"/>
            <p:cNvSpPr/>
            <p:nvPr/>
          </p:nvSpPr>
          <p:spPr bwMode="gray">
            <a:xfrm>
              <a:off x="364903" y="3999222"/>
              <a:ext cx="207356" cy="181315"/>
            </a:xfrm>
            <a:custGeom>
              <a:gdLst>
                <a:gd fmla="*/ 0 w 112" name="T0"/>
                <a:gd fmla="*/ 90 h 98" name="T1"/>
                <a:gd fmla="*/ 2 w 112" name="T2"/>
                <a:gd fmla="*/ 82 h 98" name="T3"/>
                <a:gd fmla="*/ 6 w 112" name="T4"/>
                <a:gd fmla="*/ 74 h 98" name="T5"/>
                <a:gd fmla="*/ 16 w 112" name="T6"/>
                <a:gd fmla="*/ 68 h 98" name="T7"/>
                <a:gd fmla="*/ 28 w 112" name="T8"/>
                <a:gd fmla="*/ 64 h 98" name="T9"/>
                <a:gd fmla="*/ 32 w 112" name="T10"/>
                <a:gd fmla="*/ 60 h 98" name="T11"/>
                <a:gd fmla="*/ 32 w 112" name="T12"/>
                <a:gd fmla="*/ 56 h 98" name="T13"/>
                <a:gd fmla="*/ 28 w 112" name="T14"/>
                <a:gd fmla="*/ 54 h 98" name="T15"/>
                <a:gd fmla="*/ 24 w 112" name="T16"/>
                <a:gd fmla="*/ 42 h 98" name="T17"/>
                <a:gd fmla="*/ 30 w 112" name="T18"/>
                <a:gd fmla="*/ 32 h 98" name="T19"/>
                <a:gd fmla="*/ 40 w 112" name="T20"/>
                <a:gd fmla="*/ 26 h 98" name="T21"/>
                <a:gd fmla="*/ 46 w 112" name="T22"/>
                <a:gd fmla="*/ 24 h 98" name="T23"/>
                <a:gd fmla="*/ 50 w 112" name="T24"/>
                <a:gd fmla="*/ 16 h 98" name="T25"/>
                <a:gd fmla="*/ 52 w 112" name="T26"/>
                <a:gd fmla="*/ 10 h 98" name="T27"/>
                <a:gd fmla="*/ 56 w 112" name="T28"/>
                <a:gd fmla="*/ 4 h 98" name="T29"/>
                <a:gd fmla="*/ 66 w 112" name="T30"/>
                <a:gd fmla="*/ 0 h 98" name="T31"/>
                <a:gd fmla="*/ 112 w 112" name="T32"/>
                <a:gd fmla="*/ 20 h 98" name="T33"/>
                <a:gd fmla="*/ 88 w 112" name="T34"/>
                <a:gd fmla="*/ 20 h 98" name="T35"/>
                <a:gd fmla="*/ 86 w 112" name="T36"/>
                <a:gd fmla="*/ 18 h 98" name="T37"/>
                <a:gd fmla="*/ 82 w 112" name="T38"/>
                <a:gd fmla="*/ 20 h 98" name="T39"/>
                <a:gd fmla="*/ 82 w 112" name="T40"/>
                <a:gd fmla="*/ 26 h 98" name="T41"/>
                <a:gd fmla="*/ 80 w 112" name="T42"/>
                <a:gd fmla="*/ 38 h 98" name="T43"/>
                <a:gd fmla="*/ 80 w 112" name="T44"/>
                <a:gd fmla="*/ 50 h 98" name="T45"/>
                <a:gd fmla="*/ 80 w 112" name="T46"/>
                <a:gd fmla="*/ 54 h 98" name="T47"/>
                <a:gd fmla="*/ 80 w 112" name="T48"/>
                <a:gd fmla="*/ 56 h 98" name="T49"/>
                <a:gd fmla="*/ 78 w 112" name="T50"/>
                <a:gd fmla="*/ 60 h 98" name="T51"/>
                <a:gd fmla="*/ 76 w 112" name="T52"/>
                <a:gd fmla="*/ 60 h 98" name="T53"/>
                <a:gd fmla="*/ 72 w 112" name="T54"/>
                <a:gd fmla="*/ 60 h 98" name="T55"/>
                <a:gd fmla="*/ 66 w 112" name="T56"/>
                <a:gd fmla="*/ 60 h 98" name="T57"/>
                <a:gd fmla="*/ 62 w 112" name="T58"/>
                <a:gd fmla="*/ 64 h 98" name="T59"/>
                <a:gd fmla="*/ 60 w 112" name="T60"/>
                <a:gd fmla="*/ 74 h 98" name="T61"/>
                <a:gd fmla="*/ 0 w 112" name="T62"/>
                <a:gd fmla="*/ 94 h 98"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98" w="112">
                  <a:moveTo>
                    <a:pt x="0" y="94"/>
                  </a:moveTo>
                  <a:lnTo>
                    <a:pt x="0" y="90"/>
                  </a:lnTo>
                  <a:lnTo>
                    <a:pt x="0" y="86"/>
                  </a:lnTo>
                  <a:lnTo>
                    <a:pt x="2" y="82"/>
                  </a:lnTo>
                  <a:lnTo>
                    <a:pt x="4" y="78"/>
                  </a:lnTo>
                  <a:lnTo>
                    <a:pt x="6" y="74"/>
                  </a:lnTo>
                  <a:lnTo>
                    <a:pt x="10" y="70"/>
                  </a:lnTo>
                  <a:lnTo>
                    <a:pt x="16" y="68"/>
                  </a:lnTo>
                  <a:lnTo>
                    <a:pt x="22" y="66"/>
                  </a:lnTo>
                  <a:lnTo>
                    <a:pt x="28" y="64"/>
                  </a:lnTo>
                  <a:lnTo>
                    <a:pt x="32" y="62"/>
                  </a:lnTo>
                  <a:lnTo>
                    <a:pt x="32" y="60"/>
                  </a:lnTo>
                  <a:lnTo>
                    <a:pt x="32" y="58"/>
                  </a:lnTo>
                  <a:lnTo>
                    <a:pt x="32" y="56"/>
                  </a:lnTo>
                  <a:lnTo>
                    <a:pt x="30" y="54"/>
                  </a:lnTo>
                  <a:lnTo>
                    <a:pt x="28" y="54"/>
                  </a:lnTo>
                  <a:lnTo>
                    <a:pt x="28" y="54"/>
                  </a:lnTo>
                  <a:lnTo>
                    <a:pt x="24" y="42"/>
                  </a:lnTo>
                  <a:lnTo>
                    <a:pt x="28" y="36"/>
                  </a:lnTo>
                  <a:lnTo>
                    <a:pt x="30" y="32"/>
                  </a:lnTo>
                  <a:lnTo>
                    <a:pt x="36" y="28"/>
                  </a:lnTo>
                  <a:lnTo>
                    <a:pt x="40" y="26"/>
                  </a:lnTo>
                  <a:lnTo>
                    <a:pt x="44" y="24"/>
                  </a:lnTo>
                  <a:lnTo>
                    <a:pt x="46" y="24"/>
                  </a:lnTo>
                  <a:lnTo>
                    <a:pt x="48" y="24"/>
                  </a:lnTo>
                  <a:lnTo>
                    <a:pt x="50" y="16"/>
                  </a:lnTo>
                  <a:lnTo>
                    <a:pt x="52" y="12"/>
                  </a:lnTo>
                  <a:lnTo>
                    <a:pt x="52" y="10"/>
                  </a:lnTo>
                  <a:lnTo>
                    <a:pt x="54" y="10"/>
                  </a:lnTo>
                  <a:lnTo>
                    <a:pt x="56" y="4"/>
                  </a:lnTo>
                  <a:lnTo>
                    <a:pt x="60" y="0"/>
                  </a:lnTo>
                  <a:lnTo>
                    <a:pt x="66" y="0"/>
                  </a:lnTo>
                  <a:lnTo>
                    <a:pt x="112" y="6"/>
                  </a:lnTo>
                  <a:lnTo>
                    <a:pt x="112" y="20"/>
                  </a:lnTo>
                  <a:lnTo>
                    <a:pt x="88" y="20"/>
                  </a:lnTo>
                  <a:lnTo>
                    <a:pt x="88" y="20"/>
                  </a:lnTo>
                  <a:lnTo>
                    <a:pt x="88" y="20"/>
                  </a:lnTo>
                  <a:lnTo>
                    <a:pt x="86" y="18"/>
                  </a:lnTo>
                  <a:lnTo>
                    <a:pt x="84" y="18"/>
                  </a:lnTo>
                  <a:lnTo>
                    <a:pt x="82" y="20"/>
                  </a:lnTo>
                  <a:lnTo>
                    <a:pt x="82" y="22"/>
                  </a:lnTo>
                  <a:lnTo>
                    <a:pt x="82" y="26"/>
                  </a:lnTo>
                  <a:lnTo>
                    <a:pt x="82" y="30"/>
                  </a:lnTo>
                  <a:lnTo>
                    <a:pt x="80" y="38"/>
                  </a:lnTo>
                  <a:lnTo>
                    <a:pt x="80" y="44"/>
                  </a:lnTo>
                  <a:lnTo>
                    <a:pt x="80" y="50"/>
                  </a:lnTo>
                  <a:lnTo>
                    <a:pt x="80" y="54"/>
                  </a:lnTo>
                  <a:lnTo>
                    <a:pt x="80" y="54"/>
                  </a:lnTo>
                  <a:lnTo>
                    <a:pt x="80" y="56"/>
                  </a:lnTo>
                  <a:lnTo>
                    <a:pt x="80" y="56"/>
                  </a:lnTo>
                  <a:lnTo>
                    <a:pt x="80" y="58"/>
                  </a:lnTo>
                  <a:lnTo>
                    <a:pt x="78" y="60"/>
                  </a:lnTo>
                  <a:lnTo>
                    <a:pt x="78" y="60"/>
                  </a:lnTo>
                  <a:lnTo>
                    <a:pt x="76" y="60"/>
                  </a:lnTo>
                  <a:lnTo>
                    <a:pt x="74" y="60"/>
                  </a:lnTo>
                  <a:lnTo>
                    <a:pt x="72" y="60"/>
                  </a:lnTo>
                  <a:lnTo>
                    <a:pt x="70" y="60"/>
                  </a:lnTo>
                  <a:lnTo>
                    <a:pt x="66" y="60"/>
                  </a:lnTo>
                  <a:lnTo>
                    <a:pt x="64" y="62"/>
                  </a:lnTo>
                  <a:lnTo>
                    <a:pt x="62" y="64"/>
                  </a:lnTo>
                  <a:lnTo>
                    <a:pt x="60" y="68"/>
                  </a:lnTo>
                  <a:lnTo>
                    <a:pt x="60" y="74"/>
                  </a:lnTo>
                  <a:lnTo>
                    <a:pt x="58" y="98"/>
                  </a:lnTo>
                  <a:lnTo>
                    <a:pt x="0" y="9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89" name="Freeform 446"/>
            <p:cNvSpPr/>
            <p:nvPr/>
          </p:nvSpPr>
          <p:spPr bwMode="gray">
            <a:xfrm>
              <a:off x="353795" y="4010323"/>
              <a:ext cx="292521" cy="336727"/>
            </a:xfrm>
            <a:custGeom>
              <a:gdLst>
                <a:gd fmla="*/ 4 w 158" name="T0"/>
                <a:gd fmla="*/ 158 h 182" name="T1"/>
                <a:gd fmla="*/ 10 w 158" name="T2"/>
                <a:gd fmla="*/ 150 h 182" name="T3"/>
                <a:gd fmla="*/ 14 w 158" name="T4"/>
                <a:gd fmla="*/ 146 h 182" name="T5"/>
                <a:gd fmla="*/ 18 w 158" name="T6"/>
                <a:gd fmla="*/ 142 h 182" name="T7"/>
                <a:gd fmla="*/ 18 w 158" name="T8"/>
                <a:gd fmla="*/ 132 h 182" name="T9"/>
                <a:gd fmla="*/ 14 w 158" name="T10"/>
                <a:gd fmla="*/ 124 h 182" name="T11"/>
                <a:gd fmla="*/ 12 w 158" name="T12"/>
                <a:gd fmla="*/ 120 h 182" name="T13"/>
                <a:gd fmla="*/ 16 w 158" name="T14"/>
                <a:gd fmla="*/ 96 h 182" name="T15"/>
                <a:gd fmla="*/ 14 w 158" name="T16"/>
                <a:gd fmla="*/ 88 h 182" name="T17"/>
                <a:gd fmla="*/ 66 w 158" name="T18"/>
                <a:gd fmla="*/ 68 h 182" name="T19"/>
                <a:gd fmla="*/ 68 w 158" name="T20"/>
                <a:gd fmla="*/ 58 h 182" name="T21"/>
                <a:gd fmla="*/ 72 w 158" name="T22"/>
                <a:gd fmla="*/ 54 h 182" name="T23"/>
                <a:gd fmla="*/ 78 w 158" name="T24"/>
                <a:gd fmla="*/ 54 h 182" name="T25"/>
                <a:gd fmla="*/ 82 w 158" name="T26"/>
                <a:gd fmla="*/ 54 h 182" name="T27"/>
                <a:gd fmla="*/ 84 w 158" name="T28"/>
                <a:gd fmla="*/ 54 h 182" name="T29"/>
                <a:gd fmla="*/ 86 w 158" name="T30"/>
                <a:gd fmla="*/ 50 h 182" name="T31"/>
                <a:gd fmla="*/ 86 w 158" name="T32"/>
                <a:gd fmla="*/ 48 h 182" name="T33"/>
                <a:gd fmla="*/ 86 w 158" name="T34"/>
                <a:gd fmla="*/ 44 h 182" name="T35"/>
                <a:gd fmla="*/ 86 w 158" name="T36"/>
                <a:gd fmla="*/ 32 h 182" name="T37"/>
                <a:gd fmla="*/ 88 w 158" name="T38"/>
                <a:gd fmla="*/ 20 h 182" name="T39"/>
                <a:gd fmla="*/ 88 w 158" name="T40"/>
                <a:gd fmla="*/ 14 h 182" name="T41"/>
                <a:gd fmla="*/ 92 w 158" name="T42"/>
                <a:gd fmla="*/ 12 h 182" name="T43"/>
                <a:gd fmla="*/ 94 w 158" name="T44"/>
                <a:gd fmla="*/ 14 h 182" name="T45"/>
                <a:gd fmla="*/ 118 w 158" name="T46"/>
                <a:gd fmla="*/ 14 h 182" name="T47"/>
                <a:gd fmla="*/ 118 w 158" name="T48"/>
                <a:gd fmla="*/ 0 h 182" name="T49"/>
                <a:gd fmla="*/ 138 w 158" name="T50"/>
                <a:gd fmla="*/ 28 h 182" name="T51"/>
                <a:gd fmla="*/ 138 w 158" name="T52"/>
                <a:gd fmla="*/ 28 h 182" name="T53"/>
                <a:gd fmla="*/ 136 w 158" name="T54"/>
                <a:gd fmla="*/ 30 h 182" name="T55"/>
                <a:gd fmla="*/ 142 w 158" name="T56"/>
                <a:gd fmla="*/ 142 h 182" name="T57"/>
                <a:gd fmla="*/ 144 w 158" name="T58"/>
                <a:gd fmla="*/ 146 h 182" name="T59"/>
                <a:gd fmla="*/ 146 w 158" name="T60"/>
                <a:gd fmla="*/ 152 h 182" name="T61"/>
                <a:gd fmla="*/ 140 w 158" name="T62"/>
                <a:gd fmla="*/ 164 h 182" name="T63"/>
                <a:gd fmla="*/ 88 w 158" name="T64"/>
                <a:gd fmla="*/ 158 h 182" name="T65"/>
                <a:gd fmla="*/ 84 w 158" name="T66"/>
                <a:gd fmla="*/ 162 h 182" name="T67"/>
                <a:gd fmla="*/ 82 w 158" name="T68"/>
                <a:gd fmla="*/ 162 h 182" name="T69"/>
                <a:gd fmla="*/ 80 w 158" name="T70"/>
                <a:gd fmla="*/ 160 h 182" name="T71"/>
                <a:gd fmla="*/ 76 w 158" name="T72"/>
                <a:gd fmla="*/ 162 h 182" name="T73"/>
                <a:gd fmla="*/ 76 w 158" name="T74"/>
                <a:gd fmla="*/ 166 h 182" name="T75"/>
                <a:gd fmla="*/ 76 w 158" name="T76"/>
                <a:gd fmla="*/ 170 h 182" name="T77"/>
                <a:gd fmla="*/ 72 w 158" name="T78"/>
                <a:gd fmla="*/ 172 h 182" name="T79"/>
                <a:gd fmla="*/ 70 w 158" name="T80"/>
                <a:gd fmla="*/ 176 h 182" name="T81"/>
                <a:gd fmla="*/ 66 w 158" name="T82"/>
                <a:gd fmla="*/ 182 h 182" name="T83"/>
                <a:gd fmla="*/ 62 w 158" name="T84"/>
                <a:gd fmla="*/ 182 h 182" name="T85"/>
                <a:gd fmla="*/ 60 w 158" name="T86"/>
                <a:gd fmla="*/ 178 h 182" name="T87"/>
                <a:gd fmla="*/ 54 w 158" name="T88"/>
                <a:gd fmla="*/ 178 h 182" name="T89"/>
                <a:gd fmla="*/ 46 w 158" name="T90"/>
                <a:gd fmla="*/ 172 h 182" name="T91"/>
                <a:gd fmla="*/ 42 w 158" name="T92"/>
                <a:gd fmla="*/ 166 h 182" name="T93"/>
                <a:gd fmla="*/ 36 w 158" name="T94"/>
                <a:gd fmla="*/ 160 h 182" name="T95"/>
                <a:gd fmla="*/ 26 w 158" name="T96"/>
                <a:gd fmla="*/ 156 h 182" name="T97"/>
                <a:gd fmla="*/ 0 w 158" name="T98"/>
                <a:gd fmla="*/ 164 h 182"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182" w="158">
                  <a:moveTo>
                    <a:pt x="0" y="164"/>
                  </a:moveTo>
                  <a:lnTo>
                    <a:pt x="4" y="158"/>
                  </a:lnTo>
                  <a:lnTo>
                    <a:pt x="6" y="154"/>
                  </a:lnTo>
                  <a:lnTo>
                    <a:pt x="10" y="150"/>
                  </a:lnTo>
                  <a:lnTo>
                    <a:pt x="12" y="148"/>
                  </a:lnTo>
                  <a:lnTo>
                    <a:pt x="14" y="146"/>
                  </a:lnTo>
                  <a:lnTo>
                    <a:pt x="16" y="146"/>
                  </a:lnTo>
                  <a:lnTo>
                    <a:pt x="18" y="142"/>
                  </a:lnTo>
                  <a:lnTo>
                    <a:pt x="18" y="138"/>
                  </a:lnTo>
                  <a:lnTo>
                    <a:pt x="18" y="132"/>
                  </a:lnTo>
                  <a:lnTo>
                    <a:pt x="16" y="128"/>
                  </a:lnTo>
                  <a:lnTo>
                    <a:pt x="14" y="124"/>
                  </a:lnTo>
                  <a:lnTo>
                    <a:pt x="12" y="122"/>
                  </a:lnTo>
                  <a:lnTo>
                    <a:pt x="12" y="120"/>
                  </a:lnTo>
                  <a:lnTo>
                    <a:pt x="6" y="110"/>
                  </a:lnTo>
                  <a:lnTo>
                    <a:pt x="16" y="96"/>
                  </a:lnTo>
                  <a:lnTo>
                    <a:pt x="6" y="88"/>
                  </a:lnTo>
                  <a:lnTo>
                    <a:pt x="14" y="88"/>
                  </a:lnTo>
                  <a:lnTo>
                    <a:pt x="64" y="92"/>
                  </a:lnTo>
                  <a:lnTo>
                    <a:pt x="66" y="68"/>
                  </a:lnTo>
                  <a:lnTo>
                    <a:pt x="66" y="62"/>
                  </a:lnTo>
                  <a:lnTo>
                    <a:pt x="68" y="58"/>
                  </a:lnTo>
                  <a:lnTo>
                    <a:pt x="70" y="56"/>
                  </a:lnTo>
                  <a:lnTo>
                    <a:pt x="72" y="54"/>
                  </a:lnTo>
                  <a:lnTo>
                    <a:pt x="76" y="54"/>
                  </a:lnTo>
                  <a:lnTo>
                    <a:pt x="78" y="54"/>
                  </a:lnTo>
                  <a:lnTo>
                    <a:pt x="80" y="54"/>
                  </a:lnTo>
                  <a:lnTo>
                    <a:pt x="82" y="54"/>
                  </a:lnTo>
                  <a:lnTo>
                    <a:pt x="84" y="54"/>
                  </a:lnTo>
                  <a:lnTo>
                    <a:pt x="84" y="54"/>
                  </a:lnTo>
                  <a:lnTo>
                    <a:pt x="86" y="52"/>
                  </a:lnTo>
                  <a:lnTo>
                    <a:pt x="86" y="50"/>
                  </a:lnTo>
                  <a:lnTo>
                    <a:pt x="86" y="50"/>
                  </a:lnTo>
                  <a:lnTo>
                    <a:pt x="86" y="48"/>
                  </a:lnTo>
                  <a:lnTo>
                    <a:pt x="86" y="48"/>
                  </a:lnTo>
                  <a:lnTo>
                    <a:pt x="86" y="44"/>
                  </a:lnTo>
                  <a:lnTo>
                    <a:pt x="86" y="38"/>
                  </a:lnTo>
                  <a:lnTo>
                    <a:pt x="86" y="32"/>
                  </a:lnTo>
                  <a:lnTo>
                    <a:pt x="88" y="24"/>
                  </a:lnTo>
                  <a:lnTo>
                    <a:pt x="88" y="20"/>
                  </a:lnTo>
                  <a:lnTo>
                    <a:pt x="88" y="16"/>
                  </a:lnTo>
                  <a:lnTo>
                    <a:pt x="88" y="14"/>
                  </a:lnTo>
                  <a:lnTo>
                    <a:pt x="90" y="12"/>
                  </a:lnTo>
                  <a:lnTo>
                    <a:pt x="92" y="12"/>
                  </a:lnTo>
                  <a:lnTo>
                    <a:pt x="94" y="14"/>
                  </a:lnTo>
                  <a:lnTo>
                    <a:pt x="94" y="14"/>
                  </a:lnTo>
                  <a:lnTo>
                    <a:pt x="94" y="14"/>
                  </a:lnTo>
                  <a:lnTo>
                    <a:pt x="118" y="14"/>
                  </a:lnTo>
                  <a:lnTo>
                    <a:pt x="118" y="4"/>
                  </a:lnTo>
                  <a:lnTo>
                    <a:pt x="118" y="0"/>
                  </a:lnTo>
                  <a:lnTo>
                    <a:pt x="158" y="28"/>
                  </a:lnTo>
                  <a:lnTo>
                    <a:pt x="138" y="28"/>
                  </a:lnTo>
                  <a:lnTo>
                    <a:pt x="138" y="28"/>
                  </a:lnTo>
                  <a:lnTo>
                    <a:pt x="138" y="28"/>
                  </a:lnTo>
                  <a:lnTo>
                    <a:pt x="136" y="28"/>
                  </a:lnTo>
                  <a:lnTo>
                    <a:pt x="136" y="30"/>
                  </a:lnTo>
                  <a:lnTo>
                    <a:pt x="136" y="32"/>
                  </a:lnTo>
                  <a:lnTo>
                    <a:pt x="142" y="142"/>
                  </a:lnTo>
                  <a:lnTo>
                    <a:pt x="142" y="142"/>
                  </a:lnTo>
                  <a:lnTo>
                    <a:pt x="144" y="146"/>
                  </a:lnTo>
                  <a:lnTo>
                    <a:pt x="144" y="148"/>
                  </a:lnTo>
                  <a:lnTo>
                    <a:pt x="146" y="152"/>
                  </a:lnTo>
                  <a:lnTo>
                    <a:pt x="146" y="156"/>
                  </a:lnTo>
                  <a:lnTo>
                    <a:pt x="140" y="164"/>
                  </a:lnTo>
                  <a:lnTo>
                    <a:pt x="88" y="158"/>
                  </a:lnTo>
                  <a:lnTo>
                    <a:pt x="88" y="158"/>
                  </a:lnTo>
                  <a:lnTo>
                    <a:pt x="86" y="160"/>
                  </a:lnTo>
                  <a:lnTo>
                    <a:pt x="84" y="162"/>
                  </a:lnTo>
                  <a:lnTo>
                    <a:pt x="82" y="162"/>
                  </a:lnTo>
                  <a:lnTo>
                    <a:pt x="82" y="162"/>
                  </a:lnTo>
                  <a:lnTo>
                    <a:pt x="80" y="160"/>
                  </a:lnTo>
                  <a:lnTo>
                    <a:pt x="80" y="160"/>
                  </a:lnTo>
                  <a:lnTo>
                    <a:pt x="78" y="160"/>
                  </a:lnTo>
                  <a:lnTo>
                    <a:pt x="76" y="162"/>
                  </a:lnTo>
                  <a:lnTo>
                    <a:pt x="76" y="162"/>
                  </a:lnTo>
                  <a:lnTo>
                    <a:pt x="76" y="166"/>
                  </a:lnTo>
                  <a:lnTo>
                    <a:pt x="76" y="168"/>
                  </a:lnTo>
                  <a:lnTo>
                    <a:pt x="76" y="170"/>
                  </a:lnTo>
                  <a:lnTo>
                    <a:pt x="74" y="172"/>
                  </a:lnTo>
                  <a:lnTo>
                    <a:pt x="72" y="172"/>
                  </a:lnTo>
                  <a:lnTo>
                    <a:pt x="72" y="174"/>
                  </a:lnTo>
                  <a:lnTo>
                    <a:pt x="70" y="176"/>
                  </a:lnTo>
                  <a:lnTo>
                    <a:pt x="68" y="178"/>
                  </a:lnTo>
                  <a:lnTo>
                    <a:pt x="66" y="182"/>
                  </a:lnTo>
                  <a:lnTo>
                    <a:pt x="64" y="182"/>
                  </a:lnTo>
                  <a:lnTo>
                    <a:pt x="62" y="182"/>
                  </a:lnTo>
                  <a:lnTo>
                    <a:pt x="62" y="180"/>
                  </a:lnTo>
                  <a:lnTo>
                    <a:pt x="60" y="178"/>
                  </a:lnTo>
                  <a:lnTo>
                    <a:pt x="56" y="178"/>
                  </a:lnTo>
                  <a:lnTo>
                    <a:pt x="54" y="178"/>
                  </a:lnTo>
                  <a:lnTo>
                    <a:pt x="50" y="176"/>
                  </a:lnTo>
                  <a:lnTo>
                    <a:pt x="46" y="172"/>
                  </a:lnTo>
                  <a:lnTo>
                    <a:pt x="44" y="166"/>
                  </a:lnTo>
                  <a:lnTo>
                    <a:pt x="42" y="166"/>
                  </a:lnTo>
                  <a:lnTo>
                    <a:pt x="40" y="162"/>
                  </a:lnTo>
                  <a:lnTo>
                    <a:pt x="36" y="160"/>
                  </a:lnTo>
                  <a:lnTo>
                    <a:pt x="32" y="158"/>
                  </a:lnTo>
                  <a:lnTo>
                    <a:pt x="26" y="156"/>
                  </a:lnTo>
                  <a:lnTo>
                    <a:pt x="20" y="156"/>
                  </a:lnTo>
                  <a:lnTo>
                    <a:pt x="0" y="16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0" name="Freeform 447"/>
            <p:cNvSpPr/>
            <p:nvPr/>
          </p:nvSpPr>
          <p:spPr bwMode="gray">
            <a:xfrm>
              <a:off x="379715" y="4376653"/>
              <a:ext cx="74056" cy="51804"/>
            </a:xfrm>
            <a:custGeom>
              <a:gdLst>
                <a:gd fmla="*/ 24 w 40" name="T0"/>
                <a:gd fmla="*/ 0 h 28" name="T1"/>
                <a:gd fmla="*/ 24 w 40" name="T2"/>
                <a:gd fmla="*/ 0 h 28" name="T3"/>
                <a:gd fmla="*/ 22 w 40" name="T4"/>
                <a:gd fmla="*/ 0 h 28" name="T5"/>
                <a:gd fmla="*/ 20 w 40" name="T6"/>
                <a:gd fmla="*/ 0 h 28" name="T7"/>
                <a:gd fmla="*/ 18 w 40" name="T8"/>
                <a:gd fmla="*/ 2 h 28" name="T9"/>
                <a:gd fmla="*/ 14 w 40" name="T10"/>
                <a:gd fmla="*/ 2 h 28" name="T11"/>
                <a:gd fmla="*/ 8 w 40" name="T12"/>
                <a:gd fmla="*/ 4 h 28" name="T13"/>
                <a:gd fmla="*/ 0 w 40" name="T14"/>
                <a:gd fmla="*/ 8 h 28" name="T15"/>
                <a:gd fmla="*/ 0 w 40" name="T16"/>
                <a:gd fmla="*/ 8 h 28" name="T17"/>
                <a:gd fmla="*/ 2 w 40" name="T18"/>
                <a:gd fmla="*/ 12 h 28" name="T19"/>
                <a:gd fmla="*/ 6 w 40" name="T20"/>
                <a:gd fmla="*/ 16 h 28" name="T21"/>
                <a:gd fmla="*/ 10 w 40" name="T22"/>
                <a:gd fmla="*/ 22 h 28" name="T23"/>
                <a:gd fmla="*/ 16 w 40" name="T24"/>
                <a:gd fmla="*/ 28 h 28" name="T25"/>
                <a:gd fmla="*/ 18 w 40" name="T26"/>
                <a:gd fmla="*/ 28 h 28" name="T27"/>
                <a:gd fmla="*/ 20 w 40" name="T28"/>
                <a:gd fmla="*/ 26 h 28" name="T29"/>
                <a:gd fmla="*/ 24 w 40" name="T30"/>
                <a:gd fmla="*/ 26 h 28" name="T31"/>
                <a:gd fmla="*/ 28 w 40" name="T32"/>
                <a:gd fmla="*/ 24 h 28" name="T33"/>
                <a:gd fmla="*/ 32 w 40" name="T34"/>
                <a:gd fmla="*/ 22 h 28" name="T35"/>
                <a:gd fmla="*/ 36 w 40" name="T36"/>
                <a:gd fmla="*/ 22 h 28" name="T37"/>
                <a:gd fmla="*/ 38 w 40" name="T38"/>
                <a:gd fmla="*/ 20 h 28" name="T39"/>
                <a:gd fmla="*/ 38 w 40" name="T40"/>
                <a:gd fmla="*/ 16 h 28" name="T41"/>
                <a:gd fmla="*/ 40 w 40" name="T42"/>
                <a:gd fmla="*/ 16 h 28" name="T43"/>
                <a:gd fmla="*/ 38 w 40" name="T44"/>
                <a:gd fmla="*/ 8 h 28" name="T45"/>
                <a:gd fmla="*/ 38 w 40" name="T46"/>
                <a:gd fmla="*/ 2 h 28" name="T47"/>
                <a:gd fmla="*/ 24 w 40" name="T48"/>
                <a:gd fmla="*/ 0 h 28"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28" w="40">
                  <a:moveTo>
                    <a:pt x="24" y="0"/>
                  </a:moveTo>
                  <a:lnTo>
                    <a:pt x="24" y="0"/>
                  </a:lnTo>
                  <a:lnTo>
                    <a:pt x="22" y="0"/>
                  </a:lnTo>
                  <a:lnTo>
                    <a:pt x="20" y="0"/>
                  </a:lnTo>
                  <a:lnTo>
                    <a:pt x="18" y="2"/>
                  </a:lnTo>
                  <a:lnTo>
                    <a:pt x="14" y="2"/>
                  </a:lnTo>
                  <a:lnTo>
                    <a:pt x="8" y="4"/>
                  </a:lnTo>
                  <a:lnTo>
                    <a:pt x="0" y="8"/>
                  </a:lnTo>
                  <a:lnTo>
                    <a:pt x="0" y="8"/>
                  </a:lnTo>
                  <a:lnTo>
                    <a:pt x="2" y="12"/>
                  </a:lnTo>
                  <a:lnTo>
                    <a:pt x="6" y="16"/>
                  </a:lnTo>
                  <a:lnTo>
                    <a:pt x="10" y="22"/>
                  </a:lnTo>
                  <a:lnTo>
                    <a:pt x="16" y="28"/>
                  </a:lnTo>
                  <a:lnTo>
                    <a:pt x="18" y="28"/>
                  </a:lnTo>
                  <a:lnTo>
                    <a:pt x="20" y="26"/>
                  </a:lnTo>
                  <a:lnTo>
                    <a:pt x="24" y="26"/>
                  </a:lnTo>
                  <a:lnTo>
                    <a:pt x="28" y="24"/>
                  </a:lnTo>
                  <a:lnTo>
                    <a:pt x="32" y="22"/>
                  </a:lnTo>
                  <a:lnTo>
                    <a:pt x="36" y="22"/>
                  </a:lnTo>
                  <a:lnTo>
                    <a:pt x="38" y="20"/>
                  </a:lnTo>
                  <a:lnTo>
                    <a:pt x="38" y="16"/>
                  </a:lnTo>
                  <a:lnTo>
                    <a:pt x="40" y="16"/>
                  </a:lnTo>
                  <a:lnTo>
                    <a:pt x="38" y="8"/>
                  </a:lnTo>
                  <a:lnTo>
                    <a:pt x="38" y="2"/>
                  </a:lnTo>
                  <a:lnTo>
                    <a:pt x="24"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1" name="Freeform 448"/>
            <p:cNvSpPr/>
            <p:nvPr/>
          </p:nvSpPr>
          <p:spPr bwMode="gray">
            <a:xfrm>
              <a:off x="353795" y="4298946"/>
              <a:ext cx="122192" cy="92507"/>
            </a:xfrm>
            <a:custGeom>
              <a:gdLst>
                <a:gd fmla="*/ 2 w 66" name="T0"/>
                <a:gd fmla="*/ 30 h 50" name="T1"/>
                <a:gd fmla="*/ 2 w 66" name="T2"/>
                <a:gd fmla="*/ 22 h 50" name="T3"/>
                <a:gd fmla="*/ 0 w 66" name="T4"/>
                <a:gd fmla="*/ 16 h 50" name="T5"/>
                <a:gd fmla="*/ 0 w 66" name="T6"/>
                <a:gd fmla="*/ 10 h 50" name="T7"/>
                <a:gd fmla="*/ 0 w 66" name="T8"/>
                <a:gd fmla="*/ 6 h 50" name="T9"/>
                <a:gd fmla="*/ 2 w 66" name="T10"/>
                <a:gd fmla="*/ 6 h 50" name="T11"/>
                <a:gd fmla="*/ 2 w 66" name="T12"/>
                <a:gd fmla="*/ 6 h 50" name="T13"/>
                <a:gd fmla="*/ 2 w 66" name="T14"/>
                <a:gd fmla="*/ 6 h 50" name="T15"/>
                <a:gd fmla="*/ 20 w 66" name="T16"/>
                <a:gd fmla="*/ 0 h 50" name="T17"/>
                <a:gd fmla="*/ 26 w 66" name="T18"/>
                <a:gd fmla="*/ 0 h 50" name="T19"/>
                <a:gd fmla="*/ 32 w 66" name="T20"/>
                <a:gd fmla="*/ 2 h 50" name="T21"/>
                <a:gd fmla="*/ 38 w 66" name="T22"/>
                <a:gd fmla="*/ 4 h 50" name="T23"/>
                <a:gd fmla="*/ 40 w 66" name="T24"/>
                <a:gd fmla="*/ 8 h 50" name="T25"/>
                <a:gd fmla="*/ 42 w 66" name="T26"/>
                <a:gd fmla="*/ 10 h 50" name="T27"/>
                <a:gd fmla="*/ 44 w 66" name="T28"/>
                <a:gd fmla="*/ 10 h 50" name="T29"/>
                <a:gd fmla="*/ 46 w 66" name="T30"/>
                <a:gd fmla="*/ 14 h 50" name="T31"/>
                <a:gd fmla="*/ 48 w 66" name="T32"/>
                <a:gd fmla="*/ 18 h 50" name="T33"/>
                <a:gd fmla="*/ 50 w 66" name="T34"/>
                <a:gd fmla="*/ 20 h 50" name="T35"/>
                <a:gd fmla="*/ 50 w 66" name="T36"/>
                <a:gd fmla="*/ 20 h 50" name="T37"/>
                <a:gd fmla="*/ 50 w 66" name="T38"/>
                <a:gd fmla="*/ 20 h 50" name="T39"/>
                <a:gd fmla="*/ 56 w 66" name="T40"/>
                <a:gd fmla="*/ 22 h 50" name="T41"/>
                <a:gd fmla="*/ 60 w 66" name="T42"/>
                <a:gd fmla="*/ 24 h 50" name="T43"/>
                <a:gd fmla="*/ 62 w 66" name="T44"/>
                <a:gd fmla="*/ 26 h 50" name="T45"/>
                <a:gd fmla="*/ 64 w 66" name="T46"/>
                <a:gd fmla="*/ 26 h 50" name="T47"/>
                <a:gd fmla="*/ 64 w 66" name="T48"/>
                <a:gd fmla="*/ 26 h 50" name="T49"/>
                <a:gd fmla="*/ 64 w 66" name="T50"/>
                <a:gd fmla="*/ 30 h 50" name="T51"/>
                <a:gd fmla="*/ 64 w 66" name="T52"/>
                <a:gd fmla="*/ 32 h 50" name="T53"/>
                <a:gd fmla="*/ 64 w 66" name="T54"/>
                <a:gd fmla="*/ 36 h 50" name="T55"/>
                <a:gd fmla="*/ 66 w 66" name="T56"/>
                <a:gd fmla="*/ 42 h 50" name="T57"/>
                <a:gd fmla="*/ 66 w 66" name="T58"/>
                <a:gd fmla="*/ 44 h 50" name="T59"/>
                <a:gd fmla="*/ 66 w 66" name="T60"/>
                <a:gd fmla="*/ 44 h 50" name="T61"/>
                <a:gd fmla="*/ 58 w 66" name="T62"/>
                <a:gd fmla="*/ 44 h 50" name="T63"/>
                <a:gd fmla="*/ 50 w 66" name="T64"/>
                <a:gd fmla="*/ 44 h 50" name="T65"/>
                <a:gd fmla="*/ 44 w 66" name="T66"/>
                <a:gd fmla="*/ 44 h 50" name="T67"/>
                <a:gd fmla="*/ 40 w 66" name="T68"/>
                <a:gd fmla="*/ 44 h 50" name="T69"/>
                <a:gd fmla="*/ 38 w 66" name="T70"/>
                <a:gd fmla="*/ 42 h 50" name="T71"/>
                <a:gd fmla="*/ 34 w 66" name="T72"/>
                <a:gd fmla="*/ 42 h 50" name="T73"/>
                <a:gd fmla="*/ 30 w 66" name="T74"/>
                <a:gd fmla="*/ 44 h 50" name="T75"/>
                <a:gd fmla="*/ 26 w 66" name="T76"/>
                <a:gd fmla="*/ 44 h 50" name="T77"/>
                <a:gd fmla="*/ 22 w 66" name="T78"/>
                <a:gd fmla="*/ 46 h 50" name="T79"/>
                <a:gd fmla="*/ 18 w 66" name="T80"/>
                <a:gd fmla="*/ 48 h 50" name="T81"/>
                <a:gd fmla="*/ 16 w 66" name="T82"/>
                <a:gd fmla="*/ 48 h 50" name="T83"/>
                <a:gd fmla="*/ 14 w 66" name="T84"/>
                <a:gd fmla="*/ 50 h 50" name="T85"/>
                <a:gd fmla="*/ 12 w 66" name="T86"/>
                <a:gd fmla="*/ 46 h 50" name="T87"/>
                <a:gd fmla="*/ 10 w 66" name="T88"/>
                <a:gd fmla="*/ 44 h 50" name="T89"/>
                <a:gd fmla="*/ 8 w 66" name="T90"/>
                <a:gd fmla="*/ 42 h 50" name="T91"/>
                <a:gd fmla="*/ 6 w 66" name="T92"/>
                <a:gd fmla="*/ 40 h 50" name="T93"/>
                <a:gd fmla="*/ 4 w 66" name="T94"/>
                <a:gd fmla="*/ 36 h 50" name="T95"/>
                <a:gd fmla="*/ 2 w 66" name="T96"/>
                <a:gd fmla="*/ 30 h 50" name="T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b="b" l="0" r="r" t="0"/>
              <a:pathLst>
                <a:path h="50" w="66">
                  <a:moveTo>
                    <a:pt x="2" y="30"/>
                  </a:moveTo>
                  <a:lnTo>
                    <a:pt x="2" y="22"/>
                  </a:lnTo>
                  <a:lnTo>
                    <a:pt x="0" y="16"/>
                  </a:lnTo>
                  <a:lnTo>
                    <a:pt x="0" y="10"/>
                  </a:lnTo>
                  <a:lnTo>
                    <a:pt x="0" y="6"/>
                  </a:lnTo>
                  <a:lnTo>
                    <a:pt x="2" y="6"/>
                  </a:lnTo>
                  <a:lnTo>
                    <a:pt x="2" y="6"/>
                  </a:lnTo>
                  <a:lnTo>
                    <a:pt x="2" y="6"/>
                  </a:lnTo>
                  <a:lnTo>
                    <a:pt x="20" y="0"/>
                  </a:lnTo>
                  <a:lnTo>
                    <a:pt x="26" y="0"/>
                  </a:lnTo>
                  <a:lnTo>
                    <a:pt x="32" y="2"/>
                  </a:lnTo>
                  <a:lnTo>
                    <a:pt x="38" y="4"/>
                  </a:lnTo>
                  <a:lnTo>
                    <a:pt x="40" y="8"/>
                  </a:lnTo>
                  <a:lnTo>
                    <a:pt x="42" y="10"/>
                  </a:lnTo>
                  <a:lnTo>
                    <a:pt x="44" y="10"/>
                  </a:lnTo>
                  <a:lnTo>
                    <a:pt x="46" y="14"/>
                  </a:lnTo>
                  <a:lnTo>
                    <a:pt x="48" y="18"/>
                  </a:lnTo>
                  <a:lnTo>
                    <a:pt x="50" y="20"/>
                  </a:lnTo>
                  <a:lnTo>
                    <a:pt x="50" y="20"/>
                  </a:lnTo>
                  <a:lnTo>
                    <a:pt x="50" y="20"/>
                  </a:lnTo>
                  <a:lnTo>
                    <a:pt x="56" y="22"/>
                  </a:lnTo>
                  <a:lnTo>
                    <a:pt x="60" y="24"/>
                  </a:lnTo>
                  <a:lnTo>
                    <a:pt x="62" y="26"/>
                  </a:lnTo>
                  <a:lnTo>
                    <a:pt x="64" y="26"/>
                  </a:lnTo>
                  <a:lnTo>
                    <a:pt x="64" y="26"/>
                  </a:lnTo>
                  <a:lnTo>
                    <a:pt x="64" y="30"/>
                  </a:lnTo>
                  <a:lnTo>
                    <a:pt x="64" y="32"/>
                  </a:lnTo>
                  <a:lnTo>
                    <a:pt x="64" y="36"/>
                  </a:lnTo>
                  <a:lnTo>
                    <a:pt x="66" y="42"/>
                  </a:lnTo>
                  <a:lnTo>
                    <a:pt x="66" y="44"/>
                  </a:lnTo>
                  <a:lnTo>
                    <a:pt x="66" y="44"/>
                  </a:lnTo>
                  <a:lnTo>
                    <a:pt x="58" y="44"/>
                  </a:lnTo>
                  <a:lnTo>
                    <a:pt x="50" y="44"/>
                  </a:lnTo>
                  <a:lnTo>
                    <a:pt x="44" y="44"/>
                  </a:lnTo>
                  <a:lnTo>
                    <a:pt x="40" y="44"/>
                  </a:lnTo>
                  <a:lnTo>
                    <a:pt x="38" y="42"/>
                  </a:lnTo>
                  <a:lnTo>
                    <a:pt x="34" y="42"/>
                  </a:lnTo>
                  <a:lnTo>
                    <a:pt x="30" y="44"/>
                  </a:lnTo>
                  <a:lnTo>
                    <a:pt x="26" y="44"/>
                  </a:lnTo>
                  <a:lnTo>
                    <a:pt x="22" y="46"/>
                  </a:lnTo>
                  <a:lnTo>
                    <a:pt x="18" y="48"/>
                  </a:lnTo>
                  <a:lnTo>
                    <a:pt x="16" y="48"/>
                  </a:lnTo>
                  <a:lnTo>
                    <a:pt x="14" y="50"/>
                  </a:lnTo>
                  <a:lnTo>
                    <a:pt x="12" y="46"/>
                  </a:lnTo>
                  <a:lnTo>
                    <a:pt x="10" y="44"/>
                  </a:lnTo>
                  <a:lnTo>
                    <a:pt x="8" y="42"/>
                  </a:lnTo>
                  <a:lnTo>
                    <a:pt x="6" y="40"/>
                  </a:lnTo>
                  <a:lnTo>
                    <a:pt x="4" y="36"/>
                  </a:lnTo>
                  <a:lnTo>
                    <a:pt x="2" y="3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2" name="Freeform 449"/>
            <p:cNvSpPr/>
            <p:nvPr/>
          </p:nvSpPr>
          <p:spPr bwMode="gray">
            <a:xfrm>
              <a:off x="361201" y="4335949"/>
              <a:ext cx="77759" cy="18501"/>
            </a:xfrm>
            <a:custGeom>
              <a:gdLst>
                <a:gd fmla="*/ 0 w 42" name="T0"/>
                <a:gd fmla="*/ 0 h 10" name="T1"/>
                <a:gd fmla="*/ 0 w 42" name="T2"/>
                <a:gd fmla="*/ 8 h 10" name="T3"/>
                <a:gd fmla="*/ 2 w 42" name="T4"/>
                <a:gd fmla="*/ 8 h 10" name="T5"/>
                <a:gd fmla="*/ 6 w 42" name="T6"/>
                <a:gd fmla="*/ 6 h 10" name="T7"/>
                <a:gd fmla="*/ 10 w 42" name="T8"/>
                <a:gd fmla="*/ 6 h 10" name="T9"/>
                <a:gd fmla="*/ 16 w 42" name="T10"/>
                <a:gd fmla="*/ 8 h 10" name="T11"/>
                <a:gd fmla="*/ 22 w 42" name="T12"/>
                <a:gd fmla="*/ 10 h 10" name="T13"/>
                <a:gd fmla="*/ 28 w 42" name="T14"/>
                <a:gd fmla="*/ 10 h 10" name="T15"/>
                <a:gd fmla="*/ 30 w 42" name="T16"/>
                <a:gd fmla="*/ 8 h 10" name="T17"/>
                <a:gd fmla="*/ 32 w 42" name="T18"/>
                <a:gd fmla="*/ 8 h 10" name="T19"/>
                <a:gd fmla="*/ 34 w 42" name="T20"/>
                <a:gd fmla="*/ 6 h 10" name="T21"/>
                <a:gd fmla="*/ 36 w 42" name="T22"/>
                <a:gd fmla="*/ 6 h 10" name="T23"/>
                <a:gd fmla="*/ 38 w 42" name="T24"/>
                <a:gd fmla="*/ 6 h 10" name="T25"/>
                <a:gd fmla="*/ 38 w 42" name="T26"/>
                <a:gd fmla="*/ 6 h 10" name="T27"/>
                <a:gd fmla="*/ 40 w 42" name="T28"/>
                <a:gd fmla="*/ 6 h 10" name="T29"/>
                <a:gd fmla="*/ 42 w 42" name="T30"/>
                <a:gd fmla="*/ 6 h 10" name="T31"/>
                <a:gd fmla="*/ 42 w 42" name="T32"/>
                <a:gd fmla="*/ 4 h 10" name="T33"/>
                <a:gd fmla="*/ 40 w 42" name="T34"/>
                <a:gd fmla="*/ 4 h 10" name="T35"/>
                <a:gd fmla="*/ 36 w 42" name="T36"/>
                <a:gd fmla="*/ 2 h 10" name="T37"/>
                <a:gd fmla="*/ 32 w 42" name="T38"/>
                <a:gd fmla="*/ 0 h 10" name="T39"/>
                <a:gd fmla="*/ 28 w 42" name="T40"/>
                <a:gd fmla="*/ 0 h 10" name="T41"/>
                <a:gd fmla="*/ 24 w 42" name="T42"/>
                <a:gd fmla="*/ 2 h 10" name="T43"/>
                <a:gd fmla="*/ 22 w 42" name="T44"/>
                <a:gd fmla="*/ 2 h 10" name="T45"/>
                <a:gd fmla="*/ 18 w 42" name="T46"/>
                <a:gd fmla="*/ 2 h 10" name="T47"/>
                <a:gd fmla="*/ 16 w 42" name="T48"/>
                <a:gd fmla="*/ 2 h 10" name="T49"/>
                <a:gd fmla="*/ 12 w 42" name="T50"/>
                <a:gd fmla="*/ 2 h 10" name="T51"/>
                <a:gd fmla="*/ 10 w 42" name="T52"/>
                <a:gd fmla="*/ 0 h 10" name="T53"/>
                <a:gd fmla="*/ 8 w 42" name="T54"/>
                <a:gd fmla="*/ 0 h 10" name="T55"/>
                <a:gd fmla="*/ 6 w 42" name="T56"/>
                <a:gd fmla="*/ 0 h 10" name="T57"/>
                <a:gd fmla="*/ 2 w 42" name="T58"/>
                <a:gd fmla="*/ 0 h 10" name="T59"/>
                <a:gd fmla="*/ 0 w 42" name="T60"/>
                <a:gd fmla="*/ 0 h 10" name="T61"/>
                <a:gd fmla="*/ 0 w 42" name="T62"/>
                <a:gd fmla="*/ 0 h 10"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10" w="42">
                  <a:moveTo>
                    <a:pt x="0" y="0"/>
                  </a:moveTo>
                  <a:lnTo>
                    <a:pt x="0" y="8"/>
                  </a:lnTo>
                  <a:lnTo>
                    <a:pt x="2" y="8"/>
                  </a:lnTo>
                  <a:lnTo>
                    <a:pt x="6" y="6"/>
                  </a:lnTo>
                  <a:lnTo>
                    <a:pt x="10" y="6"/>
                  </a:lnTo>
                  <a:lnTo>
                    <a:pt x="16" y="8"/>
                  </a:lnTo>
                  <a:lnTo>
                    <a:pt x="22" y="10"/>
                  </a:lnTo>
                  <a:lnTo>
                    <a:pt x="28" y="10"/>
                  </a:lnTo>
                  <a:lnTo>
                    <a:pt x="30" y="8"/>
                  </a:lnTo>
                  <a:lnTo>
                    <a:pt x="32" y="8"/>
                  </a:lnTo>
                  <a:lnTo>
                    <a:pt x="34" y="6"/>
                  </a:lnTo>
                  <a:lnTo>
                    <a:pt x="36" y="6"/>
                  </a:lnTo>
                  <a:lnTo>
                    <a:pt x="38" y="6"/>
                  </a:lnTo>
                  <a:lnTo>
                    <a:pt x="38" y="6"/>
                  </a:lnTo>
                  <a:lnTo>
                    <a:pt x="40" y="6"/>
                  </a:lnTo>
                  <a:lnTo>
                    <a:pt x="42" y="6"/>
                  </a:lnTo>
                  <a:lnTo>
                    <a:pt x="42" y="4"/>
                  </a:lnTo>
                  <a:lnTo>
                    <a:pt x="40" y="4"/>
                  </a:lnTo>
                  <a:lnTo>
                    <a:pt x="36" y="2"/>
                  </a:lnTo>
                  <a:lnTo>
                    <a:pt x="32" y="0"/>
                  </a:lnTo>
                  <a:lnTo>
                    <a:pt x="28" y="0"/>
                  </a:lnTo>
                  <a:lnTo>
                    <a:pt x="24" y="2"/>
                  </a:lnTo>
                  <a:lnTo>
                    <a:pt x="22" y="2"/>
                  </a:lnTo>
                  <a:lnTo>
                    <a:pt x="18" y="2"/>
                  </a:lnTo>
                  <a:lnTo>
                    <a:pt x="16" y="2"/>
                  </a:lnTo>
                  <a:lnTo>
                    <a:pt x="12" y="2"/>
                  </a:lnTo>
                  <a:lnTo>
                    <a:pt x="10" y="0"/>
                  </a:lnTo>
                  <a:lnTo>
                    <a:pt x="8" y="0"/>
                  </a:lnTo>
                  <a:lnTo>
                    <a:pt x="6" y="0"/>
                  </a:lnTo>
                  <a:lnTo>
                    <a:pt x="2" y="0"/>
                  </a:lnTo>
                  <a:lnTo>
                    <a:pt x="0" y="0"/>
                  </a:lnTo>
                  <a:lnTo>
                    <a:pt x="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3" name="Freeform 450"/>
            <p:cNvSpPr/>
            <p:nvPr/>
          </p:nvSpPr>
          <p:spPr bwMode="gray">
            <a:xfrm>
              <a:off x="501907" y="4491362"/>
              <a:ext cx="155517" cy="103608"/>
            </a:xfrm>
            <a:custGeom>
              <a:gdLst>
                <a:gd fmla="*/ 24 w 84" name="T0"/>
                <a:gd fmla="*/ 44 h 56" name="T1"/>
                <a:gd fmla="*/ 22 w 84" name="T2"/>
                <a:gd fmla="*/ 38 h 56" name="T3"/>
                <a:gd fmla="*/ 0 w 84" name="T4"/>
                <a:gd fmla="*/ 20 h 56" name="T5"/>
                <a:gd fmla="*/ 0 w 84" name="T6"/>
                <a:gd fmla="*/ 20 h 56" name="T7"/>
                <a:gd fmla="*/ 4 w 84" name="T8"/>
                <a:gd fmla="*/ 18 h 56" name="T9"/>
                <a:gd fmla="*/ 6 w 84" name="T10"/>
                <a:gd fmla="*/ 16 h 56" name="T11"/>
                <a:gd fmla="*/ 12 w 84" name="T12"/>
                <a:gd fmla="*/ 12 h 56" name="T13"/>
                <a:gd fmla="*/ 14 w 84" name="T14"/>
                <a:gd fmla="*/ 8 h 56" name="T15"/>
                <a:gd fmla="*/ 16 w 84" name="T16"/>
                <a:gd fmla="*/ 0 h 56" name="T17"/>
                <a:gd fmla="*/ 28 w 84" name="T18"/>
                <a:gd fmla="*/ 0 h 56" name="T19"/>
                <a:gd fmla="*/ 28 w 84" name="T20"/>
                <a:gd fmla="*/ 0 h 56" name="T21"/>
                <a:gd fmla="*/ 30 w 84" name="T22"/>
                <a:gd fmla="*/ 2 h 56" name="T23"/>
                <a:gd fmla="*/ 34 w 84" name="T24"/>
                <a:gd fmla="*/ 4 h 56" name="T25"/>
                <a:gd fmla="*/ 38 w 84" name="T26"/>
                <a:gd fmla="*/ 6 h 56" name="T27"/>
                <a:gd fmla="*/ 40 w 84" name="T28"/>
                <a:gd fmla="*/ 8 h 56" name="T29"/>
                <a:gd fmla="*/ 44 w 84" name="T30"/>
                <a:gd fmla="*/ 10 h 56" name="T31"/>
                <a:gd fmla="*/ 46 w 84" name="T32"/>
                <a:gd fmla="*/ 10 h 56" name="T33"/>
                <a:gd fmla="*/ 46 w 84" name="T34"/>
                <a:gd fmla="*/ 8 h 56" name="T35"/>
                <a:gd fmla="*/ 48 w 84" name="T36"/>
                <a:gd fmla="*/ 8 h 56" name="T37"/>
                <a:gd fmla="*/ 50 w 84" name="T38"/>
                <a:gd fmla="*/ 6 h 56" name="T39"/>
                <a:gd fmla="*/ 52 w 84" name="T40"/>
                <a:gd fmla="*/ 4 h 56" name="T41"/>
                <a:gd fmla="*/ 56 w 84" name="T42"/>
                <a:gd fmla="*/ 4 h 56" name="T43"/>
                <a:gd fmla="*/ 58 w 84" name="T44"/>
                <a:gd fmla="*/ 4 h 56" name="T45"/>
                <a:gd fmla="*/ 62 w 84" name="T46"/>
                <a:gd fmla="*/ 6 h 56" name="T47"/>
                <a:gd fmla="*/ 64 w 84" name="T48"/>
                <a:gd fmla="*/ 10 h 56" name="T49"/>
                <a:gd fmla="*/ 64 w 84" name="T50"/>
                <a:gd fmla="*/ 10 h 56" name="T51"/>
                <a:gd fmla="*/ 64 w 84" name="T52"/>
                <a:gd fmla="*/ 12 h 56" name="T53"/>
                <a:gd fmla="*/ 64 w 84" name="T54"/>
                <a:gd fmla="*/ 16 h 56" name="T55"/>
                <a:gd fmla="*/ 64 w 84" name="T56"/>
                <a:gd fmla="*/ 18 h 56" name="T57"/>
                <a:gd fmla="*/ 66 w 84" name="T58"/>
                <a:gd fmla="*/ 22 h 56" name="T59"/>
                <a:gd fmla="*/ 70 w 84" name="T60"/>
                <a:gd fmla="*/ 24 h 56" name="T61"/>
                <a:gd fmla="*/ 72 w 84" name="T62"/>
                <a:gd fmla="*/ 24 h 56" name="T63"/>
                <a:gd fmla="*/ 74 w 84" name="T64"/>
                <a:gd fmla="*/ 24 h 56" name="T65"/>
                <a:gd fmla="*/ 76 w 84" name="T66"/>
                <a:gd fmla="*/ 24 h 56" name="T67"/>
                <a:gd fmla="*/ 78 w 84" name="T68"/>
                <a:gd fmla="*/ 24 h 56" name="T69"/>
                <a:gd fmla="*/ 80 w 84" name="T70"/>
                <a:gd fmla="*/ 26 h 56" name="T71"/>
                <a:gd fmla="*/ 82 w 84" name="T72"/>
                <a:gd fmla="*/ 30 h 56" name="T73"/>
                <a:gd fmla="*/ 84 w 84" name="T74"/>
                <a:gd fmla="*/ 36 h 56" name="T75"/>
                <a:gd fmla="*/ 82 w 84" name="T76"/>
                <a:gd fmla="*/ 40 h 56" name="T77"/>
                <a:gd fmla="*/ 82 w 84" name="T78"/>
                <a:gd fmla="*/ 42 h 56" name="T79"/>
                <a:gd fmla="*/ 80 w 84" name="T80"/>
                <a:gd fmla="*/ 44 h 56" name="T81"/>
                <a:gd fmla="*/ 80 w 84" name="T82"/>
                <a:gd fmla="*/ 46 h 56" name="T83"/>
                <a:gd fmla="*/ 48 w 84" name="T84"/>
                <a:gd fmla="*/ 56 h 56" name="T85"/>
                <a:gd fmla="*/ 48 w 84" name="T86"/>
                <a:gd fmla="*/ 56 h 56" name="T87"/>
                <a:gd fmla="*/ 46 w 84" name="T88"/>
                <a:gd fmla="*/ 56 h 56" name="T89"/>
                <a:gd fmla="*/ 44 w 84" name="T90"/>
                <a:gd fmla="*/ 56 h 56" name="T91"/>
                <a:gd fmla="*/ 38 w 84" name="T92"/>
                <a:gd fmla="*/ 54 h 56" name="T93"/>
                <a:gd fmla="*/ 32 w 84" name="T94"/>
                <a:gd fmla="*/ 52 h 56" name="T95"/>
                <a:gd fmla="*/ 32 w 84" name="T96"/>
                <a:gd fmla="*/ 52 h 56" name="T97"/>
                <a:gd fmla="*/ 28 w 84" name="T98"/>
                <a:gd fmla="*/ 50 h 56" name="T99"/>
                <a:gd fmla="*/ 26 w 84" name="T100"/>
                <a:gd fmla="*/ 48 h 56" name="T101"/>
                <a:gd fmla="*/ 24 w 84" name="T102"/>
                <a:gd fmla="*/ 44 h 56" name="T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b="b" l="0" r="r" t="0"/>
              <a:pathLst>
                <a:path h="56" w="84">
                  <a:moveTo>
                    <a:pt x="24" y="44"/>
                  </a:moveTo>
                  <a:lnTo>
                    <a:pt x="22" y="38"/>
                  </a:lnTo>
                  <a:lnTo>
                    <a:pt x="0" y="20"/>
                  </a:lnTo>
                  <a:lnTo>
                    <a:pt x="0" y="20"/>
                  </a:lnTo>
                  <a:lnTo>
                    <a:pt x="4" y="18"/>
                  </a:lnTo>
                  <a:lnTo>
                    <a:pt x="6" y="16"/>
                  </a:lnTo>
                  <a:lnTo>
                    <a:pt x="12" y="12"/>
                  </a:lnTo>
                  <a:lnTo>
                    <a:pt x="14" y="8"/>
                  </a:lnTo>
                  <a:lnTo>
                    <a:pt x="16" y="0"/>
                  </a:lnTo>
                  <a:lnTo>
                    <a:pt x="28" y="0"/>
                  </a:lnTo>
                  <a:lnTo>
                    <a:pt x="28" y="0"/>
                  </a:lnTo>
                  <a:lnTo>
                    <a:pt x="30" y="2"/>
                  </a:lnTo>
                  <a:lnTo>
                    <a:pt x="34" y="4"/>
                  </a:lnTo>
                  <a:lnTo>
                    <a:pt x="38" y="6"/>
                  </a:lnTo>
                  <a:lnTo>
                    <a:pt x="40" y="8"/>
                  </a:lnTo>
                  <a:lnTo>
                    <a:pt x="44" y="10"/>
                  </a:lnTo>
                  <a:lnTo>
                    <a:pt x="46" y="10"/>
                  </a:lnTo>
                  <a:lnTo>
                    <a:pt x="46" y="8"/>
                  </a:lnTo>
                  <a:lnTo>
                    <a:pt x="48" y="8"/>
                  </a:lnTo>
                  <a:lnTo>
                    <a:pt x="50" y="6"/>
                  </a:lnTo>
                  <a:lnTo>
                    <a:pt x="52" y="4"/>
                  </a:lnTo>
                  <a:lnTo>
                    <a:pt x="56" y="4"/>
                  </a:lnTo>
                  <a:lnTo>
                    <a:pt x="58" y="4"/>
                  </a:lnTo>
                  <a:lnTo>
                    <a:pt x="62" y="6"/>
                  </a:lnTo>
                  <a:lnTo>
                    <a:pt x="64" y="10"/>
                  </a:lnTo>
                  <a:lnTo>
                    <a:pt x="64" y="10"/>
                  </a:lnTo>
                  <a:lnTo>
                    <a:pt x="64" y="12"/>
                  </a:lnTo>
                  <a:lnTo>
                    <a:pt x="64" y="16"/>
                  </a:lnTo>
                  <a:lnTo>
                    <a:pt x="64" y="18"/>
                  </a:lnTo>
                  <a:lnTo>
                    <a:pt x="66" y="22"/>
                  </a:lnTo>
                  <a:lnTo>
                    <a:pt x="70" y="24"/>
                  </a:lnTo>
                  <a:lnTo>
                    <a:pt x="72" y="24"/>
                  </a:lnTo>
                  <a:lnTo>
                    <a:pt x="74" y="24"/>
                  </a:lnTo>
                  <a:lnTo>
                    <a:pt x="76" y="24"/>
                  </a:lnTo>
                  <a:lnTo>
                    <a:pt x="78" y="24"/>
                  </a:lnTo>
                  <a:lnTo>
                    <a:pt x="80" y="26"/>
                  </a:lnTo>
                  <a:lnTo>
                    <a:pt x="82" y="30"/>
                  </a:lnTo>
                  <a:lnTo>
                    <a:pt x="84" y="36"/>
                  </a:lnTo>
                  <a:lnTo>
                    <a:pt x="82" y="40"/>
                  </a:lnTo>
                  <a:lnTo>
                    <a:pt x="82" y="42"/>
                  </a:lnTo>
                  <a:lnTo>
                    <a:pt x="80" y="44"/>
                  </a:lnTo>
                  <a:lnTo>
                    <a:pt x="80" y="46"/>
                  </a:lnTo>
                  <a:lnTo>
                    <a:pt x="48" y="56"/>
                  </a:lnTo>
                  <a:lnTo>
                    <a:pt x="48" y="56"/>
                  </a:lnTo>
                  <a:lnTo>
                    <a:pt x="46" y="56"/>
                  </a:lnTo>
                  <a:lnTo>
                    <a:pt x="44" y="56"/>
                  </a:lnTo>
                  <a:lnTo>
                    <a:pt x="38" y="54"/>
                  </a:lnTo>
                  <a:lnTo>
                    <a:pt x="32" y="52"/>
                  </a:lnTo>
                  <a:lnTo>
                    <a:pt x="32" y="52"/>
                  </a:lnTo>
                  <a:lnTo>
                    <a:pt x="28" y="50"/>
                  </a:lnTo>
                  <a:lnTo>
                    <a:pt x="26" y="48"/>
                  </a:lnTo>
                  <a:lnTo>
                    <a:pt x="24" y="4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4" name="Freeform 451"/>
            <p:cNvSpPr/>
            <p:nvPr/>
          </p:nvSpPr>
          <p:spPr bwMode="gray">
            <a:xfrm>
              <a:off x="468582" y="4446958"/>
              <a:ext cx="66650" cy="81407"/>
            </a:xfrm>
            <a:custGeom>
              <a:gdLst>
                <a:gd fmla="*/ 0 w 36" name="T0"/>
                <a:gd fmla="*/ 18 h 44" name="T1"/>
                <a:gd fmla="*/ 0 w 36" name="T2"/>
                <a:gd fmla="*/ 16 h 44" name="T3"/>
                <a:gd fmla="*/ 0 w 36" name="T4"/>
                <a:gd fmla="*/ 14 h 44" name="T5"/>
                <a:gd fmla="*/ 0 w 36" name="T6"/>
                <a:gd fmla="*/ 12 h 44" name="T7"/>
                <a:gd fmla="*/ 2 w 36" name="T8"/>
                <a:gd fmla="*/ 8 h 44" name="T9"/>
                <a:gd fmla="*/ 4 w 36" name="T10"/>
                <a:gd fmla="*/ 6 h 44" name="T11"/>
                <a:gd fmla="*/ 8 w 36" name="T12"/>
                <a:gd fmla="*/ 2 h 44" name="T13"/>
                <a:gd fmla="*/ 14 w 36" name="T14"/>
                <a:gd fmla="*/ 0 h 44" name="T15"/>
                <a:gd fmla="*/ 18 w 36" name="T16"/>
                <a:gd fmla="*/ 0 h 44" name="T17"/>
                <a:gd fmla="*/ 20 w 36" name="T18"/>
                <a:gd fmla="*/ 0 h 44" name="T19"/>
                <a:gd fmla="*/ 24 w 36" name="T20"/>
                <a:gd fmla="*/ 0 h 44" name="T21"/>
                <a:gd fmla="*/ 26 w 36" name="T22"/>
                <a:gd fmla="*/ 2 h 44" name="T23"/>
                <a:gd fmla="*/ 28 w 36" name="T24"/>
                <a:gd fmla="*/ 2 h 44" name="T25"/>
                <a:gd fmla="*/ 30 w 36" name="T26"/>
                <a:gd fmla="*/ 4 h 44" name="T27"/>
                <a:gd fmla="*/ 32 w 36" name="T28"/>
                <a:gd fmla="*/ 4 h 44" name="T29"/>
                <a:gd fmla="*/ 34 w 36" name="T30"/>
                <a:gd fmla="*/ 8 h 44" name="T31"/>
                <a:gd fmla="*/ 36 w 36" name="T32"/>
                <a:gd fmla="*/ 12 h 44" name="T33"/>
                <a:gd fmla="*/ 36 w 36" name="T34"/>
                <a:gd fmla="*/ 20 h 44" name="T35"/>
                <a:gd fmla="*/ 34 w 36" name="T36"/>
                <a:gd fmla="*/ 28 h 44" name="T37"/>
                <a:gd fmla="*/ 30 w 36" name="T38"/>
                <a:gd fmla="*/ 34 h 44" name="T39"/>
                <a:gd fmla="*/ 30 w 36" name="T40"/>
                <a:gd fmla="*/ 34 h 44" name="T41"/>
                <a:gd fmla="*/ 28 w 36" name="T42"/>
                <a:gd fmla="*/ 38 h 44" name="T43"/>
                <a:gd fmla="*/ 24 w 36" name="T44"/>
                <a:gd fmla="*/ 40 h 44" name="T45"/>
                <a:gd fmla="*/ 20 w 36" name="T46"/>
                <a:gd fmla="*/ 44 h 44" name="T47"/>
                <a:gd fmla="*/ 18 w 36" name="T48"/>
                <a:gd fmla="*/ 44 h 44" name="T49"/>
                <a:gd fmla="*/ 16 w 36" name="T50"/>
                <a:gd fmla="*/ 44 h 44" name="T51"/>
                <a:gd fmla="*/ 14 w 36" name="T52"/>
                <a:gd fmla="*/ 42 h 44" name="T53"/>
                <a:gd fmla="*/ 10 w 36" name="T54"/>
                <a:gd fmla="*/ 40 h 44" name="T55"/>
                <a:gd fmla="*/ 8 w 36" name="T56"/>
                <a:gd fmla="*/ 38 h 44" name="T57"/>
                <a:gd fmla="*/ 0 w 36" name="T58"/>
                <a:gd fmla="*/ 18 h 44" name="T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b="b" l="0" r="r" t="0"/>
              <a:pathLst>
                <a:path h="44" w="36">
                  <a:moveTo>
                    <a:pt x="0" y="18"/>
                  </a:moveTo>
                  <a:lnTo>
                    <a:pt x="0" y="16"/>
                  </a:lnTo>
                  <a:lnTo>
                    <a:pt x="0" y="14"/>
                  </a:lnTo>
                  <a:lnTo>
                    <a:pt x="0" y="12"/>
                  </a:lnTo>
                  <a:lnTo>
                    <a:pt x="2" y="8"/>
                  </a:lnTo>
                  <a:lnTo>
                    <a:pt x="4" y="6"/>
                  </a:lnTo>
                  <a:lnTo>
                    <a:pt x="8" y="2"/>
                  </a:lnTo>
                  <a:lnTo>
                    <a:pt x="14" y="0"/>
                  </a:lnTo>
                  <a:lnTo>
                    <a:pt x="18" y="0"/>
                  </a:lnTo>
                  <a:lnTo>
                    <a:pt x="20" y="0"/>
                  </a:lnTo>
                  <a:lnTo>
                    <a:pt x="24" y="0"/>
                  </a:lnTo>
                  <a:lnTo>
                    <a:pt x="26" y="2"/>
                  </a:lnTo>
                  <a:lnTo>
                    <a:pt x="28" y="2"/>
                  </a:lnTo>
                  <a:lnTo>
                    <a:pt x="30" y="4"/>
                  </a:lnTo>
                  <a:lnTo>
                    <a:pt x="32" y="4"/>
                  </a:lnTo>
                  <a:lnTo>
                    <a:pt x="34" y="8"/>
                  </a:lnTo>
                  <a:lnTo>
                    <a:pt x="36" y="12"/>
                  </a:lnTo>
                  <a:lnTo>
                    <a:pt x="36" y="20"/>
                  </a:lnTo>
                  <a:lnTo>
                    <a:pt x="34" y="28"/>
                  </a:lnTo>
                  <a:lnTo>
                    <a:pt x="30" y="34"/>
                  </a:lnTo>
                  <a:lnTo>
                    <a:pt x="30" y="34"/>
                  </a:lnTo>
                  <a:lnTo>
                    <a:pt x="28" y="38"/>
                  </a:lnTo>
                  <a:lnTo>
                    <a:pt x="24" y="40"/>
                  </a:lnTo>
                  <a:lnTo>
                    <a:pt x="20" y="44"/>
                  </a:lnTo>
                  <a:lnTo>
                    <a:pt x="18" y="44"/>
                  </a:lnTo>
                  <a:lnTo>
                    <a:pt x="16" y="44"/>
                  </a:lnTo>
                  <a:lnTo>
                    <a:pt x="14" y="42"/>
                  </a:lnTo>
                  <a:lnTo>
                    <a:pt x="10" y="40"/>
                  </a:lnTo>
                  <a:lnTo>
                    <a:pt x="8" y="38"/>
                  </a:lnTo>
                  <a:lnTo>
                    <a:pt x="0" y="1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5" name="Freeform 452"/>
            <p:cNvSpPr/>
            <p:nvPr/>
          </p:nvSpPr>
          <p:spPr bwMode="gray">
            <a:xfrm>
              <a:off x="409337" y="4380353"/>
              <a:ext cx="185140" cy="129510"/>
            </a:xfrm>
            <a:custGeom>
              <a:gdLst>
                <a:gd fmla="*/ 0 w 100" name="T0"/>
                <a:gd fmla="*/ 26 h 70" name="T1"/>
                <a:gd fmla="*/ 18 w 100" name="T2"/>
                <a:gd fmla="*/ 20 h 70" name="T3"/>
                <a:gd fmla="*/ 22 w 100" name="T4"/>
                <a:gd fmla="*/ 16 h 70" name="T5"/>
                <a:gd fmla="*/ 24 w 100" name="T6"/>
                <a:gd fmla="*/ 8 h 70" name="T7"/>
                <a:gd fmla="*/ 22 w 100" name="T8"/>
                <a:gd fmla="*/ 0 h 70" name="T9"/>
                <a:gd fmla="*/ 24 w 100" name="T10"/>
                <a:gd fmla="*/ 0 h 70" name="T11"/>
                <a:gd fmla="*/ 30 w 100" name="T12"/>
                <a:gd fmla="*/ 0 h 70" name="T13"/>
                <a:gd fmla="*/ 36 w 100" name="T14"/>
                <a:gd fmla="*/ 2 h 70" name="T15"/>
                <a:gd fmla="*/ 38 w 100" name="T16"/>
                <a:gd fmla="*/ 4 h 70" name="T17"/>
                <a:gd fmla="*/ 40 w 100" name="T18"/>
                <a:gd fmla="*/ 6 h 70" name="T19"/>
                <a:gd fmla="*/ 44 w 100" name="T20"/>
                <a:gd fmla="*/ 6 h 70" name="T21"/>
                <a:gd fmla="*/ 52 w 100" name="T22"/>
                <a:gd fmla="*/ 10 h 70" name="T23"/>
                <a:gd fmla="*/ 62 w 100" name="T24"/>
                <a:gd fmla="*/ 10 h 70" name="T25"/>
                <a:gd fmla="*/ 64 w 100" name="T26"/>
                <a:gd fmla="*/ 8 h 70" name="T27"/>
                <a:gd fmla="*/ 64 w 100" name="T28"/>
                <a:gd fmla="*/ 6 h 70" name="T29"/>
                <a:gd fmla="*/ 66 w 100" name="T30"/>
                <a:gd fmla="*/ 4 h 70" name="T31"/>
                <a:gd fmla="*/ 70 w 100" name="T32"/>
                <a:gd fmla="*/ 2 h 70" name="T33"/>
                <a:gd fmla="*/ 76 w 100" name="T34"/>
                <a:gd fmla="*/ 4 h 70" name="T35"/>
                <a:gd fmla="*/ 78 w 100" name="T36"/>
                <a:gd fmla="*/ 8 h 70" name="T37"/>
                <a:gd fmla="*/ 80 w 100" name="T38"/>
                <a:gd fmla="*/ 14 h 70" name="T39"/>
                <a:gd fmla="*/ 84 w 100" name="T40"/>
                <a:gd fmla="*/ 22 h 70" name="T41"/>
                <a:gd fmla="*/ 88 w 100" name="T42"/>
                <a:gd fmla="*/ 28 h 70" name="T43"/>
                <a:gd fmla="*/ 90 w 100" name="T44"/>
                <a:gd fmla="*/ 36 h 70" name="T45"/>
                <a:gd fmla="*/ 96 w 100" name="T46"/>
                <a:gd fmla="*/ 50 h 70" name="T47"/>
                <a:gd fmla="*/ 100 w 100" name="T48"/>
                <a:gd fmla="*/ 64 h 70" name="T49"/>
                <a:gd fmla="*/ 96 w 100" name="T50"/>
                <a:gd fmla="*/ 70 h 70" name="T51"/>
                <a:gd fmla="*/ 88 w 100" name="T52"/>
                <a:gd fmla="*/ 66 h 70" name="T53"/>
                <a:gd fmla="*/ 78 w 100" name="T54"/>
                <a:gd fmla="*/ 60 h 70" name="T55"/>
                <a:gd fmla="*/ 78 w 100" name="T56"/>
                <a:gd fmla="*/ 60 h 70" name="T57"/>
                <a:gd fmla="*/ 72 w 100" name="T58"/>
                <a:gd fmla="*/ 60 h 70" name="T59"/>
                <a:gd fmla="*/ 68 w 100" name="T60"/>
                <a:gd fmla="*/ 60 h 70" name="T61"/>
                <a:gd fmla="*/ 68 w 100" name="T62"/>
                <a:gd fmla="*/ 54 h 70" name="T63"/>
                <a:gd fmla="*/ 68 w 100" name="T64"/>
                <a:gd fmla="*/ 46 h 70" name="T65"/>
                <a:gd fmla="*/ 62 w 100" name="T66"/>
                <a:gd fmla="*/ 40 h 70" name="T67"/>
                <a:gd fmla="*/ 50 w 100" name="T68"/>
                <a:gd fmla="*/ 36 h 70" name="T69"/>
                <a:gd fmla="*/ 48 w 100" name="T70"/>
                <a:gd fmla="*/ 36 h 70" name="T71"/>
                <a:gd fmla="*/ 40 w 100" name="T72"/>
                <a:gd fmla="*/ 40 h 70" name="T73"/>
                <a:gd fmla="*/ 32 w 100" name="T74"/>
                <a:gd fmla="*/ 46 h 70" name="T75"/>
                <a:gd fmla="*/ 18 w 100" name="T76"/>
                <a:gd fmla="*/ 40 h 70"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70" w="100">
                  <a:moveTo>
                    <a:pt x="18" y="40"/>
                  </a:moveTo>
                  <a:lnTo>
                    <a:pt x="0" y="26"/>
                  </a:lnTo>
                  <a:lnTo>
                    <a:pt x="18" y="20"/>
                  </a:lnTo>
                  <a:lnTo>
                    <a:pt x="18" y="20"/>
                  </a:lnTo>
                  <a:lnTo>
                    <a:pt x="20" y="18"/>
                  </a:lnTo>
                  <a:lnTo>
                    <a:pt x="22" y="16"/>
                  </a:lnTo>
                  <a:lnTo>
                    <a:pt x="24" y="12"/>
                  </a:lnTo>
                  <a:lnTo>
                    <a:pt x="24" y="8"/>
                  </a:lnTo>
                  <a:lnTo>
                    <a:pt x="22" y="4"/>
                  </a:lnTo>
                  <a:lnTo>
                    <a:pt x="22" y="0"/>
                  </a:lnTo>
                  <a:lnTo>
                    <a:pt x="22" y="0"/>
                  </a:lnTo>
                  <a:lnTo>
                    <a:pt x="24" y="0"/>
                  </a:lnTo>
                  <a:lnTo>
                    <a:pt x="26" y="0"/>
                  </a:lnTo>
                  <a:lnTo>
                    <a:pt x="30" y="0"/>
                  </a:lnTo>
                  <a:lnTo>
                    <a:pt x="34" y="0"/>
                  </a:lnTo>
                  <a:lnTo>
                    <a:pt x="36" y="2"/>
                  </a:lnTo>
                  <a:lnTo>
                    <a:pt x="36" y="2"/>
                  </a:lnTo>
                  <a:lnTo>
                    <a:pt x="38" y="4"/>
                  </a:lnTo>
                  <a:lnTo>
                    <a:pt x="38" y="6"/>
                  </a:lnTo>
                  <a:lnTo>
                    <a:pt x="40" y="6"/>
                  </a:lnTo>
                  <a:lnTo>
                    <a:pt x="44" y="6"/>
                  </a:lnTo>
                  <a:lnTo>
                    <a:pt x="44" y="6"/>
                  </a:lnTo>
                  <a:lnTo>
                    <a:pt x="46" y="8"/>
                  </a:lnTo>
                  <a:lnTo>
                    <a:pt x="52" y="10"/>
                  </a:lnTo>
                  <a:lnTo>
                    <a:pt x="58" y="10"/>
                  </a:lnTo>
                  <a:lnTo>
                    <a:pt x="62" y="10"/>
                  </a:lnTo>
                  <a:lnTo>
                    <a:pt x="64" y="8"/>
                  </a:lnTo>
                  <a:lnTo>
                    <a:pt x="64" y="8"/>
                  </a:lnTo>
                  <a:lnTo>
                    <a:pt x="66" y="6"/>
                  </a:lnTo>
                  <a:lnTo>
                    <a:pt x="64" y="6"/>
                  </a:lnTo>
                  <a:lnTo>
                    <a:pt x="64" y="4"/>
                  </a:lnTo>
                  <a:lnTo>
                    <a:pt x="66" y="4"/>
                  </a:lnTo>
                  <a:lnTo>
                    <a:pt x="66" y="4"/>
                  </a:lnTo>
                  <a:lnTo>
                    <a:pt x="70" y="2"/>
                  </a:lnTo>
                  <a:lnTo>
                    <a:pt x="72" y="2"/>
                  </a:lnTo>
                  <a:lnTo>
                    <a:pt x="76" y="4"/>
                  </a:lnTo>
                  <a:lnTo>
                    <a:pt x="78" y="6"/>
                  </a:lnTo>
                  <a:lnTo>
                    <a:pt x="78" y="8"/>
                  </a:lnTo>
                  <a:lnTo>
                    <a:pt x="78" y="10"/>
                  </a:lnTo>
                  <a:lnTo>
                    <a:pt x="80" y="14"/>
                  </a:lnTo>
                  <a:lnTo>
                    <a:pt x="82" y="18"/>
                  </a:lnTo>
                  <a:lnTo>
                    <a:pt x="84" y="22"/>
                  </a:lnTo>
                  <a:lnTo>
                    <a:pt x="88" y="26"/>
                  </a:lnTo>
                  <a:lnTo>
                    <a:pt x="88" y="28"/>
                  </a:lnTo>
                  <a:lnTo>
                    <a:pt x="88" y="30"/>
                  </a:lnTo>
                  <a:lnTo>
                    <a:pt x="90" y="36"/>
                  </a:lnTo>
                  <a:lnTo>
                    <a:pt x="92" y="40"/>
                  </a:lnTo>
                  <a:lnTo>
                    <a:pt x="96" y="50"/>
                  </a:lnTo>
                  <a:lnTo>
                    <a:pt x="98" y="58"/>
                  </a:lnTo>
                  <a:lnTo>
                    <a:pt x="100" y="64"/>
                  </a:lnTo>
                  <a:lnTo>
                    <a:pt x="98" y="68"/>
                  </a:lnTo>
                  <a:lnTo>
                    <a:pt x="96" y="70"/>
                  </a:lnTo>
                  <a:lnTo>
                    <a:pt x="92" y="70"/>
                  </a:lnTo>
                  <a:lnTo>
                    <a:pt x="88" y="66"/>
                  </a:lnTo>
                  <a:lnTo>
                    <a:pt x="82" y="64"/>
                  </a:lnTo>
                  <a:lnTo>
                    <a:pt x="78" y="60"/>
                  </a:lnTo>
                  <a:lnTo>
                    <a:pt x="78" y="60"/>
                  </a:lnTo>
                  <a:lnTo>
                    <a:pt x="78" y="60"/>
                  </a:lnTo>
                  <a:lnTo>
                    <a:pt x="76" y="60"/>
                  </a:lnTo>
                  <a:lnTo>
                    <a:pt x="72" y="60"/>
                  </a:lnTo>
                  <a:lnTo>
                    <a:pt x="66" y="60"/>
                  </a:lnTo>
                  <a:lnTo>
                    <a:pt x="68" y="60"/>
                  </a:lnTo>
                  <a:lnTo>
                    <a:pt x="68" y="56"/>
                  </a:lnTo>
                  <a:lnTo>
                    <a:pt x="68" y="54"/>
                  </a:lnTo>
                  <a:lnTo>
                    <a:pt x="68" y="50"/>
                  </a:lnTo>
                  <a:lnTo>
                    <a:pt x="68" y="46"/>
                  </a:lnTo>
                  <a:lnTo>
                    <a:pt x="66" y="42"/>
                  </a:lnTo>
                  <a:lnTo>
                    <a:pt x="62" y="40"/>
                  </a:lnTo>
                  <a:lnTo>
                    <a:pt x="58" y="38"/>
                  </a:lnTo>
                  <a:lnTo>
                    <a:pt x="50" y="36"/>
                  </a:lnTo>
                  <a:lnTo>
                    <a:pt x="50" y="36"/>
                  </a:lnTo>
                  <a:lnTo>
                    <a:pt x="48" y="36"/>
                  </a:lnTo>
                  <a:lnTo>
                    <a:pt x="44" y="38"/>
                  </a:lnTo>
                  <a:lnTo>
                    <a:pt x="40" y="40"/>
                  </a:lnTo>
                  <a:lnTo>
                    <a:pt x="36" y="42"/>
                  </a:lnTo>
                  <a:lnTo>
                    <a:pt x="32" y="46"/>
                  </a:lnTo>
                  <a:lnTo>
                    <a:pt x="32" y="52"/>
                  </a:lnTo>
                  <a:lnTo>
                    <a:pt x="18" y="4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6" name="Freeform 453"/>
            <p:cNvSpPr/>
            <p:nvPr/>
          </p:nvSpPr>
          <p:spPr bwMode="gray">
            <a:xfrm>
              <a:off x="572260" y="4417356"/>
              <a:ext cx="155517" cy="162813"/>
            </a:xfrm>
            <a:custGeom>
              <a:gdLst>
                <a:gd fmla="*/ 42 w 84" name="T0"/>
                <a:gd fmla="*/ 84 h 88" name="T1"/>
                <a:gd fmla="*/ 44 w 84" name="T2"/>
                <a:gd fmla="*/ 78 h 88" name="T3"/>
                <a:gd fmla="*/ 44 w 84" name="T4"/>
                <a:gd fmla="*/ 68 h 88" name="T5"/>
                <a:gd fmla="*/ 42 w 84" name="T6"/>
                <a:gd fmla="*/ 66 h 88" name="T7"/>
                <a:gd fmla="*/ 36 w 84" name="T8"/>
                <a:gd fmla="*/ 64 h 88" name="T9"/>
                <a:gd fmla="*/ 32 w 84" name="T10"/>
                <a:gd fmla="*/ 64 h 88" name="T11"/>
                <a:gd fmla="*/ 28 w 84" name="T12"/>
                <a:gd fmla="*/ 62 h 88" name="T13"/>
                <a:gd fmla="*/ 26 w 84" name="T14"/>
                <a:gd fmla="*/ 54 h 88" name="T15"/>
                <a:gd fmla="*/ 26 w 84" name="T16"/>
                <a:gd fmla="*/ 48 h 88" name="T17"/>
                <a:gd fmla="*/ 24 w 84" name="T18"/>
                <a:gd fmla="*/ 46 h 88" name="T19"/>
                <a:gd fmla="*/ 18 w 84" name="T20"/>
                <a:gd fmla="*/ 42 h 88" name="T21"/>
                <a:gd fmla="*/ 10 w 84" name="T22"/>
                <a:gd fmla="*/ 48 h 88" name="T23"/>
                <a:gd fmla="*/ 10 w 84" name="T24"/>
                <a:gd fmla="*/ 44 h 88" name="T25"/>
                <a:gd fmla="*/ 10 w 84" name="T26"/>
                <a:gd fmla="*/ 36 h 88" name="T27"/>
                <a:gd fmla="*/ 8 w 84" name="T28"/>
                <a:gd fmla="*/ 32 h 88" name="T29"/>
                <a:gd fmla="*/ 4 w 84" name="T30"/>
                <a:gd fmla="*/ 24 h 88" name="T31"/>
                <a:gd fmla="*/ 2 w 84" name="T32"/>
                <a:gd fmla="*/ 14 h 88" name="T33"/>
                <a:gd fmla="*/ 0 w 84" name="T34"/>
                <a:gd fmla="*/ 6 h 88" name="T35"/>
                <a:gd fmla="*/ 6 w 84" name="T36"/>
                <a:gd fmla="*/ 8 h 88" name="T37"/>
                <a:gd fmla="*/ 16 w 84" name="T38"/>
                <a:gd fmla="*/ 6 h 88" name="T39"/>
                <a:gd fmla="*/ 22 w 84" name="T40"/>
                <a:gd fmla="*/ 4 h 88" name="T41"/>
                <a:gd fmla="*/ 24 w 84" name="T42"/>
                <a:gd fmla="*/ 0 h 88" name="T43"/>
                <a:gd fmla="*/ 30 w 84" name="T44"/>
                <a:gd fmla="*/ 2 h 88" name="T45"/>
                <a:gd fmla="*/ 32 w 84" name="T46"/>
                <a:gd fmla="*/ 4 h 88" name="T47"/>
                <a:gd fmla="*/ 36 w 84" name="T48"/>
                <a:gd fmla="*/ 4 h 88" name="T49"/>
                <a:gd fmla="*/ 38 w 84" name="T50"/>
                <a:gd fmla="*/ 2 h 88" name="T51"/>
                <a:gd fmla="*/ 42 w 84" name="T52"/>
                <a:gd fmla="*/ 0 h 88" name="T53"/>
                <a:gd fmla="*/ 50 w 84" name="T54"/>
                <a:gd fmla="*/ 0 h 88" name="T55"/>
                <a:gd fmla="*/ 58 w 84" name="T56"/>
                <a:gd fmla="*/ 2 h 88" name="T57"/>
                <a:gd fmla="*/ 64 w 84" name="T58"/>
                <a:gd fmla="*/ 0 h 88" name="T59"/>
                <a:gd fmla="*/ 72 w 84" name="T60"/>
                <a:gd fmla="*/ 0 h 88" name="T61"/>
                <a:gd fmla="*/ 76 w 84" name="T62"/>
                <a:gd fmla="*/ 4 h 88" name="T63"/>
                <a:gd fmla="*/ 78 w 84" name="T64"/>
                <a:gd fmla="*/ 12 h 88" name="T65"/>
                <a:gd fmla="*/ 82 w 84" name="T66"/>
                <a:gd fmla="*/ 32 h 88" name="T67"/>
                <a:gd fmla="*/ 80 w 84" name="T68"/>
                <a:gd fmla="*/ 46 h 88" name="T69"/>
                <a:gd fmla="*/ 76 w 84" name="T70"/>
                <a:gd fmla="*/ 68 h 88" name="T71"/>
                <a:gd fmla="*/ 84 w 84" name="T72"/>
                <a:gd fmla="*/ 88 h 88" name="T73"/>
                <a:gd fmla="*/ 42 w 84" name="T74"/>
                <a:gd fmla="*/ 86 h 88"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88" w="84">
                  <a:moveTo>
                    <a:pt x="42" y="86"/>
                  </a:moveTo>
                  <a:lnTo>
                    <a:pt x="42" y="84"/>
                  </a:lnTo>
                  <a:lnTo>
                    <a:pt x="44" y="82"/>
                  </a:lnTo>
                  <a:lnTo>
                    <a:pt x="44" y="78"/>
                  </a:lnTo>
                  <a:lnTo>
                    <a:pt x="46" y="74"/>
                  </a:lnTo>
                  <a:lnTo>
                    <a:pt x="44" y="68"/>
                  </a:lnTo>
                  <a:lnTo>
                    <a:pt x="44" y="68"/>
                  </a:lnTo>
                  <a:lnTo>
                    <a:pt x="42" y="66"/>
                  </a:lnTo>
                  <a:lnTo>
                    <a:pt x="40" y="64"/>
                  </a:lnTo>
                  <a:lnTo>
                    <a:pt x="36" y="64"/>
                  </a:lnTo>
                  <a:lnTo>
                    <a:pt x="32" y="64"/>
                  </a:lnTo>
                  <a:lnTo>
                    <a:pt x="32" y="64"/>
                  </a:lnTo>
                  <a:lnTo>
                    <a:pt x="30" y="64"/>
                  </a:lnTo>
                  <a:lnTo>
                    <a:pt x="28" y="62"/>
                  </a:lnTo>
                  <a:lnTo>
                    <a:pt x="26" y="58"/>
                  </a:lnTo>
                  <a:lnTo>
                    <a:pt x="26" y="54"/>
                  </a:lnTo>
                  <a:lnTo>
                    <a:pt x="26" y="50"/>
                  </a:lnTo>
                  <a:lnTo>
                    <a:pt x="26" y="48"/>
                  </a:lnTo>
                  <a:lnTo>
                    <a:pt x="24" y="46"/>
                  </a:lnTo>
                  <a:lnTo>
                    <a:pt x="24" y="46"/>
                  </a:lnTo>
                  <a:lnTo>
                    <a:pt x="22" y="44"/>
                  </a:lnTo>
                  <a:lnTo>
                    <a:pt x="18" y="42"/>
                  </a:lnTo>
                  <a:lnTo>
                    <a:pt x="14" y="44"/>
                  </a:lnTo>
                  <a:lnTo>
                    <a:pt x="10" y="48"/>
                  </a:lnTo>
                  <a:lnTo>
                    <a:pt x="10" y="46"/>
                  </a:lnTo>
                  <a:lnTo>
                    <a:pt x="10" y="44"/>
                  </a:lnTo>
                  <a:lnTo>
                    <a:pt x="10" y="40"/>
                  </a:lnTo>
                  <a:lnTo>
                    <a:pt x="10" y="36"/>
                  </a:lnTo>
                  <a:lnTo>
                    <a:pt x="10" y="36"/>
                  </a:lnTo>
                  <a:lnTo>
                    <a:pt x="8" y="32"/>
                  </a:lnTo>
                  <a:lnTo>
                    <a:pt x="6" y="28"/>
                  </a:lnTo>
                  <a:lnTo>
                    <a:pt x="4" y="24"/>
                  </a:lnTo>
                  <a:lnTo>
                    <a:pt x="2" y="20"/>
                  </a:lnTo>
                  <a:lnTo>
                    <a:pt x="2" y="14"/>
                  </a:lnTo>
                  <a:lnTo>
                    <a:pt x="0" y="10"/>
                  </a:lnTo>
                  <a:lnTo>
                    <a:pt x="0" y="6"/>
                  </a:lnTo>
                  <a:lnTo>
                    <a:pt x="2" y="6"/>
                  </a:lnTo>
                  <a:lnTo>
                    <a:pt x="6" y="8"/>
                  </a:lnTo>
                  <a:lnTo>
                    <a:pt x="10" y="8"/>
                  </a:lnTo>
                  <a:lnTo>
                    <a:pt x="16" y="6"/>
                  </a:lnTo>
                  <a:lnTo>
                    <a:pt x="20" y="4"/>
                  </a:lnTo>
                  <a:lnTo>
                    <a:pt x="22" y="4"/>
                  </a:lnTo>
                  <a:lnTo>
                    <a:pt x="22" y="2"/>
                  </a:lnTo>
                  <a:lnTo>
                    <a:pt x="24" y="0"/>
                  </a:lnTo>
                  <a:lnTo>
                    <a:pt x="28" y="0"/>
                  </a:lnTo>
                  <a:lnTo>
                    <a:pt x="30" y="2"/>
                  </a:lnTo>
                  <a:lnTo>
                    <a:pt x="30" y="4"/>
                  </a:lnTo>
                  <a:lnTo>
                    <a:pt x="32" y="4"/>
                  </a:lnTo>
                  <a:lnTo>
                    <a:pt x="34" y="6"/>
                  </a:lnTo>
                  <a:lnTo>
                    <a:pt x="36" y="4"/>
                  </a:lnTo>
                  <a:lnTo>
                    <a:pt x="38" y="2"/>
                  </a:lnTo>
                  <a:lnTo>
                    <a:pt x="38" y="2"/>
                  </a:lnTo>
                  <a:lnTo>
                    <a:pt x="40" y="2"/>
                  </a:lnTo>
                  <a:lnTo>
                    <a:pt x="42" y="0"/>
                  </a:lnTo>
                  <a:lnTo>
                    <a:pt x="46" y="0"/>
                  </a:lnTo>
                  <a:lnTo>
                    <a:pt x="50" y="0"/>
                  </a:lnTo>
                  <a:lnTo>
                    <a:pt x="56" y="2"/>
                  </a:lnTo>
                  <a:lnTo>
                    <a:pt x="58" y="2"/>
                  </a:lnTo>
                  <a:lnTo>
                    <a:pt x="62" y="2"/>
                  </a:lnTo>
                  <a:lnTo>
                    <a:pt x="64" y="0"/>
                  </a:lnTo>
                  <a:lnTo>
                    <a:pt x="68" y="0"/>
                  </a:lnTo>
                  <a:lnTo>
                    <a:pt x="72" y="0"/>
                  </a:lnTo>
                  <a:lnTo>
                    <a:pt x="74" y="2"/>
                  </a:lnTo>
                  <a:lnTo>
                    <a:pt x="76" y="4"/>
                  </a:lnTo>
                  <a:lnTo>
                    <a:pt x="76" y="8"/>
                  </a:lnTo>
                  <a:lnTo>
                    <a:pt x="78" y="12"/>
                  </a:lnTo>
                  <a:lnTo>
                    <a:pt x="80" y="20"/>
                  </a:lnTo>
                  <a:lnTo>
                    <a:pt x="82" y="32"/>
                  </a:lnTo>
                  <a:lnTo>
                    <a:pt x="80" y="42"/>
                  </a:lnTo>
                  <a:lnTo>
                    <a:pt x="80" y="46"/>
                  </a:lnTo>
                  <a:lnTo>
                    <a:pt x="78" y="56"/>
                  </a:lnTo>
                  <a:lnTo>
                    <a:pt x="76" y="68"/>
                  </a:lnTo>
                  <a:lnTo>
                    <a:pt x="78" y="76"/>
                  </a:lnTo>
                  <a:lnTo>
                    <a:pt x="84" y="88"/>
                  </a:lnTo>
                  <a:lnTo>
                    <a:pt x="66" y="82"/>
                  </a:lnTo>
                  <a:lnTo>
                    <a:pt x="42" y="8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7" name="Freeform 454"/>
            <p:cNvSpPr/>
            <p:nvPr/>
          </p:nvSpPr>
          <p:spPr bwMode="gray">
            <a:xfrm>
              <a:off x="642613" y="4350751"/>
              <a:ext cx="137003" cy="70306"/>
            </a:xfrm>
            <a:custGeom>
              <a:gdLst>
                <a:gd fmla="*/ 28 w 74" name="T0"/>
                <a:gd fmla="*/ 8 h 38" name="T1"/>
                <a:gd fmla="*/ 28 w 74" name="T2"/>
                <a:gd fmla="*/ 8 h 38" name="T3"/>
                <a:gd fmla="*/ 24 w 74" name="T4"/>
                <a:gd fmla="*/ 8 h 38" name="T5"/>
                <a:gd fmla="*/ 20 w 74" name="T6"/>
                <a:gd fmla="*/ 8 h 38" name="T7"/>
                <a:gd fmla="*/ 16 w 74" name="T8"/>
                <a:gd fmla="*/ 10 h 38" name="T9"/>
                <a:gd fmla="*/ 12 w 74" name="T10"/>
                <a:gd fmla="*/ 12 h 38" name="T11"/>
                <a:gd fmla="*/ 8 w 74" name="T12"/>
                <a:gd fmla="*/ 16 h 38" name="T13"/>
                <a:gd fmla="*/ 4 w 74" name="T14"/>
                <a:gd fmla="*/ 22 h 38" name="T15"/>
                <a:gd fmla="*/ 0 w 74" name="T16"/>
                <a:gd fmla="*/ 38 h 38" name="T17"/>
                <a:gd fmla="*/ 0 w 74" name="T18"/>
                <a:gd fmla="*/ 38 h 38" name="T19"/>
                <a:gd fmla="*/ 2 w 74" name="T20"/>
                <a:gd fmla="*/ 38 h 38" name="T21"/>
                <a:gd fmla="*/ 6 w 74" name="T22"/>
                <a:gd fmla="*/ 36 h 38" name="T23"/>
                <a:gd fmla="*/ 10 w 74" name="T24"/>
                <a:gd fmla="*/ 36 h 38" name="T25"/>
                <a:gd fmla="*/ 16 w 74" name="T26"/>
                <a:gd fmla="*/ 38 h 38" name="T27"/>
                <a:gd fmla="*/ 16 w 74" name="T28"/>
                <a:gd fmla="*/ 38 h 38" name="T29"/>
                <a:gd fmla="*/ 18 w 74" name="T30"/>
                <a:gd fmla="*/ 38 h 38" name="T31"/>
                <a:gd fmla="*/ 22 w 74" name="T32"/>
                <a:gd fmla="*/ 38 h 38" name="T33"/>
                <a:gd fmla="*/ 28 w 74" name="T34"/>
                <a:gd fmla="*/ 36 h 38" name="T35"/>
                <a:gd fmla="*/ 28 w 74" name="T36"/>
                <a:gd fmla="*/ 36 h 38" name="T37"/>
                <a:gd fmla="*/ 30 w 74" name="T38"/>
                <a:gd fmla="*/ 36 h 38" name="T39"/>
                <a:gd fmla="*/ 32 w 74" name="T40"/>
                <a:gd fmla="*/ 36 h 38" name="T41"/>
                <a:gd fmla="*/ 36 w 74" name="T42"/>
                <a:gd fmla="*/ 36 h 38" name="T43"/>
                <a:gd fmla="*/ 36 w 74" name="T44"/>
                <a:gd fmla="*/ 36 h 38" name="T45"/>
                <a:gd fmla="*/ 36 w 74" name="T46"/>
                <a:gd fmla="*/ 34 h 38" name="T47"/>
                <a:gd fmla="*/ 36 w 74" name="T48"/>
                <a:gd fmla="*/ 32 h 38" name="T49"/>
                <a:gd fmla="*/ 38 w 74" name="T50"/>
                <a:gd fmla="*/ 30 h 38" name="T51"/>
                <a:gd fmla="*/ 40 w 74" name="T52"/>
                <a:gd fmla="*/ 28 h 38" name="T53"/>
                <a:gd fmla="*/ 40 w 74" name="T54"/>
                <a:gd fmla="*/ 26 h 38" name="T55"/>
                <a:gd fmla="*/ 42 w 74" name="T56"/>
                <a:gd fmla="*/ 24 h 38" name="T57"/>
                <a:gd fmla="*/ 44 w 74" name="T58"/>
                <a:gd fmla="*/ 22 h 38" name="T59"/>
                <a:gd fmla="*/ 46 w 74" name="T60"/>
                <a:gd fmla="*/ 22 h 38" name="T61"/>
                <a:gd fmla="*/ 50 w 74" name="T62"/>
                <a:gd fmla="*/ 20 h 38" name="T63"/>
                <a:gd fmla="*/ 60 w 74" name="T64"/>
                <a:gd fmla="*/ 20 h 38" name="T65"/>
                <a:gd fmla="*/ 62 w 74" name="T66"/>
                <a:gd fmla="*/ 20 h 38" name="T67"/>
                <a:gd fmla="*/ 64 w 74" name="T68"/>
                <a:gd fmla="*/ 22 h 38" name="T69"/>
                <a:gd fmla="*/ 68 w 74" name="T70"/>
                <a:gd fmla="*/ 22 h 38" name="T71"/>
                <a:gd fmla="*/ 70 w 74" name="T72"/>
                <a:gd fmla="*/ 22 h 38" name="T73"/>
                <a:gd fmla="*/ 72 w 74" name="T74"/>
                <a:gd fmla="*/ 22 h 38" name="T75"/>
                <a:gd fmla="*/ 74 w 74" name="T76"/>
                <a:gd fmla="*/ 20 h 38" name="T77"/>
                <a:gd fmla="*/ 74 w 74" name="T78"/>
                <a:gd fmla="*/ 20 h 38" name="T79"/>
                <a:gd fmla="*/ 74 w 74" name="T80"/>
                <a:gd fmla="*/ 18 h 38" name="T81"/>
                <a:gd fmla="*/ 72 w 74" name="T82"/>
                <a:gd fmla="*/ 16 h 38" name="T83"/>
                <a:gd fmla="*/ 70 w 74" name="T84"/>
                <a:gd fmla="*/ 16 h 38" name="T85"/>
                <a:gd fmla="*/ 66 w 74" name="T86"/>
                <a:gd fmla="*/ 14 h 38" name="T87"/>
                <a:gd fmla="*/ 64 w 74" name="T88"/>
                <a:gd fmla="*/ 12 h 38" name="T89"/>
                <a:gd fmla="*/ 62 w 74" name="T90"/>
                <a:gd fmla="*/ 8 h 38" name="T91"/>
                <a:gd fmla="*/ 60 w 74" name="T92"/>
                <a:gd fmla="*/ 4 h 38" name="T93"/>
                <a:gd fmla="*/ 60 w 74" name="T94"/>
                <a:gd fmla="*/ 2 h 38" name="T95"/>
                <a:gd fmla="*/ 58 w 74" name="T96"/>
                <a:gd fmla="*/ 0 h 38" name="T97"/>
                <a:gd fmla="*/ 58 w 74" name="T98"/>
                <a:gd fmla="*/ 0 h 38" name="T99"/>
                <a:gd fmla="*/ 56 w 74" name="T100"/>
                <a:gd fmla="*/ 0 h 38" name="T101"/>
                <a:gd fmla="*/ 54 w 74" name="T102"/>
                <a:gd fmla="*/ 2 h 38" name="T103"/>
                <a:gd fmla="*/ 50 w 74" name="T104"/>
                <a:gd fmla="*/ 2 h 38" name="T105"/>
                <a:gd fmla="*/ 46 w 74" name="T106"/>
                <a:gd fmla="*/ 4 h 38" name="T107"/>
                <a:gd fmla="*/ 40 w 74" name="T108"/>
                <a:gd fmla="*/ 6 h 38" name="T109"/>
                <a:gd fmla="*/ 36 w 74" name="T110"/>
                <a:gd fmla="*/ 8 h 38" name="T111"/>
                <a:gd fmla="*/ 28 w 74" name="T112"/>
                <a:gd fmla="*/ 8 h 38"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38" w="74">
                  <a:moveTo>
                    <a:pt x="28" y="8"/>
                  </a:moveTo>
                  <a:lnTo>
                    <a:pt x="28" y="8"/>
                  </a:lnTo>
                  <a:lnTo>
                    <a:pt x="24" y="8"/>
                  </a:lnTo>
                  <a:lnTo>
                    <a:pt x="20" y="8"/>
                  </a:lnTo>
                  <a:lnTo>
                    <a:pt x="16" y="10"/>
                  </a:lnTo>
                  <a:lnTo>
                    <a:pt x="12" y="12"/>
                  </a:lnTo>
                  <a:lnTo>
                    <a:pt x="8" y="16"/>
                  </a:lnTo>
                  <a:lnTo>
                    <a:pt x="4" y="22"/>
                  </a:lnTo>
                  <a:lnTo>
                    <a:pt x="0" y="38"/>
                  </a:lnTo>
                  <a:lnTo>
                    <a:pt x="0" y="38"/>
                  </a:lnTo>
                  <a:lnTo>
                    <a:pt x="2" y="38"/>
                  </a:lnTo>
                  <a:lnTo>
                    <a:pt x="6" y="36"/>
                  </a:lnTo>
                  <a:lnTo>
                    <a:pt x="10" y="36"/>
                  </a:lnTo>
                  <a:lnTo>
                    <a:pt x="16" y="38"/>
                  </a:lnTo>
                  <a:lnTo>
                    <a:pt x="16" y="38"/>
                  </a:lnTo>
                  <a:lnTo>
                    <a:pt x="18" y="38"/>
                  </a:lnTo>
                  <a:lnTo>
                    <a:pt x="22" y="38"/>
                  </a:lnTo>
                  <a:lnTo>
                    <a:pt x="28" y="36"/>
                  </a:lnTo>
                  <a:lnTo>
                    <a:pt x="28" y="36"/>
                  </a:lnTo>
                  <a:lnTo>
                    <a:pt x="30" y="36"/>
                  </a:lnTo>
                  <a:lnTo>
                    <a:pt x="32" y="36"/>
                  </a:lnTo>
                  <a:lnTo>
                    <a:pt x="36" y="36"/>
                  </a:lnTo>
                  <a:lnTo>
                    <a:pt x="36" y="36"/>
                  </a:lnTo>
                  <a:lnTo>
                    <a:pt x="36" y="34"/>
                  </a:lnTo>
                  <a:lnTo>
                    <a:pt x="36" y="32"/>
                  </a:lnTo>
                  <a:lnTo>
                    <a:pt x="38" y="30"/>
                  </a:lnTo>
                  <a:lnTo>
                    <a:pt x="40" y="28"/>
                  </a:lnTo>
                  <a:lnTo>
                    <a:pt x="40" y="26"/>
                  </a:lnTo>
                  <a:lnTo>
                    <a:pt x="42" y="24"/>
                  </a:lnTo>
                  <a:lnTo>
                    <a:pt x="44" y="22"/>
                  </a:lnTo>
                  <a:lnTo>
                    <a:pt x="46" y="22"/>
                  </a:lnTo>
                  <a:lnTo>
                    <a:pt x="50" y="20"/>
                  </a:lnTo>
                  <a:lnTo>
                    <a:pt x="60" y="20"/>
                  </a:lnTo>
                  <a:lnTo>
                    <a:pt x="62" y="20"/>
                  </a:lnTo>
                  <a:lnTo>
                    <a:pt x="64" y="22"/>
                  </a:lnTo>
                  <a:lnTo>
                    <a:pt x="68" y="22"/>
                  </a:lnTo>
                  <a:lnTo>
                    <a:pt x="70" y="22"/>
                  </a:lnTo>
                  <a:lnTo>
                    <a:pt x="72" y="22"/>
                  </a:lnTo>
                  <a:lnTo>
                    <a:pt x="74" y="20"/>
                  </a:lnTo>
                  <a:lnTo>
                    <a:pt x="74" y="20"/>
                  </a:lnTo>
                  <a:lnTo>
                    <a:pt x="74" y="18"/>
                  </a:lnTo>
                  <a:lnTo>
                    <a:pt x="72" y="16"/>
                  </a:lnTo>
                  <a:lnTo>
                    <a:pt x="70" y="16"/>
                  </a:lnTo>
                  <a:lnTo>
                    <a:pt x="66" y="14"/>
                  </a:lnTo>
                  <a:lnTo>
                    <a:pt x="64" y="12"/>
                  </a:lnTo>
                  <a:lnTo>
                    <a:pt x="62" y="8"/>
                  </a:lnTo>
                  <a:lnTo>
                    <a:pt x="60" y="4"/>
                  </a:lnTo>
                  <a:lnTo>
                    <a:pt x="60" y="2"/>
                  </a:lnTo>
                  <a:lnTo>
                    <a:pt x="58" y="0"/>
                  </a:lnTo>
                  <a:lnTo>
                    <a:pt x="58" y="0"/>
                  </a:lnTo>
                  <a:lnTo>
                    <a:pt x="56" y="0"/>
                  </a:lnTo>
                  <a:lnTo>
                    <a:pt x="54" y="2"/>
                  </a:lnTo>
                  <a:lnTo>
                    <a:pt x="50" y="2"/>
                  </a:lnTo>
                  <a:lnTo>
                    <a:pt x="46" y="4"/>
                  </a:lnTo>
                  <a:lnTo>
                    <a:pt x="40" y="6"/>
                  </a:lnTo>
                  <a:lnTo>
                    <a:pt x="36" y="8"/>
                  </a:lnTo>
                  <a:lnTo>
                    <a:pt x="28" y="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8" name="Freeform 455"/>
            <p:cNvSpPr/>
            <p:nvPr/>
          </p:nvSpPr>
          <p:spPr bwMode="gray">
            <a:xfrm>
              <a:off x="709263" y="4387754"/>
              <a:ext cx="59245" cy="196116"/>
            </a:xfrm>
            <a:custGeom>
              <a:gdLst>
                <a:gd fmla="*/ 14 w 32" name="T0"/>
                <a:gd fmla="*/ 0 h 106" name="T1"/>
                <a:gd fmla="*/ 14 w 32" name="T2"/>
                <a:gd fmla="*/ 0 h 106" name="T3"/>
                <a:gd fmla="*/ 12 w 32" name="T4"/>
                <a:gd fmla="*/ 0 h 106" name="T5"/>
                <a:gd fmla="*/ 8 w 32" name="T6"/>
                <a:gd fmla="*/ 2 h 106" name="T7"/>
                <a:gd fmla="*/ 6 w 32" name="T8"/>
                <a:gd fmla="*/ 4 h 106" name="T9"/>
                <a:gd fmla="*/ 4 w 32" name="T10"/>
                <a:gd fmla="*/ 6 h 106" name="T11"/>
                <a:gd fmla="*/ 4 w 32" name="T12"/>
                <a:gd fmla="*/ 8 h 106" name="T13"/>
                <a:gd fmla="*/ 4 w 32" name="T14"/>
                <a:gd fmla="*/ 10 h 106" name="T15"/>
                <a:gd fmla="*/ 2 w 32" name="T16"/>
                <a:gd fmla="*/ 12 h 106" name="T17"/>
                <a:gd fmla="*/ 0 w 32" name="T18"/>
                <a:gd fmla="*/ 12 h 106" name="T19"/>
                <a:gd fmla="*/ 0 w 32" name="T20"/>
                <a:gd fmla="*/ 14 h 106" name="T21"/>
                <a:gd fmla="*/ 2 w 32" name="T22"/>
                <a:gd fmla="*/ 18 h 106" name="T23"/>
                <a:gd fmla="*/ 2 w 32" name="T24"/>
                <a:gd fmla="*/ 24 h 106" name="T25"/>
                <a:gd fmla="*/ 4 w 32" name="T26"/>
                <a:gd fmla="*/ 28 h 106" name="T27"/>
                <a:gd fmla="*/ 6 w 32" name="T28"/>
                <a:gd fmla="*/ 32 h 106" name="T29"/>
                <a:gd fmla="*/ 6 w 32" name="T30"/>
                <a:gd fmla="*/ 36 h 106" name="T31"/>
                <a:gd fmla="*/ 6 w 32" name="T32"/>
                <a:gd fmla="*/ 40 h 106" name="T33"/>
                <a:gd fmla="*/ 6 w 32" name="T34"/>
                <a:gd fmla="*/ 44 h 106" name="T35"/>
                <a:gd fmla="*/ 8 w 32" name="T36"/>
                <a:gd fmla="*/ 50 h 106" name="T37"/>
                <a:gd fmla="*/ 6 w 32" name="T38"/>
                <a:gd fmla="*/ 58 h 106" name="T39"/>
                <a:gd fmla="*/ 6 w 32" name="T40"/>
                <a:gd fmla="*/ 58 h 106" name="T41"/>
                <a:gd fmla="*/ 6 w 32" name="T42"/>
                <a:gd fmla="*/ 62 h 106" name="T43"/>
                <a:gd fmla="*/ 4 w 32" name="T44"/>
                <a:gd fmla="*/ 68 h 106" name="T45"/>
                <a:gd fmla="*/ 4 w 32" name="T46"/>
                <a:gd fmla="*/ 74 h 106" name="T47"/>
                <a:gd fmla="*/ 2 w 32" name="T48"/>
                <a:gd fmla="*/ 80 h 106" name="T49"/>
                <a:gd fmla="*/ 2 w 32" name="T50"/>
                <a:gd fmla="*/ 88 h 106" name="T51"/>
                <a:gd fmla="*/ 10 w 32" name="T52"/>
                <a:gd fmla="*/ 104 h 106" name="T53"/>
                <a:gd fmla="*/ 28 w 32" name="T54"/>
                <a:gd fmla="*/ 106 h 106" name="T55"/>
                <a:gd fmla="*/ 28 w 32" name="T56"/>
                <a:gd fmla="*/ 102 h 106" name="T57"/>
                <a:gd fmla="*/ 30 w 32" name="T58"/>
                <a:gd fmla="*/ 88 h 106" name="T59"/>
                <a:gd fmla="*/ 32 w 32" name="T60"/>
                <a:gd fmla="*/ 74 h 106" name="T61"/>
                <a:gd fmla="*/ 32 w 32" name="T62"/>
                <a:gd fmla="*/ 62 h 106" name="T63"/>
                <a:gd fmla="*/ 32 w 32" name="T64"/>
                <a:gd fmla="*/ 50 h 106" name="T65"/>
                <a:gd fmla="*/ 30 w 32" name="T66"/>
                <a:gd fmla="*/ 40 h 106" name="T67"/>
                <a:gd fmla="*/ 30 w 32" name="T68"/>
                <a:gd fmla="*/ 36 h 106" name="T69"/>
                <a:gd fmla="*/ 24 w 32" name="T70"/>
                <a:gd fmla="*/ 8 h 106" name="T71"/>
                <a:gd fmla="*/ 20 w 32" name="T72"/>
                <a:gd fmla="*/ 2 h 106" name="T73"/>
                <a:gd fmla="*/ 14 w 32" name="T74"/>
                <a:gd fmla="*/ 0 h 106"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105" w="32">
                  <a:moveTo>
                    <a:pt x="14" y="0"/>
                  </a:moveTo>
                  <a:lnTo>
                    <a:pt x="14" y="0"/>
                  </a:lnTo>
                  <a:lnTo>
                    <a:pt x="12" y="0"/>
                  </a:lnTo>
                  <a:lnTo>
                    <a:pt x="8" y="2"/>
                  </a:lnTo>
                  <a:lnTo>
                    <a:pt x="6" y="4"/>
                  </a:lnTo>
                  <a:lnTo>
                    <a:pt x="4" y="6"/>
                  </a:lnTo>
                  <a:lnTo>
                    <a:pt x="4" y="8"/>
                  </a:lnTo>
                  <a:lnTo>
                    <a:pt x="4" y="10"/>
                  </a:lnTo>
                  <a:lnTo>
                    <a:pt x="2" y="12"/>
                  </a:lnTo>
                  <a:lnTo>
                    <a:pt x="0" y="12"/>
                  </a:lnTo>
                  <a:lnTo>
                    <a:pt x="0" y="14"/>
                  </a:lnTo>
                  <a:lnTo>
                    <a:pt x="2" y="18"/>
                  </a:lnTo>
                  <a:lnTo>
                    <a:pt x="2" y="24"/>
                  </a:lnTo>
                  <a:lnTo>
                    <a:pt x="4" y="28"/>
                  </a:lnTo>
                  <a:lnTo>
                    <a:pt x="6" y="32"/>
                  </a:lnTo>
                  <a:lnTo>
                    <a:pt x="6" y="36"/>
                  </a:lnTo>
                  <a:lnTo>
                    <a:pt x="6" y="40"/>
                  </a:lnTo>
                  <a:lnTo>
                    <a:pt x="6" y="44"/>
                  </a:lnTo>
                  <a:lnTo>
                    <a:pt x="8" y="50"/>
                  </a:lnTo>
                  <a:lnTo>
                    <a:pt x="6" y="58"/>
                  </a:lnTo>
                  <a:lnTo>
                    <a:pt x="6" y="58"/>
                  </a:lnTo>
                  <a:lnTo>
                    <a:pt x="6" y="62"/>
                  </a:lnTo>
                  <a:lnTo>
                    <a:pt x="4" y="68"/>
                  </a:lnTo>
                  <a:lnTo>
                    <a:pt x="4" y="74"/>
                  </a:lnTo>
                  <a:lnTo>
                    <a:pt x="2" y="80"/>
                  </a:lnTo>
                  <a:lnTo>
                    <a:pt x="2" y="88"/>
                  </a:lnTo>
                  <a:lnTo>
                    <a:pt x="10" y="104"/>
                  </a:lnTo>
                  <a:lnTo>
                    <a:pt x="28" y="106"/>
                  </a:lnTo>
                  <a:lnTo>
                    <a:pt x="28" y="102"/>
                  </a:lnTo>
                  <a:lnTo>
                    <a:pt x="30" y="88"/>
                  </a:lnTo>
                  <a:lnTo>
                    <a:pt x="32" y="74"/>
                  </a:lnTo>
                  <a:lnTo>
                    <a:pt x="32" y="62"/>
                  </a:lnTo>
                  <a:lnTo>
                    <a:pt x="32" y="50"/>
                  </a:lnTo>
                  <a:lnTo>
                    <a:pt x="30" y="40"/>
                  </a:lnTo>
                  <a:lnTo>
                    <a:pt x="30" y="36"/>
                  </a:lnTo>
                  <a:lnTo>
                    <a:pt x="24" y="8"/>
                  </a:lnTo>
                  <a:lnTo>
                    <a:pt x="20" y="2"/>
                  </a:lnTo>
                  <a:lnTo>
                    <a:pt x="14"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499" name="Freeform 456"/>
            <p:cNvSpPr/>
            <p:nvPr/>
          </p:nvSpPr>
          <p:spPr bwMode="gray">
            <a:xfrm>
              <a:off x="746291" y="4387754"/>
              <a:ext cx="48136" cy="196116"/>
            </a:xfrm>
            <a:custGeom>
              <a:gdLst>
                <a:gd fmla="*/ 0 w 26" name="T0"/>
                <a:gd fmla="*/ 2 h 106" name="T1"/>
                <a:gd fmla="*/ 0 w 26" name="T2"/>
                <a:gd fmla="*/ 2 h 106" name="T3"/>
                <a:gd fmla="*/ 4 w 26" name="T4"/>
                <a:gd fmla="*/ 0 h 106" name="T5"/>
                <a:gd fmla="*/ 8 w 26" name="T6"/>
                <a:gd fmla="*/ 2 h 106" name="T7"/>
                <a:gd fmla="*/ 14 w 26" name="T8"/>
                <a:gd fmla="*/ 2 h 106" name="T9"/>
                <a:gd fmla="*/ 14 w 26" name="T10"/>
                <a:gd fmla="*/ 4 h 106" name="T11"/>
                <a:gd fmla="*/ 14 w 26" name="T12"/>
                <a:gd fmla="*/ 6 h 106" name="T13"/>
                <a:gd fmla="*/ 14 w 26" name="T14"/>
                <a:gd fmla="*/ 8 h 106" name="T15"/>
                <a:gd fmla="*/ 14 w 26" name="T16"/>
                <a:gd fmla="*/ 10 h 106" name="T17"/>
                <a:gd fmla="*/ 16 w 26" name="T18"/>
                <a:gd fmla="*/ 12 h 106" name="T19"/>
                <a:gd fmla="*/ 18 w 26" name="T20"/>
                <a:gd fmla="*/ 14 h 106" name="T21"/>
                <a:gd fmla="*/ 18 w 26" name="T22"/>
                <a:gd fmla="*/ 14 h 106" name="T23"/>
                <a:gd fmla="*/ 20 w 26" name="T24"/>
                <a:gd fmla="*/ 18 h 106" name="T25"/>
                <a:gd fmla="*/ 24 w 26" name="T26"/>
                <a:gd fmla="*/ 22 h 106" name="T27"/>
                <a:gd fmla="*/ 24 w 26" name="T28"/>
                <a:gd fmla="*/ 28 h 106" name="T29"/>
                <a:gd fmla="*/ 26 w 26" name="T30"/>
                <a:gd fmla="*/ 36 h 106" name="T31"/>
                <a:gd fmla="*/ 26 w 26" name="T32"/>
                <a:gd fmla="*/ 42 h 106" name="T33"/>
                <a:gd fmla="*/ 26 w 26" name="T34"/>
                <a:gd fmla="*/ 56 h 106" name="T35"/>
                <a:gd fmla="*/ 26 w 26" name="T36"/>
                <a:gd fmla="*/ 74 h 106" name="T37"/>
                <a:gd fmla="*/ 26 w 26" name="T38"/>
                <a:gd fmla="*/ 90 h 106" name="T39"/>
                <a:gd fmla="*/ 26 w 26" name="T40"/>
                <a:gd fmla="*/ 96 h 106" name="T41"/>
                <a:gd fmla="*/ 24 w 26" name="T42"/>
                <a:gd fmla="*/ 96 h 106" name="T43"/>
                <a:gd fmla="*/ 20 w 26" name="T44"/>
                <a:gd fmla="*/ 98 h 106" name="T45"/>
                <a:gd fmla="*/ 18 w 26" name="T46"/>
                <a:gd fmla="*/ 100 h 106" name="T47"/>
                <a:gd fmla="*/ 14 w 26" name="T48"/>
                <a:gd fmla="*/ 102 h 106" name="T49"/>
                <a:gd fmla="*/ 8 w 26" name="T50"/>
                <a:gd fmla="*/ 106 h 106" name="T51"/>
                <a:gd fmla="*/ 8 w 26" name="T52"/>
                <a:gd fmla="*/ 102 h 106" name="T53"/>
                <a:gd fmla="*/ 10 w 26" name="T54"/>
                <a:gd fmla="*/ 88 h 106" name="T55"/>
                <a:gd fmla="*/ 12 w 26" name="T56"/>
                <a:gd fmla="*/ 74 h 106" name="T57"/>
                <a:gd fmla="*/ 12 w 26" name="T58"/>
                <a:gd fmla="*/ 60 h 106" name="T59"/>
                <a:gd fmla="*/ 10 w 26" name="T60"/>
                <a:gd fmla="*/ 48 h 106" name="T61"/>
                <a:gd fmla="*/ 10 w 26" name="T62"/>
                <a:gd fmla="*/ 40 h 106" name="T63"/>
                <a:gd fmla="*/ 10 w 26" name="T64"/>
                <a:gd fmla="*/ 34 h 106" name="T65"/>
                <a:gd fmla="*/ 8 w 26" name="T66"/>
                <a:gd fmla="*/ 28 h 106" name="T67"/>
                <a:gd fmla="*/ 6 w 26" name="T68"/>
                <a:gd fmla="*/ 10 h 106" name="T69"/>
                <a:gd fmla="*/ 4 w 26" name="T70"/>
                <a:gd fmla="*/ 10 h 106" name="T71"/>
                <a:gd fmla="*/ 4 w 26" name="T72"/>
                <a:gd fmla="*/ 8 h 106" name="T73"/>
                <a:gd fmla="*/ 2 w 26" name="T74"/>
                <a:gd fmla="*/ 4 h 106" name="T75"/>
                <a:gd fmla="*/ 2 w 26" name="T76"/>
                <a:gd fmla="*/ 2 h 106" name="T77"/>
                <a:gd fmla="*/ 0 w 26" name="T78"/>
                <a:gd fmla="*/ 2 h 106" name="T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b="b" l="0" r="r" t="0"/>
              <a:pathLst>
                <a:path h="105" w="26">
                  <a:moveTo>
                    <a:pt x="0" y="2"/>
                  </a:moveTo>
                  <a:lnTo>
                    <a:pt x="0" y="2"/>
                  </a:lnTo>
                  <a:lnTo>
                    <a:pt x="4" y="0"/>
                  </a:lnTo>
                  <a:lnTo>
                    <a:pt x="8" y="2"/>
                  </a:lnTo>
                  <a:lnTo>
                    <a:pt x="14" y="2"/>
                  </a:lnTo>
                  <a:lnTo>
                    <a:pt x="14" y="4"/>
                  </a:lnTo>
                  <a:lnTo>
                    <a:pt x="14" y="6"/>
                  </a:lnTo>
                  <a:lnTo>
                    <a:pt x="14" y="8"/>
                  </a:lnTo>
                  <a:lnTo>
                    <a:pt x="14" y="10"/>
                  </a:lnTo>
                  <a:lnTo>
                    <a:pt x="16" y="12"/>
                  </a:lnTo>
                  <a:lnTo>
                    <a:pt x="18" y="14"/>
                  </a:lnTo>
                  <a:lnTo>
                    <a:pt x="18" y="14"/>
                  </a:lnTo>
                  <a:lnTo>
                    <a:pt x="20" y="18"/>
                  </a:lnTo>
                  <a:lnTo>
                    <a:pt x="24" y="22"/>
                  </a:lnTo>
                  <a:lnTo>
                    <a:pt x="24" y="28"/>
                  </a:lnTo>
                  <a:lnTo>
                    <a:pt x="26" y="36"/>
                  </a:lnTo>
                  <a:lnTo>
                    <a:pt x="26" y="42"/>
                  </a:lnTo>
                  <a:lnTo>
                    <a:pt x="26" y="56"/>
                  </a:lnTo>
                  <a:lnTo>
                    <a:pt x="26" y="74"/>
                  </a:lnTo>
                  <a:lnTo>
                    <a:pt x="26" y="90"/>
                  </a:lnTo>
                  <a:lnTo>
                    <a:pt x="26" y="96"/>
                  </a:lnTo>
                  <a:lnTo>
                    <a:pt x="24" y="96"/>
                  </a:lnTo>
                  <a:lnTo>
                    <a:pt x="20" y="98"/>
                  </a:lnTo>
                  <a:lnTo>
                    <a:pt x="18" y="100"/>
                  </a:lnTo>
                  <a:lnTo>
                    <a:pt x="14" y="102"/>
                  </a:lnTo>
                  <a:lnTo>
                    <a:pt x="8" y="106"/>
                  </a:lnTo>
                  <a:lnTo>
                    <a:pt x="8" y="102"/>
                  </a:lnTo>
                  <a:lnTo>
                    <a:pt x="10" y="88"/>
                  </a:lnTo>
                  <a:lnTo>
                    <a:pt x="12" y="74"/>
                  </a:lnTo>
                  <a:lnTo>
                    <a:pt x="12" y="60"/>
                  </a:lnTo>
                  <a:lnTo>
                    <a:pt x="10" y="48"/>
                  </a:lnTo>
                  <a:lnTo>
                    <a:pt x="10" y="40"/>
                  </a:lnTo>
                  <a:lnTo>
                    <a:pt x="10" y="34"/>
                  </a:lnTo>
                  <a:lnTo>
                    <a:pt x="8" y="28"/>
                  </a:lnTo>
                  <a:lnTo>
                    <a:pt x="6" y="10"/>
                  </a:lnTo>
                  <a:lnTo>
                    <a:pt x="4" y="10"/>
                  </a:lnTo>
                  <a:lnTo>
                    <a:pt x="4" y="8"/>
                  </a:lnTo>
                  <a:lnTo>
                    <a:pt x="2" y="4"/>
                  </a:lnTo>
                  <a:lnTo>
                    <a:pt x="2" y="2"/>
                  </a:lnTo>
                  <a:lnTo>
                    <a:pt x="0"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0" name="Freeform 457"/>
            <p:cNvSpPr/>
            <p:nvPr/>
          </p:nvSpPr>
          <p:spPr bwMode="gray">
            <a:xfrm>
              <a:off x="768508" y="4376653"/>
              <a:ext cx="77759" cy="188715"/>
            </a:xfrm>
            <a:custGeom>
              <a:gdLst>
                <a:gd fmla="*/ 14 w 42" name="T0"/>
                <a:gd fmla="*/ 102 h 102" name="T1"/>
                <a:gd fmla="*/ 14 w 42" name="T2"/>
                <a:gd fmla="*/ 96 h 102" name="T3"/>
                <a:gd fmla="*/ 14 w 42" name="T4"/>
                <a:gd fmla="*/ 82 h 102" name="T5"/>
                <a:gd fmla="*/ 14 w 42" name="T6"/>
                <a:gd fmla="*/ 64 h 102" name="T7"/>
                <a:gd fmla="*/ 14 w 42" name="T8"/>
                <a:gd fmla="*/ 46 h 102" name="T9"/>
                <a:gd fmla="*/ 14 w 42" name="T10"/>
                <a:gd fmla="*/ 36 h 102" name="T11"/>
                <a:gd fmla="*/ 12 w 42" name="T12"/>
                <a:gd fmla="*/ 30 h 102" name="T13"/>
                <a:gd fmla="*/ 8 w 42" name="T14"/>
                <a:gd fmla="*/ 24 h 102" name="T15"/>
                <a:gd fmla="*/ 6 w 42" name="T16"/>
                <a:gd fmla="*/ 20 h 102" name="T17"/>
                <a:gd fmla="*/ 2 w 42" name="T18"/>
                <a:gd fmla="*/ 18 h 102" name="T19"/>
                <a:gd fmla="*/ 0 w 42" name="T20"/>
                <a:gd fmla="*/ 12 h 102" name="T21"/>
                <a:gd fmla="*/ 2 w 42" name="T22"/>
                <a:gd fmla="*/ 8 h 102" name="T23"/>
                <a:gd fmla="*/ 14 w 42" name="T24"/>
                <a:gd fmla="*/ 8 h 102" name="T25"/>
                <a:gd fmla="*/ 16 w 42" name="T26"/>
                <a:gd fmla="*/ 0 h 102" name="T27"/>
                <a:gd fmla="*/ 28 w 42" name="T28"/>
                <a:gd fmla="*/ 10 h 102" name="T29"/>
                <a:gd fmla="*/ 30 w 42" name="T30"/>
                <a:gd fmla="*/ 12 h 102" name="T31"/>
                <a:gd fmla="*/ 34 w 42" name="T32"/>
                <a:gd fmla="*/ 16 h 102" name="T33"/>
                <a:gd fmla="*/ 40 w 42" name="T34"/>
                <a:gd fmla="*/ 22 h 102" name="T35"/>
                <a:gd fmla="*/ 42 w 42" name="T36"/>
                <a:gd fmla="*/ 34 h 102" name="T37"/>
                <a:gd fmla="*/ 38 w 42" name="T38"/>
                <a:gd fmla="*/ 48 h 102" name="T39"/>
                <a:gd fmla="*/ 38 w 42" name="T40"/>
                <a:gd fmla="*/ 52 h 102" name="T41"/>
                <a:gd fmla="*/ 36 w 42" name="T42"/>
                <a:gd fmla="*/ 64 h 102" name="T43"/>
                <a:gd fmla="*/ 36 w 42" name="T44"/>
                <a:gd fmla="*/ 82 h 102" name="T45"/>
                <a:gd fmla="*/ 34 w 42" name="T46"/>
                <a:gd fmla="*/ 98 h 102" name="T47"/>
                <a:gd fmla="*/ 14 w 42" name="T48"/>
                <a:gd fmla="*/ 102 h 102"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102" w="42">
                  <a:moveTo>
                    <a:pt x="14" y="102"/>
                  </a:moveTo>
                  <a:lnTo>
                    <a:pt x="14" y="96"/>
                  </a:lnTo>
                  <a:lnTo>
                    <a:pt x="14" y="82"/>
                  </a:lnTo>
                  <a:lnTo>
                    <a:pt x="14" y="64"/>
                  </a:lnTo>
                  <a:lnTo>
                    <a:pt x="14" y="46"/>
                  </a:lnTo>
                  <a:lnTo>
                    <a:pt x="14" y="36"/>
                  </a:lnTo>
                  <a:lnTo>
                    <a:pt x="12" y="30"/>
                  </a:lnTo>
                  <a:lnTo>
                    <a:pt x="8" y="24"/>
                  </a:lnTo>
                  <a:lnTo>
                    <a:pt x="6" y="20"/>
                  </a:lnTo>
                  <a:lnTo>
                    <a:pt x="2" y="18"/>
                  </a:lnTo>
                  <a:lnTo>
                    <a:pt x="0" y="12"/>
                  </a:lnTo>
                  <a:lnTo>
                    <a:pt x="2" y="8"/>
                  </a:lnTo>
                  <a:lnTo>
                    <a:pt x="14" y="8"/>
                  </a:lnTo>
                  <a:lnTo>
                    <a:pt x="16" y="0"/>
                  </a:lnTo>
                  <a:lnTo>
                    <a:pt x="28" y="10"/>
                  </a:lnTo>
                  <a:lnTo>
                    <a:pt x="30" y="12"/>
                  </a:lnTo>
                  <a:lnTo>
                    <a:pt x="34" y="16"/>
                  </a:lnTo>
                  <a:lnTo>
                    <a:pt x="40" y="22"/>
                  </a:lnTo>
                  <a:lnTo>
                    <a:pt x="42" y="34"/>
                  </a:lnTo>
                  <a:lnTo>
                    <a:pt x="38" y="48"/>
                  </a:lnTo>
                  <a:lnTo>
                    <a:pt x="38" y="52"/>
                  </a:lnTo>
                  <a:lnTo>
                    <a:pt x="36" y="64"/>
                  </a:lnTo>
                  <a:lnTo>
                    <a:pt x="36" y="82"/>
                  </a:lnTo>
                  <a:lnTo>
                    <a:pt x="34" y="98"/>
                  </a:lnTo>
                  <a:lnTo>
                    <a:pt x="14" y="10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1" name="Freeform 458"/>
            <p:cNvSpPr/>
            <p:nvPr/>
          </p:nvSpPr>
          <p:spPr bwMode="gray">
            <a:xfrm>
              <a:off x="475987" y="3777204"/>
              <a:ext cx="292521" cy="233119"/>
            </a:xfrm>
            <a:custGeom>
              <a:gdLst>
                <a:gd fmla="*/ 0 w 158" name="T0"/>
                <a:gd fmla="*/ 120 h 126" name="T1"/>
                <a:gd fmla="*/ 2 w 158" name="T2"/>
                <a:gd fmla="*/ 118 h 126" name="T3"/>
                <a:gd fmla="*/ 2 w 158" name="T4"/>
                <a:gd fmla="*/ 116 h 126" name="T5"/>
                <a:gd fmla="*/ 14 w 158" name="T6"/>
                <a:gd fmla="*/ 112 h 126" name="T7"/>
                <a:gd fmla="*/ 22 w 158" name="T8"/>
                <a:gd fmla="*/ 106 h 126" name="T9"/>
                <a:gd fmla="*/ 30 w 158" name="T10"/>
                <a:gd fmla="*/ 98 h 126" name="T11"/>
                <a:gd fmla="*/ 38 w 158" name="T12"/>
                <a:gd fmla="*/ 90 h 126" name="T13"/>
                <a:gd fmla="*/ 44 w 158" name="T14"/>
                <a:gd fmla="*/ 82 h 126" name="T15"/>
                <a:gd fmla="*/ 46 w 158" name="T16"/>
                <a:gd fmla="*/ 80 h 126" name="T17"/>
                <a:gd fmla="*/ 46 w 158" name="T18"/>
                <a:gd fmla="*/ 68 h 126" name="T19"/>
                <a:gd fmla="*/ 50 w 158" name="T20"/>
                <a:gd fmla="*/ 60 h 126" name="T21"/>
                <a:gd fmla="*/ 56 w 158" name="T22"/>
                <a:gd fmla="*/ 54 h 126" name="T23"/>
                <a:gd fmla="*/ 60 w 158" name="T24"/>
                <a:gd fmla="*/ 48 h 126" name="T25"/>
                <a:gd fmla="*/ 60 w 158" name="T26"/>
                <a:gd fmla="*/ 44 h 126" name="T27"/>
                <a:gd fmla="*/ 64 w 158" name="T28"/>
                <a:gd fmla="*/ 40 h 126" name="T29"/>
                <a:gd fmla="*/ 66 w 158" name="T30"/>
                <a:gd fmla="*/ 36 h 126" name="T31"/>
                <a:gd fmla="*/ 70 w 158" name="T32"/>
                <a:gd fmla="*/ 34 h 126" name="T33"/>
                <a:gd fmla="*/ 74 w 158" name="T34"/>
                <a:gd fmla="*/ 32 h 126" name="T35"/>
                <a:gd fmla="*/ 76 w 158" name="T36"/>
                <a:gd fmla="*/ 30 h 126" name="T37"/>
                <a:gd fmla="*/ 78 w 158" name="T38"/>
                <a:gd fmla="*/ 30 h 126" name="T39"/>
                <a:gd fmla="*/ 76 w 158" name="T40"/>
                <a:gd fmla="*/ 20 h 126" name="T41"/>
                <a:gd fmla="*/ 76 w 158" name="T42"/>
                <a:gd fmla="*/ 14 h 126" name="T43"/>
                <a:gd fmla="*/ 78 w 158" name="T44"/>
                <a:gd fmla="*/ 8 h 126" name="T45"/>
                <a:gd fmla="*/ 78 w 158" name="T46"/>
                <a:gd fmla="*/ 4 h 126" name="T47"/>
                <a:gd fmla="*/ 80 w 158" name="T48"/>
                <a:gd fmla="*/ 0 h 126" name="T49"/>
                <a:gd fmla="*/ 80 w 158" name="T50"/>
                <a:gd fmla="*/ 0 h 126" name="T51"/>
                <a:gd fmla="*/ 82 w 158" name="T52"/>
                <a:gd fmla="*/ 0 h 126" name="T53"/>
                <a:gd fmla="*/ 84 w 158" name="T54"/>
                <a:gd fmla="*/ 2 h 126" name="T55"/>
                <a:gd fmla="*/ 88 w 158" name="T56"/>
                <a:gd fmla="*/ 4 h 126" name="T57"/>
                <a:gd fmla="*/ 92 w 158" name="T58"/>
                <a:gd fmla="*/ 6 h 126" name="T59"/>
                <a:gd fmla="*/ 98 w 158" name="T60"/>
                <a:gd fmla="*/ 8 h 126" name="T61"/>
                <a:gd fmla="*/ 104 w 158" name="T62"/>
                <a:gd fmla="*/ 10 h 126" name="T63"/>
                <a:gd fmla="*/ 114 w 158" name="T64"/>
                <a:gd fmla="*/ 12 h 126" name="T65"/>
                <a:gd fmla="*/ 126 w 158" name="T66"/>
                <a:gd fmla="*/ 12 h 126" name="T67"/>
                <a:gd fmla="*/ 134 w 158" name="T68"/>
                <a:gd fmla="*/ 12 h 126" name="T69"/>
                <a:gd fmla="*/ 136 w 158" name="T70"/>
                <a:gd fmla="*/ 12 h 126" name="T71"/>
                <a:gd fmla="*/ 138 w 158" name="T72"/>
                <a:gd fmla="*/ 12 h 126" name="T73"/>
                <a:gd fmla="*/ 142 w 158" name="T74"/>
                <a:gd fmla="*/ 14 h 126" name="T75"/>
                <a:gd fmla="*/ 144 w 158" name="T76"/>
                <a:gd fmla="*/ 18 h 126" name="T77"/>
                <a:gd fmla="*/ 146 w 158" name="T78"/>
                <a:gd fmla="*/ 22 h 126" name="T79"/>
                <a:gd fmla="*/ 146 w 158" name="T80"/>
                <a:gd fmla="*/ 28 h 126" name="T81"/>
                <a:gd fmla="*/ 146 w 158" name="T82"/>
                <a:gd fmla="*/ 34 h 126" name="T83"/>
                <a:gd fmla="*/ 146 w 158" name="T84"/>
                <a:gd fmla="*/ 38 h 126" name="T85"/>
                <a:gd fmla="*/ 148 w 158" name="T86"/>
                <a:gd fmla="*/ 42 h 126" name="T87"/>
                <a:gd fmla="*/ 150 w 158" name="T88"/>
                <a:gd fmla="*/ 46 h 126" name="T89"/>
                <a:gd fmla="*/ 158 w 158" name="T90"/>
                <a:gd fmla="*/ 54 h 126" name="T91"/>
                <a:gd fmla="*/ 156 w 158" name="T92"/>
                <a:gd fmla="*/ 54 h 126" name="T93"/>
                <a:gd fmla="*/ 154 w 158" name="T94"/>
                <a:gd fmla="*/ 54 h 126" name="T95"/>
                <a:gd fmla="*/ 150 w 158" name="T96"/>
                <a:gd fmla="*/ 54 h 126" name="T97"/>
                <a:gd fmla="*/ 146 w 158" name="T98"/>
                <a:gd fmla="*/ 54 h 126" name="T99"/>
                <a:gd fmla="*/ 142 w 158" name="T100"/>
                <a:gd fmla="*/ 54 h 126" name="T101"/>
                <a:gd fmla="*/ 140 w 158" name="T102"/>
                <a:gd fmla="*/ 56 h 126" name="T103"/>
                <a:gd fmla="*/ 136 w 158" name="T104"/>
                <a:gd fmla="*/ 58 h 126" name="T105"/>
                <a:gd fmla="*/ 136 w 158" name="T106"/>
                <a:gd fmla="*/ 62 h 126" name="T107"/>
                <a:gd fmla="*/ 134 w 158" name="T108"/>
                <a:gd fmla="*/ 74 h 126" name="T109"/>
                <a:gd fmla="*/ 82 w 158" name="T110"/>
                <a:gd fmla="*/ 92 h 126" name="T111"/>
                <a:gd fmla="*/ 68 w 158" name="T112"/>
                <a:gd fmla="*/ 96 h 126" name="T113"/>
                <a:gd fmla="*/ 60 w 158" name="T114"/>
                <a:gd fmla="*/ 104 h 126" name="T115"/>
                <a:gd fmla="*/ 48 w 158" name="T116"/>
                <a:gd fmla="*/ 110 h 126" name="T117"/>
                <a:gd fmla="*/ 52 w 158" name="T118"/>
                <a:gd fmla="*/ 126 h 126" name="T119"/>
                <a:gd fmla="*/ 0 w 158" name="T120"/>
                <a:gd fmla="*/ 120 h 126"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125" w="158">
                  <a:moveTo>
                    <a:pt x="0" y="120"/>
                  </a:moveTo>
                  <a:lnTo>
                    <a:pt x="2" y="118"/>
                  </a:lnTo>
                  <a:lnTo>
                    <a:pt x="2" y="116"/>
                  </a:lnTo>
                  <a:lnTo>
                    <a:pt x="14" y="112"/>
                  </a:lnTo>
                  <a:lnTo>
                    <a:pt x="22" y="106"/>
                  </a:lnTo>
                  <a:lnTo>
                    <a:pt x="30" y="98"/>
                  </a:lnTo>
                  <a:lnTo>
                    <a:pt x="38" y="90"/>
                  </a:lnTo>
                  <a:lnTo>
                    <a:pt x="44" y="82"/>
                  </a:lnTo>
                  <a:lnTo>
                    <a:pt x="46" y="80"/>
                  </a:lnTo>
                  <a:lnTo>
                    <a:pt x="46" y="68"/>
                  </a:lnTo>
                  <a:lnTo>
                    <a:pt x="50" y="60"/>
                  </a:lnTo>
                  <a:lnTo>
                    <a:pt x="56" y="54"/>
                  </a:lnTo>
                  <a:lnTo>
                    <a:pt x="60" y="48"/>
                  </a:lnTo>
                  <a:lnTo>
                    <a:pt x="60" y="44"/>
                  </a:lnTo>
                  <a:lnTo>
                    <a:pt x="64" y="40"/>
                  </a:lnTo>
                  <a:lnTo>
                    <a:pt x="66" y="36"/>
                  </a:lnTo>
                  <a:lnTo>
                    <a:pt x="70" y="34"/>
                  </a:lnTo>
                  <a:lnTo>
                    <a:pt x="74" y="32"/>
                  </a:lnTo>
                  <a:lnTo>
                    <a:pt x="76" y="30"/>
                  </a:lnTo>
                  <a:lnTo>
                    <a:pt x="78" y="30"/>
                  </a:lnTo>
                  <a:lnTo>
                    <a:pt x="76" y="20"/>
                  </a:lnTo>
                  <a:lnTo>
                    <a:pt x="76" y="14"/>
                  </a:lnTo>
                  <a:lnTo>
                    <a:pt x="78" y="8"/>
                  </a:lnTo>
                  <a:lnTo>
                    <a:pt x="78" y="4"/>
                  </a:lnTo>
                  <a:lnTo>
                    <a:pt x="80" y="0"/>
                  </a:lnTo>
                  <a:lnTo>
                    <a:pt x="80" y="0"/>
                  </a:lnTo>
                  <a:lnTo>
                    <a:pt x="82" y="0"/>
                  </a:lnTo>
                  <a:lnTo>
                    <a:pt x="84" y="2"/>
                  </a:lnTo>
                  <a:lnTo>
                    <a:pt x="88" y="4"/>
                  </a:lnTo>
                  <a:lnTo>
                    <a:pt x="92" y="6"/>
                  </a:lnTo>
                  <a:lnTo>
                    <a:pt x="98" y="8"/>
                  </a:lnTo>
                  <a:lnTo>
                    <a:pt x="104" y="10"/>
                  </a:lnTo>
                  <a:lnTo>
                    <a:pt x="114" y="12"/>
                  </a:lnTo>
                  <a:lnTo>
                    <a:pt x="126" y="12"/>
                  </a:lnTo>
                  <a:lnTo>
                    <a:pt x="134" y="12"/>
                  </a:lnTo>
                  <a:lnTo>
                    <a:pt x="136" y="12"/>
                  </a:lnTo>
                  <a:lnTo>
                    <a:pt x="138" y="12"/>
                  </a:lnTo>
                  <a:lnTo>
                    <a:pt x="142" y="14"/>
                  </a:lnTo>
                  <a:lnTo>
                    <a:pt x="144" y="18"/>
                  </a:lnTo>
                  <a:lnTo>
                    <a:pt x="146" y="22"/>
                  </a:lnTo>
                  <a:lnTo>
                    <a:pt x="146" y="28"/>
                  </a:lnTo>
                  <a:lnTo>
                    <a:pt x="146" y="34"/>
                  </a:lnTo>
                  <a:lnTo>
                    <a:pt x="146" y="38"/>
                  </a:lnTo>
                  <a:lnTo>
                    <a:pt x="148" y="42"/>
                  </a:lnTo>
                  <a:lnTo>
                    <a:pt x="150" y="46"/>
                  </a:lnTo>
                  <a:lnTo>
                    <a:pt x="158" y="54"/>
                  </a:lnTo>
                  <a:lnTo>
                    <a:pt x="156" y="54"/>
                  </a:lnTo>
                  <a:lnTo>
                    <a:pt x="154" y="54"/>
                  </a:lnTo>
                  <a:lnTo>
                    <a:pt x="150" y="54"/>
                  </a:lnTo>
                  <a:lnTo>
                    <a:pt x="146" y="54"/>
                  </a:lnTo>
                  <a:lnTo>
                    <a:pt x="142" y="54"/>
                  </a:lnTo>
                  <a:lnTo>
                    <a:pt x="140" y="56"/>
                  </a:lnTo>
                  <a:lnTo>
                    <a:pt x="136" y="58"/>
                  </a:lnTo>
                  <a:lnTo>
                    <a:pt x="136" y="62"/>
                  </a:lnTo>
                  <a:lnTo>
                    <a:pt x="134" y="74"/>
                  </a:lnTo>
                  <a:lnTo>
                    <a:pt x="82" y="92"/>
                  </a:lnTo>
                  <a:lnTo>
                    <a:pt x="68" y="96"/>
                  </a:lnTo>
                  <a:lnTo>
                    <a:pt x="60" y="104"/>
                  </a:lnTo>
                  <a:lnTo>
                    <a:pt x="48" y="110"/>
                  </a:lnTo>
                  <a:lnTo>
                    <a:pt x="52" y="126"/>
                  </a:lnTo>
                  <a:lnTo>
                    <a:pt x="0" y="12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2" name="Freeform 459"/>
            <p:cNvSpPr/>
            <p:nvPr/>
          </p:nvSpPr>
          <p:spPr bwMode="gray">
            <a:xfrm>
              <a:off x="953647" y="3736501"/>
              <a:ext cx="96273" cy="207217"/>
            </a:xfrm>
            <a:custGeom>
              <a:gdLst>
                <a:gd fmla="*/ 8 w 52" name="T0"/>
                <a:gd fmla="*/ 12 h 112" name="T1"/>
                <a:gd fmla="*/ 6 w 52" name="T2"/>
                <a:gd fmla="*/ 18 h 112" name="T3"/>
                <a:gd fmla="*/ 4 w 52" name="T4"/>
                <a:gd fmla="*/ 28 h 112" name="T5"/>
                <a:gd fmla="*/ 4 w 52" name="T6"/>
                <a:gd fmla="*/ 32 h 112" name="T7"/>
                <a:gd fmla="*/ 2 w 52" name="T8"/>
                <a:gd fmla="*/ 38 h 112" name="T9"/>
                <a:gd fmla="*/ 0 w 52" name="T10"/>
                <a:gd fmla="*/ 40 h 112" name="T11"/>
                <a:gd fmla="*/ 0 w 52" name="T12"/>
                <a:gd fmla="*/ 46 h 112" name="T13"/>
                <a:gd fmla="*/ 2 w 52" name="T14"/>
                <a:gd fmla="*/ 50 h 112" name="T15"/>
                <a:gd fmla="*/ 2 w 52" name="T16"/>
                <a:gd fmla="*/ 54 h 112" name="T17"/>
                <a:gd fmla="*/ 2 w 52" name="T18"/>
                <a:gd fmla="*/ 58 h 112" name="T19"/>
                <a:gd fmla="*/ 6 w 52" name="T20"/>
                <a:gd fmla="*/ 64 h 112" name="T21"/>
                <a:gd fmla="*/ 8 w 52" name="T22"/>
                <a:gd fmla="*/ 64 h 112" name="T23"/>
                <a:gd fmla="*/ 10 w 52" name="T24"/>
                <a:gd fmla="*/ 68 h 112" name="T25"/>
                <a:gd fmla="*/ 14 w 52" name="T26"/>
                <a:gd fmla="*/ 88 h 112" name="T27"/>
                <a:gd fmla="*/ 22 w 52" name="T28"/>
                <a:gd fmla="*/ 112 h 112" name="T29"/>
                <a:gd fmla="*/ 26 w 52" name="T30"/>
                <a:gd fmla="*/ 108 h 112" name="T31"/>
                <a:gd fmla="*/ 34 w 52" name="T32"/>
                <a:gd fmla="*/ 102 h 112" name="T33"/>
                <a:gd fmla="*/ 40 w 52" name="T34"/>
                <a:gd fmla="*/ 96 h 112" name="T35"/>
                <a:gd fmla="*/ 40 w 52" name="T36"/>
                <a:gd fmla="*/ 92 h 112" name="T37"/>
                <a:gd fmla="*/ 38 w 52" name="T38"/>
                <a:gd fmla="*/ 88 h 112" name="T39"/>
                <a:gd fmla="*/ 38 w 52" name="T40"/>
                <a:gd fmla="*/ 84 h 112" name="T41"/>
                <a:gd fmla="*/ 44 w 52" name="T42"/>
                <a:gd fmla="*/ 82 h 112" name="T43"/>
                <a:gd fmla="*/ 48 w 52" name="T44"/>
                <a:gd fmla="*/ 76 h 112" name="T45"/>
                <a:gd fmla="*/ 46 w 52" name="T46"/>
                <a:gd fmla="*/ 68 h 112" name="T47"/>
                <a:gd fmla="*/ 44 w 52" name="T48"/>
                <a:gd fmla="*/ 62 h 112" name="T49"/>
                <a:gd fmla="*/ 42 w 52" name="T50"/>
                <a:gd fmla="*/ 60 h 112" name="T51"/>
                <a:gd fmla="*/ 42 w 52" name="T52"/>
                <a:gd fmla="*/ 54 h 112" name="T53"/>
                <a:gd fmla="*/ 44 w 52" name="T54"/>
                <a:gd fmla="*/ 50 h 112" name="T55"/>
                <a:gd fmla="*/ 48 w 52" name="T56"/>
                <a:gd fmla="*/ 46 h 112" name="T57"/>
                <a:gd fmla="*/ 50 w 52" name="T58"/>
                <a:gd fmla="*/ 44 h 112" name="T59"/>
                <a:gd fmla="*/ 50 w 52" name="T60"/>
                <a:gd fmla="*/ 42 h 112" name="T61"/>
                <a:gd fmla="*/ 48 w 52" name="T62"/>
                <a:gd fmla="*/ 40 h 112" name="T63"/>
                <a:gd fmla="*/ 46 w 52" name="T64"/>
                <a:gd fmla="*/ 36 h 112" name="T65"/>
                <a:gd fmla="*/ 44 w 52" name="T66"/>
                <a:gd fmla="*/ 28 h 112" name="T67"/>
                <a:gd fmla="*/ 46 w 52" name="T68"/>
                <a:gd fmla="*/ 24 h 112" name="T69"/>
                <a:gd fmla="*/ 52 w 52" name="T70"/>
                <a:gd fmla="*/ 20 h 112" name="T71"/>
                <a:gd fmla="*/ 32 w 52" name="T72"/>
                <a:gd fmla="*/ 2 h 112" name="T73"/>
                <a:gd fmla="*/ 30 w 52" name="T74"/>
                <a:gd fmla="*/ 0 h 112" name="T75"/>
                <a:gd fmla="*/ 22 w 52" name="T76"/>
                <a:gd fmla="*/ 2 h 112" name="T77"/>
                <a:gd fmla="*/ 16 w 52" name="T78"/>
                <a:gd fmla="*/ 4 h 112" name="T79"/>
                <a:gd fmla="*/ 12 w 52" name="T80"/>
                <a:gd fmla="*/ 8 h 112"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112" w="52">
                  <a:moveTo>
                    <a:pt x="10" y="12"/>
                  </a:moveTo>
                  <a:lnTo>
                    <a:pt x="8" y="12"/>
                  </a:lnTo>
                  <a:lnTo>
                    <a:pt x="8" y="14"/>
                  </a:lnTo>
                  <a:lnTo>
                    <a:pt x="6" y="18"/>
                  </a:lnTo>
                  <a:lnTo>
                    <a:pt x="4" y="22"/>
                  </a:lnTo>
                  <a:lnTo>
                    <a:pt x="4" y="28"/>
                  </a:lnTo>
                  <a:lnTo>
                    <a:pt x="4" y="30"/>
                  </a:lnTo>
                  <a:lnTo>
                    <a:pt x="4" y="32"/>
                  </a:lnTo>
                  <a:lnTo>
                    <a:pt x="4" y="36"/>
                  </a:lnTo>
                  <a:lnTo>
                    <a:pt x="2" y="38"/>
                  </a:lnTo>
                  <a:lnTo>
                    <a:pt x="0" y="40"/>
                  </a:lnTo>
                  <a:lnTo>
                    <a:pt x="0" y="40"/>
                  </a:lnTo>
                  <a:lnTo>
                    <a:pt x="0" y="42"/>
                  </a:lnTo>
                  <a:lnTo>
                    <a:pt x="0" y="46"/>
                  </a:lnTo>
                  <a:lnTo>
                    <a:pt x="0" y="48"/>
                  </a:lnTo>
                  <a:lnTo>
                    <a:pt x="2" y="50"/>
                  </a:lnTo>
                  <a:lnTo>
                    <a:pt x="2" y="52"/>
                  </a:lnTo>
                  <a:lnTo>
                    <a:pt x="2" y="54"/>
                  </a:lnTo>
                  <a:lnTo>
                    <a:pt x="2" y="56"/>
                  </a:lnTo>
                  <a:lnTo>
                    <a:pt x="2" y="58"/>
                  </a:lnTo>
                  <a:lnTo>
                    <a:pt x="4" y="62"/>
                  </a:lnTo>
                  <a:lnTo>
                    <a:pt x="6" y="64"/>
                  </a:lnTo>
                  <a:lnTo>
                    <a:pt x="6" y="64"/>
                  </a:lnTo>
                  <a:lnTo>
                    <a:pt x="8" y="64"/>
                  </a:lnTo>
                  <a:lnTo>
                    <a:pt x="10" y="66"/>
                  </a:lnTo>
                  <a:lnTo>
                    <a:pt x="10" y="68"/>
                  </a:lnTo>
                  <a:lnTo>
                    <a:pt x="12" y="76"/>
                  </a:lnTo>
                  <a:lnTo>
                    <a:pt x="14" y="88"/>
                  </a:lnTo>
                  <a:lnTo>
                    <a:pt x="18" y="102"/>
                  </a:lnTo>
                  <a:lnTo>
                    <a:pt x="22" y="112"/>
                  </a:lnTo>
                  <a:lnTo>
                    <a:pt x="24" y="112"/>
                  </a:lnTo>
                  <a:lnTo>
                    <a:pt x="26" y="108"/>
                  </a:lnTo>
                  <a:lnTo>
                    <a:pt x="30" y="106"/>
                  </a:lnTo>
                  <a:lnTo>
                    <a:pt x="34" y="102"/>
                  </a:lnTo>
                  <a:lnTo>
                    <a:pt x="36" y="98"/>
                  </a:lnTo>
                  <a:lnTo>
                    <a:pt x="40" y="96"/>
                  </a:lnTo>
                  <a:lnTo>
                    <a:pt x="40" y="92"/>
                  </a:lnTo>
                  <a:lnTo>
                    <a:pt x="40" y="92"/>
                  </a:lnTo>
                  <a:lnTo>
                    <a:pt x="38" y="90"/>
                  </a:lnTo>
                  <a:lnTo>
                    <a:pt x="38" y="88"/>
                  </a:lnTo>
                  <a:lnTo>
                    <a:pt x="38" y="86"/>
                  </a:lnTo>
                  <a:lnTo>
                    <a:pt x="38" y="84"/>
                  </a:lnTo>
                  <a:lnTo>
                    <a:pt x="42" y="82"/>
                  </a:lnTo>
                  <a:lnTo>
                    <a:pt x="44" y="82"/>
                  </a:lnTo>
                  <a:lnTo>
                    <a:pt x="46" y="80"/>
                  </a:lnTo>
                  <a:lnTo>
                    <a:pt x="48" y="76"/>
                  </a:lnTo>
                  <a:lnTo>
                    <a:pt x="48" y="72"/>
                  </a:lnTo>
                  <a:lnTo>
                    <a:pt x="46" y="68"/>
                  </a:lnTo>
                  <a:lnTo>
                    <a:pt x="46" y="64"/>
                  </a:lnTo>
                  <a:lnTo>
                    <a:pt x="44" y="62"/>
                  </a:lnTo>
                  <a:lnTo>
                    <a:pt x="44" y="60"/>
                  </a:lnTo>
                  <a:lnTo>
                    <a:pt x="42" y="60"/>
                  </a:lnTo>
                  <a:lnTo>
                    <a:pt x="42" y="56"/>
                  </a:lnTo>
                  <a:lnTo>
                    <a:pt x="42" y="54"/>
                  </a:lnTo>
                  <a:lnTo>
                    <a:pt x="44" y="50"/>
                  </a:lnTo>
                  <a:lnTo>
                    <a:pt x="44" y="50"/>
                  </a:lnTo>
                  <a:lnTo>
                    <a:pt x="46" y="48"/>
                  </a:lnTo>
                  <a:lnTo>
                    <a:pt x="48" y="46"/>
                  </a:lnTo>
                  <a:lnTo>
                    <a:pt x="50" y="46"/>
                  </a:lnTo>
                  <a:lnTo>
                    <a:pt x="50" y="44"/>
                  </a:lnTo>
                  <a:lnTo>
                    <a:pt x="50" y="44"/>
                  </a:lnTo>
                  <a:lnTo>
                    <a:pt x="50" y="42"/>
                  </a:lnTo>
                  <a:lnTo>
                    <a:pt x="48" y="40"/>
                  </a:lnTo>
                  <a:lnTo>
                    <a:pt x="48" y="40"/>
                  </a:lnTo>
                  <a:lnTo>
                    <a:pt x="46" y="38"/>
                  </a:lnTo>
                  <a:lnTo>
                    <a:pt x="46" y="36"/>
                  </a:lnTo>
                  <a:lnTo>
                    <a:pt x="44" y="32"/>
                  </a:lnTo>
                  <a:lnTo>
                    <a:pt x="44" y="28"/>
                  </a:lnTo>
                  <a:lnTo>
                    <a:pt x="46" y="26"/>
                  </a:lnTo>
                  <a:lnTo>
                    <a:pt x="46" y="24"/>
                  </a:lnTo>
                  <a:lnTo>
                    <a:pt x="50" y="22"/>
                  </a:lnTo>
                  <a:lnTo>
                    <a:pt x="52" y="20"/>
                  </a:lnTo>
                  <a:lnTo>
                    <a:pt x="48" y="12"/>
                  </a:lnTo>
                  <a:lnTo>
                    <a:pt x="32" y="2"/>
                  </a:lnTo>
                  <a:lnTo>
                    <a:pt x="32" y="2"/>
                  </a:lnTo>
                  <a:lnTo>
                    <a:pt x="30" y="0"/>
                  </a:lnTo>
                  <a:lnTo>
                    <a:pt x="26" y="0"/>
                  </a:lnTo>
                  <a:lnTo>
                    <a:pt x="22" y="2"/>
                  </a:lnTo>
                  <a:lnTo>
                    <a:pt x="18" y="4"/>
                  </a:lnTo>
                  <a:lnTo>
                    <a:pt x="16" y="4"/>
                  </a:lnTo>
                  <a:lnTo>
                    <a:pt x="14" y="6"/>
                  </a:lnTo>
                  <a:lnTo>
                    <a:pt x="12" y="8"/>
                  </a:lnTo>
                  <a:lnTo>
                    <a:pt x="10" y="1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3" name="Freeform 460"/>
            <p:cNvSpPr/>
            <p:nvPr/>
          </p:nvSpPr>
          <p:spPr bwMode="gray">
            <a:xfrm>
              <a:off x="994378" y="3851210"/>
              <a:ext cx="381388" cy="373730"/>
            </a:xfrm>
            <a:custGeom>
              <a:gdLst>
                <a:gd fmla="*/ 200 w 206" name="T0"/>
                <a:gd fmla="*/ 34 h 202" name="T1"/>
                <a:gd fmla="*/ 192 w 206" name="T2"/>
                <a:gd fmla="*/ 30 h 202" name="T3"/>
                <a:gd fmla="*/ 182 w 206" name="T4"/>
                <a:gd fmla="*/ 24 h 202" name="T5"/>
                <a:gd fmla="*/ 174 w 206" name="T6"/>
                <a:gd fmla="*/ 22 h 202" name="T7"/>
                <a:gd fmla="*/ 170 w 206" name="T8"/>
                <a:gd fmla="*/ 22 h 202" name="T9"/>
                <a:gd fmla="*/ 162 w 206" name="T10"/>
                <a:gd fmla="*/ 22 h 202" name="T11"/>
                <a:gd fmla="*/ 148 w 206" name="T12"/>
                <a:gd fmla="*/ 26 h 202" name="T13"/>
                <a:gd fmla="*/ 138 w 206" name="T14"/>
                <a:gd fmla="*/ 28 h 202" name="T15"/>
                <a:gd fmla="*/ 136 w 206" name="T16"/>
                <a:gd fmla="*/ 34 h 202" name="T17"/>
                <a:gd fmla="*/ 138 w 206" name="T18"/>
                <a:gd fmla="*/ 42 h 202" name="T19"/>
                <a:gd fmla="*/ 140 w 206" name="T20"/>
                <a:gd fmla="*/ 46 h 202" name="T21"/>
                <a:gd fmla="*/ 138 w 206" name="T22"/>
                <a:gd fmla="*/ 54 h 202" name="T23"/>
                <a:gd fmla="*/ 122 w 206" name="T24"/>
                <a:gd fmla="*/ 56 h 202" name="T25"/>
                <a:gd fmla="*/ 106 w 206" name="T26"/>
                <a:gd fmla="*/ 52 h 202" name="T27"/>
                <a:gd fmla="*/ 96 w 206" name="T28"/>
                <a:gd fmla="*/ 44 h 202" name="T29"/>
                <a:gd fmla="*/ 88 w 206" name="T30"/>
                <a:gd fmla="*/ 36 h 202" name="T31"/>
                <a:gd fmla="*/ 84 w 206" name="T32"/>
                <a:gd fmla="*/ 26 h 202" name="T33"/>
                <a:gd fmla="*/ 80 w 206" name="T34"/>
                <a:gd fmla="*/ 18 h 202" name="T35"/>
                <a:gd fmla="*/ 78 w 206" name="T36"/>
                <a:gd fmla="*/ 16 h 202" name="T37"/>
                <a:gd fmla="*/ 56 w 206" name="T38"/>
                <a:gd fmla="*/ 10 h 202" name="T39"/>
                <a:gd fmla="*/ 46 w 206" name="T40"/>
                <a:gd fmla="*/ 6 h 202" name="T41"/>
                <a:gd fmla="*/ 38 w 206" name="T42"/>
                <a:gd fmla="*/ 4 h 202" name="T43"/>
                <a:gd fmla="*/ 24 w 206" name="T44"/>
                <a:gd fmla="*/ 0 h 202" name="T45"/>
                <a:gd fmla="*/ 24 w 206" name="T46"/>
                <a:gd fmla="*/ 4 h 202" name="T47"/>
                <a:gd fmla="*/ 26 w 206" name="T48"/>
                <a:gd fmla="*/ 12 h 202" name="T49"/>
                <a:gd fmla="*/ 24 w 206" name="T50"/>
                <a:gd fmla="*/ 18 h 202" name="T51"/>
                <a:gd fmla="*/ 22 w 206" name="T52"/>
                <a:gd fmla="*/ 20 h 202" name="T53"/>
                <a:gd fmla="*/ 18 w 206" name="T54"/>
                <a:gd fmla="*/ 20 h 202" name="T55"/>
                <a:gd fmla="*/ 16 w 206" name="T56"/>
                <a:gd fmla="*/ 22 h 202" name="T57"/>
                <a:gd fmla="*/ 18 w 206" name="T58"/>
                <a:gd fmla="*/ 30 h 202" name="T59"/>
                <a:gd fmla="*/ 18 w 206" name="T60"/>
                <a:gd fmla="*/ 30 h 202" name="T61"/>
                <a:gd fmla="*/ 16 w 206" name="T62"/>
                <a:gd fmla="*/ 34 h 202" name="T63"/>
                <a:gd fmla="*/ 12 w 206" name="T64"/>
                <a:gd fmla="*/ 40 h 202" name="T65"/>
                <a:gd fmla="*/ 6 w 206" name="T66"/>
                <a:gd fmla="*/ 46 h 202" name="T67"/>
                <a:gd fmla="*/ 2 w 206" name="T68"/>
                <a:gd fmla="*/ 50 h 202" name="T69"/>
                <a:gd fmla="*/ 0 w 206" name="T70"/>
                <a:gd fmla="*/ 50 h 202" name="T71"/>
                <a:gd fmla="*/ 2 w 206" name="T72"/>
                <a:gd fmla="*/ 54 h 202" name="T73"/>
                <a:gd fmla="*/ 4 w 206" name="T74"/>
                <a:gd fmla="*/ 60 h 202" name="T75"/>
                <a:gd fmla="*/ 4 w 206" name="T76"/>
                <a:gd fmla="*/ 72 h 202" name="T77"/>
                <a:gd fmla="*/ 6 w 206" name="T78"/>
                <a:gd fmla="*/ 80 h 202" name="T79"/>
                <a:gd fmla="*/ 8 w 206" name="T80"/>
                <a:gd fmla="*/ 82 h 202" name="T81"/>
                <a:gd fmla="*/ 12 w 206" name="T82"/>
                <a:gd fmla="*/ 88 h 202" name="T83"/>
                <a:gd fmla="*/ 12 w 206" name="T84"/>
                <a:gd fmla="*/ 96 h 202" name="T85"/>
                <a:gd fmla="*/ 12 w 206" name="T86"/>
                <a:gd fmla="*/ 106 h 202" name="T87"/>
                <a:gd fmla="*/ 10 w 206" name="T88"/>
                <a:gd fmla="*/ 108 h 202" name="T89"/>
                <a:gd fmla="*/ 14 w 206" name="T90"/>
                <a:gd fmla="*/ 112 h 202" name="T91"/>
                <a:gd fmla="*/ 14 w 206" name="T92"/>
                <a:gd fmla="*/ 122 h 202" name="T93"/>
                <a:gd fmla="*/ 30 w 206" name="T94"/>
                <a:gd fmla="*/ 142 h 202" name="T95"/>
                <a:gd fmla="*/ 36 w 206" name="T96"/>
                <a:gd fmla="*/ 142 h 202" name="T97"/>
                <a:gd fmla="*/ 40 w 206" name="T98"/>
                <a:gd fmla="*/ 146 h 202" name="T99"/>
                <a:gd fmla="*/ 44 w 206" name="T100"/>
                <a:gd fmla="*/ 152 h 202" name="T101"/>
                <a:gd fmla="*/ 48 w 206" name="T102"/>
                <a:gd fmla="*/ 158 h 202" name="T103"/>
                <a:gd fmla="*/ 184 w 206" name="T104"/>
                <a:gd fmla="*/ 202 h 202" name="T105"/>
                <a:gd fmla="*/ 206 w 206" name="T106"/>
                <a:gd fmla="*/ 184 h 202" name="T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b="b" l="0" r="r" t="0"/>
              <a:pathLst>
                <a:path h="201" w="206">
                  <a:moveTo>
                    <a:pt x="206" y="34"/>
                  </a:moveTo>
                  <a:lnTo>
                    <a:pt x="200" y="34"/>
                  </a:lnTo>
                  <a:lnTo>
                    <a:pt x="196" y="32"/>
                  </a:lnTo>
                  <a:lnTo>
                    <a:pt x="192" y="30"/>
                  </a:lnTo>
                  <a:lnTo>
                    <a:pt x="186" y="26"/>
                  </a:lnTo>
                  <a:lnTo>
                    <a:pt x="182" y="24"/>
                  </a:lnTo>
                  <a:lnTo>
                    <a:pt x="176" y="24"/>
                  </a:lnTo>
                  <a:lnTo>
                    <a:pt x="174" y="22"/>
                  </a:lnTo>
                  <a:lnTo>
                    <a:pt x="172" y="22"/>
                  </a:lnTo>
                  <a:lnTo>
                    <a:pt x="170" y="22"/>
                  </a:lnTo>
                  <a:lnTo>
                    <a:pt x="166" y="22"/>
                  </a:lnTo>
                  <a:lnTo>
                    <a:pt x="162" y="22"/>
                  </a:lnTo>
                  <a:lnTo>
                    <a:pt x="154" y="24"/>
                  </a:lnTo>
                  <a:lnTo>
                    <a:pt x="148" y="26"/>
                  </a:lnTo>
                  <a:lnTo>
                    <a:pt x="142" y="26"/>
                  </a:lnTo>
                  <a:lnTo>
                    <a:pt x="138" y="28"/>
                  </a:lnTo>
                  <a:lnTo>
                    <a:pt x="138" y="32"/>
                  </a:lnTo>
                  <a:lnTo>
                    <a:pt x="136" y="34"/>
                  </a:lnTo>
                  <a:lnTo>
                    <a:pt x="138" y="38"/>
                  </a:lnTo>
                  <a:lnTo>
                    <a:pt x="138" y="42"/>
                  </a:lnTo>
                  <a:lnTo>
                    <a:pt x="140" y="44"/>
                  </a:lnTo>
                  <a:lnTo>
                    <a:pt x="140" y="46"/>
                  </a:lnTo>
                  <a:lnTo>
                    <a:pt x="140" y="46"/>
                  </a:lnTo>
                  <a:lnTo>
                    <a:pt x="138" y="54"/>
                  </a:lnTo>
                  <a:lnTo>
                    <a:pt x="132" y="56"/>
                  </a:lnTo>
                  <a:lnTo>
                    <a:pt x="122" y="56"/>
                  </a:lnTo>
                  <a:lnTo>
                    <a:pt x="114" y="54"/>
                  </a:lnTo>
                  <a:lnTo>
                    <a:pt x="106" y="52"/>
                  </a:lnTo>
                  <a:lnTo>
                    <a:pt x="100" y="48"/>
                  </a:lnTo>
                  <a:lnTo>
                    <a:pt x="96" y="44"/>
                  </a:lnTo>
                  <a:lnTo>
                    <a:pt x="90" y="40"/>
                  </a:lnTo>
                  <a:lnTo>
                    <a:pt x="88" y="36"/>
                  </a:lnTo>
                  <a:lnTo>
                    <a:pt x="86" y="30"/>
                  </a:lnTo>
                  <a:lnTo>
                    <a:pt x="84" y="26"/>
                  </a:lnTo>
                  <a:lnTo>
                    <a:pt x="82" y="22"/>
                  </a:lnTo>
                  <a:lnTo>
                    <a:pt x="80" y="18"/>
                  </a:lnTo>
                  <a:lnTo>
                    <a:pt x="78" y="16"/>
                  </a:lnTo>
                  <a:lnTo>
                    <a:pt x="78" y="16"/>
                  </a:lnTo>
                  <a:lnTo>
                    <a:pt x="58" y="12"/>
                  </a:lnTo>
                  <a:lnTo>
                    <a:pt x="56" y="10"/>
                  </a:lnTo>
                  <a:lnTo>
                    <a:pt x="52" y="8"/>
                  </a:lnTo>
                  <a:lnTo>
                    <a:pt x="46" y="6"/>
                  </a:lnTo>
                  <a:lnTo>
                    <a:pt x="42" y="4"/>
                  </a:lnTo>
                  <a:lnTo>
                    <a:pt x="38" y="4"/>
                  </a:lnTo>
                  <a:lnTo>
                    <a:pt x="38" y="4"/>
                  </a:lnTo>
                  <a:lnTo>
                    <a:pt x="24" y="0"/>
                  </a:lnTo>
                  <a:lnTo>
                    <a:pt x="24" y="2"/>
                  </a:lnTo>
                  <a:lnTo>
                    <a:pt x="24" y="4"/>
                  </a:lnTo>
                  <a:lnTo>
                    <a:pt x="26" y="8"/>
                  </a:lnTo>
                  <a:lnTo>
                    <a:pt x="26" y="12"/>
                  </a:lnTo>
                  <a:lnTo>
                    <a:pt x="26" y="16"/>
                  </a:lnTo>
                  <a:lnTo>
                    <a:pt x="24" y="18"/>
                  </a:lnTo>
                  <a:lnTo>
                    <a:pt x="24" y="18"/>
                  </a:lnTo>
                  <a:lnTo>
                    <a:pt x="22" y="20"/>
                  </a:lnTo>
                  <a:lnTo>
                    <a:pt x="20" y="20"/>
                  </a:lnTo>
                  <a:lnTo>
                    <a:pt x="18" y="20"/>
                  </a:lnTo>
                  <a:lnTo>
                    <a:pt x="18" y="22"/>
                  </a:lnTo>
                  <a:lnTo>
                    <a:pt x="16" y="22"/>
                  </a:lnTo>
                  <a:lnTo>
                    <a:pt x="16" y="26"/>
                  </a:lnTo>
                  <a:lnTo>
                    <a:pt x="18" y="30"/>
                  </a:lnTo>
                  <a:lnTo>
                    <a:pt x="18" y="30"/>
                  </a:lnTo>
                  <a:lnTo>
                    <a:pt x="18" y="30"/>
                  </a:lnTo>
                  <a:lnTo>
                    <a:pt x="18" y="32"/>
                  </a:lnTo>
                  <a:lnTo>
                    <a:pt x="16" y="34"/>
                  </a:lnTo>
                  <a:lnTo>
                    <a:pt x="14" y="36"/>
                  </a:lnTo>
                  <a:lnTo>
                    <a:pt x="12" y="40"/>
                  </a:lnTo>
                  <a:lnTo>
                    <a:pt x="8" y="42"/>
                  </a:lnTo>
                  <a:lnTo>
                    <a:pt x="6" y="46"/>
                  </a:lnTo>
                  <a:lnTo>
                    <a:pt x="2" y="48"/>
                  </a:lnTo>
                  <a:lnTo>
                    <a:pt x="2" y="50"/>
                  </a:lnTo>
                  <a:lnTo>
                    <a:pt x="0" y="50"/>
                  </a:lnTo>
                  <a:lnTo>
                    <a:pt x="0" y="50"/>
                  </a:lnTo>
                  <a:lnTo>
                    <a:pt x="2" y="50"/>
                  </a:lnTo>
                  <a:lnTo>
                    <a:pt x="2" y="54"/>
                  </a:lnTo>
                  <a:lnTo>
                    <a:pt x="2" y="56"/>
                  </a:lnTo>
                  <a:lnTo>
                    <a:pt x="4" y="60"/>
                  </a:lnTo>
                  <a:lnTo>
                    <a:pt x="4" y="66"/>
                  </a:lnTo>
                  <a:lnTo>
                    <a:pt x="4" y="72"/>
                  </a:lnTo>
                  <a:lnTo>
                    <a:pt x="6" y="76"/>
                  </a:lnTo>
                  <a:lnTo>
                    <a:pt x="6" y="80"/>
                  </a:lnTo>
                  <a:lnTo>
                    <a:pt x="6" y="80"/>
                  </a:lnTo>
                  <a:lnTo>
                    <a:pt x="8" y="82"/>
                  </a:lnTo>
                  <a:lnTo>
                    <a:pt x="10" y="84"/>
                  </a:lnTo>
                  <a:lnTo>
                    <a:pt x="12" y="88"/>
                  </a:lnTo>
                  <a:lnTo>
                    <a:pt x="12" y="92"/>
                  </a:lnTo>
                  <a:lnTo>
                    <a:pt x="12" y="96"/>
                  </a:lnTo>
                  <a:lnTo>
                    <a:pt x="12" y="102"/>
                  </a:lnTo>
                  <a:lnTo>
                    <a:pt x="12" y="106"/>
                  </a:lnTo>
                  <a:lnTo>
                    <a:pt x="10" y="108"/>
                  </a:lnTo>
                  <a:lnTo>
                    <a:pt x="10" y="108"/>
                  </a:lnTo>
                  <a:lnTo>
                    <a:pt x="12" y="110"/>
                  </a:lnTo>
                  <a:lnTo>
                    <a:pt x="14" y="112"/>
                  </a:lnTo>
                  <a:lnTo>
                    <a:pt x="14" y="116"/>
                  </a:lnTo>
                  <a:lnTo>
                    <a:pt x="14" y="122"/>
                  </a:lnTo>
                  <a:lnTo>
                    <a:pt x="28" y="142"/>
                  </a:lnTo>
                  <a:lnTo>
                    <a:pt x="30" y="142"/>
                  </a:lnTo>
                  <a:lnTo>
                    <a:pt x="32" y="142"/>
                  </a:lnTo>
                  <a:lnTo>
                    <a:pt x="36" y="142"/>
                  </a:lnTo>
                  <a:lnTo>
                    <a:pt x="40" y="146"/>
                  </a:lnTo>
                  <a:lnTo>
                    <a:pt x="40" y="146"/>
                  </a:lnTo>
                  <a:lnTo>
                    <a:pt x="42" y="148"/>
                  </a:lnTo>
                  <a:lnTo>
                    <a:pt x="44" y="152"/>
                  </a:lnTo>
                  <a:lnTo>
                    <a:pt x="46" y="154"/>
                  </a:lnTo>
                  <a:lnTo>
                    <a:pt x="48" y="158"/>
                  </a:lnTo>
                  <a:lnTo>
                    <a:pt x="76" y="156"/>
                  </a:lnTo>
                  <a:lnTo>
                    <a:pt x="184" y="202"/>
                  </a:lnTo>
                  <a:lnTo>
                    <a:pt x="184" y="184"/>
                  </a:lnTo>
                  <a:lnTo>
                    <a:pt x="206" y="184"/>
                  </a:lnTo>
                  <a:lnTo>
                    <a:pt x="206" y="3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4" name="Freeform 461"/>
            <p:cNvSpPr/>
            <p:nvPr/>
          </p:nvSpPr>
          <p:spPr bwMode="gray">
            <a:xfrm>
              <a:off x="831455" y="4372952"/>
              <a:ext cx="270304" cy="222018"/>
            </a:xfrm>
            <a:custGeom>
              <a:gdLst>
                <a:gd fmla="*/ 142 w 146" name="T0"/>
                <a:gd fmla="*/ 0 h 120" name="T1"/>
                <a:gd fmla="*/ 132 w 146" name="T2"/>
                <a:gd fmla="*/ 2 h 120" name="T3"/>
                <a:gd fmla="*/ 124 w 146" name="T4"/>
                <a:gd fmla="*/ 6 h 120" name="T5"/>
                <a:gd fmla="*/ 120 w 146" name="T6"/>
                <a:gd fmla="*/ 8 h 120" name="T7"/>
                <a:gd fmla="*/ 96 w 146" name="T8"/>
                <a:gd fmla="*/ 4 h 120" name="T9"/>
                <a:gd fmla="*/ 84 w 146" name="T10"/>
                <a:gd fmla="*/ 8 h 120" name="T11"/>
                <a:gd fmla="*/ 76 w 146" name="T12"/>
                <a:gd fmla="*/ 6 h 120" name="T13"/>
                <a:gd fmla="*/ 68 w 146" name="T14"/>
                <a:gd fmla="*/ 12 h 120" name="T15"/>
                <a:gd fmla="*/ 62 w 146" name="T16"/>
                <a:gd fmla="*/ 16 h 120" name="T17"/>
                <a:gd fmla="*/ 58 w 146" name="T18"/>
                <a:gd fmla="*/ 14 h 120" name="T19"/>
                <a:gd fmla="*/ 50 w 146" name="T20"/>
                <a:gd fmla="*/ 10 h 120" name="T21"/>
                <a:gd fmla="*/ 42 w 146" name="T22"/>
                <a:gd fmla="*/ 8 h 120" name="T23"/>
                <a:gd fmla="*/ 40 w 146" name="T24"/>
                <a:gd fmla="*/ 6 h 120" name="T25"/>
                <a:gd fmla="*/ 38 w 146" name="T26"/>
                <a:gd fmla="*/ 6 h 120" name="T27"/>
                <a:gd fmla="*/ 30 w 146" name="T28"/>
                <a:gd fmla="*/ 6 h 120" name="T29"/>
                <a:gd fmla="*/ 16 w 146" name="T30"/>
                <a:gd fmla="*/ 8 h 120" name="T31"/>
                <a:gd fmla="*/ 6 w 146" name="T32"/>
                <a:gd fmla="*/ 14 h 120" name="T33"/>
                <a:gd fmla="*/ 2 w 146" name="T34"/>
                <a:gd fmla="*/ 20 h 120" name="T35"/>
                <a:gd fmla="*/ 4 w 146" name="T36"/>
                <a:gd fmla="*/ 22 h 120" name="T37"/>
                <a:gd fmla="*/ 6 w 146" name="T38"/>
                <a:gd fmla="*/ 28 h 120" name="T39"/>
                <a:gd fmla="*/ 6 w 146" name="T40"/>
                <a:gd fmla="*/ 40 h 120" name="T41"/>
                <a:gd fmla="*/ 6 w 146" name="T42"/>
                <a:gd fmla="*/ 48 h 120" name="T43"/>
                <a:gd fmla="*/ 2 w 146" name="T44"/>
                <a:gd fmla="*/ 54 h 120" name="T45"/>
                <a:gd fmla="*/ 0 w 146" name="T46"/>
                <a:gd fmla="*/ 64 h 120" name="T47"/>
                <a:gd fmla="*/ 0 w 146" name="T48"/>
                <a:gd fmla="*/ 100 h 120" name="T49"/>
                <a:gd fmla="*/ 16 w 146" name="T50"/>
                <a:gd fmla="*/ 100 h 120" name="T51"/>
                <a:gd fmla="*/ 34 w 146" name="T52"/>
                <a:gd fmla="*/ 112 h 120" name="T53"/>
                <a:gd fmla="*/ 52 w 146" name="T54"/>
                <a:gd fmla="*/ 118 h 120" name="T55"/>
                <a:gd fmla="*/ 76 w 146" name="T56"/>
                <a:gd fmla="*/ 120 h 120" name="T57"/>
                <a:gd fmla="*/ 94 w 146" name="T58"/>
                <a:gd fmla="*/ 102 h 120" name="T59"/>
                <a:gd fmla="*/ 96 w 146" name="T60"/>
                <a:gd fmla="*/ 86 h 120" name="T61"/>
                <a:gd fmla="*/ 100 w 146" name="T62"/>
                <a:gd fmla="*/ 80 h 120" name="T63"/>
                <a:gd fmla="*/ 108 w 146" name="T64"/>
                <a:gd fmla="*/ 72 h 120" name="T65"/>
                <a:gd fmla="*/ 118 w 146" name="T66"/>
                <a:gd fmla="*/ 68 h 120" name="T67"/>
                <a:gd fmla="*/ 122 w 146" name="T68"/>
                <a:gd fmla="*/ 72 h 120" name="T69"/>
                <a:gd fmla="*/ 126 w 146" name="T70"/>
                <a:gd fmla="*/ 72 h 120" name="T71"/>
                <a:gd fmla="*/ 132 w 146" name="T72"/>
                <a:gd fmla="*/ 68 h 120" name="T73"/>
                <a:gd fmla="*/ 138 w 146" name="T74"/>
                <a:gd fmla="*/ 56 h 120" name="T75"/>
                <a:gd fmla="*/ 142 w 146" name="T76"/>
                <a:gd fmla="*/ 46 h 120" name="T77"/>
                <a:gd fmla="*/ 144 w 146" name="T78"/>
                <a:gd fmla="*/ 36 h 120" name="T79"/>
                <a:gd fmla="*/ 146 w 146" name="T80"/>
                <a:gd fmla="*/ 24 h 120" name="T81"/>
                <a:gd fmla="*/ 144 w 146" name="T82"/>
                <a:gd fmla="*/ 14 h 120" name="T83"/>
                <a:gd fmla="*/ 146 w 146" name="T84"/>
                <a:gd fmla="*/ 4 h 120" name="T85"/>
                <a:gd fmla="*/ 146 w 146" name="T86"/>
                <a:gd fmla="*/ 0 h 120"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120" w="146">
                  <a:moveTo>
                    <a:pt x="146" y="0"/>
                  </a:moveTo>
                  <a:lnTo>
                    <a:pt x="142" y="0"/>
                  </a:lnTo>
                  <a:lnTo>
                    <a:pt x="136" y="0"/>
                  </a:lnTo>
                  <a:lnTo>
                    <a:pt x="132" y="2"/>
                  </a:lnTo>
                  <a:lnTo>
                    <a:pt x="126" y="4"/>
                  </a:lnTo>
                  <a:lnTo>
                    <a:pt x="124" y="6"/>
                  </a:lnTo>
                  <a:lnTo>
                    <a:pt x="120" y="6"/>
                  </a:lnTo>
                  <a:lnTo>
                    <a:pt x="120" y="8"/>
                  </a:lnTo>
                  <a:lnTo>
                    <a:pt x="108" y="2"/>
                  </a:lnTo>
                  <a:lnTo>
                    <a:pt x="96" y="4"/>
                  </a:lnTo>
                  <a:lnTo>
                    <a:pt x="88" y="6"/>
                  </a:lnTo>
                  <a:lnTo>
                    <a:pt x="84" y="8"/>
                  </a:lnTo>
                  <a:lnTo>
                    <a:pt x="80" y="6"/>
                  </a:lnTo>
                  <a:lnTo>
                    <a:pt x="76" y="6"/>
                  </a:lnTo>
                  <a:lnTo>
                    <a:pt x="70" y="8"/>
                  </a:lnTo>
                  <a:lnTo>
                    <a:pt x="68" y="12"/>
                  </a:lnTo>
                  <a:lnTo>
                    <a:pt x="64" y="14"/>
                  </a:lnTo>
                  <a:lnTo>
                    <a:pt x="62" y="16"/>
                  </a:lnTo>
                  <a:lnTo>
                    <a:pt x="62" y="16"/>
                  </a:lnTo>
                  <a:lnTo>
                    <a:pt x="58" y="14"/>
                  </a:lnTo>
                  <a:lnTo>
                    <a:pt x="54" y="10"/>
                  </a:lnTo>
                  <a:lnTo>
                    <a:pt x="50" y="10"/>
                  </a:lnTo>
                  <a:lnTo>
                    <a:pt x="46" y="8"/>
                  </a:lnTo>
                  <a:lnTo>
                    <a:pt x="42" y="8"/>
                  </a:lnTo>
                  <a:lnTo>
                    <a:pt x="40" y="6"/>
                  </a:lnTo>
                  <a:lnTo>
                    <a:pt x="40" y="6"/>
                  </a:lnTo>
                  <a:lnTo>
                    <a:pt x="40" y="6"/>
                  </a:lnTo>
                  <a:lnTo>
                    <a:pt x="38" y="6"/>
                  </a:lnTo>
                  <a:lnTo>
                    <a:pt x="34" y="6"/>
                  </a:lnTo>
                  <a:lnTo>
                    <a:pt x="30" y="6"/>
                  </a:lnTo>
                  <a:lnTo>
                    <a:pt x="22" y="6"/>
                  </a:lnTo>
                  <a:lnTo>
                    <a:pt x="16" y="8"/>
                  </a:lnTo>
                  <a:lnTo>
                    <a:pt x="10" y="12"/>
                  </a:lnTo>
                  <a:lnTo>
                    <a:pt x="6" y="14"/>
                  </a:lnTo>
                  <a:lnTo>
                    <a:pt x="4" y="18"/>
                  </a:lnTo>
                  <a:lnTo>
                    <a:pt x="2" y="20"/>
                  </a:lnTo>
                  <a:lnTo>
                    <a:pt x="2" y="20"/>
                  </a:lnTo>
                  <a:lnTo>
                    <a:pt x="4" y="22"/>
                  </a:lnTo>
                  <a:lnTo>
                    <a:pt x="4" y="24"/>
                  </a:lnTo>
                  <a:lnTo>
                    <a:pt x="6" y="28"/>
                  </a:lnTo>
                  <a:lnTo>
                    <a:pt x="6" y="34"/>
                  </a:lnTo>
                  <a:lnTo>
                    <a:pt x="6" y="40"/>
                  </a:lnTo>
                  <a:lnTo>
                    <a:pt x="6" y="46"/>
                  </a:lnTo>
                  <a:lnTo>
                    <a:pt x="6" y="48"/>
                  </a:lnTo>
                  <a:lnTo>
                    <a:pt x="4" y="50"/>
                  </a:lnTo>
                  <a:lnTo>
                    <a:pt x="2" y="54"/>
                  </a:lnTo>
                  <a:lnTo>
                    <a:pt x="2" y="58"/>
                  </a:lnTo>
                  <a:lnTo>
                    <a:pt x="0" y="64"/>
                  </a:lnTo>
                  <a:lnTo>
                    <a:pt x="0" y="70"/>
                  </a:lnTo>
                  <a:lnTo>
                    <a:pt x="0" y="100"/>
                  </a:lnTo>
                  <a:lnTo>
                    <a:pt x="14" y="98"/>
                  </a:lnTo>
                  <a:lnTo>
                    <a:pt x="16" y="100"/>
                  </a:lnTo>
                  <a:lnTo>
                    <a:pt x="24" y="106"/>
                  </a:lnTo>
                  <a:lnTo>
                    <a:pt x="34" y="112"/>
                  </a:lnTo>
                  <a:lnTo>
                    <a:pt x="48" y="118"/>
                  </a:lnTo>
                  <a:lnTo>
                    <a:pt x="52" y="118"/>
                  </a:lnTo>
                  <a:lnTo>
                    <a:pt x="62" y="120"/>
                  </a:lnTo>
                  <a:lnTo>
                    <a:pt x="76" y="120"/>
                  </a:lnTo>
                  <a:lnTo>
                    <a:pt x="86" y="120"/>
                  </a:lnTo>
                  <a:lnTo>
                    <a:pt x="94" y="102"/>
                  </a:lnTo>
                  <a:lnTo>
                    <a:pt x="94" y="88"/>
                  </a:lnTo>
                  <a:lnTo>
                    <a:pt x="96" y="86"/>
                  </a:lnTo>
                  <a:lnTo>
                    <a:pt x="98" y="84"/>
                  </a:lnTo>
                  <a:lnTo>
                    <a:pt x="100" y="80"/>
                  </a:lnTo>
                  <a:lnTo>
                    <a:pt x="104" y="76"/>
                  </a:lnTo>
                  <a:lnTo>
                    <a:pt x="108" y="72"/>
                  </a:lnTo>
                  <a:lnTo>
                    <a:pt x="112" y="70"/>
                  </a:lnTo>
                  <a:lnTo>
                    <a:pt x="118" y="68"/>
                  </a:lnTo>
                  <a:lnTo>
                    <a:pt x="122" y="72"/>
                  </a:lnTo>
                  <a:lnTo>
                    <a:pt x="122" y="72"/>
                  </a:lnTo>
                  <a:lnTo>
                    <a:pt x="124" y="72"/>
                  </a:lnTo>
                  <a:lnTo>
                    <a:pt x="126" y="72"/>
                  </a:lnTo>
                  <a:lnTo>
                    <a:pt x="128" y="70"/>
                  </a:lnTo>
                  <a:lnTo>
                    <a:pt x="132" y="68"/>
                  </a:lnTo>
                  <a:lnTo>
                    <a:pt x="136" y="64"/>
                  </a:lnTo>
                  <a:lnTo>
                    <a:pt x="138" y="56"/>
                  </a:lnTo>
                  <a:lnTo>
                    <a:pt x="142" y="46"/>
                  </a:lnTo>
                  <a:lnTo>
                    <a:pt x="142" y="46"/>
                  </a:lnTo>
                  <a:lnTo>
                    <a:pt x="144" y="42"/>
                  </a:lnTo>
                  <a:lnTo>
                    <a:pt x="144" y="36"/>
                  </a:lnTo>
                  <a:lnTo>
                    <a:pt x="146" y="30"/>
                  </a:lnTo>
                  <a:lnTo>
                    <a:pt x="146" y="24"/>
                  </a:lnTo>
                  <a:lnTo>
                    <a:pt x="144" y="18"/>
                  </a:lnTo>
                  <a:lnTo>
                    <a:pt x="144" y="14"/>
                  </a:lnTo>
                  <a:lnTo>
                    <a:pt x="144" y="8"/>
                  </a:lnTo>
                  <a:lnTo>
                    <a:pt x="146" y="4"/>
                  </a:lnTo>
                  <a:lnTo>
                    <a:pt x="146" y="2"/>
                  </a:lnTo>
                  <a:lnTo>
                    <a:pt x="14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5" name="Freeform 462"/>
            <p:cNvSpPr/>
            <p:nvPr/>
          </p:nvSpPr>
          <p:spPr bwMode="gray">
            <a:xfrm>
              <a:off x="1053623" y="4113931"/>
              <a:ext cx="96273" cy="244220"/>
            </a:xfrm>
            <a:custGeom>
              <a:gdLst>
                <a:gd fmla="*/ 28 w 52" name="T0"/>
                <a:gd fmla="*/ 132 h 132" name="T1"/>
                <a:gd fmla="*/ 30 w 52" name="T2"/>
                <a:gd fmla="*/ 118 h 132" name="T3"/>
                <a:gd fmla="*/ 30 w 52" name="T4"/>
                <a:gd fmla="*/ 118 h 132" name="T5"/>
                <a:gd fmla="*/ 30 w 52" name="T6"/>
                <a:gd fmla="*/ 116 h 132" name="T7"/>
                <a:gd fmla="*/ 32 w 52" name="T8"/>
                <a:gd fmla="*/ 112 h 132" name="T9"/>
                <a:gd fmla="*/ 32 w 52" name="T10"/>
                <a:gd fmla="*/ 108 h 132" name="T11"/>
                <a:gd fmla="*/ 36 w 52" name="T12"/>
                <a:gd fmla="*/ 104 h 132" name="T13"/>
                <a:gd fmla="*/ 40 w 52" name="T14"/>
                <a:gd fmla="*/ 100 h 132" name="T15"/>
                <a:gd fmla="*/ 44 w 52" name="T16"/>
                <a:gd fmla="*/ 96 h 132" name="T17"/>
                <a:gd fmla="*/ 44 w 52" name="T18"/>
                <a:gd fmla="*/ 92 h 132" name="T19"/>
                <a:gd fmla="*/ 44 w 52" name="T20"/>
                <a:gd fmla="*/ 80 h 132" name="T21"/>
                <a:gd fmla="*/ 44 w 52" name="T22"/>
                <a:gd fmla="*/ 66 h 132" name="T23"/>
                <a:gd fmla="*/ 46 w 52" name="T24"/>
                <a:gd fmla="*/ 52 h 132" name="T25"/>
                <a:gd fmla="*/ 52 w 52" name="T26"/>
                <a:gd fmla="*/ 44 h 132" name="T27"/>
                <a:gd fmla="*/ 50 w 52" name="T28"/>
                <a:gd fmla="*/ 44 h 132" name="T29"/>
                <a:gd fmla="*/ 50 w 52" name="T30"/>
                <a:gd fmla="*/ 40 h 132" name="T31"/>
                <a:gd fmla="*/ 48 w 52" name="T32"/>
                <a:gd fmla="*/ 36 h 132" name="T33"/>
                <a:gd fmla="*/ 46 w 52" name="T34"/>
                <a:gd fmla="*/ 30 h 132" name="T35"/>
                <a:gd fmla="*/ 44 w 52" name="T36"/>
                <a:gd fmla="*/ 24 h 132" name="T37"/>
                <a:gd fmla="*/ 44 w 52" name="T38"/>
                <a:gd fmla="*/ 20 h 132" name="T39"/>
                <a:gd fmla="*/ 44 w 52" name="T40"/>
                <a:gd fmla="*/ 14 h 132" name="T41"/>
                <a:gd fmla="*/ 16 w 52" name="T42"/>
                <a:gd fmla="*/ 16 h 132" name="T43"/>
                <a:gd fmla="*/ 16 w 52" name="T44"/>
                <a:gd fmla="*/ 14 h 132" name="T45"/>
                <a:gd fmla="*/ 14 w 52" name="T46"/>
                <a:gd fmla="*/ 12 h 132" name="T47"/>
                <a:gd fmla="*/ 12 w 52" name="T48"/>
                <a:gd fmla="*/ 8 h 132" name="T49"/>
                <a:gd fmla="*/ 8 w 52" name="T50"/>
                <a:gd fmla="*/ 4 h 132" name="T51"/>
                <a:gd fmla="*/ 4 w 52" name="T52"/>
                <a:gd fmla="*/ 2 h 132" name="T53"/>
                <a:gd fmla="*/ 0 w 52" name="T54"/>
                <a:gd fmla="*/ 0 h 132" name="T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132" w="52">
                  <a:moveTo>
                    <a:pt x="28" y="132"/>
                  </a:moveTo>
                  <a:lnTo>
                    <a:pt x="30" y="118"/>
                  </a:lnTo>
                  <a:lnTo>
                    <a:pt x="30" y="118"/>
                  </a:lnTo>
                  <a:lnTo>
                    <a:pt x="30" y="116"/>
                  </a:lnTo>
                  <a:lnTo>
                    <a:pt x="32" y="112"/>
                  </a:lnTo>
                  <a:lnTo>
                    <a:pt x="32" y="108"/>
                  </a:lnTo>
                  <a:lnTo>
                    <a:pt x="36" y="104"/>
                  </a:lnTo>
                  <a:lnTo>
                    <a:pt x="40" y="100"/>
                  </a:lnTo>
                  <a:lnTo>
                    <a:pt x="44" y="96"/>
                  </a:lnTo>
                  <a:lnTo>
                    <a:pt x="44" y="92"/>
                  </a:lnTo>
                  <a:lnTo>
                    <a:pt x="44" y="80"/>
                  </a:lnTo>
                  <a:lnTo>
                    <a:pt x="44" y="66"/>
                  </a:lnTo>
                  <a:lnTo>
                    <a:pt x="46" y="52"/>
                  </a:lnTo>
                  <a:lnTo>
                    <a:pt x="52" y="44"/>
                  </a:lnTo>
                  <a:lnTo>
                    <a:pt x="50" y="44"/>
                  </a:lnTo>
                  <a:lnTo>
                    <a:pt x="50" y="40"/>
                  </a:lnTo>
                  <a:lnTo>
                    <a:pt x="48" y="36"/>
                  </a:lnTo>
                  <a:lnTo>
                    <a:pt x="46" y="30"/>
                  </a:lnTo>
                  <a:lnTo>
                    <a:pt x="44" y="24"/>
                  </a:lnTo>
                  <a:lnTo>
                    <a:pt x="44" y="20"/>
                  </a:lnTo>
                  <a:lnTo>
                    <a:pt x="44" y="14"/>
                  </a:lnTo>
                  <a:lnTo>
                    <a:pt x="16" y="16"/>
                  </a:lnTo>
                  <a:lnTo>
                    <a:pt x="16" y="14"/>
                  </a:lnTo>
                  <a:lnTo>
                    <a:pt x="14" y="12"/>
                  </a:lnTo>
                  <a:lnTo>
                    <a:pt x="12" y="8"/>
                  </a:lnTo>
                  <a:lnTo>
                    <a:pt x="8" y="4"/>
                  </a:lnTo>
                  <a:lnTo>
                    <a:pt x="4" y="2"/>
                  </a:lnTo>
                  <a:lnTo>
                    <a:pt x="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6" name="Freeform 463"/>
            <p:cNvSpPr/>
            <p:nvPr/>
          </p:nvSpPr>
          <p:spPr bwMode="gray">
            <a:xfrm>
              <a:off x="746291" y="4113931"/>
              <a:ext cx="403604" cy="299724"/>
            </a:xfrm>
            <a:custGeom>
              <a:gdLst>
                <a:gd fmla="*/ 94 w 218" name="T0"/>
                <a:gd fmla="*/ 36 h 162" name="T1"/>
                <a:gd fmla="*/ 78 w 218" name="T2"/>
                <a:gd fmla="*/ 40 h 162" name="T3"/>
                <a:gd fmla="*/ 62 w 218" name="T4"/>
                <a:gd fmla="*/ 42 h 162" name="T5"/>
                <a:gd fmla="*/ 60 w 218" name="T6"/>
                <a:gd fmla="*/ 62 h 162" name="T7"/>
                <a:gd fmla="*/ 50 w 218" name="T8"/>
                <a:gd fmla="*/ 100 h 162" name="T9"/>
                <a:gd fmla="*/ 38 w 218" name="T10"/>
                <a:gd fmla="*/ 116 h 162" name="T11"/>
                <a:gd fmla="*/ 32 w 218" name="T12"/>
                <a:gd fmla="*/ 120 h 162" name="T13"/>
                <a:gd fmla="*/ 24 w 218" name="T14"/>
                <a:gd fmla="*/ 122 h 162" name="T15"/>
                <a:gd fmla="*/ 18 w 218" name="T16"/>
                <a:gd fmla="*/ 122 h 162" name="T17"/>
                <a:gd fmla="*/ 10 w 218" name="T18"/>
                <a:gd fmla="*/ 122 h 162" name="T19"/>
                <a:gd fmla="*/ 4 w 218" name="T20"/>
                <a:gd fmla="*/ 122 h 162" name="T21"/>
                <a:gd fmla="*/ 2 w 218" name="T22"/>
                <a:gd fmla="*/ 128 h 162" name="T23"/>
                <a:gd fmla="*/ 4 w 218" name="T24"/>
                <a:gd fmla="*/ 132 h 162" name="T25"/>
                <a:gd fmla="*/ 8 w 218" name="T26"/>
                <a:gd fmla="*/ 138 h 162" name="T27"/>
                <a:gd fmla="*/ 8 w 218" name="T28"/>
                <a:gd fmla="*/ 140 h 162" name="T29"/>
                <a:gd fmla="*/ 14 w 218" name="T30"/>
                <a:gd fmla="*/ 144 h 162" name="T31"/>
                <a:gd fmla="*/ 16 w 218" name="T32"/>
                <a:gd fmla="*/ 144 h 162" name="T33"/>
                <a:gd fmla="*/ 16 w 218" name="T34"/>
                <a:gd fmla="*/ 150 h 162" name="T35"/>
                <a:gd fmla="*/ 28 w 218" name="T36"/>
                <a:gd fmla="*/ 142 h 162" name="T37"/>
                <a:gd fmla="*/ 30 w 218" name="T38"/>
                <a:gd fmla="*/ 146 h 162" name="T39"/>
                <a:gd fmla="*/ 36 w 218" name="T40"/>
                <a:gd fmla="*/ 150 h 162" name="T41"/>
                <a:gd fmla="*/ 42 w 218" name="T42"/>
                <a:gd fmla="*/ 154 h 162" name="T43"/>
                <a:gd fmla="*/ 44 w 218" name="T44"/>
                <a:gd fmla="*/ 156 h 162" name="T45"/>
                <a:gd fmla="*/ 50 w 218" name="T46"/>
                <a:gd fmla="*/ 162 h 162" name="T47"/>
                <a:gd fmla="*/ 50 w 218" name="T48"/>
                <a:gd fmla="*/ 158 h 162" name="T49"/>
                <a:gd fmla="*/ 56 w 218" name="T50"/>
                <a:gd fmla="*/ 152 h 162" name="T51"/>
                <a:gd fmla="*/ 68 w 218" name="T52"/>
                <a:gd fmla="*/ 146 h 162" name="T53"/>
                <a:gd fmla="*/ 82 w 218" name="T54"/>
                <a:gd fmla="*/ 146 h 162" name="T55"/>
                <a:gd fmla="*/ 88 w 218" name="T56"/>
                <a:gd fmla="*/ 146 h 162" name="T57"/>
                <a:gd fmla="*/ 88 w 218" name="T58"/>
                <a:gd fmla="*/ 148 h 162" name="T59"/>
                <a:gd fmla="*/ 96 w 218" name="T60"/>
                <a:gd fmla="*/ 150 h 162" name="T61"/>
                <a:gd fmla="*/ 106 w 218" name="T62"/>
                <a:gd fmla="*/ 154 h 162" name="T63"/>
                <a:gd fmla="*/ 110 w 218" name="T64"/>
                <a:gd fmla="*/ 156 h 162" name="T65"/>
                <a:gd fmla="*/ 114 w 218" name="T66"/>
                <a:gd fmla="*/ 152 h 162" name="T67"/>
                <a:gd fmla="*/ 122 w 218" name="T68"/>
                <a:gd fmla="*/ 148 h 162" name="T69"/>
                <a:gd fmla="*/ 130 w 218" name="T70"/>
                <a:gd fmla="*/ 148 h 162" name="T71"/>
                <a:gd fmla="*/ 144 w 218" name="T72"/>
                <a:gd fmla="*/ 144 h 162" name="T73"/>
                <a:gd fmla="*/ 166 w 218" name="T74"/>
                <a:gd fmla="*/ 148 h 162" name="T75"/>
                <a:gd fmla="*/ 170 w 218" name="T76"/>
                <a:gd fmla="*/ 146 h 162" name="T77"/>
                <a:gd fmla="*/ 178 w 218" name="T78"/>
                <a:gd fmla="*/ 142 h 162" name="T79"/>
                <a:gd fmla="*/ 188 w 218" name="T80"/>
                <a:gd fmla="*/ 140 h 162" name="T81"/>
                <a:gd fmla="*/ 196 w 218" name="T82"/>
                <a:gd fmla="*/ 118 h 162" name="T83"/>
                <a:gd fmla="*/ 196 w 218" name="T84"/>
                <a:gd fmla="*/ 116 h 162" name="T85"/>
                <a:gd fmla="*/ 198 w 218" name="T86"/>
                <a:gd fmla="*/ 108 h 162" name="T87"/>
                <a:gd fmla="*/ 206 w 218" name="T88"/>
                <a:gd fmla="*/ 100 h 162" name="T89"/>
                <a:gd fmla="*/ 210 w 218" name="T90"/>
                <a:gd fmla="*/ 92 h 162" name="T91"/>
                <a:gd fmla="*/ 210 w 218" name="T92"/>
                <a:gd fmla="*/ 66 h 162" name="T93"/>
                <a:gd fmla="*/ 218 w 218" name="T94"/>
                <a:gd fmla="*/ 44 h 162" name="T95"/>
                <a:gd fmla="*/ 216 w 218" name="T96"/>
                <a:gd fmla="*/ 40 h 162" name="T97"/>
                <a:gd fmla="*/ 212 w 218" name="T98"/>
                <a:gd fmla="*/ 30 h 162" name="T99"/>
                <a:gd fmla="*/ 210 w 218" name="T100"/>
                <a:gd fmla="*/ 20 h 162" name="T101"/>
                <a:gd fmla="*/ 182 w 218" name="T102"/>
                <a:gd fmla="*/ 16 h 162" name="T103"/>
                <a:gd fmla="*/ 180 w 218" name="T104"/>
                <a:gd fmla="*/ 12 h 162" name="T105"/>
                <a:gd fmla="*/ 174 w 218" name="T106"/>
                <a:gd fmla="*/ 4 h 162" name="T107"/>
                <a:gd fmla="*/ 166 w 218" name="T108"/>
                <a:gd fmla="*/ 0 h 162"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162" w="218">
                  <a:moveTo>
                    <a:pt x="162" y="0"/>
                  </a:moveTo>
                  <a:lnTo>
                    <a:pt x="94" y="36"/>
                  </a:lnTo>
                  <a:lnTo>
                    <a:pt x="90" y="38"/>
                  </a:lnTo>
                  <a:lnTo>
                    <a:pt x="78" y="40"/>
                  </a:lnTo>
                  <a:lnTo>
                    <a:pt x="68" y="42"/>
                  </a:lnTo>
                  <a:lnTo>
                    <a:pt x="62" y="42"/>
                  </a:lnTo>
                  <a:lnTo>
                    <a:pt x="62" y="48"/>
                  </a:lnTo>
                  <a:lnTo>
                    <a:pt x="60" y="62"/>
                  </a:lnTo>
                  <a:lnTo>
                    <a:pt x="56" y="80"/>
                  </a:lnTo>
                  <a:lnTo>
                    <a:pt x="50" y="100"/>
                  </a:lnTo>
                  <a:lnTo>
                    <a:pt x="38" y="116"/>
                  </a:lnTo>
                  <a:lnTo>
                    <a:pt x="38" y="116"/>
                  </a:lnTo>
                  <a:lnTo>
                    <a:pt x="36" y="118"/>
                  </a:lnTo>
                  <a:lnTo>
                    <a:pt x="32" y="120"/>
                  </a:lnTo>
                  <a:lnTo>
                    <a:pt x="28" y="120"/>
                  </a:lnTo>
                  <a:lnTo>
                    <a:pt x="24" y="122"/>
                  </a:lnTo>
                  <a:lnTo>
                    <a:pt x="20" y="122"/>
                  </a:lnTo>
                  <a:lnTo>
                    <a:pt x="18" y="122"/>
                  </a:lnTo>
                  <a:lnTo>
                    <a:pt x="14" y="122"/>
                  </a:lnTo>
                  <a:lnTo>
                    <a:pt x="10" y="122"/>
                  </a:lnTo>
                  <a:lnTo>
                    <a:pt x="6" y="122"/>
                  </a:lnTo>
                  <a:lnTo>
                    <a:pt x="4" y="122"/>
                  </a:lnTo>
                  <a:lnTo>
                    <a:pt x="0" y="128"/>
                  </a:lnTo>
                  <a:lnTo>
                    <a:pt x="2" y="128"/>
                  </a:lnTo>
                  <a:lnTo>
                    <a:pt x="2" y="130"/>
                  </a:lnTo>
                  <a:lnTo>
                    <a:pt x="4" y="132"/>
                  </a:lnTo>
                  <a:lnTo>
                    <a:pt x="6" y="136"/>
                  </a:lnTo>
                  <a:lnTo>
                    <a:pt x="8" y="138"/>
                  </a:lnTo>
                  <a:lnTo>
                    <a:pt x="8" y="138"/>
                  </a:lnTo>
                  <a:lnTo>
                    <a:pt x="8" y="140"/>
                  </a:lnTo>
                  <a:lnTo>
                    <a:pt x="10" y="142"/>
                  </a:lnTo>
                  <a:lnTo>
                    <a:pt x="14" y="144"/>
                  </a:lnTo>
                  <a:lnTo>
                    <a:pt x="14" y="144"/>
                  </a:lnTo>
                  <a:lnTo>
                    <a:pt x="16" y="144"/>
                  </a:lnTo>
                  <a:lnTo>
                    <a:pt x="16" y="146"/>
                  </a:lnTo>
                  <a:lnTo>
                    <a:pt x="16" y="150"/>
                  </a:lnTo>
                  <a:lnTo>
                    <a:pt x="26" y="150"/>
                  </a:lnTo>
                  <a:lnTo>
                    <a:pt x="28" y="142"/>
                  </a:lnTo>
                  <a:lnTo>
                    <a:pt x="28" y="144"/>
                  </a:lnTo>
                  <a:lnTo>
                    <a:pt x="30" y="146"/>
                  </a:lnTo>
                  <a:lnTo>
                    <a:pt x="34" y="148"/>
                  </a:lnTo>
                  <a:lnTo>
                    <a:pt x="36" y="150"/>
                  </a:lnTo>
                  <a:lnTo>
                    <a:pt x="38" y="152"/>
                  </a:lnTo>
                  <a:lnTo>
                    <a:pt x="42" y="154"/>
                  </a:lnTo>
                  <a:lnTo>
                    <a:pt x="42" y="154"/>
                  </a:lnTo>
                  <a:lnTo>
                    <a:pt x="44" y="156"/>
                  </a:lnTo>
                  <a:lnTo>
                    <a:pt x="46" y="158"/>
                  </a:lnTo>
                  <a:lnTo>
                    <a:pt x="50" y="162"/>
                  </a:lnTo>
                  <a:lnTo>
                    <a:pt x="50" y="160"/>
                  </a:lnTo>
                  <a:lnTo>
                    <a:pt x="50" y="158"/>
                  </a:lnTo>
                  <a:lnTo>
                    <a:pt x="54" y="156"/>
                  </a:lnTo>
                  <a:lnTo>
                    <a:pt x="56" y="152"/>
                  </a:lnTo>
                  <a:lnTo>
                    <a:pt x="62" y="148"/>
                  </a:lnTo>
                  <a:lnTo>
                    <a:pt x="68" y="146"/>
                  </a:lnTo>
                  <a:lnTo>
                    <a:pt x="76" y="146"/>
                  </a:lnTo>
                  <a:lnTo>
                    <a:pt x="82" y="146"/>
                  </a:lnTo>
                  <a:lnTo>
                    <a:pt x="86" y="146"/>
                  </a:lnTo>
                  <a:lnTo>
                    <a:pt x="88" y="146"/>
                  </a:lnTo>
                  <a:lnTo>
                    <a:pt x="88" y="146"/>
                  </a:lnTo>
                  <a:lnTo>
                    <a:pt x="88" y="148"/>
                  </a:lnTo>
                  <a:lnTo>
                    <a:pt x="92" y="148"/>
                  </a:lnTo>
                  <a:lnTo>
                    <a:pt x="96" y="150"/>
                  </a:lnTo>
                  <a:lnTo>
                    <a:pt x="102" y="152"/>
                  </a:lnTo>
                  <a:lnTo>
                    <a:pt x="106" y="154"/>
                  </a:lnTo>
                  <a:lnTo>
                    <a:pt x="108" y="156"/>
                  </a:lnTo>
                  <a:lnTo>
                    <a:pt x="110" y="156"/>
                  </a:lnTo>
                  <a:lnTo>
                    <a:pt x="110" y="154"/>
                  </a:lnTo>
                  <a:lnTo>
                    <a:pt x="114" y="152"/>
                  </a:lnTo>
                  <a:lnTo>
                    <a:pt x="118" y="148"/>
                  </a:lnTo>
                  <a:lnTo>
                    <a:pt x="122" y="148"/>
                  </a:lnTo>
                  <a:lnTo>
                    <a:pt x="126" y="146"/>
                  </a:lnTo>
                  <a:lnTo>
                    <a:pt x="130" y="148"/>
                  </a:lnTo>
                  <a:lnTo>
                    <a:pt x="134" y="146"/>
                  </a:lnTo>
                  <a:lnTo>
                    <a:pt x="144" y="144"/>
                  </a:lnTo>
                  <a:lnTo>
                    <a:pt x="154" y="144"/>
                  </a:lnTo>
                  <a:lnTo>
                    <a:pt x="166" y="148"/>
                  </a:lnTo>
                  <a:lnTo>
                    <a:pt x="168" y="148"/>
                  </a:lnTo>
                  <a:lnTo>
                    <a:pt x="170" y="146"/>
                  </a:lnTo>
                  <a:lnTo>
                    <a:pt x="174" y="144"/>
                  </a:lnTo>
                  <a:lnTo>
                    <a:pt x="178" y="142"/>
                  </a:lnTo>
                  <a:lnTo>
                    <a:pt x="182" y="140"/>
                  </a:lnTo>
                  <a:lnTo>
                    <a:pt x="188" y="140"/>
                  </a:lnTo>
                  <a:lnTo>
                    <a:pt x="192" y="140"/>
                  </a:lnTo>
                  <a:lnTo>
                    <a:pt x="196" y="118"/>
                  </a:lnTo>
                  <a:lnTo>
                    <a:pt x="196" y="118"/>
                  </a:lnTo>
                  <a:lnTo>
                    <a:pt x="196" y="116"/>
                  </a:lnTo>
                  <a:lnTo>
                    <a:pt x="198" y="112"/>
                  </a:lnTo>
                  <a:lnTo>
                    <a:pt x="198" y="108"/>
                  </a:lnTo>
                  <a:lnTo>
                    <a:pt x="202" y="104"/>
                  </a:lnTo>
                  <a:lnTo>
                    <a:pt x="206" y="100"/>
                  </a:lnTo>
                  <a:lnTo>
                    <a:pt x="210" y="96"/>
                  </a:lnTo>
                  <a:lnTo>
                    <a:pt x="210" y="92"/>
                  </a:lnTo>
                  <a:lnTo>
                    <a:pt x="210" y="80"/>
                  </a:lnTo>
                  <a:lnTo>
                    <a:pt x="210" y="66"/>
                  </a:lnTo>
                  <a:lnTo>
                    <a:pt x="212" y="52"/>
                  </a:lnTo>
                  <a:lnTo>
                    <a:pt x="218" y="44"/>
                  </a:lnTo>
                  <a:lnTo>
                    <a:pt x="216" y="44"/>
                  </a:lnTo>
                  <a:lnTo>
                    <a:pt x="216" y="40"/>
                  </a:lnTo>
                  <a:lnTo>
                    <a:pt x="214" y="36"/>
                  </a:lnTo>
                  <a:lnTo>
                    <a:pt x="212" y="30"/>
                  </a:lnTo>
                  <a:lnTo>
                    <a:pt x="210" y="24"/>
                  </a:lnTo>
                  <a:lnTo>
                    <a:pt x="210" y="20"/>
                  </a:lnTo>
                  <a:lnTo>
                    <a:pt x="210" y="14"/>
                  </a:lnTo>
                  <a:lnTo>
                    <a:pt x="182" y="16"/>
                  </a:lnTo>
                  <a:lnTo>
                    <a:pt x="182" y="14"/>
                  </a:lnTo>
                  <a:lnTo>
                    <a:pt x="180" y="12"/>
                  </a:lnTo>
                  <a:lnTo>
                    <a:pt x="178" y="8"/>
                  </a:lnTo>
                  <a:lnTo>
                    <a:pt x="174" y="4"/>
                  </a:lnTo>
                  <a:lnTo>
                    <a:pt x="170" y="2"/>
                  </a:lnTo>
                  <a:lnTo>
                    <a:pt x="166" y="0"/>
                  </a:lnTo>
                  <a:lnTo>
                    <a:pt x="162"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7" name="Freeform 464"/>
            <p:cNvSpPr/>
            <p:nvPr/>
          </p:nvSpPr>
          <p:spPr bwMode="gray">
            <a:xfrm>
              <a:off x="990675" y="4372952"/>
              <a:ext cx="162923" cy="273822"/>
            </a:xfrm>
            <a:custGeom>
              <a:gdLst>
                <a:gd fmla="*/ 60 w 88" name="T0"/>
                <a:gd fmla="*/ 2 h 148" name="T1"/>
                <a:gd fmla="*/ 58 w 88" name="T2"/>
                <a:gd fmla="*/ 8 h 148" name="T3"/>
                <a:gd fmla="*/ 58 w 88" name="T4"/>
                <a:gd fmla="*/ 20 h 148" name="T5"/>
                <a:gd fmla="*/ 60 w 88" name="T6"/>
                <a:gd fmla="*/ 30 h 148" name="T7"/>
                <a:gd fmla="*/ 58 w 88" name="T8"/>
                <a:gd fmla="*/ 42 h 148" name="T9"/>
                <a:gd fmla="*/ 56 w 88" name="T10"/>
                <a:gd fmla="*/ 48 h 148" name="T11"/>
                <a:gd fmla="*/ 50 w 88" name="T12"/>
                <a:gd fmla="*/ 64 h 148" name="T13"/>
                <a:gd fmla="*/ 42 w 88" name="T14"/>
                <a:gd fmla="*/ 70 h 148" name="T15"/>
                <a:gd fmla="*/ 38 w 88" name="T16"/>
                <a:gd fmla="*/ 72 h 148" name="T17"/>
                <a:gd fmla="*/ 36 w 88" name="T18"/>
                <a:gd fmla="*/ 72 h 148" name="T19"/>
                <a:gd fmla="*/ 26 w 88" name="T20"/>
                <a:gd fmla="*/ 70 h 148" name="T21"/>
                <a:gd fmla="*/ 18 w 88" name="T22"/>
                <a:gd fmla="*/ 76 h 148" name="T23"/>
                <a:gd fmla="*/ 12 w 88" name="T24"/>
                <a:gd fmla="*/ 84 h 148" name="T25"/>
                <a:gd fmla="*/ 8 w 88" name="T26"/>
                <a:gd fmla="*/ 88 h 148" name="T27"/>
                <a:gd fmla="*/ 0 w 88" name="T28"/>
                <a:gd fmla="*/ 120 h 148" name="T29"/>
                <a:gd fmla="*/ 0 w 88" name="T30"/>
                <a:gd fmla="*/ 124 h 148" name="T31"/>
                <a:gd fmla="*/ 2 w 88" name="T32"/>
                <a:gd fmla="*/ 130 h 148" name="T33"/>
                <a:gd fmla="*/ 10 w 88" name="T34"/>
                <a:gd fmla="*/ 134 h 148" name="T35"/>
                <a:gd fmla="*/ 14 w 88" name="T36"/>
                <a:gd fmla="*/ 136 h 148" name="T37"/>
                <a:gd fmla="*/ 18 w 88" name="T38"/>
                <a:gd fmla="*/ 140 h 148" name="T39"/>
                <a:gd fmla="*/ 18 w 88" name="T40"/>
                <a:gd fmla="*/ 148 h 148" name="T41"/>
                <a:gd fmla="*/ 36 w 88" name="T42"/>
                <a:gd fmla="*/ 148 h 148" name="T43"/>
                <a:gd fmla="*/ 70 w 88" name="T44"/>
                <a:gd fmla="*/ 146 h 148" name="T45"/>
                <a:gd fmla="*/ 86 w 88" name="T46"/>
                <a:gd fmla="*/ 144 h 148" name="T47"/>
                <a:gd fmla="*/ 88 w 88" name="T48"/>
                <a:gd fmla="*/ 138 h 148" name="T49"/>
                <a:gd fmla="*/ 88 w 88" name="T50"/>
                <a:gd fmla="*/ 134 h 148" name="T51"/>
                <a:gd fmla="*/ 82 w 88" name="T52"/>
                <a:gd fmla="*/ 130 h 148" name="T53"/>
                <a:gd fmla="*/ 74 w 88" name="T54"/>
                <a:gd fmla="*/ 122 h 148" name="T55"/>
                <a:gd fmla="*/ 68 w 88" name="T56"/>
                <a:gd fmla="*/ 110 h 148" name="T57"/>
                <a:gd fmla="*/ 62 w 88" name="T58"/>
                <a:gd fmla="*/ 100 h 148" name="T59"/>
                <a:gd fmla="*/ 66 w 88" name="T60"/>
                <a:gd fmla="*/ 98 h 148" name="T61"/>
                <a:gd fmla="*/ 70 w 88" name="T62"/>
                <a:gd fmla="*/ 94 h 148" name="T63"/>
                <a:gd fmla="*/ 72 w 88" name="T64"/>
                <a:gd fmla="*/ 86 h 148" name="T65"/>
                <a:gd fmla="*/ 70 w 88" name="T66"/>
                <a:gd fmla="*/ 78 h 148" name="T67"/>
                <a:gd fmla="*/ 68 w 88" name="T68"/>
                <a:gd fmla="*/ 76 h 148" name="T69"/>
                <a:gd fmla="*/ 64 w 88" name="T70"/>
                <a:gd fmla="*/ 72 h 148" name="T71"/>
                <a:gd fmla="*/ 62 w 88" name="T72"/>
                <a:gd fmla="*/ 64 h 148" name="T73"/>
                <a:gd fmla="*/ 64 w 88" name="T74"/>
                <a:gd fmla="*/ 58 h 148" name="T75"/>
                <a:gd fmla="*/ 68 w 88" name="T76"/>
                <a:gd fmla="*/ 58 h 148" name="T77"/>
                <a:gd fmla="*/ 74 w 88" name="T78"/>
                <a:gd fmla="*/ 56 h 148" name="T79"/>
                <a:gd fmla="*/ 78 w 88" name="T80"/>
                <a:gd fmla="*/ 50 h 148" name="T81"/>
                <a:gd fmla="*/ 78 w 88" name="T82"/>
                <a:gd fmla="*/ 46 h 148" name="T83"/>
                <a:gd fmla="*/ 74 w 88" name="T84"/>
                <a:gd fmla="*/ 40 h 148" name="T85"/>
                <a:gd fmla="*/ 72 w 88" name="T86"/>
                <a:gd fmla="*/ 30 h 148" name="T87"/>
                <a:gd fmla="*/ 72 w 88" name="T88"/>
                <a:gd fmla="*/ 20 h 148" name="T89"/>
                <a:gd fmla="*/ 72 w 88" name="T90"/>
                <a:gd fmla="*/ 16 h 148" name="T91"/>
                <a:gd fmla="*/ 72 w 88" name="T92"/>
                <a:gd fmla="*/ 8 h 148" name="T93"/>
                <a:gd fmla="*/ 66 w 88" name="T94"/>
                <a:gd fmla="*/ 2 h 148"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148" w="88">
                  <a:moveTo>
                    <a:pt x="60" y="0"/>
                  </a:moveTo>
                  <a:lnTo>
                    <a:pt x="60" y="2"/>
                  </a:lnTo>
                  <a:lnTo>
                    <a:pt x="60" y="4"/>
                  </a:lnTo>
                  <a:lnTo>
                    <a:pt x="58" y="8"/>
                  </a:lnTo>
                  <a:lnTo>
                    <a:pt x="58" y="14"/>
                  </a:lnTo>
                  <a:lnTo>
                    <a:pt x="58" y="20"/>
                  </a:lnTo>
                  <a:lnTo>
                    <a:pt x="60" y="24"/>
                  </a:lnTo>
                  <a:lnTo>
                    <a:pt x="60" y="30"/>
                  </a:lnTo>
                  <a:lnTo>
                    <a:pt x="58" y="36"/>
                  </a:lnTo>
                  <a:lnTo>
                    <a:pt x="58" y="42"/>
                  </a:lnTo>
                  <a:lnTo>
                    <a:pt x="56" y="46"/>
                  </a:lnTo>
                  <a:lnTo>
                    <a:pt x="56" y="48"/>
                  </a:lnTo>
                  <a:lnTo>
                    <a:pt x="52" y="56"/>
                  </a:lnTo>
                  <a:lnTo>
                    <a:pt x="50" y="64"/>
                  </a:lnTo>
                  <a:lnTo>
                    <a:pt x="46" y="68"/>
                  </a:lnTo>
                  <a:lnTo>
                    <a:pt x="42" y="70"/>
                  </a:lnTo>
                  <a:lnTo>
                    <a:pt x="40" y="72"/>
                  </a:lnTo>
                  <a:lnTo>
                    <a:pt x="38" y="72"/>
                  </a:lnTo>
                  <a:lnTo>
                    <a:pt x="36" y="72"/>
                  </a:lnTo>
                  <a:lnTo>
                    <a:pt x="36" y="72"/>
                  </a:lnTo>
                  <a:lnTo>
                    <a:pt x="32" y="70"/>
                  </a:lnTo>
                  <a:lnTo>
                    <a:pt x="26" y="70"/>
                  </a:lnTo>
                  <a:lnTo>
                    <a:pt x="22" y="72"/>
                  </a:lnTo>
                  <a:lnTo>
                    <a:pt x="18" y="76"/>
                  </a:lnTo>
                  <a:lnTo>
                    <a:pt x="14" y="80"/>
                  </a:lnTo>
                  <a:lnTo>
                    <a:pt x="12" y="84"/>
                  </a:lnTo>
                  <a:lnTo>
                    <a:pt x="10" y="86"/>
                  </a:lnTo>
                  <a:lnTo>
                    <a:pt x="8" y="88"/>
                  </a:lnTo>
                  <a:lnTo>
                    <a:pt x="8" y="102"/>
                  </a:lnTo>
                  <a:lnTo>
                    <a:pt x="0" y="120"/>
                  </a:lnTo>
                  <a:lnTo>
                    <a:pt x="0" y="122"/>
                  </a:lnTo>
                  <a:lnTo>
                    <a:pt x="0" y="124"/>
                  </a:lnTo>
                  <a:lnTo>
                    <a:pt x="2" y="126"/>
                  </a:lnTo>
                  <a:lnTo>
                    <a:pt x="2" y="130"/>
                  </a:lnTo>
                  <a:lnTo>
                    <a:pt x="6" y="132"/>
                  </a:lnTo>
                  <a:lnTo>
                    <a:pt x="10" y="134"/>
                  </a:lnTo>
                  <a:lnTo>
                    <a:pt x="12" y="134"/>
                  </a:lnTo>
                  <a:lnTo>
                    <a:pt x="14" y="136"/>
                  </a:lnTo>
                  <a:lnTo>
                    <a:pt x="16" y="138"/>
                  </a:lnTo>
                  <a:lnTo>
                    <a:pt x="18" y="140"/>
                  </a:lnTo>
                  <a:lnTo>
                    <a:pt x="18" y="144"/>
                  </a:lnTo>
                  <a:lnTo>
                    <a:pt x="18" y="148"/>
                  </a:lnTo>
                  <a:lnTo>
                    <a:pt x="22" y="148"/>
                  </a:lnTo>
                  <a:lnTo>
                    <a:pt x="36" y="148"/>
                  </a:lnTo>
                  <a:lnTo>
                    <a:pt x="52" y="146"/>
                  </a:lnTo>
                  <a:lnTo>
                    <a:pt x="70" y="146"/>
                  </a:lnTo>
                  <a:lnTo>
                    <a:pt x="88" y="146"/>
                  </a:lnTo>
                  <a:lnTo>
                    <a:pt x="86" y="144"/>
                  </a:lnTo>
                  <a:lnTo>
                    <a:pt x="86" y="142"/>
                  </a:lnTo>
                  <a:lnTo>
                    <a:pt x="88" y="138"/>
                  </a:lnTo>
                  <a:lnTo>
                    <a:pt x="88" y="134"/>
                  </a:lnTo>
                  <a:lnTo>
                    <a:pt x="88" y="134"/>
                  </a:lnTo>
                  <a:lnTo>
                    <a:pt x="84" y="132"/>
                  </a:lnTo>
                  <a:lnTo>
                    <a:pt x="82" y="130"/>
                  </a:lnTo>
                  <a:lnTo>
                    <a:pt x="78" y="126"/>
                  </a:lnTo>
                  <a:lnTo>
                    <a:pt x="74" y="122"/>
                  </a:lnTo>
                  <a:lnTo>
                    <a:pt x="70" y="116"/>
                  </a:lnTo>
                  <a:lnTo>
                    <a:pt x="68" y="110"/>
                  </a:lnTo>
                  <a:lnTo>
                    <a:pt x="66" y="102"/>
                  </a:lnTo>
                  <a:lnTo>
                    <a:pt x="62" y="100"/>
                  </a:lnTo>
                  <a:lnTo>
                    <a:pt x="66" y="100"/>
                  </a:lnTo>
                  <a:lnTo>
                    <a:pt x="66" y="98"/>
                  </a:lnTo>
                  <a:lnTo>
                    <a:pt x="68" y="96"/>
                  </a:lnTo>
                  <a:lnTo>
                    <a:pt x="70" y="94"/>
                  </a:lnTo>
                  <a:lnTo>
                    <a:pt x="70" y="90"/>
                  </a:lnTo>
                  <a:lnTo>
                    <a:pt x="72" y="86"/>
                  </a:lnTo>
                  <a:lnTo>
                    <a:pt x="72" y="82"/>
                  </a:lnTo>
                  <a:lnTo>
                    <a:pt x="70" y="78"/>
                  </a:lnTo>
                  <a:lnTo>
                    <a:pt x="68" y="76"/>
                  </a:lnTo>
                  <a:lnTo>
                    <a:pt x="68" y="76"/>
                  </a:lnTo>
                  <a:lnTo>
                    <a:pt x="66" y="74"/>
                  </a:lnTo>
                  <a:lnTo>
                    <a:pt x="64" y="72"/>
                  </a:lnTo>
                  <a:lnTo>
                    <a:pt x="62" y="68"/>
                  </a:lnTo>
                  <a:lnTo>
                    <a:pt x="62" y="64"/>
                  </a:lnTo>
                  <a:lnTo>
                    <a:pt x="62" y="58"/>
                  </a:lnTo>
                  <a:lnTo>
                    <a:pt x="64" y="58"/>
                  </a:lnTo>
                  <a:lnTo>
                    <a:pt x="66" y="58"/>
                  </a:lnTo>
                  <a:lnTo>
                    <a:pt x="68" y="58"/>
                  </a:lnTo>
                  <a:lnTo>
                    <a:pt x="72" y="58"/>
                  </a:lnTo>
                  <a:lnTo>
                    <a:pt x="74" y="56"/>
                  </a:lnTo>
                  <a:lnTo>
                    <a:pt x="78" y="54"/>
                  </a:lnTo>
                  <a:lnTo>
                    <a:pt x="78" y="50"/>
                  </a:lnTo>
                  <a:lnTo>
                    <a:pt x="78" y="46"/>
                  </a:lnTo>
                  <a:lnTo>
                    <a:pt x="78" y="46"/>
                  </a:lnTo>
                  <a:lnTo>
                    <a:pt x="76" y="42"/>
                  </a:lnTo>
                  <a:lnTo>
                    <a:pt x="74" y="40"/>
                  </a:lnTo>
                  <a:lnTo>
                    <a:pt x="72" y="34"/>
                  </a:lnTo>
                  <a:lnTo>
                    <a:pt x="72" y="30"/>
                  </a:lnTo>
                  <a:lnTo>
                    <a:pt x="72" y="24"/>
                  </a:lnTo>
                  <a:lnTo>
                    <a:pt x="72" y="20"/>
                  </a:lnTo>
                  <a:lnTo>
                    <a:pt x="72" y="20"/>
                  </a:lnTo>
                  <a:lnTo>
                    <a:pt x="72" y="16"/>
                  </a:lnTo>
                  <a:lnTo>
                    <a:pt x="72" y="12"/>
                  </a:lnTo>
                  <a:lnTo>
                    <a:pt x="72" y="8"/>
                  </a:lnTo>
                  <a:lnTo>
                    <a:pt x="70" y="4"/>
                  </a:lnTo>
                  <a:lnTo>
                    <a:pt x="66" y="2"/>
                  </a:lnTo>
                  <a:lnTo>
                    <a:pt x="6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8" name="Freeform 465"/>
            <p:cNvSpPr/>
            <p:nvPr/>
          </p:nvSpPr>
          <p:spPr bwMode="gray">
            <a:xfrm>
              <a:off x="1101759" y="4139833"/>
              <a:ext cx="233276" cy="392232"/>
            </a:xfrm>
            <a:custGeom>
              <a:gdLst>
                <a:gd fmla="*/ 126 w 126" name="T0"/>
                <a:gd fmla="*/ 46 h 212" name="T1"/>
                <a:gd fmla="*/ 124 w 126" name="T2"/>
                <a:gd fmla="*/ 90 h 212" name="T3"/>
                <a:gd fmla="*/ 120 w 126" name="T4"/>
                <a:gd fmla="*/ 88 h 212" name="T5"/>
                <a:gd fmla="*/ 112 w 126" name="T6"/>
                <a:gd fmla="*/ 90 h 212" name="T7"/>
                <a:gd fmla="*/ 108 w 126" name="T8"/>
                <a:gd fmla="*/ 92 h 212" name="T9"/>
                <a:gd fmla="*/ 106 w 126" name="T10"/>
                <a:gd fmla="*/ 98 h 212" name="T11"/>
                <a:gd fmla="*/ 106 w 126" name="T12"/>
                <a:gd fmla="*/ 104 h 212" name="T13"/>
                <a:gd fmla="*/ 102 w 126" name="T14"/>
                <a:gd fmla="*/ 110 h 212" name="T15"/>
                <a:gd fmla="*/ 98 w 126" name="T16"/>
                <a:gd fmla="*/ 114 h 212" name="T17"/>
                <a:gd fmla="*/ 98 w 126" name="T18"/>
                <a:gd fmla="*/ 120 h 212" name="T19"/>
                <a:gd fmla="*/ 98 w 126" name="T20"/>
                <a:gd fmla="*/ 124 h 212" name="T21"/>
                <a:gd fmla="*/ 98 w 126" name="T22"/>
                <a:gd fmla="*/ 124 h 212" name="T23"/>
                <a:gd fmla="*/ 98 w 126" name="T24"/>
                <a:gd fmla="*/ 122 h 212" name="T25"/>
                <a:gd fmla="*/ 100 w 126" name="T26"/>
                <a:gd fmla="*/ 126 h 212" name="T27"/>
                <a:gd fmla="*/ 104 w 126" name="T28"/>
                <a:gd fmla="*/ 132 h 212" name="T29"/>
                <a:gd fmla="*/ 102 w 126" name="T30"/>
                <a:gd fmla="*/ 138 h 212" name="T31"/>
                <a:gd fmla="*/ 102 w 126" name="T32"/>
                <a:gd fmla="*/ 150 h 212" name="T33"/>
                <a:gd fmla="*/ 104 w 126" name="T34"/>
                <a:gd fmla="*/ 158 h 212" name="T35"/>
                <a:gd fmla="*/ 106 w 126" name="T36"/>
                <a:gd fmla="*/ 168 h 212" name="T37"/>
                <a:gd fmla="*/ 108 w 126" name="T38"/>
                <a:gd fmla="*/ 174 h 212" name="T39"/>
                <a:gd fmla="*/ 108 w 126" name="T40"/>
                <a:gd fmla="*/ 176 h 212" name="T41"/>
                <a:gd fmla="*/ 100 w 126" name="T42"/>
                <a:gd fmla="*/ 178 h 212" name="T43"/>
                <a:gd fmla="*/ 92 w 126" name="T44"/>
                <a:gd fmla="*/ 182 h 212" name="T45"/>
                <a:gd fmla="*/ 86 w 126" name="T46"/>
                <a:gd fmla="*/ 190 h 212" name="T47"/>
                <a:gd fmla="*/ 86 w 126" name="T48"/>
                <a:gd fmla="*/ 192 h 212" name="T49"/>
                <a:gd fmla="*/ 84 w 126" name="T50"/>
                <a:gd fmla="*/ 198 h 212" name="T51"/>
                <a:gd fmla="*/ 78 w 126" name="T52"/>
                <a:gd fmla="*/ 202 h 212" name="T53"/>
                <a:gd fmla="*/ 68 w 126" name="T54"/>
                <a:gd fmla="*/ 204 h 212" name="T55"/>
                <a:gd fmla="*/ 66 w 126" name="T56"/>
                <a:gd fmla="*/ 202 h 212" name="T57"/>
                <a:gd fmla="*/ 60 w 126" name="T58"/>
                <a:gd fmla="*/ 200 h 212" name="T59"/>
                <a:gd fmla="*/ 58 w 126" name="T60"/>
                <a:gd fmla="*/ 204 h 212" name="T61"/>
                <a:gd fmla="*/ 46 w 126" name="T62"/>
                <a:gd fmla="*/ 208 h 212" name="T63"/>
                <a:gd fmla="*/ 12 w 126" name="T64"/>
                <a:gd fmla="*/ 212 h 212" name="T65"/>
                <a:gd fmla="*/ 12 w 126" name="T66"/>
                <a:gd fmla="*/ 210 h 212" name="T67"/>
                <a:gd fmla="*/ 10 w 126" name="T68"/>
                <a:gd fmla="*/ 204 h 212" name="T69"/>
                <a:gd fmla="*/ 6 w 126" name="T70"/>
                <a:gd fmla="*/ 200 h 212" name="T71"/>
                <a:gd fmla="*/ 2 w 126" name="T72"/>
                <a:gd fmla="*/ 194 h 212" name="T73"/>
                <a:gd fmla="*/ 2 w 126" name="T74"/>
                <a:gd fmla="*/ 184 h 212" name="T75"/>
                <a:gd fmla="*/ 6 w 126" name="T76"/>
                <a:gd fmla="*/ 186 h 212" name="T77"/>
                <a:gd fmla="*/ 12 w 126" name="T78"/>
                <a:gd fmla="*/ 184 h 212" name="T79"/>
                <a:gd fmla="*/ 18 w 126" name="T80"/>
                <a:gd fmla="*/ 180 h 212" name="T81"/>
                <a:gd fmla="*/ 18 w 126" name="T82"/>
                <a:gd fmla="*/ 174 h 212" name="T83"/>
                <a:gd fmla="*/ 16 w 126" name="T84"/>
                <a:gd fmla="*/ 168 h 212" name="T85"/>
                <a:gd fmla="*/ 12 w 126" name="T86"/>
                <a:gd fmla="*/ 156 h 212" name="T87"/>
                <a:gd fmla="*/ 12 w 126" name="T88"/>
                <a:gd fmla="*/ 150 h 212" name="T89"/>
                <a:gd fmla="*/ 14 w 126" name="T90"/>
                <a:gd fmla="*/ 144 h 212" name="T91"/>
                <a:gd fmla="*/ 12 w 126" name="T92"/>
                <a:gd fmla="*/ 136 h 212" name="T93"/>
                <a:gd fmla="*/ 10 w 126" name="T94"/>
                <a:gd fmla="*/ 132 h 212" name="T95"/>
                <a:gd fmla="*/ 8 w 126" name="T96"/>
                <a:gd fmla="*/ 130 h 212" name="T97"/>
                <a:gd fmla="*/ 4 w 126" name="T98"/>
                <a:gd fmla="*/ 126 h 212" name="T99"/>
                <a:gd fmla="*/ 0 w 126" name="T100"/>
                <a:gd fmla="*/ 126 h 212" name="T101"/>
                <a:gd fmla="*/ 2 w 126" name="T102"/>
                <a:gd fmla="*/ 120 h 212" name="T103"/>
                <a:gd fmla="*/ 6 w 126" name="T104"/>
                <a:gd fmla="*/ 104 h 212" name="T105"/>
                <a:gd fmla="*/ 4 w 126" name="T106"/>
                <a:gd fmla="*/ 102 h 212" name="T107"/>
                <a:gd fmla="*/ 6 w 126" name="T108"/>
                <a:gd fmla="*/ 96 h 212" name="T109"/>
                <a:gd fmla="*/ 12 w 126" name="T110"/>
                <a:gd fmla="*/ 88 h 212" name="T111"/>
                <a:gd fmla="*/ 18 w 126" name="T112"/>
                <a:gd fmla="*/ 78 h 212" name="T113"/>
                <a:gd fmla="*/ 18 w 126" name="T114"/>
                <a:gd fmla="*/ 50 h 212" name="T115"/>
                <a:gd fmla="*/ 26 w 126" name="T116"/>
                <a:gd fmla="*/ 30 h 212" name="T117"/>
                <a:gd fmla="*/ 24 w 126" name="T118"/>
                <a:gd fmla="*/ 26 h 212" name="T119"/>
                <a:gd fmla="*/ 20 w 126" name="T120"/>
                <a:gd fmla="*/ 16 h 212" name="T121"/>
                <a:gd fmla="*/ 18 w 126" name="T122"/>
                <a:gd fmla="*/ 6 h 212"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211" w="125">
                  <a:moveTo>
                    <a:pt x="18" y="0"/>
                  </a:moveTo>
                  <a:lnTo>
                    <a:pt x="126" y="46"/>
                  </a:lnTo>
                  <a:lnTo>
                    <a:pt x="124" y="90"/>
                  </a:lnTo>
                  <a:lnTo>
                    <a:pt x="124" y="90"/>
                  </a:lnTo>
                  <a:lnTo>
                    <a:pt x="122" y="90"/>
                  </a:lnTo>
                  <a:lnTo>
                    <a:pt x="120" y="88"/>
                  </a:lnTo>
                  <a:lnTo>
                    <a:pt x="116" y="88"/>
                  </a:lnTo>
                  <a:lnTo>
                    <a:pt x="112" y="90"/>
                  </a:lnTo>
                  <a:lnTo>
                    <a:pt x="110" y="90"/>
                  </a:lnTo>
                  <a:lnTo>
                    <a:pt x="108" y="92"/>
                  </a:lnTo>
                  <a:lnTo>
                    <a:pt x="106" y="96"/>
                  </a:lnTo>
                  <a:lnTo>
                    <a:pt x="106" y="98"/>
                  </a:lnTo>
                  <a:lnTo>
                    <a:pt x="106" y="100"/>
                  </a:lnTo>
                  <a:lnTo>
                    <a:pt x="106" y="104"/>
                  </a:lnTo>
                  <a:lnTo>
                    <a:pt x="104" y="108"/>
                  </a:lnTo>
                  <a:lnTo>
                    <a:pt x="102" y="110"/>
                  </a:lnTo>
                  <a:lnTo>
                    <a:pt x="100" y="110"/>
                  </a:lnTo>
                  <a:lnTo>
                    <a:pt x="98" y="114"/>
                  </a:lnTo>
                  <a:lnTo>
                    <a:pt x="96" y="116"/>
                  </a:lnTo>
                  <a:lnTo>
                    <a:pt x="98" y="120"/>
                  </a:lnTo>
                  <a:lnTo>
                    <a:pt x="98" y="122"/>
                  </a:lnTo>
                  <a:lnTo>
                    <a:pt x="98" y="124"/>
                  </a:lnTo>
                  <a:lnTo>
                    <a:pt x="98" y="124"/>
                  </a:lnTo>
                  <a:lnTo>
                    <a:pt x="98" y="124"/>
                  </a:lnTo>
                  <a:lnTo>
                    <a:pt x="98" y="122"/>
                  </a:lnTo>
                  <a:lnTo>
                    <a:pt x="98" y="122"/>
                  </a:lnTo>
                  <a:lnTo>
                    <a:pt x="98" y="124"/>
                  </a:lnTo>
                  <a:lnTo>
                    <a:pt x="100" y="126"/>
                  </a:lnTo>
                  <a:lnTo>
                    <a:pt x="102" y="128"/>
                  </a:lnTo>
                  <a:lnTo>
                    <a:pt x="104" y="132"/>
                  </a:lnTo>
                  <a:lnTo>
                    <a:pt x="104" y="134"/>
                  </a:lnTo>
                  <a:lnTo>
                    <a:pt x="102" y="138"/>
                  </a:lnTo>
                  <a:lnTo>
                    <a:pt x="102" y="144"/>
                  </a:lnTo>
                  <a:lnTo>
                    <a:pt x="102" y="150"/>
                  </a:lnTo>
                  <a:lnTo>
                    <a:pt x="102" y="154"/>
                  </a:lnTo>
                  <a:lnTo>
                    <a:pt x="104" y="158"/>
                  </a:lnTo>
                  <a:lnTo>
                    <a:pt x="104" y="162"/>
                  </a:lnTo>
                  <a:lnTo>
                    <a:pt x="106" y="168"/>
                  </a:lnTo>
                  <a:lnTo>
                    <a:pt x="108" y="172"/>
                  </a:lnTo>
                  <a:lnTo>
                    <a:pt x="108" y="174"/>
                  </a:lnTo>
                  <a:lnTo>
                    <a:pt x="108" y="176"/>
                  </a:lnTo>
                  <a:lnTo>
                    <a:pt x="108" y="176"/>
                  </a:lnTo>
                  <a:lnTo>
                    <a:pt x="104" y="178"/>
                  </a:lnTo>
                  <a:lnTo>
                    <a:pt x="100" y="178"/>
                  </a:lnTo>
                  <a:lnTo>
                    <a:pt x="96" y="180"/>
                  </a:lnTo>
                  <a:lnTo>
                    <a:pt x="92" y="182"/>
                  </a:lnTo>
                  <a:lnTo>
                    <a:pt x="88" y="186"/>
                  </a:lnTo>
                  <a:lnTo>
                    <a:pt x="86" y="190"/>
                  </a:lnTo>
                  <a:lnTo>
                    <a:pt x="86" y="190"/>
                  </a:lnTo>
                  <a:lnTo>
                    <a:pt x="86" y="192"/>
                  </a:lnTo>
                  <a:lnTo>
                    <a:pt x="86" y="194"/>
                  </a:lnTo>
                  <a:lnTo>
                    <a:pt x="84" y="198"/>
                  </a:lnTo>
                  <a:lnTo>
                    <a:pt x="82" y="200"/>
                  </a:lnTo>
                  <a:lnTo>
                    <a:pt x="78" y="202"/>
                  </a:lnTo>
                  <a:lnTo>
                    <a:pt x="74" y="204"/>
                  </a:lnTo>
                  <a:lnTo>
                    <a:pt x="68" y="204"/>
                  </a:lnTo>
                  <a:lnTo>
                    <a:pt x="68" y="202"/>
                  </a:lnTo>
                  <a:lnTo>
                    <a:pt x="66" y="202"/>
                  </a:lnTo>
                  <a:lnTo>
                    <a:pt x="64" y="202"/>
                  </a:lnTo>
                  <a:lnTo>
                    <a:pt x="60" y="200"/>
                  </a:lnTo>
                  <a:lnTo>
                    <a:pt x="58" y="202"/>
                  </a:lnTo>
                  <a:lnTo>
                    <a:pt x="58" y="204"/>
                  </a:lnTo>
                  <a:lnTo>
                    <a:pt x="56" y="204"/>
                  </a:lnTo>
                  <a:lnTo>
                    <a:pt x="46" y="208"/>
                  </a:lnTo>
                  <a:lnTo>
                    <a:pt x="32" y="210"/>
                  </a:lnTo>
                  <a:lnTo>
                    <a:pt x="12" y="212"/>
                  </a:lnTo>
                  <a:lnTo>
                    <a:pt x="12" y="212"/>
                  </a:lnTo>
                  <a:lnTo>
                    <a:pt x="12" y="210"/>
                  </a:lnTo>
                  <a:lnTo>
                    <a:pt x="10" y="206"/>
                  </a:lnTo>
                  <a:lnTo>
                    <a:pt x="10" y="204"/>
                  </a:lnTo>
                  <a:lnTo>
                    <a:pt x="6" y="202"/>
                  </a:lnTo>
                  <a:lnTo>
                    <a:pt x="6" y="200"/>
                  </a:lnTo>
                  <a:lnTo>
                    <a:pt x="4" y="198"/>
                  </a:lnTo>
                  <a:lnTo>
                    <a:pt x="2" y="194"/>
                  </a:lnTo>
                  <a:lnTo>
                    <a:pt x="2" y="190"/>
                  </a:lnTo>
                  <a:lnTo>
                    <a:pt x="2" y="184"/>
                  </a:lnTo>
                  <a:lnTo>
                    <a:pt x="4" y="184"/>
                  </a:lnTo>
                  <a:lnTo>
                    <a:pt x="6" y="186"/>
                  </a:lnTo>
                  <a:lnTo>
                    <a:pt x="8" y="184"/>
                  </a:lnTo>
                  <a:lnTo>
                    <a:pt x="12" y="184"/>
                  </a:lnTo>
                  <a:lnTo>
                    <a:pt x="14" y="182"/>
                  </a:lnTo>
                  <a:lnTo>
                    <a:pt x="18" y="180"/>
                  </a:lnTo>
                  <a:lnTo>
                    <a:pt x="18" y="176"/>
                  </a:lnTo>
                  <a:lnTo>
                    <a:pt x="18" y="174"/>
                  </a:lnTo>
                  <a:lnTo>
                    <a:pt x="18" y="172"/>
                  </a:lnTo>
                  <a:lnTo>
                    <a:pt x="16" y="168"/>
                  </a:lnTo>
                  <a:lnTo>
                    <a:pt x="14" y="162"/>
                  </a:lnTo>
                  <a:lnTo>
                    <a:pt x="12" y="156"/>
                  </a:lnTo>
                  <a:lnTo>
                    <a:pt x="12" y="152"/>
                  </a:lnTo>
                  <a:lnTo>
                    <a:pt x="12" y="150"/>
                  </a:lnTo>
                  <a:lnTo>
                    <a:pt x="12" y="146"/>
                  </a:lnTo>
                  <a:lnTo>
                    <a:pt x="14" y="144"/>
                  </a:lnTo>
                  <a:lnTo>
                    <a:pt x="12" y="140"/>
                  </a:lnTo>
                  <a:lnTo>
                    <a:pt x="12" y="136"/>
                  </a:lnTo>
                  <a:lnTo>
                    <a:pt x="10" y="132"/>
                  </a:lnTo>
                  <a:lnTo>
                    <a:pt x="10" y="132"/>
                  </a:lnTo>
                  <a:lnTo>
                    <a:pt x="10" y="130"/>
                  </a:lnTo>
                  <a:lnTo>
                    <a:pt x="8" y="130"/>
                  </a:lnTo>
                  <a:lnTo>
                    <a:pt x="6" y="128"/>
                  </a:lnTo>
                  <a:lnTo>
                    <a:pt x="4" y="126"/>
                  </a:lnTo>
                  <a:lnTo>
                    <a:pt x="0" y="128"/>
                  </a:lnTo>
                  <a:lnTo>
                    <a:pt x="0" y="126"/>
                  </a:lnTo>
                  <a:lnTo>
                    <a:pt x="0" y="124"/>
                  </a:lnTo>
                  <a:lnTo>
                    <a:pt x="2" y="120"/>
                  </a:lnTo>
                  <a:lnTo>
                    <a:pt x="4" y="114"/>
                  </a:lnTo>
                  <a:lnTo>
                    <a:pt x="6" y="104"/>
                  </a:lnTo>
                  <a:lnTo>
                    <a:pt x="4" y="104"/>
                  </a:lnTo>
                  <a:lnTo>
                    <a:pt x="4" y="102"/>
                  </a:lnTo>
                  <a:lnTo>
                    <a:pt x="4" y="100"/>
                  </a:lnTo>
                  <a:lnTo>
                    <a:pt x="6" y="96"/>
                  </a:lnTo>
                  <a:lnTo>
                    <a:pt x="8" y="92"/>
                  </a:lnTo>
                  <a:lnTo>
                    <a:pt x="12" y="88"/>
                  </a:lnTo>
                  <a:lnTo>
                    <a:pt x="18" y="82"/>
                  </a:lnTo>
                  <a:lnTo>
                    <a:pt x="18" y="78"/>
                  </a:lnTo>
                  <a:lnTo>
                    <a:pt x="18" y="66"/>
                  </a:lnTo>
                  <a:lnTo>
                    <a:pt x="18" y="50"/>
                  </a:lnTo>
                  <a:lnTo>
                    <a:pt x="20" y="38"/>
                  </a:lnTo>
                  <a:lnTo>
                    <a:pt x="26" y="30"/>
                  </a:lnTo>
                  <a:lnTo>
                    <a:pt x="24" y="30"/>
                  </a:lnTo>
                  <a:lnTo>
                    <a:pt x="24" y="26"/>
                  </a:lnTo>
                  <a:lnTo>
                    <a:pt x="22" y="22"/>
                  </a:lnTo>
                  <a:lnTo>
                    <a:pt x="20" y="16"/>
                  </a:lnTo>
                  <a:lnTo>
                    <a:pt x="18" y="12"/>
                  </a:lnTo>
                  <a:lnTo>
                    <a:pt x="18" y="6"/>
                  </a:lnTo>
                  <a:lnTo>
                    <a:pt x="18"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09" name="Freeform 466"/>
            <p:cNvSpPr/>
            <p:nvPr/>
          </p:nvSpPr>
          <p:spPr bwMode="gray">
            <a:xfrm>
              <a:off x="1283196" y="4150934"/>
              <a:ext cx="403604" cy="462537"/>
            </a:xfrm>
            <a:custGeom>
              <a:gdLst>
                <a:gd fmla="*/ 186 w 218" name="T0"/>
                <a:gd fmla="*/ 4 h 250" name="T1"/>
                <a:gd fmla="*/ 174 w 218" name="T2"/>
                <a:gd fmla="*/ 16 h 250" name="T3"/>
                <a:gd fmla="*/ 28 w 218" name="T4"/>
                <a:gd fmla="*/ 22 h 250" name="T5"/>
                <a:gd fmla="*/ 24 w 218" name="T6"/>
                <a:gd fmla="*/ 82 h 250" name="T7"/>
                <a:gd fmla="*/ 14 w 218" name="T8"/>
                <a:gd fmla="*/ 84 h 250" name="T9"/>
                <a:gd fmla="*/ 10 w 218" name="T10"/>
                <a:gd fmla="*/ 90 h 250" name="T11"/>
                <a:gd fmla="*/ 6 w 218" name="T12"/>
                <a:gd fmla="*/ 100 h 250" name="T13"/>
                <a:gd fmla="*/ 2 w 218" name="T14"/>
                <a:gd fmla="*/ 106 h 250" name="T15"/>
                <a:gd fmla="*/ 0 w 218" name="T16"/>
                <a:gd fmla="*/ 110 h 250" name="T17"/>
                <a:gd fmla="*/ 4 w 218" name="T18"/>
                <a:gd fmla="*/ 122 h 250" name="T19"/>
                <a:gd fmla="*/ 6 w 218" name="T20"/>
                <a:gd fmla="*/ 128 h 250" name="T21"/>
                <a:gd fmla="*/ 6 w 218" name="T22"/>
                <a:gd fmla="*/ 136 h 250" name="T23"/>
                <a:gd fmla="*/ 6 w 218" name="T24"/>
                <a:gd fmla="*/ 152 h 250" name="T25"/>
                <a:gd fmla="*/ 14 w 218" name="T26"/>
                <a:gd fmla="*/ 174 h 250" name="T27"/>
                <a:gd fmla="*/ 24 w 218" name="T28"/>
                <a:gd fmla="*/ 186 h 250" name="T29"/>
                <a:gd fmla="*/ 32 w 218" name="T30"/>
                <a:gd fmla="*/ 196 h 250" name="T31"/>
                <a:gd fmla="*/ 50 w 218" name="T32"/>
                <a:gd fmla="*/ 222 h 250" name="T33"/>
                <a:gd fmla="*/ 56 w 218" name="T34"/>
                <a:gd fmla="*/ 230 h 250" name="T35"/>
                <a:gd fmla="*/ 66 w 218" name="T36"/>
                <a:gd fmla="*/ 238 h 250" name="T37"/>
                <a:gd fmla="*/ 78 w 218" name="T38"/>
                <a:gd fmla="*/ 240 h 250" name="T39"/>
                <a:gd fmla="*/ 88 w 218" name="T40"/>
                <a:gd fmla="*/ 250 h 250" name="T41"/>
                <a:gd fmla="*/ 114 w 218" name="T42"/>
                <a:gd fmla="*/ 250 h 250" name="T43"/>
                <a:gd fmla="*/ 138 w 218" name="T44"/>
                <a:gd fmla="*/ 250 h 250" name="T45"/>
                <a:gd fmla="*/ 180 w 218" name="T46"/>
                <a:gd fmla="*/ 244 h 250" name="T47"/>
                <a:gd fmla="*/ 180 w 218" name="T48"/>
                <a:gd fmla="*/ 222 h 250" name="T49"/>
                <a:gd fmla="*/ 172 w 218" name="T50"/>
                <a:gd fmla="*/ 210 h 250" name="T51"/>
                <a:gd fmla="*/ 160 w 218" name="T52"/>
                <a:gd fmla="*/ 196 h 250" name="T53"/>
                <a:gd fmla="*/ 154 w 218" name="T54"/>
                <a:gd fmla="*/ 192 h 250" name="T55"/>
                <a:gd fmla="*/ 152 w 218" name="T56"/>
                <a:gd fmla="*/ 184 h 250" name="T57"/>
                <a:gd fmla="*/ 156 w 218" name="T58"/>
                <a:gd fmla="*/ 176 h 250" name="T59"/>
                <a:gd fmla="*/ 156 w 218" name="T60"/>
                <a:gd fmla="*/ 158 h 250" name="T61"/>
                <a:gd fmla="*/ 160 w 218" name="T62"/>
                <a:gd fmla="*/ 150 h 250" name="T63"/>
                <a:gd fmla="*/ 176 w 218" name="T64"/>
                <a:gd fmla="*/ 130 h 250" name="T65"/>
                <a:gd fmla="*/ 188 w 218" name="T66"/>
                <a:gd fmla="*/ 108 h 250" name="T67"/>
                <a:gd fmla="*/ 192 w 218" name="T68"/>
                <a:gd fmla="*/ 94 h 250" name="T69"/>
                <a:gd fmla="*/ 200 w 218" name="T70"/>
                <a:gd fmla="*/ 82 h 250" name="T71"/>
                <a:gd fmla="*/ 208 w 218" name="T72"/>
                <a:gd fmla="*/ 78 h 250" name="T73"/>
                <a:gd fmla="*/ 216 w 218" name="T74"/>
                <a:gd fmla="*/ 70 h 250" name="T75"/>
                <a:gd fmla="*/ 218 w 218" name="T76"/>
                <a:gd fmla="*/ 66 h 250" name="T77"/>
                <a:gd fmla="*/ 212 w 218" name="T78"/>
                <a:gd fmla="*/ 54 h 250" name="T79"/>
                <a:gd fmla="*/ 204 w 218" name="T80"/>
                <a:gd fmla="*/ 40 h 250" name="T81"/>
                <a:gd fmla="*/ 200 w 218" name="T82"/>
                <a:gd fmla="*/ 32 h 250" name="T83"/>
                <a:gd fmla="*/ 200 w 218" name="T84"/>
                <a:gd fmla="*/ 22 h 250" name="T85"/>
                <a:gd fmla="*/ 192 w 218" name="T86"/>
                <a:gd fmla="*/ 8 h 250"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250" w="218">
                  <a:moveTo>
                    <a:pt x="188" y="0"/>
                  </a:moveTo>
                  <a:lnTo>
                    <a:pt x="188" y="2"/>
                  </a:lnTo>
                  <a:lnTo>
                    <a:pt x="186" y="4"/>
                  </a:lnTo>
                  <a:lnTo>
                    <a:pt x="184" y="8"/>
                  </a:lnTo>
                  <a:lnTo>
                    <a:pt x="180" y="12"/>
                  </a:lnTo>
                  <a:lnTo>
                    <a:pt x="174" y="16"/>
                  </a:lnTo>
                  <a:lnTo>
                    <a:pt x="168" y="20"/>
                  </a:lnTo>
                  <a:lnTo>
                    <a:pt x="160" y="22"/>
                  </a:lnTo>
                  <a:lnTo>
                    <a:pt x="28" y="22"/>
                  </a:lnTo>
                  <a:lnTo>
                    <a:pt x="28" y="84"/>
                  </a:lnTo>
                  <a:lnTo>
                    <a:pt x="28" y="82"/>
                  </a:lnTo>
                  <a:lnTo>
                    <a:pt x="24" y="82"/>
                  </a:lnTo>
                  <a:lnTo>
                    <a:pt x="20" y="82"/>
                  </a:lnTo>
                  <a:lnTo>
                    <a:pt x="18" y="82"/>
                  </a:lnTo>
                  <a:lnTo>
                    <a:pt x="14" y="84"/>
                  </a:lnTo>
                  <a:lnTo>
                    <a:pt x="10" y="86"/>
                  </a:lnTo>
                  <a:lnTo>
                    <a:pt x="10" y="90"/>
                  </a:lnTo>
                  <a:lnTo>
                    <a:pt x="10" y="90"/>
                  </a:lnTo>
                  <a:lnTo>
                    <a:pt x="8" y="94"/>
                  </a:lnTo>
                  <a:lnTo>
                    <a:pt x="8" y="98"/>
                  </a:lnTo>
                  <a:lnTo>
                    <a:pt x="6" y="100"/>
                  </a:lnTo>
                  <a:lnTo>
                    <a:pt x="6" y="102"/>
                  </a:lnTo>
                  <a:lnTo>
                    <a:pt x="4" y="104"/>
                  </a:lnTo>
                  <a:lnTo>
                    <a:pt x="2" y="106"/>
                  </a:lnTo>
                  <a:lnTo>
                    <a:pt x="0" y="108"/>
                  </a:lnTo>
                  <a:lnTo>
                    <a:pt x="0" y="110"/>
                  </a:lnTo>
                  <a:lnTo>
                    <a:pt x="0" y="110"/>
                  </a:lnTo>
                  <a:lnTo>
                    <a:pt x="0" y="114"/>
                  </a:lnTo>
                  <a:lnTo>
                    <a:pt x="2" y="118"/>
                  </a:lnTo>
                  <a:lnTo>
                    <a:pt x="4" y="122"/>
                  </a:lnTo>
                  <a:lnTo>
                    <a:pt x="4" y="122"/>
                  </a:lnTo>
                  <a:lnTo>
                    <a:pt x="6" y="124"/>
                  </a:lnTo>
                  <a:lnTo>
                    <a:pt x="6" y="128"/>
                  </a:lnTo>
                  <a:lnTo>
                    <a:pt x="6" y="132"/>
                  </a:lnTo>
                  <a:lnTo>
                    <a:pt x="6" y="132"/>
                  </a:lnTo>
                  <a:lnTo>
                    <a:pt x="6" y="136"/>
                  </a:lnTo>
                  <a:lnTo>
                    <a:pt x="4" y="140"/>
                  </a:lnTo>
                  <a:lnTo>
                    <a:pt x="4" y="146"/>
                  </a:lnTo>
                  <a:lnTo>
                    <a:pt x="6" y="152"/>
                  </a:lnTo>
                  <a:lnTo>
                    <a:pt x="12" y="170"/>
                  </a:lnTo>
                  <a:lnTo>
                    <a:pt x="12" y="170"/>
                  </a:lnTo>
                  <a:lnTo>
                    <a:pt x="14" y="174"/>
                  </a:lnTo>
                  <a:lnTo>
                    <a:pt x="16" y="178"/>
                  </a:lnTo>
                  <a:lnTo>
                    <a:pt x="20" y="182"/>
                  </a:lnTo>
                  <a:lnTo>
                    <a:pt x="24" y="186"/>
                  </a:lnTo>
                  <a:lnTo>
                    <a:pt x="26" y="190"/>
                  </a:lnTo>
                  <a:lnTo>
                    <a:pt x="30" y="194"/>
                  </a:lnTo>
                  <a:lnTo>
                    <a:pt x="32" y="196"/>
                  </a:lnTo>
                  <a:lnTo>
                    <a:pt x="38" y="204"/>
                  </a:lnTo>
                  <a:lnTo>
                    <a:pt x="44" y="214"/>
                  </a:lnTo>
                  <a:lnTo>
                    <a:pt x="50" y="222"/>
                  </a:lnTo>
                  <a:lnTo>
                    <a:pt x="54" y="228"/>
                  </a:lnTo>
                  <a:lnTo>
                    <a:pt x="54" y="230"/>
                  </a:lnTo>
                  <a:lnTo>
                    <a:pt x="56" y="230"/>
                  </a:lnTo>
                  <a:lnTo>
                    <a:pt x="60" y="234"/>
                  </a:lnTo>
                  <a:lnTo>
                    <a:pt x="62" y="236"/>
                  </a:lnTo>
                  <a:lnTo>
                    <a:pt x="66" y="238"/>
                  </a:lnTo>
                  <a:lnTo>
                    <a:pt x="72" y="240"/>
                  </a:lnTo>
                  <a:lnTo>
                    <a:pt x="76" y="240"/>
                  </a:lnTo>
                  <a:lnTo>
                    <a:pt x="78" y="240"/>
                  </a:lnTo>
                  <a:lnTo>
                    <a:pt x="80" y="242"/>
                  </a:lnTo>
                  <a:lnTo>
                    <a:pt x="84" y="244"/>
                  </a:lnTo>
                  <a:lnTo>
                    <a:pt x="88" y="250"/>
                  </a:lnTo>
                  <a:lnTo>
                    <a:pt x="92" y="250"/>
                  </a:lnTo>
                  <a:lnTo>
                    <a:pt x="102" y="250"/>
                  </a:lnTo>
                  <a:lnTo>
                    <a:pt x="114" y="250"/>
                  </a:lnTo>
                  <a:lnTo>
                    <a:pt x="122" y="250"/>
                  </a:lnTo>
                  <a:lnTo>
                    <a:pt x="126" y="250"/>
                  </a:lnTo>
                  <a:lnTo>
                    <a:pt x="138" y="250"/>
                  </a:lnTo>
                  <a:lnTo>
                    <a:pt x="152" y="248"/>
                  </a:lnTo>
                  <a:lnTo>
                    <a:pt x="168" y="246"/>
                  </a:lnTo>
                  <a:lnTo>
                    <a:pt x="180" y="244"/>
                  </a:lnTo>
                  <a:lnTo>
                    <a:pt x="184" y="240"/>
                  </a:lnTo>
                  <a:lnTo>
                    <a:pt x="182" y="222"/>
                  </a:lnTo>
                  <a:lnTo>
                    <a:pt x="180" y="222"/>
                  </a:lnTo>
                  <a:lnTo>
                    <a:pt x="178" y="218"/>
                  </a:lnTo>
                  <a:lnTo>
                    <a:pt x="176" y="214"/>
                  </a:lnTo>
                  <a:lnTo>
                    <a:pt x="172" y="210"/>
                  </a:lnTo>
                  <a:lnTo>
                    <a:pt x="168" y="204"/>
                  </a:lnTo>
                  <a:lnTo>
                    <a:pt x="164" y="200"/>
                  </a:lnTo>
                  <a:lnTo>
                    <a:pt x="160" y="196"/>
                  </a:lnTo>
                  <a:lnTo>
                    <a:pt x="158" y="194"/>
                  </a:lnTo>
                  <a:lnTo>
                    <a:pt x="156" y="194"/>
                  </a:lnTo>
                  <a:lnTo>
                    <a:pt x="154" y="192"/>
                  </a:lnTo>
                  <a:lnTo>
                    <a:pt x="152" y="190"/>
                  </a:lnTo>
                  <a:lnTo>
                    <a:pt x="152" y="188"/>
                  </a:lnTo>
                  <a:lnTo>
                    <a:pt x="152" y="184"/>
                  </a:lnTo>
                  <a:lnTo>
                    <a:pt x="156" y="182"/>
                  </a:lnTo>
                  <a:lnTo>
                    <a:pt x="156" y="180"/>
                  </a:lnTo>
                  <a:lnTo>
                    <a:pt x="156" y="176"/>
                  </a:lnTo>
                  <a:lnTo>
                    <a:pt x="156" y="172"/>
                  </a:lnTo>
                  <a:lnTo>
                    <a:pt x="156" y="166"/>
                  </a:lnTo>
                  <a:lnTo>
                    <a:pt x="156" y="158"/>
                  </a:lnTo>
                  <a:lnTo>
                    <a:pt x="156" y="158"/>
                  </a:lnTo>
                  <a:lnTo>
                    <a:pt x="158" y="154"/>
                  </a:lnTo>
                  <a:lnTo>
                    <a:pt x="160" y="150"/>
                  </a:lnTo>
                  <a:lnTo>
                    <a:pt x="164" y="144"/>
                  </a:lnTo>
                  <a:lnTo>
                    <a:pt x="168" y="136"/>
                  </a:lnTo>
                  <a:lnTo>
                    <a:pt x="176" y="130"/>
                  </a:lnTo>
                  <a:lnTo>
                    <a:pt x="178" y="128"/>
                  </a:lnTo>
                  <a:lnTo>
                    <a:pt x="182" y="118"/>
                  </a:lnTo>
                  <a:lnTo>
                    <a:pt x="188" y="108"/>
                  </a:lnTo>
                  <a:lnTo>
                    <a:pt x="188" y="98"/>
                  </a:lnTo>
                  <a:lnTo>
                    <a:pt x="190" y="96"/>
                  </a:lnTo>
                  <a:lnTo>
                    <a:pt x="192" y="94"/>
                  </a:lnTo>
                  <a:lnTo>
                    <a:pt x="194" y="90"/>
                  </a:lnTo>
                  <a:lnTo>
                    <a:pt x="198" y="86"/>
                  </a:lnTo>
                  <a:lnTo>
                    <a:pt x="200" y="82"/>
                  </a:lnTo>
                  <a:lnTo>
                    <a:pt x="204" y="80"/>
                  </a:lnTo>
                  <a:lnTo>
                    <a:pt x="206" y="78"/>
                  </a:lnTo>
                  <a:lnTo>
                    <a:pt x="208" y="78"/>
                  </a:lnTo>
                  <a:lnTo>
                    <a:pt x="212" y="76"/>
                  </a:lnTo>
                  <a:lnTo>
                    <a:pt x="214" y="72"/>
                  </a:lnTo>
                  <a:lnTo>
                    <a:pt x="216" y="70"/>
                  </a:lnTo>
                  <a:lnTo>
                    <a:pt x="218" y="68"/>
                  </a:lnTo>
                  <a:lnTo>
                    <a:pt x="218" y="68"/>
                  </a:lnTo>
                  <a:lnTo>
                    <a:pt x="218" y="66"/>
                  </a:lnTo>
                  <a:lnTo>
                    <a:pt x="216" y="64"/>
                  </a:lnTo>
                  <a:lnTo>
                    <a:pt x="214" y="60"/>
                  </a:lnTo>
                  <a:lnTo>
                    <a:pt x="212" y="54"/>
                  </a:lnTo>
                  <a:lnTo>
                    <a:pt x="210" y="50"/>
                  </a:lnTo>
                  <a:lnTo>
                    <a:pt x="206" y="44"/>
                  </a:lnTo>
                  <a:lnTo>
                    <a:pt x="204" y="40"/>
                  </a:lnTo>
                  <a:lnTo>
                    <a:pt x="204" y="38"/>
                  </a:lnTo>
                  <a:lnTo>
                    <a:pt x="202" y="34"/>
                  </a:lnTo>
                  <a:lnTo>
                    <a:pt x="200" y="32"/>
                  </a:lnTo>
                  <a:lnTo>
                    <a:pt x="200" y="28"/>
                  </a:lnTo>
                  <a:lnTo>
                    <a:pt x="200" y="22"/>
                  </a:lnTo>
                  <a:lnTo>
                    <a:pt x="200" y="22"/>
                  </a:lnTo>
                  <a:lnTo>
                    <a:pt x="198" y="18"/>
                  </a:lnTo>
                  <a:lnTo>
                    <a:pt x="196" y="12"/>
                  </a:lnTo>
                  <a:lnTo>
                    <a:pt x="192" y="8"/>
                  </a:lnTo>
                  <a:lnTo>
                    <a:pt x="188"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0" name="Freeform 467"/>
            <p:cNvSpPr/>
            <p:nvPr/>
          </p:nvSpPr>
          <p:spPr bwMode="gray">
            <a:xfrm>
              <a:off x="1105462" y="4465460"/>
              <a:ext cx="274007" cy="155413"/>
            </a:xfrm>
            <a:custGeom>
              <a:gdLst>
                <a:gd fmla="*/ 106 w 148" name="T0"/>
                <a:gd fmla="*/ 0 h 84" name="T1"/>
                <a:gd fmla="*/ 98 w 148" name="T2"/>
                <a:gd fmla="*/ 2 h 84" name="T3"/>
                <a:gd fmla="*/ 90 w 148" name="T4"/>
                <a:gd fmla="*/ 6 h 84" name="T5"/>
                <a:gd fmla="*/ 84 w 148" name="T6"/>
                <a:gd fmla="*/ 12 h 84" name="T7"/>
                <a:gd fmla="*/ 82 w 148" name="T8"/>
                <a:gd fmla="*/ 22 h 84" name="T9"/>
                <a:gd fmla="*/ 76 w 148" name="T10"/>
                <a:gd fmla="*/ 28 h 84" name="T11"/>
                <a:gd fmla="*/ 70 w 148" name="T12"/>
                <a:gd fmla="*/ 28 h 84" name="T13"/>
                <a:gd fmla="*/ 64 w 148" name="T14"/>
                <a:gd fmla="*/ 26 h 84" name="T15"/>
                <a:gd fmla="*/ 60 w 148" name="T16"/>
                <a:gd fmla="*/ 26 h 84" name="T17"/>
                <a:gd fmla="*/ 58 w 148" name="T18"/>
                <a:gd fmla="*/ 26 h 84" name="T19"/>
                <a:gd fmla="*/ 54 w 148" name="T20"/>
                <a:gd fmla="*/ 28 h 84" name="T21"/>
                <a:gd fmla="*/ 48 w 148" name="T22"/>
                <a:gd fmla="*/ 30 h 84" name="T23"/>
                <a:gd fmla="*/ 36 w 148" name="T24"/>
                <a:gd fmla="*/ 34 h 84" name="T25"/>
                <a:gd fmla="*/ 26 w 148" name="T26"/>
                <a:gd fmla="*/ 36 h 84" name="T27"/>
                <a:gd fmla="*/ 10 w 148" name="T28"/>
                <a:gd fmla="*/ 38 h 84" name="T29"/>
                <a:gd fmla="*/ 6 w 148" name="T30"/>
                <a:gd fmla="*/ 46 h 84" name="T31"/>
                <a:gd fmla="*/ 4 w 148" name="T32"/>
                <a:gd fmla="*/ 50 h 84" name="T33"/>
                <a:gd fmla="*/ 0 w 148" name="T34"/>
                <a:gd fmla="*/ 50 h 84" name="T35"/>
                <a:gd fmla="*/ 2 w 148" name="T36"/>
                <a:gd fmla="*/ 52 h 84" name="T37"/>
                <a:gd fmla="*/ 4 w 148" name="T38"/>
                <a:gd fmla="*/ 54 h 84" name="T39"/>
                <a:gd fmla="*/ 6 w 148" name="T40"/>
                <a:gd fmla="*/ 60 h 84" name="T41"/>
                <a:gd fmla="*/ 10 w 148" name="T42"/>
                <a:gd fmla="*/ 70 h 84" name="T43"/>
                <a:gd fmla="*/ 26 w 148" name="T44"/>
                <a:gd fmla="*/ 84 h 84" name="T45"/>
                <a:gd fmla="*/ 38 w 148" name="T46"/>
                <a:gd fmla="*/ 74 h 84" name="T47"/>
                <a:gd fmla="*/ 42 w 148" name="T48"/>
                <a:gd fmla="*/ 68 h 84" name="T49"/>
                <a:gd fmla="*/ 48 w 148" name="T50"/>
                <a:gd fmla="*/ 62 h 84" name="T51"/>
                <a:gd fmla="*/ 58 w 148" name="T52"/>
                <a:gd fmla="*/ 60 h 84" name="T53"/>
                <a:gd fmla="*/ 60 w 148" name="T54"/>
                <a:gd fmla="*/ 62 h 84" name="T55"/>
                <a:gd fmla="*/ 62 w 148" name="T56"/>
                <a:gd fmla="*/ 68 h 84" name="T57"/>
                <a:gd fmla="*/ 64 w 148" name="T58"/>
                <a:gd fmla="*/ 70 h 84" name="T59"/>
                <a:gd fmla="*/ 74 w 148" name="T60"/>
                <a:gd fmla="*/ 68 h 84" name="T61"/>
                <a:gd fmla="*/ 86 w 148" name="T62"/>
                <a:gd fmla="*/ 68 h 84" name="T63"/>
                <a:gd fmla="*/ 118 w 148" name="T64"/>
                <a:gd fmla="*/ 62 h 84" name="T65"/>
                <a:gd fmla="*/ 146 w 148" name="T66"/>
                <a:gd fmla="*/ 52 h 84" name="T67"/>
                <a:gd fmla="*/ 132 w 148" name="T68"/>
                <a:gd fmla="*/ 34 h 84" name="T69"/>
                <a:gd fmla="*/ 122 w 148" name="T70"/>
                <a:gd fmla="*/ 22 h 84" name="T71"/>
                <a:gd fmla="*/ 118 w 148" name="T72"/>
                <a:gd fmla="*/ 16 h 84" name="T73"/>
                <a:gd fmla="*/ 112 w 148" name="T74"/>
                <a:gd fmla="*/ 8 h 84" name="T75"/>
                <a:gd fmla="*/ 106 w 148" name="T76"/>
                <a:gd fmla="*/ 0 h 84"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84" w="148">
                  <a:moveTo>
                    <a:pt x="106" y="0"/>
                  </a:moveTo>
                  <a:lnTo>
                    <a:pt x="106" y="0"/>
                  </a:lnTo>
                  <a:lnTo>
                    <a:pt x="102" y="0"/>
                  </a:lnTo>
                  <a:lnTo>
                    <a:pt x="98" y="2"/>
                  </a:lnTo>
                  <a:lnTo>
                    <a:pt x="94" y="4"/>
                  </a:lnTo>
                  <a:lnTo>
                    <a:pt x="90" y="6"/>
                  </a:lnTo>
                  <a:lnTo>
                    <a:pt x="86" y="10"/>
                  </a:lnTo>
                  <a:lnTo>
                    <a:pt x="84" y="12"/>
                  </a:lnTo>
                  <a:lnTo>
                    <a:pt x="84" y="18"/>
                  </a:lnTo>
                  <a:lnTo>
                    <a:pt x="82" y="22"/>
                  </a:lnTo>
                  <a:lnTo>
                    <a:pt x="78" y="26"/>
                  </a:lnTo>
                  <a:lnTo>
                    <a:pt x="76" y="28"/>
                  </a:lnTo>
                  <a:lnTo>
                    <a:pt x="74" y="28"/>
                  </a:lnTo>
                  <a:lnTo>
                    <a:pt x="70" y="28"/>
                  </a:lnTo>
                  <a:lnTo>
                    <a:pt x="68" y="28"/>
                  </a:lnTo>
                  <a:lnTo>
                    <a:pt x="64" y="26"/>
                  </a:lnTo>
                  <a:lnTo>
                    <a:pt x="62" y="26"/>
                  </a:lnTo>
                  <a:lnTo>
                    <a:pt x="60" y="26"/>
                  </a:lnTo>
                  <a:lnTo>
                    <a:pt x="60" y="24"/>
                  </a:lnTo>
                  <a:lnTo>
                    <a:pt x="58" y="26"/>
                  </a:lnTo>
                  <a:lnTo>
                    <a:pt x="56" y="28"/>
                  </a:lnTo>
                  <a:lnTo>
                    <a:pt x="54" y="28"/>
                  </a:lnTo>
                  <a:lnTo>
                    <a:pt x="52" y="28"/>
                  </a:lnTo>
                  <a:lnTo>
                    <a:pt x="48" y="30"/>
                  </a:lnTo>
                  <a:lnTo>
                    <a:pt x="42" y="32"/>
                  </a:lnTo>
                  <a:lnTo>
                    <a:pt x="36" y="34"/>
                  </a:lnTo>
                  <a:lnTo>
                    <a:pt x="30" y="36"/>
                  </a:lnTo>
                  <a:lnTo>
                    <a:pt x="26" y="36"/>
                  </a:lnTo>
                  <a:lnTo>
                    <a:pt x="10" y="36"/>
                  </a:lnTo>
                  <a:lnTo>
                    <a:pt x="10" y="38"/>
                  </a:lnTo>
                  <a:lnTo>
                    <a:pt x="8" y="42"/>
                  </a:lnTo>
                  <a:lnTo>
                    <a:pt x="6" y="46"/>
                  </a:lnTo>
                  <a:lnTo>
                    <a:pt x="4" y="50"/>
                  </a:lnTo>
                  <a:lnTo>
                    <a:pt x="4" y="50"/>
                  </a:lnTo>
                  <a:lnTo>
                    <a:pt x="2" y="50"/>
                  </a:lnTo>
                  <a:lnTo>
                    <a:pt x="0" y="50"/>
                  </a:lnTo>
                  <a:lnTo>
                    <a:pt x="2" y="52"/>
                  </a:lnTo>
                  <a:lnTo>
                    <a:pt x="2" y="52"/>
                  </a:lnTo>
                  <a:lnTo>
                    <a:pt x="4" y="52"/>
                  </a:lnTo>
                  <a:lnTo>
                    <a:pt x="4" y="54"/>
                  </a:lnTo>
                  <a:lnTo>
                    <a:pt x="4" y="56"/>
                  </a:lnTo>
                  <a:lnTo>
                    <a:pt x="6" y="60"/>
                  </a:lnTo>
                  <a:lnTo>
                    <a:pt x="6" y="66"/>
                  </a:lnTo>
                  <a:lnTo>
                    <a:pt x="10" y="70"/>
                  </a:lnTo>
                  <a:lnTo>
                    <a:pt x="14" y="74"/>
                  </a:lnTo>
                  <a:lnTo>
                    <a:pt x="26" y="84"/>
                  </a:lnTo>
                  <a:lnTo>
                    <a:pt x="38" y="74"/>
                  </a:lnTo>
                  <a:lnTo>
                    <a:pt x="38" y="74"/>
                  </a:lnTo>
                  <a:lnTo>
                    <a:pt x="40" y="72"/>
                  </a:lnTo>
                  <a:lnTo>
                    <a:pt x="42" y="68"/>
                  </a:lnTo>
                  <a:lnTo>
                    <a:pt x="44" y="66"/>
                  </a:lnTo>
                  <a:lnTo>
                    <a:pt x="48" y="62"/>
                  </a:lnTo>
                  <a:lnTo>
                    <a:pt x="52" y="60"/>
                  </a:lnTo>
                  <a:lnTo>
                    <a:pt x="58" y="60"/>
                  </a:lnTo>
                  <a:lnTo>
                    <a:pt x="58" y="60"/>
                  </a:lnTo>
                  <a:lnTo>
                    <a:pt x="60" y="62"/>
                  </a:lnTo>
                  <a:lnTo>
                    <a:pt x="60" y="66"/>
                  </a:lnTo>
                  <a:lnTo>
                    <a:pt x="62" y="68"/>
                  </a:lnTo>
                  <a:lnTo>
                    <a:pt x="64" y="70"/>
                  </a:lnTo>
                  <a:lnTo>
                    <a:pt x="64" y="70"/>
                  </a:lnTo>
                  <a:lnTo>
                    <a:pt x="68" y="70"/>
                  </a:lnTo>
                  <a:lnTo>
                    <a:pt x="74" y="68"/>
                  </a:lnTo>
                  <a:lnTo>
                    <a:pt x="80" y="68"/>
                  </a:lnTo>
                  <a:lnTo>
                    <a:pt x="86" y="68"/>
                  </a:lnTo>
                  <a:lnTo>
                    <a:pt x="90" y="68"/>
                  </a:lnTo>
                  <a:lnTo>
                    <a:pt x="118" y="62"/>
                  </a:lnTo>
                  <a:lnTo>
                    <a:pt x="148" y="56"/>
                  </a:lnTo>
                  <a:lnTo>
                    <a:pt x="146" y="52"/>
                  </a:lnTo>
                  <a:lnTo>
                    <a:pt x="140" y="44"/>
                  </a:lnTo>
                  <a:lnTo>
                    <a:pt x="132" y="34"/>
                  </a:lnTo>
                  <a:lnTo>
                    <a:pt x="124" y="22"/>
                  </a:lnTo>
                  <a:lnTo>
                    <a:pt x="122" y="22"/>
                  </a:lnTo>
                  <a:lnTo>
                    <a:pt x="120" y="20"/>
                  </a:lnTo>
                  <a:lnTo>
                    <a:pt x="118" y="16"/>
                  </a:lnTo>
                  <a:lnTo>
                    <a:pt x="114" y="12"/>
                  </a:lnTo>
                  <a:lnTo>
                    <a:pt x="112" y="8"/>
                  </a:lnTo>
                  <a:lnTo>
                    <a:pt x="108" y="2"/>
                  </a:lnTo>
                  <a:lnTo>
                    <a:pt x="10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1" name="Freeform 468"/>
            <p:cNvSpPr/>
            <p:nvPr/>
          </p:nvSpPr>
          <p:spPr bwMode="gray">
            <a:xfrm>
              <a:off x="975864" y="4643074"/>
              <a:ext cx="137003" cy="151712"/>
            </a:xfrm>
            <a:custGeom>
              <a:gdLst>
                <a:gd fmla="*/ 52 w 74" name="T0"/>
                <a:gd fmla="*/ 0 h 82" name="T1"/>
                <a:gd fmla="*/ 52 w 74" name="T2"/>
                <a:gd fmla="*/ 6 h 82" name="T3"/>
                <a:gd fmla="*/ 54 w 74" name="T4"/>
                <a:gd fmla="*/ 12 h 82" name="T5"/>
                <a:gd fmla="*/ 60 w 74" name="T6"/>
                <a:gd fmla="*/ 12 h 82" name="T7"/>
                <a:gd fmla="*/ 68 w 74" name="T8"/>
                <a:gd fmla="*/ 12 h 82" name="T9"/>
                <a:gd fmla="*/ 72 w 74" name="T10"/>
                <a:gd fmla="*/ 12 h 82" name="T11"/>
                <a:gd fmla="*/ 72 w 74" name="T12"/>
                <a:gd fmla="*/ 14 h 82" name="T13"/>
                <a:gd fmla="*/ 74 w 74" name="T14"/>
                <a:gd fmla="*/ 22 h 82" name="T15"/>
                <a:gd fmla="*/ 72 w 74" name="T16"/>
                <a:gd fmla="*/ 26 h 82" name="T17"/>
                <a:gd fmla="*/ 68 w 74" name="T18"/>
                <a:gd fmla="*/ 26 h 82" name="T19"/>
                <a:gd fmla="*/ 68 w 74" name="T20"/>
                <a:gd fmla="*/ 30 h 82" name="T21"/>
                <a:gd fmla="*/ 68 w 74" name="T22"/>
                <a:gd fmla="*/ 36 h 82" name="T23"/>
                <a:gd fmla="*/ 74 w 74" name="T24"/>
                <a:gd fmla="*/ 38 h 82" name="T25"/>
                <a:gd fmla="*/ 74 w 74" name="T26"/>
                <a:gd fmla="*/ 42 h 82" name="T27"/>
                <a:gd fmla="*/ 74 w 74" name="T28"/>
                <a:gd fmla="*/ 52 h 82" name="T29"/>
                <a:gd fmla="*/ 70 w 74" name="T30"/>
                <a:gd fmla="*/ 60 h 82" name="T31"/>
                <a:gd fmla="*/ 62 w 74" name="T32"/>
                <a:gd fmla="*/ 64 h 82" name="T33"/>
                <a:gd fmla="*/ 52 w 74" name="T34"/>
                <a:gd fmla="*/ 66 h 82" name="T35"/>
                <a:gd fmla="*/ 46 w 74" name="T36"/>
                <a:gd fmla="*/ 68 h 82" name="T37"/>
                <a:gd fmla="*/ 42 w 74" name="T38"/>
                <a:gd fmla="*/ 68 h 82" name="T39"/>
                <a:gd fmla="*/ 32 w 74" name="T40"/>
                <a:gd fmla="*/ 72 h 82" name="T41"/>
                <a:gd fmla="*/ 28 w 74" name="T42"/>
                <a:gd fmla="*/ 78 h 82" name="T43"/>
                <a:gd fmla="*/ 24 w 74" name="T44"/>
                <a:gd fmla="*/ 82 h 82" name="T45"/>
                <a:gd fmla="*/ 22 w 74" name="T46"/>
                <a:gd fmla="*/ 74 h 82" name="T47"/>
                <a:gd fmla="*/ 20 w 74" name="T48"/>
                <a:gd fmla="*/ 72 h 82" name="T49"/>
                <a:gd fmla="*/ 16 w 74" name="T50"/>
                <a:gd fmla="*/ 68 h 82" name="T51"/>
                <a:gd fmla="*/ 14 w 74" name="T52"/>
                <a:gd fmla="*/ 66 h 82" name="T53"/>
                <a:gd fmla="*/ 6 w 74" name="T54"/>
                <a:gd fmla="*/ 58 h 82" name="T55"/>
                <a:gd fmla="*/ 0 w 74" name="T56"/>
                <a:gd fmla="*/ 46 h 82" name="T57"/>
                <a:gd fmla="*/ 0 w 74" name="T58"/>
                <a:gd fmla="*/ 46 h 82" name="T59"/>
                <a:gd fmla="*/ 6 w 74" name="T60"/>
                <a:gd fmla="*/ 18 h 82" name="T61"/>
                <a:gd fmla="*/ 26 w 74" name="T62"/>
                <a:gd fmla="*/ 18 h 82" name="T63"/>
                <a:gd fmla="*/ 30 w 74" name="T64"/>
                <a:gd fmla="*/ 18 h 82" name="T65"/>
                <a:gd fmla="*/ 32 w 74" name="T66"/>
                <a:gd fmla="*/ 2 h 82"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82" w="74">
                  <a:moveTo>
                    <a:pt x="32" y="2"/>
                  </a:moveTo>
                  <a:lnTo>
                    <a:pt x="52" y="0"/>
                  </a:lnTo>
                  <a:lnTo>
                    <a:pt x="52" y="2"/>
                  </a:lnTo>
                  <a:lnTo>
                    <a:pt x="52" y="6"/>
                  </a:lnTo>
                  <a:lnTo>
                    <a:pt x="52" y="10"/>
                  </a:lnTo>
                  <a:lnTo>
                    <a:pt x="54" y="12"/>
                  </a:lnTo>
                  <a:lnTo>
                    <a:pt x="56" y="12"/>
                  </a:lnTo>
                  <a:lnTo>
                    <a:pt x="60" y="12"/>
                  </a:lnTo>
                  <a:lnTo>
                    <a:pt x="64" y="12"/>
                  </a:lnTo>
                  <a:lnTo>
                    <a:pt x="68" y="12"/>
                  </a:lnTo>
                  <a:lnTo>
                    <a:pt x="72" y="12"/>
                  </a:lnTo>
                  <a:lnTo>
                    <a:pt x="72" y="12"/>
                  </a:lnTo>
                  <a:lnTo>
                    <a:pt x="72" y="12"/>
                  </a:lnTo>
                  <a:lnTo>
                    <a:pt x="72" y="14"/>
                  </a:lnTo>
                  <a:lnTo>
                    <a:pt x="74" y="18"/>
                  </a:lnTo>
                  <a:lnTo>
                    <a:pt x="74" y="22"/>
                  </a:lnTo>
                  <a:lnTo>
                    <a:pt x="72" y="26"/>
                  </a:lnTo>
                  <a:lnTo>
                    <a:pt x="72" y="26"/>
                  </a:lnTo>
                  <a:lnTo>
                    <a:pt x="70" y="26"/>
                  </a:lnTo>
                  <a:lnTo>
                    <a:pt x="68" y="26"/>
                  </a:lnTo>
                  <a:lnTo>
                    <a:pt x="68" y="28"/>
                  </a:lnTo>
                  <a:lnTo>
                    <a:pt x="68" y="30"/>
                  </a:lnTo>
                  <a:lnTo>
                    <a:pt x="68" y="34"/>
                  </a:lnTo>
                  <a:lnTo>
                    <a:pt x="68" y="36"/>
                  </a:lnTo>
                  <a:lnTo>
                    <a:pt x="68" y="36"/>
                  </a:lnTo>
                  <a:lnTo>
                    <a:pt x="74" y="38"/>
                  </a:lnTo>
                  <a:lnTo>
                    <a:pt x="74" y="38"/>
                  </a:lnTo>
                  <a:lnTo>
                    <a:pt x="74" y="42"/>
                  </a:lnTo>
                  <a:lnTo>
                    <a:pt x="74" y="46"/>
                  </a:lnTo>
                  <a:lnTo>
                    <a:pt x="74" y="52"/>
                  </a:lnTo>
                  <a:lnTo>
                    <a:pt x="72" y="56"/>
                  </a:lnTo>
                  <a:lnTo>
                    <a:pt x="70" y="60"/>
                  </a:lnTo>
                  <a:lnTo>
                    <a:pt x="68" y="62"/>
                  </a:lnTo>
                  <a:lnTo>
                    <a:pt x="62" y="64"/>
                  </a:lnTo>
                  <a:lnTo>
                    <a:pt x="56" y="66"/>
                  </a:lnTo>
                  <a:lnTo>
                    <a:pt x="52" y="66"/>
                  </a:lnTo>
                  <a:lnTo>
                    <a:pt x="48" y="68"/>
                  </a:lnTo>
                  <a:lnTo>
                    <a:pt x="46" y="68"/>
                  </a:lnTo>
                  <a:lnTo>
                    <a:pt x="44" y="62"/>
                  </a:lnTo>
                  <a:lnTo>
                    <a:pt x="42" y="68"/>
                  </a:lnTo>
                  <a:lnTo>
                    <a:pt x="32" y="72"/>
                  </a:lnTo>
                  <a:lnTo>
                    <a:pt x="32" y="72"/>
                  </a:lnTo>
                  <a:lnTo>
                    <a:pt x="30" y="74"/>
                  </a:lnTo>
                  <a:lnTo>
                    <a:pt x="28" y="78"/>
                  </a:lnTo>
                  <a:lnTo>
                    <a:pt x="26" y="80"/>
                  </a:lnTo>
                  <a:lnTo>
                    <a:pt x="24" y="82"/>
                  </a:lnTo>
                  <a:lnTo>
                    <a:pt x="24" y="82"/>
                  </a:lnTo>
                  <a:lnTo>
                    <a:pt x="22" y="74"/>
                  </a:lnTo>
                  <a:lnTo>
                    <a:pt x="22" y="74"/>
                  </a:lnTo>
                  <a:lnTo>
                    <a:pt x="20" y="72"/>
                  </a:lnTo>
                  <a:lnTo>
                    <a:pt x="20" y="68"/>
                  </a:lnTo>
                  <a:lnTo>
                    <a:pt x="16" y="68"/>
                  </a:lnTo>
                  <a:lnTo>
                    <a:pt x="16" y="66"/>
                  </a:lnTo>
                  <a:lnTo>
                    <a:pt x="14" y="66"/>
                  </a:lnTo>
                  <a:lnTo>
                    <a:pt x="10" y="62"/>
                  </a:lnTo>
                  <a:lnTo>
                    <a:pt x="6" y="58"/>
                  </a:lnTo>
                  <a:lnTo>
                    <a:pt x="2" y="54"/>
                  </a:lnTo>
                  <a:lnTo>
                    <a:pt x="0" y="46"/>
                  </a:lnTo>
                  <a:lnTo>
                    <a:pt x="0" y="46"/>
                  </a:lnTo>
                  <a:lnTo>
                    <a:pt x="0" y="46"/>
                  </a:lnTo>
                  <a:lnTo>
                    <a:pt x="0" y="44"/>
                  </a:lnTo>
                  <a:lnTo>
                    <a:pt x="6" y="18"/>
                  </a:lnTo>
                  <a:lnTo>
                    <a:pt x="26" y="18"/>
                  </a:lnTo>
                  <a:lnTo>
                    <a:pt x="26" y="18"/>
                  </a:lnTo>
                  <a:lnTo>
                    <a:pt x="28" y="18"/>
                  </a:lnTo>
                  <a:lnTo>
                    <a:pt x="30" y="18"/>
                  </a:lnTo>
                  <a:lnTo>
                    <a:pt x="30" y="14"/>
                  </a:lnTo>
                  <a:lnTo>
                    <a:pt x="32"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2" name="Freeform 469"/>
            <p:cNvSpPr/>
            <p:nvPr/>
          </p:nvSpPr>
          <p:spPr bwMode="gray">
            <a:xfrm>
              <a:off x="986973" y="4646774"/>
              <a:ext cx="48136" cy="29602"/>
            </a:xfrm>
            <a:custGeom>
              <a:gdLst>
                <a:gd fmla="*/ 20 w 26" name="T0"/>
                <a:gd fmla="*/ 0 h 16" name="T1"/>
                <a:gd fmla="*/ 20 w 26" name="T2"/>
                <a:gd fmla="*/ 0 h 16" name="T3"/>
                <a:gd fmla="*/ 18 w 26" name="T4"/>
                <a:gd fmla="*/ 0 h 16" name="T5"/>
                <a:gd fmla="*/ 14 w 26" name="T6"/>
                <a:gd fmla="*/ 0 h 16" name="T7"/>
                <a:gd fmla="*/ 10 w 26" name="T8"/>
                <a:gd fmla="*/ 2 h 16" name="T9"/>
                <a:gd fmla="*/ 6 w 26" name="T10"/>
                <a:gd fmla="*/ 4 h 16" name="T11"/>
                <a:gd fmla="*/ 4 w 26" name="T12"/>
                <a:gd fmla="*/ 8 h 16" name="T13"/>
                <a:gd fmla="*/ 0 w 26" name="T14"/>
                <a:gd fmla="*/ 16 h 16" name="T15"/>
                <a:gd fmla="*/ 22 w 26" name="T16"/>
                <a:gd fmla="*/ 16 h 16" name="T17"/>
                <a:gd fmla="*/ 22 w 26" name="T18"/>
                <a:gd fmla="*/ 16 h 16" name="T19"/>
                <a:gd fmla="*/ 24 w 26" name="T20"/>
                <a:gd fmla="*/ 14 h 16" name="T21"/>
                <a:gd fmla="*/ 24 w 26" name="T22"/>
                <a:gd fmla="*/ 12 h 16" name="T23"/>
                <a:gd fmla="*/ 24 w 26" name="T24"/>
                <a:gd fmla="*/ 10 h 16" name="T25"/>
                <a:gd fmla="*/ 26 w 26" name="T26"/>
                <a:gd fmla="*/ 6 h 16" name="T27"/>
                <a:gd fmla="*/ 26 w 26" name="T28"/>
                <a:gd fmla="*/ 2 h 16" name="T29"/>
                <a:gd fmla="*/ 26 w 26" name="T30"/>
                <a:gd fmla="*/ 0 h 16" name="T31"/>
                <a:gd fmla="*/ 20 w 26" name="T32"/>
                <a:gd fmla="*/ 0 h 16" name="T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b="b" l="0" r="r" t="0"/>
              <a:pathLst>
                <a:path h="16" w="26">
                  <a:moveTo>
                    <a:pt x="20" y="0"/>
                  </a:moveTo>
                  <a:lnTo>
                    <a:pt x="20" y="0"/>
                  </a:lnTo>
                  <a:lnTo>
                    <a:pt x="18" y="0"/>
                  </a:lnTo>
                  <a:lnTo>
                    <a:pt x="14" y="0"/>
                  </a:lnTo>
                  <a:lnTo>
                    <a:pt x="10" y="2"/>
                  </a:lnTo>
                  <a:lnTo>
                    <a:pt x="6" y="4"/>
                  </a:lnTo>
                  <a:lnTo>
                    <a:pt x="4" y="8"/>
                  </a:lnTo>
                  <a:lnTo>
                    <a:pt x="0" y="16"/>
                  </a:lnTo>
                  <a:lnTo>
                    <a:pt x="22" y="16"/>
                  </a:lnTo>
                  <a:lnTo>
                    <a:pt x="22" y="16"/>
                  </a:lnTo>
                  <a:lnTo>
                    <a:pt x="24" y="14"/>
                  </a:lnTo>
                  <a:lnTo>
                    <a:pt x="24" y="12"/>
                  </a:lnTo>
                  <a:lnTo>
                    <a:pt x="24" y="10"/>
                  </a:lnTo>
                  <a:lnTo>
                    <a:pt x="26" y="6"/>
                  </a:lnTo>
                  <a:lnTo>
                    <a:pt x="26" y="2"/>
                  </a:lnTo>
                  <a:lnTo>
                    <a:pt x="26" y="0"/>
                  </a:lnTo>
                  <a:lnTo>
                    <a:pt x="2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3" name="Freeform 470"/>
            <p:cNvSpPr/>
            <p:nvPr/>
          </p:nvSpPr>
          <p:spPr bwMode="gray">
            <a:xfrm>
              <a:off x="1020298" y="4602371"/>
              <a:ext cx="162923" cy="225718"/>
            </a:xfrm>
            <a:custGeom>
              <a:gdLst>
                <a:gd fmla="*/ 10 w 88" name="T0"/>
                <a:gd fmla="*/ 120 h 122" name="T1"/>
                <a:gd fmla="*/ 12 w 88" name="T2"/>
                <a:gd fmla="*/ 122 h 122" name="T3"/>
                <a:gd fmla="*/ 10 w 88" name="T4"/>
                <a:gd fmla="*/ 120 h 122" name="T5"/>
                <a:gd fmla="*/ 0 w 88" name="T6"/>
                <a:gd fmla="*/ 104 h 122" name="T7"/>
                <a:gd fmla="*/ 2 w 88" name="T8"/>
                <a:gd fmla="*/ 102 h 122" name="T9"/>
                <a:gd fmla="*/ 6 w 88" name="T10"/>
                <a:gd fmla="*/ 98 h 122" name="T11"/>
                <a:gd fmla="*/ 8 w 88" name="T12"/>
                <a:gd fmla="*/ 96 h 122" name="T13"/>
                <a:gd fmla="*/ 14 w 88" name="T14"/>
                <a:gd fmla="*/ 92 h 122" name="T15"/>
                <a:gd fmla="*/ 20 w 88" name="T16"/>
                <a:gd fmla="*/ 84 h 122" name="T17"/>
                <a:gd fmla="*/ 24 w 88" name="T18"/>
                <a:gd fmla="*/ 90 h 122" name="T19"/>
                <a:gd fmla="*/ 32 w 88" name="T20"/>
                <a:gd fmla="*/ 88 h 122" name="T21"/>
                <a:gd fmla="*/ 44 w 88" name="T22"/>
                <a:gd fmla="*/ 84 h 122" name="T23"/>
                <a:gd fmla="*/ 48 w 88" name="T24"/>
                <a:gd fmla="*/ 82 h 122" name="T25"/>
                <a:gd fmla="*/ 48 w 88" name="T26"/>
                <a:gd fmla="*/ 78 h 122" name="T27"/>
                <a:gd fmla="*/ 50 w 88" name="T28"/>
                <a:gd fmla="*/ 66 h 122" name="T29"/>
                <a:gd fmla="*/ 44 w 88" name="T30"/>
                <a:gd fmla="*/ 58 h 122" name="T31"/>
                <a:gd fmla="*/ 44 w 88" name="T32"/>
                <a:gd fmla="*/ 56 h 122" name="T33"/>
                <a:gd fmla="*/ 44 w 88" name="T34"/>
                <a:gd fmla="*/ 50 h 122" name="T35"/>
                <a:gd fmla="*/ 46 w 88" name="T36"/>
                <a:gd fmla="*/ 48 h 122" name="T37"/>
                <a:gd fmla="*/ 48 w 88" name="T38"/>
                <a:gd fmla="*/ 46 h 122" name="T39"/>
                <a:gd fmla="*/ 50 w 88" name="T40"/>
                <a:gd fmla="*/ 40 h 122" name="T41"/>
                <a:gd fmla="*/ 48 w 88" name="T42"/>
                <a:gd fmla="*/ 34 h 122" name="T43"/>
                <a:gd fmla="*/ 30 w 88" name="T44"/>
                <a:gd fmla="*/ 32 h 122" name="T45"/>
                <a:gd fmla="*/ 28 w 88" name="T46"/>
                <a:gd fmla="*/ 24 h 122" name="T47"/>
                <a:gd fmla="*/ 32 w 88" name="T48"/>
                <a:gd fmla="*/ 22 h 122" name="T49"/>
                <a:gd fmla="*/ 56 w 88" name="T50"/>
                <a:gd fmla="*/ 20 h 122" name="T51"/>
                <a:gd fmla="*/ 72 w 88" name="T52"/>
                <a:gd fmla="*/ 22 h 122" name="T53"/>
                <a:gd fmla="*/ 72 w 88" name="T54"/>
                <a:gd fmla="*/ 18 h 122" name="T55"/>
                <a:gd fmla="*/ 72 w 88" name="T56"/>
                <a:gd fmla="*/ 12 h 122" name="T57"/>
                <a:gd fmla="*/ 78 w 88" name="T58"/>
                <a:gd fmla="*/ 6 h 122" name="T59"/>
                <a:gd fmla="*/ 82 w 88" name="T60"/>
                <a:gd fmla="*/ 4 h 122" name="T61"/>
                <a:gd fmla="*/ 86 w 88" name="T62"/>
                <a:gd fmla="*/ 0 h 122" name="T63"/>
                <a:gd fmla="*/ 88 w 88" name="T64"/>
                <a:gd fmla="*/ 0 h 122" name="T65"/>
                <a:gd fmla="*/ 88 w 88" name="T66"/>
                <a:gd fmla="*/ 10 h 122" name="T67"/>
                <a:gd fmla="*/ 88 w 88" name="T68"/>
                <a:gd fmla="*/ 14 h 122" name="T69"/>
                <a:gd fmla="*/ 86 w 88" name="T70"/>
                <a:gd fmla="*/ 24 h 122" name="T71"/>
                <a:gd fmla="*/ 86 w 88" name="T72"/>
                <a:gd fmla="*/ 34 h 122" name="T73"/>
                <a:gd fmla="*/ 86 w 88" name="T74"/>
                <a:gd fmla="*/ 40 h 122" name="T75"/>
                <a:gd fmla="*/ 86 w 88" name="T76"/>
                <a:gd fmla="*/ 48 h 122" name="T77"/>
                <a:gd fmla="*/ 84 w 88" name="T78"/>
                <a:gd fmla="*/ 60 h 122" name="T79"/>
                <a:gd fmla="*/ 80 w 88" name="T80"/>
                <a:gd fmla="*/ 68 h 122" name="T81"/>
                <a:gd fmla="*/ 78 w 88" name="T82"/>
                <a:gd fmla="*/ 72 h 122" name="T83"/>
                <a:gd fmla="*/ 74 w 88" name="T84"/>
                <a:gd fmla="*/ 82 h 122" name="T85"/>
                <a:gd fmla="*/ 70 w 88" name="T86"/>
                <a:gd fmla="*/ 92 h 122" name="T87"/>
                <a:gd fmla="*/ 66 w 88" name="T88"/>
                <a:gd fmla="*/ 98 h 122" name="T89"/>
                <a:gd fmla="*/ 64 w 88" name="T90"/>
                <a:gd fmla="*/ 102 h 122" name="T91"/>
                <a:gd fmla="*/ 60 w 88" name="T92"/>
                <a:gd fmla="*/ 110 h 122" name="T93"/>
                <a:gd fmla="*/ 56 w 88" name="T94"/>
                <a:gd fmla="*/ 112 h 122" name="T95"/>
                <a:gd fmla="*/ 50 w 88" name="T96"/>
                <a:gd fmla="*/ 112 h 122" name="T97"/>
                <a:gd fmla="*/ 44 w 88" name="T98"/>
                <a:gd fmla="*/ 112 h 122" name="T99"/>
                <a:gd fmla="*/ 38 w 88" name="T100"/>
                <a:gd fmla="*/ 116 h 122" name="T101"/>
                <a:gd fmla="*/ 34 w 88" name="T102"/>
                <a:gd fmla="*/ 114 h 122" name="T103"/>
                <a:gd fmla="*/ 32 w 88" name="T104"/>
                <a:gd fmla="*/ 112 h 122" name="T105"/>
                <a:gd fmla="*/ 28 w 88" name="T106"/>
                <a:gd fmla="*/ 112 h 122" name="T107"/>
                <a:gd fmla="*/ 18 w 88" name="T108"/>
                <a:gd fmla="*/ 116 h 122"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122" w="88">
                  <a:moveTo>
                    <a:pt x="10" y="120"/>
                  </a:moveTo>
                  <a:lnTo>
                    <a:pt x="10" y="120"/>
                  </a:lnTo>
                  <a:lnTo>
                    <a:pt x="12" y="122"/>
                  </a:lnTo>
                  <a:lnTo>
                    <a:pt x="12" y="122"/>
                  </a:lnTo>
                  <a:lnTo>
                    <a:pt x="12" y="122"/>
                  </a:lnTo>
                  <a:lnTo>
                    <a:pt x="10" y="120"/>
                  </a:lnTo>
                  <a:lnTo>
                    <a:pt x="0" y="108"/>
                  </a:lnTo>
                  <a:lnTo>
                    <a:pt x="0" y="104"/>
                  </a:lnTo>
                  <a:lnTo>
                    <a:pt x="0" y="104"/>
                  </a:lnTo>
                  <a:lnTo>
                    <a:pt x="2" y="102"/>
                  </a:lnTo>
                  <a:lnTo>
                    <a:pt x="4" y="100"/>
                  </a:lnTo>
                  <a:lnTo>
                    <a:pt x="6" y="98"/>
                  </a:lnTo>
                  <a:lnTo>
                    <a:pt x="6" y="96"/>
                  </a:lnTo>
                  <a:lnTo>
                    <a:pt x="8" y="96"/>
                  </a:lnTo>
                  <a:lnTo>
                    <a:pt x="10" y="92"/>
                  </a:lnTo>
                  <a:lnTo>
                    <a:pt x="14" y="92"/>
                  </a:lnTo>
                  <a:lnTo>
                    <a:pt x="18" y="90"/>
                  </a:lnTo>
                  <a:lnTo>
                    <a:pt x="20" y="84"/>
                  </a:lnTo>
                  <a:lnTo>
                    <a:pt x="22" y="90"/>
                  </a:lnTo>
                  <a:lnTo>
                    <a:pt x="24" y="90"/>
                  </a:lnTo>
                  <a:lnTo>
                    <a:pt x="28" y="90"/>
                  </a:lnTo>
                  <a:lnTo>
                    <a:pt x="32" y="88"/>
                  </a:lnTo>
                  <a:lnTo>
                    <a:pt x="38" y="86"/>
                  </a:lnTo>
                  <a:lnTo>
                    <a:pt x="44" y="84"/>
                  </a:lnTo>
                  <a:lnTo>
                    <a:pt x="46" y="82"/>
                  </a:lnTo>
                  <a:lnTo>
                    <a:pt x="48" y="82"/>
                  </a:lnTo>
                  <a:lnTo>
                    <a:pt x="48" y="80"/>
                  </a:lnTo>
                  <a:lnTo>
                    <a:pt x="48" y="78"/>
                  </a:lnTo>
                  <a:lnTo>
                    <a:pt x="50" y="74"/>
                  </a:lnTo>
                  <a:lnTo>
                    <a:pt x="50" y="66"/>
                  </a:lnTo>
                  <a:lnTo>
                    <a:pt x="50" y="58"/>
                  </a:lnTo>
                  <a:lnTo>
                    <a:pt x="44" y="58"/>
                  </a:lnTo>
                  <a:lnTo>
                    <a:pt x="44" y="58"/>
                  </a:lnTo>
                  <a:lnTo>
                    <a:pt x="44" y="56"/>
                  </a:lnTo>
                  <a:lnTo>
                    <a:pt x="44" y="52"/>
                  </a:lnTo>
                  <a:lnTo>
                    <a:pt x="44" y="50"/>
                  </a:lnTo>
                  <a:lnTo>
                    <a:pt x="44" y="48"/>
                  </a:lnTo>
                  <a:lnTo>
                    <a:pt x="46" y="48"/>
                  </a:lnTo>
                  <a:lnTo>
                    <a:pt x="48" y="48"/>
                  </a:lnTo>
                  <a:lnTo>
                    <a:pt x="48" y="46"/>
                  </a:lnTo>
                  <a:lnTo>
                    <a:pt x="48" y="42"/>
                  </a:lnTo>
                  <a:lnTo>
                    <a:pt x="50" y="40"/>
                  </a:lnTo>
                  <a:lnTo>
                    <a:pt x="50" y="36"/>
                  </a:lnTo>
                  <a:lnTo>
                    <a:pt x="48" y="34"/>
                  </a:lnTo>
                  <a:lnTo>
                    <a:pt x="30" y="32"/>
                  </a:lnTo>
                  <a:lnTo>
                    <a:pt x="30" y="32"/>
                  </a:lnTo>
                  <a:lnTo>
                    <a:pt x="28" y="28"/>
                  </a:lnTo>
                  <a:lnTo>
                    <a:pt x="28" y="24"/>
                  </a:lnTo>
                  <a:lnTo>
                    <a:pt x="28" y="22"/>
                  </a:lnTo>
                  <a:lnTo>
                    <a:pt x="32" y="22"/>
                  </a:lnTo>
                  <a:lnTo>
                    <a:pt x="42" y="22"/>
                  </a:lnTo>
                  <a:lnTo>
                    <a:pt x="56" y="20"/>
                  </a:lnTo>
                  <a:lnTo>
                    <a:pt x="66" y="20"/>
                  </a:lnTo>
                  <a:lnTo>
                    <a:pt x="72" y="22"/>
                  </a:lnTo>
                  <a:lnTo>
                    <a:pt x="72" y="20"/>
                  </a:lnTo>
                  <a:lnTo>
                    <a:pt x="72" y="18"/>
                  </a:lnTo>
                  <a:lnTo>
                    <a:pt x="70" y="16"/>
                  </a:lnTo>
                  <a:lnTo>
                    <a:pt x="72" y="12"/>
                  </a:lnTo>
                  <a:lnTo>
                    <a:pt x="74" y="8"/>
                  </a:lnTo>
                  <a:lnTo>
                    <a:pt x="78" y="6"/>
                  </a:lnTo>
                  <a:lnTo>
                    <a:pt x="80" y="6"/>
                  </a:lnTo>
                  <a:lnTo>
                    <a:pt x="82" y="4"/>
                  </a:lnTo>
                  <a:lnTo>
                    <a:pt x="84" y="2"/>
                  </a:lnTo>
                  <a:lnTo>
                    <a:pt x="86" y="0"/>
                  </a:lnTo>
                  <a:lnTo>
                    <a:pt x="86" y="0"/>
                  </a:lnTo>
                  <a:lnTo>
                    <a:pt x="88" y="0"/>
                  </a:lnTo>
                  <a:lnTo>
                    <a:pt x="88" y="4"/>
                  </a:lnTo>
                  <a:lnTo>
                    <a:pt x="88" y="10"/>
                  </a:lnTo>
                  <a:lnTo>
                    <a:pt x="88" y="10"/>
                  </a:lnTo>
                  <a:lnTo>
                    <a:pt x="88" y="14"/>
                  </a:lnTo>
                  <a:lnTo>
                    <a:pt x="88" y="18"/>
                  </a:lnTo>
                  <a:lnTo>
                    <a:pt x="86" y="24"/>
                  </a:lnTo>
                  <a:lnTo>
                    <a:pt x="86" y="28"/>
                  </a:lnTo>
                  <a:lnTo>
                    <a:pt x="86" y="34"/>
                  </a:lnTo>
                  <a:lnTo>
                    <a:pt x="86" y="38"/>
                  </a:lnTo>
                  <a:lnTo>
                    <a:pt x="86" y="40"/>
                  </a:lnTo>
                  <a:lnTo>
                    <a:pt x="86" y="44"/>
                  </a:lnTo>
                  <a:lnTo>
                    <a:pt x="86" y="48"/>
                  </a:lnTo>
                  <a:lnTo>
                    <a:pt x="84" y="54"/>
                  </a:lnTo>
                  <a:lnTo>
                    <a:pt x="84" y="60"/>
                  </a:lnTo>
                  <a:lnTo>
                    <a:pt x="82" y="66"/>
                  </a:lnTo>
                  <a:lnTo>
                    <a:pt x="80" y="68"/>
                  </a:lnTo>
                  <a:lnTo>
                    <a:pt x="80" y="70"/>
                  </a:lnTo>
                  <a:lnTo>
                    <a:pt x="78" y="72"/>
                  </a:lnTo>
                  <a:lnTo>
                    <a:pt x="76" y="78"/>
                  </a:lnTo>
                  <a:lnTo>
                    <a:pt x="74" y="82"/>
                  </a:lnTo>
                  <a:lnTo>
                    <a:pt x="72" y="88"/>
                  </a:lnTo>
                  <a:lnTo>
                    <a:pt x="70" y="92"/>
                  </a:lnTo>
                  <a:lnTo>
                    <a:pt x="68" y="96"/>
                  </a:lnTo>
                  <a:lnTo>
                    <a:pt x="66" y="98"/>
                  </a:lnTo>
                  <a:lnTo>
                    <a:pt x="66" y="100"/>
                  </a:lnTo>
                  <a:lnTo>
                    <a:pt x="64" y="102"/>
                  </a:lnTo>
                  <a:lnTo>
                    <a:pt x="62" y="106"/>
                  </a:lnTo>
                  <a:lnTo>
                    <a:pt x="60" y="110"/>
                  </a:lnTo>
                  <a:lnTo>
                    <a:pt x="56" y="112"/>
                  </a:lnTo>
                  <a:lnTo>
                    <a:pt x="56" y="112"/>
                  </a:lnTo>
                  <a:lnTo>
                    <a:pt x="54" y="112"/>
                  </a:lnTo>
                  <a:lnTo>
                    <a:pt x="50" y="112"/>
                  </a:lnTo>
                  <a:lnTo>
                    <a:pt x="46" y="110"/>
                  </a:lnTo>
                  <a:lnTo>
                    <a:pt x="44" y="112"/>
                  </a:lnTo>
                  <a:lnTo>
                    <a:pt x="42" y="112"/>
                  </a:lnTo>
                  <a:lnTo>
                    <a:pt x="38" y="116"/>
                  </a:lnTo>
                  <a:lnTo>
                    <a:pt x="34" y="114"/>
                  </a:lnTo>
                  <a:lnTo>
                    <a:pt x="34" y="114"/>
                  </a:lnTo>
                  <a:lnTo>
                    <a:pt x="34" y="112"/>
                  </a:lnTo>
                  <a:lnTo>
                    <a:pt x="32" y="112"/>
                  </a:lnTo>
                  <a:lnTo>
                    <a:pt x="30" y="112"/>
                  </a:lnTo>
                  <a:lnTo>
                    <a:pt x="28" y="112"/>
                  </a:lnTo>
                  <a:lnTo>
                    <a:pt x="24" y="114"/>
                  </a:lnTo>
                  <a:lnTo>
                    <a:pt x="18" y="116"/>
                  </a:lnTo>
                  <a:lnTo>
                    <a:pt x="10" y="12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4" name="Freeform 471"/>
            <p:cNvSpPr/>
            <p:nvPr/>
          </p:nvSpPr>
          <p:spPr bwMode="gray">
            <a:xfrm>
              <a:off x="1038812" y="4861392"/>
              <a:ext cx="240682" cy="288623"/>
            </a:xfrm>
            <a:custGeom>
              <a:gdLst>
                <a:gd fmla="*/ 24 w 130" name="T0"/>
                <a:gd fmla="*/ 2 h 156" name="T1"/>
                <a:gd fmla="*/ 42 w 130" name="T2"/>
                <a:gd fmla="*/ 0 h 156" name="T3"/>
                <a:gd fmla="*/ 56 w 130" name="T4"/>
                <a:gd fmla="*/ 0 h 156" name="T5"/>
                <a:gd fmla="*/ 86 w 130" name="T6"/>
                <a:gd fmla="*/ 26 h 156" name="T7"/>
                <a:gd fmla="*/ 86 w 130" name="T8"/>
                <a:gd fmla="*/ 18 h 156" name="T9"/>
                <a:gd fmla="*/ 88 w 130" name="T10"/>
                <a:gd fmla="*/ 14 h 156" name="T11"/>
                <a:gd fmla="*/ 102 w 130" name="T12"/>
                <a:gd fmla="*/ 18 h 156" name="T13"/>
                <a:gd fmla="*/ 112 w 130" name="T14"/>
                <a:gd fmla="*/ 24 h 156" name="T15"/>
                <a:gd fmla="*/ 112 w 130" name="T16"/>
                <a:gd fmla="*/ 34 h 156" name="T17"/>
                <a:gd fmla="*/ 114 w 130" name="T18"/>
                <a:gd fmla="*/ 38 h 156" name="T19"/>
                <a:gd fmla="*/ 116 w 130" name="T20"/>
                <a:gd fmla="*/ 48 h 156" name="T21"/>
                <a:gd fmla="*/ 114 w 130" name="T22"/>
                <a:gd fmla="*/ 56 h 156" name="T23"/>
                <a:gd fmla="*/ 114 w 130" name="T24"/>
                <a:gd fmla="*/ 60 h 156" name="T25"/>
                <a:gd fmla="*/ 128 w 130" name="T26"/>
                <a:gd fmla="*/ 62 h 156" name="T27"/>
                <a:gd fmla="*/ 128 w 130" name="T28"/>
                <a:gd fmla="*/ 70 h 156" name="T29"/>
                <a:gd fmla="*/ 128 w 130" name="T30"/>
                <a:gd fmla="*/ 82 h 156" name="T31"/>
                <a:gd fmla="*/ 128 w 130" name="T32"/>
                <a:gd fmla="*/ 88 h 156" name="T33"/>
                <a:gd fmla="*/ 112 w 130" name="T34"/>
                <a:gd fmla="*/ 136 h 156" name="T35"/>
                <a:gd fmla="*/ 114 w 130" name="T36"/>
                <a:gd fmla="*/ 138 h 156" name="T37"/>
                <a:gd fmla="*/ 118 w 130" name="T38"/>
                <a:gd fmla="*/ 144 h 156" name="T39"/>
                <a:gd fmla="*/ 130 w 130" name="T40"/>
                <a:gd fmla="*/ 152 h 156" name="T41"/>
                <a:gd fmla="*/ 126 w 130" name="T42"/>
                <a:gd fmla="*/ 152 h 156" name="T43"/>
                <a:gd fmla="*/ 116 w 130" name="T44"/>
                <a:gd fmla="*/ 154 h 156" name="T45"/>
                <a:gd fmla="*/ 106 w 130" name="T46"/>
                <a:gd fmla="*/ 156 h 156" name="T47"/>
                <a:gd fmla="*/ 100 w 130" name="T48"/>
                <a:gd fmla="*/ 156 h 156" name="T49"/>
                <a:gd fmla="*/ 92 w 130" name="T50"/>
                <a:gd fmla="*/ 156 h 156" name="T51"/>
                <a:gd fmla="*/ 82 w 130" name="T52"/>
                <a:gd fmla="*/ 154 h 156" name="T53"/>
                <a:gd fmla="*/ 76 w 130" name="T54"/>
                <a:gd fmla="*/ 150 h 156" name="T55"/>
                <a:gd fmla="*/ 30 w 130" name="T56"/>
                <a:gd fmla="*/ 150 h 156" name="T57"/>
                <a:gd fmla="*/ 24 w 130" name="T58"/>
                <a:gd fmla="*/ 150 h 156" name="T59"/>
                <a:gd fmla="*/ 20 w 130" name="T60"/>
                <a:gd fmla="*/ 144 h 156" name="T61"/>
                <a:gd fmla="*/ 16 w 130" name="T62"/>
                <a:gd fmla="*/ 142 h 156" name="T63"/>
                <a:gd fmla="*/ 6 w 130" name="T64"/>
                <a:gd fmla="*/ 142 h 156" name="T65"/>
                <a:gd fmla="*/ 2 w 130" name="T66"/>
                <a:gd fmla="*/ 140 h 156" name="T67"/>
                <a:gd fmla="*/ 6 w 130" name="T68"/>
                <a:gd fmla="*/ 118 h 156" name="T69"/>
                <a:gd fmla="*/ 10 w 130" name="T70"/>
                <a:gd fmla="*/ 100 h 156" name="T71"/>
                <a:gd fmla="*/ 12 w 130" name="T72"/>
                <a:gd fmla="*/ 94 h 156" name="T73"/>
                <a:gd fmla="*/ 16 w 130" name="T74"/>
                <a:gd fmla="*/ 82 h 156" name="T75"/>
                <a:gd fmla="*/ 24 w 130" name="T76"/>
                <a:gd fmla="*/ 68 h 156" name="T77"/>
                <a:gd fmla="*/ 26 w 130" name="T78"/>
                <a:gd fmla="*/ 68 h 156" name="T79"/>
                <a:gd fmla="*/ 28 w 130" name="T80"/>
                <a:gd fmla="*/ 66 h 156" name="T81"/>
                <a:gd fmla="*/ 28 w 130" name="T82"/>
                <a:gd fmla="*/ 58 h 156" name="T83"/>
                <a:gd fmla="*/ 26 w 130" name="T84"/>
                <a:gd fmla="*/ 46 h 156" name="T85"/>
                <a:gd fmla="*/ 14 w 130" name="T86"/>
                <a:gd fmla="*/ 16 h 156" name="T87"/>
                <a:gd fmla="*/ 6 w 130" name="T88"/>
                <a:gd fmla="*/ 4 h 156" name="T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b="b" l="0" r="r" t="0"/>
              <a:pathLst>
                <a:path h="156" w="130">
                  <a:moveTo>
                    <a:pt x="6" y="4"/>
                  </a:moveTo>
                  <a:lnTo>
                    <a:pt x="24" y="2"/>
                  </a:lnTo>
                  <a:lnTo>
                    <a:pt x="32" y="0"/>
                  </a:lnTo>
                  <a:lnTo>
                    <a:pt x="42" y="0"/>
                  </a:lnTo>
                  <a:lnTo>
                    <a:pt x="52" y="0"/>
                  </a:lnTo>
                  <a:lnTo>
                    <a:pt x="56" y="0"/>
                  </a:lnTo>
                  <a:lnTo>
                    <a:pt x="64" y="24"/>
                  </a:lnTo>
                  <a:lnTo>
                    <a:pt x="86" y="26"/>
                  </a:lnTo>
                  <a:lnTo>
                    <a:pt x="86" y="22"/>
                  </a:lnTo>
                  <a:lnTo>
                    <a:pt x="86" y="18"/>
                  </a:lnTo>
                  <a:lnTo>
                    <a:pt x="88" y="14"/>
                  </a:lnTo>
                  <a:lnTo>
                    <a:pt x="88" y="14"/>
                  </a:lnTo>
                  <a:lnTo>
                    <a:pt x="102" y="12"/>
                  </a:lnTo>
                  <a:lnTo>
                    <a:pt x="102" y="18"/>
                  </a:lnTo>
                  <a:lnTo>
                    <a:pt x="112" y="18"/>
                  </a:lnTo>
                  <a:lnTo>
                    <a:pt x="112" y="24"/>
                  </a:lnTo>
                  <a:lnTo>
                    <a:pt x="112" y="28"/>
                  </a:lnTo>
                  <a:lnTo>
                    <a:pt x="112" y="34"/>
                  </a:lnTo>
                  <a:lnTo>
                    <a:pt x="114" y="38"/>
                  </a:lnTo>
                  <a:lnTo>
                    <a:pt x="114" y="38"/>
                  </a:lnTo>
                  <a:lnTo>
                    <a:pt x="116" y="42"/>
                  </a:lnTo>
                  <a:lnTo>
                    <a:pt x="116" y="48"/>
                  </a:lnTo>
                  <a:lnTo>
                    <a:pt x="116" y="52"/>
                  </a:lnTo>
                  <a:lnTo>
                    <a:pt x="114" y="56"/>
                  </a:lnTo>
                  <a:lnTo>
                    <a:pt x="114" y="60"/>
                  </a:lnTo>
                  <a:lnTo>
                    <a:pt x="114" y="60"/>
                  </a:lnTo>
                  <a:lnTo>
                    <a:pt x="128" y="62"/>
                  </a:lnTo>
                  <a:lnTo>
                    <a:pt x="128" y="62"/>
                  </a:lnTo>
                  <a:lnTo>
                    <a:pt x="128" y="66"/>
                  </a:lnTo>
                  <a:lnTo>
                    <a:pt x="128" y="70"/>
                  </a:lnTo>
                  <a:lnTo>
                    <a:pt x="128" y="76"/>
                  </a:lnTo>
                  <a:lnTo>
                    <a:pt x="128" y="82"/>
                  </a:lnTo>
                  <a:lnTo>
                    <a:pt x="128" y="86"/>
                  </a:lnTo>
                  <a:lnTo>
                    <a:pt x="128" y="88"/>
                  </a:lnTo>
                  <a:lnTo>
                    <a:pt x="112" y="90"/>
                  </a:lnTo>
                  <a:lnTo>
                    <a:pt x="112" y="136"/>
                  </a:lnTo>
                  <a:lnTo>
                    <a:pt x="112" y="136"/>
                  </a:lnTo>
                  <a:lnTo>
                    <a:pt x="114" y="138"/>
                  </a:lnTo>
                  <a:lnTo>
                    <a:pt x="116" y="140"/>
                  </a:lnTo>
                  <a:lnTo>
                    <a:pt x="118" y="144"/>
                  </a:lnTo>
                  <a:lnTo>
                    <a:pt x="124" y="148"/>
                  </a:lnTo>
                  <a:lnTo>
                    <a:pt x="130" y="152"/>
                  </a:lnTo>
                  <a:lnTo>
                    <a:pt x="130" y="152"/>
                  </a:lnTo>
                  <a:lnTo>
                    <a:pt x="126" y="152"/>
                  </a:lnTo>
                  <a:lnTo>
                    <a:pt x="122" y="152"/>
                  </a:lnTo>
                  <a:lnTo>
                    <a:pt x="116" y="154"/>
                  </a:lnTo>
                  <a:lnTo>
                    <a:pt x="110" y="154"/>
                  </a:lnTo>
                  <a:lnTo>
                    <a:pt x="106" y="156"/>
                  </a:lnTo>
                  <a:lnTo>
                    <a:pt x="102" y="156"/>
                  </a:lnTo>
                  <a:lnTo>
                    <a:pt x="100" y="156"/>
                  </a:lnTo>
                  <a:lnTo>
                    <a:pt x="98" y="156"/>
                  </a:lnTo>
                  <a:lnTo>
                    <a:pt x="92" y="156"/>
                  </a:lnTo>
                  <a:lnTo>
                    <a:pt x="88" y="154"/>
                  </a:lnTo>
                  <a:lnTo>
                    <a:pt x="82" y="154"/>
                  </a:lnTo>
                  <a:lnTo>
                    <a:pt x="78" y="152"/>
                  </a:lnTo>
                  <a:lnTo>
                    <a:pt x="76" y="150"/>
                  </a:lnTo>
                  <a:lnTo>
                    <a:pt x="32" y="150"/>
                  </a:lnTo>
                  <a:lnTo>
                    <a:pt x="30" y="150"/>
                  </a:lnTo>
                  <a:lnTo>
                    <a:pt x="28" y="150"/>
                  </a:lnTo>
                  <a:lnTo>
                    <a:pt x="24" y="150"/>
                  </a:lnTo>
                  <a:lnTo>
                    <a:pt x="22" y="148"/>
                  </a:lnTo>
                  <a:lnTo>
                    <a:pt x="20" y="144"/>
                  </a:lnTo>
                  <a:lnTo>
                    <a:pt x="18" y="144"/>
                  </a:lnTo>
                  <a:lnTo>
                    <a:pt x="16" y="142"/>
                  </a:lnTo>
                  <a:lnTo>
                    <a:pt x="12" y="142"/>
                  </a:lnTo>
                  <a:lnTo>
                    <a:pt x="6" y="142"/>
                  </a:lnTo>
                  <a:lnTo>
                    <a:pt x="0" y="144"/>
                  </a:lnTo>
                  <a:lnTo>
                    <a:pt x="2" y="140"/>
                  </a:lnTo>
                  <a:lnTo>
                    <a:pt x="4" y="130"/>
                  </a:lnTo>
                  <a:lnTo>
                    <a:pt x="6" y="118"/>
                  </a:lnTo>
                  <a:lnTo>
                    <a:pt x="10" y="108"/>
                  </a:lnTo>
                  <a:lnTo>
                    <a:pt x="10" y="100"/>
                  </a:lnTo>
                  <a:lnTo>
                    <a:pt x="10" y="98"/>
                  </a:lnTo>
                  <a:lnTo>
                    <a:pt x="12" y="94"/>
                  </a:lnTo>
                  <a:lnTo>
                    <a:pt x="14" y="90"/>
                  </a:lnTo>
                  <a:lnTo>
                    <a:pt x="16" y="82"/>
                  </a:lnTo>
                  <a:lnTo>
                    <a:pt x="20" y="76"/>
                  </a:lnTo>
                  <a:lnTo>
                    <a:pt x="24" y="68"/>
                  </a:lnTo>
                  <a:lnTo>
                    <a:pt x="26" y="68"/>
                  </a:lnTo>
                  <a:lnTo>
                    <a:pt x="26" y="68"/>
                  </a:lnTo>
                  <a:lnTo>
                    <a:pt x="26" y="68"/>
                  </a:lnTo>
                  <a:lnTo>
                    <a:pt x="28" y="66"/>
                  </a:lnTo>
                  <a:lnTo>
                    <a:pt x="28" y="62"/>
                  </a:lnTo>
                  <a:lnTo>
                    <a:pt x="28" y="58"/>
                  </a:lnTo>
                  <a:lnTo>
                    <a:pt x="28" y="54"/>
                  </a:lnTo>
                  <a:lnTo>
                    <a:pt x="26" y="46"/>
                  </a:lnTo>
                  <a:lnTo>
                    <a:pt x="24" y="38"/>
                  </a:lnTo>
                  <a:lnTo>
                    <a:pt x="14" y="16"/>
                  </a:lnTo>
                  <a:lnTo>
                    <a:pt x="6" y="10"/>
                  </a:lnTo>
                  <a:lnTo>
                    <a:pt x="6" y="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5" name="Freeform 472"/>
            <p:cNvSpPr/>
            <p:nvPr/>
          </p:nvSpPr>
          <p:spPr bwMode="gray">
            <a:xfrm>
              <a:off x="1046217" y="4569068"/>
              <a:ext cx="470255" cy="477339"/>
            </a:xfrm>
            <a:custGeom>
              <a:gdLst>
                <a:gd fmla="*/ 24 w 254" name="T0"/>
                <a:gd fmla="*/ 132 h 258" name="T1"/>
                <a:gd fmla="*/ 32 w 254" name="T2"/>
                <a:gd fmla="*/ 128 h 258" name="T3"/>
                <a:gd fmla="*/ 40 w 254" name="T4"/>
                <a:gd fmla="*/ 130 h 258" name="T5"/>
                <a:gd fmla="*/ 46 w 254" name="T6"/>
                <a:gd fmla="*/ 128 h 258" name="T7"/>
                <a:gd fmla="*/ 50 w 254" name="T8"/>
                <a:gd fmla="*/ 120 h 258" name="T9"/>
                <a:gd fmla="*/ 66 w 254" name="T10"/>
                <a:gd fmla="*/ 86 h 258" name="T11"/>
                <a:gd fmla="*/ 68 w 254" name="T12"/>
                <a:gd fmla="*/ 80 h 258" name="T13"/>
                <a:gd fmla="*/ 72 w 254" name="T14"/>
                <a:gd fmla="*/ 70 h 258" name="T15"/>
                <a:gd fmla="*/ 72 w 254" name="T16"/>
                <a:gd fmla="*/ 52 h 258" name="T17"/>
                <a:gd fmla="*/ 72 w 254" name="T18"/>
                <a:gd fmla="*/ 40 h 258" name="T19"/>
                <a:gd fmla="*/ 76 w 254" name="T20"/>
                <a:gd fmla="*/ 30 h 258" name="T21"/>
                <a:gd fmla="*/ 72 w 254" name="T22"/>
                <a:gd fmla="*/ 18 h 258" name="T23"/>
                <a:gd fmla="*/ 74 w 254" name="T24"/>
                <a:gd fmla="*/ 12 h 258" name="T25"/>
                <a:gd fmla="*/ 84 w 254" name="T26"/>
                <a:gd fmla="*/ 6 h 258" name="T27"/>
                <a:gd fmla="*/ 92 w 254" name="T28"/>
                <a:gd fmla="*/ 8 h 258" name="T29"/>
                <a:gd fmla="*/ 96 w 254" name="T30"/>
                <a:gd fmla="*/ 16 h 258" name="T31"/>
                <a:gd fmla="*/ 104 w 254" name="T32"/>
                <a:gd fmla="*/ 14 h 258" name="T33"/>
                <a:gd fmla="*/ 122 w 254" name="T34"/>
                <a:gd fmla="*/ 12 h 258" name="T35"/>
                <a:gd fmla="*/ 130 w 254" name="T36"/>
                <a:gd fmla="*/ 12 h 258" name="T37"/>
                <a:gd fmla="*/ 180 w 254" name="T38"/>
                <a:gd fmla="*/ 2 h 258" name="T39"/>
                <a:gd fmla="*/ 188 w 254" name="T40"/>
                <a:gd fmla="*/ 10 h 258" name="T41"/>
                <a:gd fmla="*/ 202 w 254" name="T42"/>
                <a:gd fmla="*/ 14 h 258" name="T43"/>
                <a:gd fmla="*/ 212 w 254" name="T44"/>
                <a:gd fmla="*/ 18 h 258" name="T45"/>
                <a:gd fmla="*/ 222 w 254" name="T46"/>
                <a:gd fmla="*/ 24 h 258" name="T47"/>
                <a:gd fmla="*/ 244 w 254" name="T48"/>
                <a:gd fmla="*/ 26 h 258" name="T49"/>
                <a:gd fmla="*/ 242 w 254" name="T50"/>
                <a:gd fmla="*/ 32 h 258" name="T51"/>
                <a:gd fmla="*/ 240 w 254" name="T52"/>
                <a:gd fmla="*/ 40 h 258" name="T53"/>
                <a:gd fmla="*/ 238 w 254" name="T54"/>
                <a:gd fmla="*/ 50 h 258" name="T55"/>
                <a:gd fmla="*/ 236 w 254" name="T56"/>
                <a:gd fmla="*/ 60 h 258" name="T57"/>
                <a:gd fmla="*/ 230 w 254" name="T58"/>
                <a:gd fmla="*/ 74 h 258" name="T59"/>
                <a:gd fmla="*/ 234 w 254" name="T60"/>
                <a:gd fmla="*/ 118 h 258" name="T61"/>
                <a:gd fmla="*/ 244 w 254" name="T62"/>
                <a:gd fmla="*/ 170 h 258" name="T63"/>
                <a:gd fmla="*/ 250 w 254" name="T64"/>
                <a:gd fmla="*/ 194 h 258" name="T65"/>
                <a:gd fmla="*/ 242 w 254" name="T66"/>
                <a:gd fmla="*/ 194 h 258" name="T67"/>
                <a:gd fmla="*/ 232 w 254" name="T68"/>
                <a:gd fmla="*/ 196 h 258" name="T69"/>
                <a:gd fmla="*/ 226 w 254" name="T70"/>
                <a:gd fmla="*/ 204 h 258" name="T71"/>
                <a:gd fmla="*/ 228 w 254" name="T72"/>
                <a:gd fmla="*/ 214 h 258" name="T73"/>
                <a:gd fmla="*/ 234 w 254" name="T74"/>
                <a:gd fmla="*/ 228 h 258" name="T75"/>
                <a:gd fmla="*/ 240 w 254" name="T76"/>
                <a:gd fmla="*/ 240 h 258" name="T77"/>
                <a:gd fmla="*/ 250 w 254" name="T78"/>
                <a:gd fmla="*/ 258 h 258" name="T79"/>
                <a:gd fmla="*/ 214 w 254" name="T80"/>
                <a:gd fmla="*/ 230 h 258" name="T81"/>
                <a:gd fmla="*/ 210 w 254" name="T82"/>
                <a:gd fmla="*/ 230 h 258" name="T83"/>
                <a:gd fmla="*/ 206 w 254" name="T84"/>
                <a:gd fmla="*/ 224 h 258" name="T85"/>
                <a:gd fmla="*/ 204 w 254" name="T86"/>
                <a:gd fmla="*/ 230 h 258" name="T87"/>
                <a:gd fmla="*/ 192 w 254" name="T88"/>
                <a:gd fmla="*/ 230 h 258" name="T89"/>
                <a:gd fmla="*/ 164 w 254" name="T90"/>
                <a:gd fmla="*/ 224 h 258" name="T91"/>
                <a:gd fmla="*/ 158 w 254" name="T92"/>
                <a:gd fmla="*/ 222 h 258" name="T93"/>
                <a:gd fmla="*/ 156 w 254" name="T94"/>
                <a:gd fmla="*/ 220 h 258" name="T95"/>
                <a:gd fmla="*/ 146 w 254" name="T96"/>
                <a:gd fmla="*/ 218 h 258" name="T97"/>
                <a:gd fmla="*/ 136 w 254" name="T98"/>
                <a:gd fmla="*/ 218 h 258" name="T99"/>
                <a:gd fmla="*/ 110 w 254" name="T100"/>
                <a:gd fmla="*/ 218 h 258" name="T101"/>
                <a:gd fmla="*/ 112 w 254" name="T102"/>
                <a:gd fmla="*/ 210 h 258" name="T103"/>
                <a:gd fmla="*/ 110 w 254" name="T104"/>
                <a:gd fmla="*/ 196 h 258" name="T105"/>
                <a:gd fmla="*/ 108 w 254" name="T106"/>
                <a:gd fmla="*/ 186 h 258" name="T107"/>
                <a:gd fmla="*/ 98 w 254" name="T108"/>
                <a:gd fmla="*/ 176 h 258" name="T109"/>
                <a:gd fmla="*/ 84 w 254" name="T110"/>
                <a:gd fmla="*/ 172 h 258" name="T111"/>
                <a:gd fmla="*/ 82 w 254" name="T112"/>
                <a:gd fmla="*/ 184 h 258" name="T113"/>
                <a:gd fmla="*/ 48 w 254" name="T114"/>
                <a:gd fmla="*/ 158 h 258" name="T115"/>
                <a:gd fmla="*/ 20 w 254" name="T116"/>
                <a:gd fmla="*/ 160 h 258"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258" w="254">
                  <a:moveTo>
                    <a:pt x="0" y="152"/>
                  </a:moveTo>
                  <a:lnTo>
                    <a:pt x="24" y="134"/>
                  </a:lnTo>
                  <a:lnTo>
                    <a:pt x="24" y="132"/>
                  </a:lnTo>
                  <a:lnTo>
                    <a:pt x="26" y="132"/>
                  </a:lnTo>
                  <a:lnTo>
                    <a:pt x="28" y="130"/>
                  </a:lnTo>
                  <a:lnTo>
                    <a:pt x="32" y="128"/>
                  </a:lnTo>
                  <a:lnTo>
                    <a:pt x="38" y="130"/>
                  </a:lnTo>
                  <a:lnTo>
                    <a:pt x="38" y="130"/>
                  </a:lnTo>
                  <a:lnTo>
                    <a:pt x="40" y="130"/>
                  </a:lnTo>
                  <a:lnTo>
                    <a:pt x="42" y="130"/>
                  </a:lnTo>
                  <a:lnTo>
                    <a:pt x="44" y="130"/>
                  </a:lnTo>
                  <a:lnTo>
                    <a:pt x="46" y="128"/>
                  </a:lnTo>
                  <a:lnTo>
                    <a:pt x="48" y="124"/>
                  </a:lnTo>
                  <a:lnTo>
                    <a:pt x="50" y="124"/>
                  </a:lnTo>
                  <a:lnTo>
                    <a:pt x="50" y="120"/>
                  </a:lnTo>
                  <a:lnTo>
                    <a:pt x="54" y="114"/>
                  </a:lnTo>
                  <a:lnTo>
                    <a:pt x="58" y="106"/>
                  </a:lnTo>
                  <a:lnTo>
                    <a:pt x="66" y="86"/>
                  </a:lnTo>
                  <a:lnTo>
                    <a:pt x="66" y="86"/>
                  </a:lnTo>
                  <a:lnTo>
                    <a:pt x="68" y="84"/>
                  </a:lnTo>
                  <a:lnTo>
                    <a:pt x="68" y="80"/>
                  </a:lnTo>
                  <a:lnTo>
                    <a:pt x="70" y="74"/>
                  </a:lnTo>
                  <a:lnTo>
                    <a:pt x="70" y="72"/>
                  </a:lnTo>
                  <a:lnTo>
                    <a:pt x="72" y="70"/>
                  </a:lnTo>
                  <a:lnTo>
                    <a:pt x="72" y="64"/>
                  </a:lnTo>
                  <a:lnTo>
                    <a:pt x="72" y="58"/>
                  </a:lnTo>
                  <a:lnTo>
                    <a:pt x="72" y="52"/>
                  </a:lnTo>
                  <a:lnTo>
                    <a:pt x="72" y="52"/>
                  </a:lnTo>
                  <a:lnTo>
                    <a:pt x="72" y="46"/>
                  </a:lnTo>
                  <a:lnTo>
                    <a:pt x="72" y="40"/>
                  </a:lnTo>
                  <a:lnTo>
                    <a:pt x="74" y="34"/>
                  </a:lnTo>
                  <a:lnTo>
                    <a:pt x="74" y="32"/>
                  </a:lnTo>
                  <a:lnTo>
                    <a:pt x="76" y="30"/>
                  </a:lnTo>
                  <a:lnTo>
                    <a:pt x="76" y="24"/>
                  </a:lnTo>
                  <a:lnTo>
                    <a:pt x="74" y="20"/>
                  </a:lnTo>
                  <a:lnTo>
                    <a:pt x="72" y="18"/>
                  </a:lnTo>
                  <a:lnTo>
                    <a:pt x="72" y="16"/>
                  </a:lnTo>
                  <a:lnTo>
                    <a:pt x="72" y="14"/>
                  </a:lnTo>
                  <a:lnTo>
                    <a:pt x="74" y="12"/>
                  </a:lnTo>
                  <a:lnTo>
                    <a:pt x="76" y="10"/>
                  </a:lnTo>
                  <a:lnTo>
                    <a:pt x="80" y="6"/>
                  </a:lnTo>
                  <a:lnTo>
                    <a:pt x="84" y="6"/>
                  </a:lnTo>
                  <a:lnTo>
                    <a:pt x="90" y="4"/>
                  </a:lnTo>
                  <a:lnTo>
                    <a:pt x="90" y="6"/>
                  </a:lnTo>
                  <a:lnTo>
                    <a:pt x="92" y="8"/>
                  </a:lnTo>
                  <a:lnTo>
                    <a:pt x="94" y="10"/>
                  </a:lnTo>
                  <a:lnTo>
                    <a:pt x="96" y="14"/>
                  </a:lnTo>
                  <a:lnTo>
                    <a:pt x="96" y="16"/>
                  </a:lnTo>
                  <a:lnTo>
                    <a:pt x="98" y="16"/>
                  </a:lnTo>
                  <a:lnTo>
                    <a:pt x="100" y="14"/>
                  </a:lnTo>
                  <a:lnTo>
                    <a:pt x="104" y="14"/>
                  </a:lnTo>
                  <a:lnTo>
                    <a:pt x="110" y="12"/>
                  </a:lnTo>
                  <a:lnTo>
                    <a:pt x="116" y="12"/>
                  </a:lnTo>
                  <a:lnTo>
                    <a:pt x="122" y="12"/>
                  </a:lnTo>
                  <a:lnTo>
                    <a:pt x="122" y="12"/>
                  </a:lnTo>
                  <a:lnTo>
                    <a:pt x="126" y="12"/>
                  </a:lnTo>
                  <a:lnTo>
                    <a:pt x="130" y="12"/>
                  </a:lnTo>
                  <a:lnTo>
                    <a:pt x="134" y="10"/>
                  </a:lnTo>
                  <a:lnTo>
                    <a:pt x="180" y="0"/>
                  </a:lnTo>
                  <a:lnTo>
                    <a:pt x="180" y="2"/>
                  </a:lnTo>
                  <a:lnTo>
                    <a:pt x="182" y="4"/>
                  </a:lnTo>
                  <a:lnTo>
                    <a:pt x="184" y="6"/>
                  </a:lnTo>
                  <a:lnTo>
                    <a:pt x="188" y="10"/>
                  </a:lnTo>
                  <a:lnTo>
                    <a:pt x="194" y="12"/>
                  </a:lnTo>
                  <a:lnTo>
                    <a:pt x="200" y="14"/>
                  </a:lnTo>
                  <a:lnTo>
                    <a:pt x="202" y="14"/>
                  </a:lnTo>
                  <a:lnTo>
                    <a:pt x="204" y="16"/>
                  </a:lnTo>
                  <a:lnTo>
                    <a:pt x="208" y="16"/>
                  </a:lnTo>
                  <a:lnTo>
                    <a:pt x="212" y="18"/>
                  </a:lnTo>
                  <a:lnTo>
                    <a:pt x="216" y="24"/>
                  </a:lnTo>
                  <a:lnTo>
                    <a:pt x="218" y="24"/>
                  </a:lnTo>
                  <a:lnTo>
                    <a:pt x="222" y="24"/>
                  </a:lnTo>
                  <a:lnTo>
                    <a:pt x="228" y="24"/>
                  </a:lnTo>
                  <a:lnTo>
                    <a:pt x="236" y="26"/>
                  </a:lnTo>
                  <a:lnTo>
                    <a:pt x="244" y="26"/>
                  </a:lnTo>
                  <a:lnTo>
                    <a:pt x="244" y="26"/>
                  </a:lnTo>
                  <a:lnTo>
                    <a:pt x="244" y="28"/>
                  </a:lnTo>
                  <a:lnTo>
                    <a:pt x="242" y="32"/>
                  </a:lnTo>
                  <a:lnTo>
                    <a:pt x="242" y="36"/>
                  </a:lnTo>
                  <a:lnTo>
                    <a:pt x="242" y="38"/>
                  </a:lnTo>
                  <a:lnTo>
                    <a:pt x="240" y="40"/>
                  </a:lnTo>
                  <a:lnTo>
                    <a:pt x="238" y="42"/>
                  </a:lnTo>
                  <a:lnTo>
                    <a:pt x="238" y="46"/>
                  </a:lnTo>
                  <a:lnTo>
                    <a:pt x="238" y="50"/>
                  </a:lnTo>
                  <a:lnTo>
                    <a:pt x="238" y="52"/>
                  </a:lnTo>
                  <a:lnTo>
                    <a:pt x="238" y="56"/>
                  </a:lnTo>
                  <a:lnTo>
                    <a:pt x="236" y="60"/>
                  </a:lnTo>
                  <a:lnTo>
                    <a:pt x="234" y="64"/>
                  </a:lnTo>
                  <a:lnTo>
                    <a:pt x="232" y="70"/>
                  </a:lnTo>
                  <a:lnTo>
                    <a:pt x="230" y="74"/>
                  </a:lnTo>
                  <a:lnTo>
                    <a:pt x="230" y="102"/>
                  </a:lnTo>
                  <a:lnTo>
                    <a:pt x="230" y="106"/>
                  </a:lnTo>
                  <a:lnTo>
                    <a:pt x="234" y="118"/>
                  </a:lnTo>
                  <a:lnTo>
                    <a:pt x="238" y="134"/>
                  </a:lnTo>
                  <a:lnTo>
                    <a:pt x="240" y="152"/>
                  </a:lnTo>
                  <a:lnTo>
                    <a:pt x="244" y="170"/>
                  </a:lnTo>
                  <a:lnTo>
                    <a:pt x="248" y="184"/>
                  </a:lnTo>
                  <a:lnTo>
                    <a:pt x="250" y="192"/>
                  </a:lnTo>
                  <a:lnTo>
                    <a:pt x="250" y="194"/>
                  </a:lnTo>
                  <a:lnTo>
                    <a:pt x="248" y="194"/>
                  </a:lnTo>
                  <a:lnTo>
                    <a:pt x="246" y="194"/>
                  </a:lnTo>
                  <a:lnTo>
                    <a:pt x="242" y="194"/>
                  </a:lnTo>
                  <a:lnTo>
                    <a:pt x="240" y="194"/>
                  </a:lnTo>
                  <a:lnTo>
                    <a:pt x="236" y="194"/>
                  </a:lnTo>
                  <a:lnTo>
                    <a:pt x="232" y="196"/>
                  </a:lnTo>
                  <a:lnTo>
                    <a:pt x="230" y="198"/>
                  </a:lnTo>
                  <a:lnTo>
                    <a:pt x="228" y="200"/>
                  </a:lnTo>
                  <a:lnTo>
                    <a:pt x="226" y="204"/>
                  </a:lnTo>
                  <a:lnTo>
                    <a:pt x="226" y="210"/>
                  </a:lnTo>
                  <a:lnTo>
                    <a:pt x="226" y="210"/>
                  </a:lnTo>
                  <a:lnTo>
                    <a:pt x="228" y="214"/>
                  </a:lnTo>
                  <a:lnTo>
                    <a:pt x="230" y="218"/>
                  </a:lnTo>
                  <a:lnTo>
                    <a:pt x="232" y="224"/>
                  </a:lnTo>
                  <a:lnTo>
                    <a:pt x="234" y="228"/>
                  </a:lnTo>
                  <a:lnTo>
                    <a:pt x="236" y="234"/>
                  </a:lnTo>
                  <a:lnTo>
                    <a:pt x="238" y="238"/>
                  </a:lnTo>
                  <a:lnTo>
                    <a:pt x="240" y="240"/>
                  </a:lnTo>
                  <a:lnTo>
                    <a:pt x="254" y="242"/>
                  </a:lnTo>
                  <a:lnTo>
                    <a:pt x="254" y="256"/>
                  </a:lnTo>
                  <a:lnTo>
                    <a:pt x="250" y="258"/>
                  </a:lnTo>
                  <a:lnTo>
                    <a:pt x="238" y="254"/>
                  </a:lnTo>
                  <a:lnTo>
                    <a:pt x="222" y="244"/>
                  </a:lnTo>
                  <a:lnTo>
                    <a:pt x="214" y="230"/>
                  </a:lnTo>
                  <a:lnTo>
                    <a:pt x="214" y="232"/>
                  </a:lnTo>
                  <a:lnTo>
                    <a:pt x="212" y="232"/>
                  </a:lnTo>
                  <a:lnTo>
                    <a:pt x="210" y="230"/>
                  </a:lnTo>
                  <a:lnTo>
                    <a:pt x="208" y="230"/>
                  </a:lnTo>
                  <a:lnTo>
                    <a:pt x="206" y="228"/>
                  </a:lnTo>
                  <a:lnTo>
                    <a:pt x="206" y="224"/>
                  </a:lnTo>
                  <a:lnTo>
                    <a:pt x="206" y="226"/>
                  </a:lnTo>
                  <a:lnTo>
                    <a:pt x="204" y="228"/>
                  </a:lnTo>
                  <a:lnTo>
                    <a:pt x="204" y="230"/>
                  </a:lnTo>
                  <a:lnTo>
                    <a:pt x="200" y="230"/>
                  </a:lnTo>
                  <a:lnTo>
                    <a:pt x="198" y="230"/>
                  </a:lnTo>
                  <a:lnTo>
                    <a:pt x="192" y="230"/>
                  </a:lnTo>
                  <a:lnTo>
                    <a:pt x="182" y="228"/>
                  </a:lnTo>
                  <a:lnTo>
                    <a:pt x="170" y="226"/>
                  </a:lnTo>
                  <a:lnTo>
                    <a:pt x="164" y="224"/>
                  </a:lnTo>
                  <a:lnTo>
                    <a:pt x="162" y="224"/>
                  </a:lnTo>
                  <a:lnTo>
                    <a:pt x="160" y="222"/>
                  </a:lnTo>
                  <a:lnTo>
                    <a:pt x="158" y="222"/>
                  </a:lnTo>
                  <a:lnTo>
                    <a:pt x="158" y="220"/>
                  </a:lnTo>
                  <a:lnTo>
                    <a:pt x="156" y="220"/>
                  </a:lnTo>
                  <a:lnTo>
                    <a:pt x="156" y="220"/>
                  </a:lnTo>
                  <a:lnTo>
                    <a:pt x="154" y="218"/>
                  </a:lnTo>
                  <a:lnTo>
                    <a:pt x="150" y="218"/>
                  </a:lnTo>
                  <a:lnTo>
                    <a:pt x="146" y="218"/>
                  </a:lnTo>
                  <a:lnTo>
                    <a:pt x="144" y="218"/>
                  </a:lnTo>
                  <a:lnTo>
                    <a:pt x="140" y="218"/>
                  </a:lnTo>
                  <a:lnTo>
                    <a:pt x="136" y="218"/>
                  </a:lnTo>
                  <a:lnTo>
                    <a:pt x="130" y="218"/>
                  </a:lnTo>
                  <a:lnTo>
                    <a:pt x="124" y="220"/>
                  </a:lnTo>
                  <a:lnTo>
                    <a:pt x="110" y="218"/>
                  </a:lnTo>
                  <a:lnTo>
                    <a:pt x="110" y="218"/>
                  </a:lnTo>
                  <a:lnTo>
                    <a:pt x="110" y="214"/>
                  </a:lnTo>
                  <a:lnTo>
                    <a:pt x="112" y="210"/>
                  </a:lnTo>
                  <a:lnTo>
                    <a:pt x="112" y="206"/>
                  </a:lnTo>
                  <a:lnTo>
                    <a:pt x="112" y="200"/>
                  </a:lnTo>
                  <a:lnTo>
                    <a:pt x="110" y="196"/>
                  </a:lnTo>
                  <a:lnTo>
                    <a:pt x="110" y="196"/>
                  </a:lnTo>
                  <a:lnTo>
                    <a:pt x="108" y="192"/>
                  </a:lnTo>
                  <a:lnTo>
                    <a:pt x="108" y="186"/>
                  </a:lnTo>
                  <a:lnTo>
                    <a:pt x="108" y="182"/>
                  </a:lnTo>
                  <a:lnTo>
                    <a:pt x="108" y="176"/>
                  </a:lnTo>
                  <a:lnTo>
                    <a:pt x="98" y="176"/>
                  </a:lnTo>
                  <a:lnTo>
                    <a:pt x="98" y="170"/>
                  </a:lnTo>
                  <a:lnTo>
                    <a:pt x="84" y="172"/>
                  </a:lnTo>
                  <a:lnTo>
                    <a:pt x="84" y="172"/>
                  </a:lnTo>
                  <a:lnTo>
                    <a:pt x="82" y="176"/>
                  </a:lnTo>
                  <a:lnTo>
                    <a:pt x="82" y="180"/>
                  </a:lnTo>
                  <a:lnTo>
                    <a:pt x="82" y="184"/>
                  </a:lnTo>
                  <a:lnTo>
                    <a:pt x="60" y="182"/>
                  </a:lnTo>
                  <a:lnTo>
                    <a:pt x="52" y="158"/>
                  </a:lnTo>
                  <a:lnTo>
                    <a:pt x="48" y="158"/>
                  </a:lnTo>
                  <a:lnTo>
                    <a:pt x="38" y="158"/>
                  </a:lnTo>
                  <a:lnTo>
                    <a:pt x="28" y="158"/>
                  </a:lnTo>
                  <a:lnTo>
                    <a:pt x="20" y="160"/>
                  </a:lnTo>
                  <a:lnTo>
                    <a:pt x="2" y="162"/>
                  </a:lnTo>
                  <a:lnTo>
                    <a:pt x="0" y="15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6" name="Freeform 473"/>
            <p:cNvSpPr/>
            <p:nvPr/>
          </p:nvSpPr>
          <p:spPr bwMode="gray">
            <a:xfrm>
              <a:off x="1246168" y="4924297"/>
              <a:ext cx="359171" cy="222018"/>
            </a:xfrm>
            <a:custGeom>
              <a:gdLst>
                <a:gd fmla="*/ 142 w 194" name="T0"/>
                <a:gd fmla="*/ 2 h 120" name="T1"/>
                <a:gd fmla="*/ 138 w 194" name="T2"/>
                <a:gd fmla="*/ 2 h 120" name="T3"/>
                <a:gd fmla="*/ 132 w 194" name="T4"/>
                <a:gd fmla="*/ 2 h 120" name="T5"/>
                <a:gd fmla="*/ 124 w 194" name="T6"/>
                <a:gd fmla="*/ 4 h 120" name="T7"/>
                <a:gd fmla="*/ 120 w 194" name="T8"/>
                <a:gd fmla="*/ 8 h 120" name="T9"/>
                <a:gd fmla="*/ 118 w 194" name="T10"/>
                <a:gd fmla="*/ 18 h 120" name="T11"/>
                <a:gd fmla="*/ 120 w 194" name="T12"/>
                <a:gd fmla="*/ 22 h 120" name="T13"/>
                <a:gd fmla="*/ 124 w 194" name="T14"/>
                <a:gd fmla="*/ 32 h 120" name="T15"/>
                <a:gd fmla="*/ 128 w 194" name="T16"/>
                <a:gd fmla="*/ 42 h 120" name="T17"/>
                <a:gd fmla="*/ 132 w 194" name="T18"/>
                <a:gd fmla="*/ 48 h 120" name="T19"/>
                <a:gd fmla="*/ 146 w 194" name="T20"/>
                <a:gd fmla="*/ 64 h 120" name="T21"/>
                <a:gd fmla="*/ 130 w 194" name="T22"/>
                <a:gd fmla="*/ 62 h 120" name="T23"/>
                <a:gd fmla="*/ 106 w 194" name="T24"/>
                <a:gd fmla="*/ 38 h 120" name="T25"/>
                <a:gd fmla="*/ 104 w 194" name="T26"/>
                <a:gd fmla="*/ 40 h 120" name="T27"/>
                <a:gd fmla="*/ 100 w 194" name="T28"/>
                <a:gd fmla="*/ 38 h 120" name="T29"/>
                <a:gd fmla="*/ 98 w 194" name="T30"/>
                <a:gd fmla="*/ 32 h 120" name="T31"/>
                <a:gd fmla="*/ 96 w 194" name="T32"/>
                <a:gd fmla="*/ 36 h 120" name="T33"/>
                <a:gd fmla="*/ 92 w 194" name="T34"/>
                <a:gd fmla="*/ 38 h 120" name="T35"/>
                <a:gd fmla="*/ 84 w 194" name="T36"/>
                <a:gd fmla="*/ 38 h 120" name="T37"/>
                <a:gd fmla="*/ 62 w 194" name="T38"/>
                <a:gd fmla="*/ 34 h 120" name="T39"/>
                <a:gd fmla="*/ 54 w 194" name="T40"/>
                <a:gd fmla="*/ 32 h 120" name="T41"/>
                <a:gd fmla="*/ 50 w 194" name="T42"/>
                <a:gd fmla="*/ 30 h 120" name="T43"/>
                <a:gd fmla="*/ 48 w 194" name="T44"/>
                <a:gd fmla="*/ 28 h 120" name="T45"/>
                <a:gd fmla="*/ 46 w 194" name="T46"/>
                <a:gd fmla="*/ 26 h 120" name="T47"/>
                <a:gd fmla="*/ 38 w 194" name="T48"/>
                <a:gd fmla="*/ 26 h 120" name="T49"/>
                <a:gd fmla="*/ 32 w 194" name="T50"/>
                <a:gd fmla="*/ 26 h 120" name="T51"/>
                <a:gd fmla="*/ 22 w 194" name="T52"/>
                <a:gd fmla="*/ 26 h 120" name="T53"/>
                <a:gd fmla="*/ 16 w 194" name="T54"/>
                <a:gd fmla="*/ 28 h 120" name="T55"/>
                <a:gd fmla="*/ 16 w 194" name="T56"/>
                <a:gd fmla="*/ 38 h 120" name="T57"/>
                <a:gd fmla="*/ 14 w 194" name="T58"/>
                <a:gd fmla="*/ 48 h 120" name="T59"/>
                <a:gd fmla="*/ 16 w 194" name="T60"/>
                <a:gd fmla="*/ 54 h 120" name="T61"/>
                <a:gd fmla="*/ 0 w 194" name="T62"/>
                <a:gd fmla="*/ 102 h 120" name="T63"/>
                <a:gd fmla="*/ 2 w 194" name="T64"/>
                <a:gd fmla="*/ 104 h 120" name="T65"/>
                <a:gd fmla="*/ 8 w 194" name="T66"/>
                <a:gd fmla="*/ 112 h 120" name="T67"/>
                <a:gd fmla="*/ 18 w 194" name="T68"/>
                <a:gd fmla="*/ 118 h 120" name="T69"/>
                <a:gd fmla="*/ 24 w 194" name="T70"/>
                <a:gd fmla="*/ 116 h 120" name="T71"/>
                <a:gd fmla="*/ 36 w 194" name="T72"/>
                <a:gd fmla="*/ 116 h 120" name="T73"/>
                <a:gd fmla="*/ 48 w 194" name="T74"/>
                <a:gd fmla="*/ 116 h 120" name="T75"/>
                <a:gd fmla="*/ 60 w 194" name="T76"/>
                <a:gd fmla="*/ 118 h 120" name="T77"/>
                <a:gd fmla="*/ 72 w 194" name="T78"/>
                <a:gd fmla="*/ 120 h 120" name="T79"/>
                <a:gd fmla="*/ 82 w 194" name="T80"/>
                <a:gd fmla="*/ 120 h 120" name="T81"/>
                <a:gd fmla="*/ 102 w 194" name="T82"/>
                <a:gd fmla="*/ 118 h 120" name="T83"/>
                <a:gd fmla="*/ 114 w 194" name="T84"/>
                <a:gd fmla="*/ 104 h 120" name="T85"/>
                <a:gd fmla="*/ 192 w 194" name="T86"/>
                <a:gd fmla="*/ 64 h 120" name="T87"/>
                <a:gd fmla="*/ 194 w 194" name="T88"/>
                <a:gd fmla="*/ 50 h 120" name="T89"/>
                <a:gd fmla="*/ 190 w 194" name="T90"/>
                <a:gd fmla="*/ 34 h 120" name="T91"/>
                <a:gd fmla="*/ 174 w 194" name="T92"/>
                <a:gd fmla="*/ 10 h 120" name="T93"/>
                <a:gd fmla="*/ 142 w 194" name="T94"/>
                <a:gd fmla="*/ 0 h 120"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120" w="194">
                  <a:moveTo>
                    <a:pt x="142" y="0"/>
                  </a:moveTo>
                  <a:lnTo>
                    <a:pt x="142" y="2"/>
                  </a:lnTo>
                  <a:lnTo>
                    <a:pt x="140" y="2"/>
                  </a:lnTo>
                  <a:lnTo>
                    <a:pt x="138" y="2"/>
                  </a:lnTo>
                  <a:lnTo>
                    <a:pt x="134" y="2"/>
                  </a:lnTo>
                  <a:lnTo>
                    <a:pt x="132" y="2"/>
                  </a:lnTo>
                  <a:lnTo>
                    <a:pt x="128" y="2"/>
                  </a:lnTo>
                  <a:lnTo>
                    <a:pt x="124" y="4"/>
                  </a:lnTo>
                  <a:lnTo>
                    <a:pt x="122" y="6"/>
                  </a:lnTo>
                  <a:lnTo>
                    <a:pt x="120" y="8"/>
                  </a:lnTo>
                  <a:lnTo>
                    <a:pt x="118" y="12"/>
                  </a:lnTo>
                  <a:lnTo>
                    <a:pt x="118" y="18"/>
                  </a:lnTo>
                  <a:lnTo>
                    <a:pt x="118" y="18"/>
                  </a:lnTo>
                  <a:lnTo>
                    <a:pt x="120" y="22"/>
                  </a:lnTo>
                  <a:lnTo>
                    <a:pt x="122" y="26"/>
                  </a:lnTo>
                  <a:lnTo>
                    <a:pt x="124" y="32"/>
                  </a:lnTo>
                  <a:lnTo>
                    <a:pt x="126" y="36"/>
                  </a:lnTo>
                  <a:lnTo>
                    <a:pt x="128" y="42"/>
                  </a:lnTo>
                  <a:lnTo>
                    <a:pt x="130" y="46"/>
                  </a:lnTo>
                  <a:lnTo>
                    <a:pt x="132" y="48"/>
                  </a:lnTo>
                  <a:lnTo>
                    <a:pt x="146" y="50"/>
                  </a:lnTo>
                  <a:lnTo>
                    <a:pt x="146" y="64"/>
                  </a:lnTo>
                  <a:lnTo>
                    <a:pt x="142" y="66"/>
                  </a:lnTo>
                  <a:lnTo>
                    <a:pt x="130" y="62"/>
                  </a:lnTo>
                  <a:lnTo>
                    <a:pt x="114" y="52"/>
                  </a:lnTo>
                  <a:lnTo>
                    <a:pt x="106" y="38"/>
                  </a:lnTo>
                  <a:lnTo>
                    <a:pt x="106" y="40"/>
                  </a:lnTo>
                  <a:lnTo>
                    <a:pt x="104" y="40"/>
                  </a:lnTo>
                  <a:lnTo>
                    <a:pt x="102" y="38"/>
                  </a:lnTo>
                  <a:lnTo>
                    <a:pt x="100" y="38"/>
                  </a:lnTo>
                  <a:lnTo>
                    <a:pt x="98" y="36"/>
                  </a:lnTo>
                  <a:lnTo>
                    <a:pt x="98" y="32"/>
                  </a:lnTo>
                  <a:lnTo>
                    <a:pt x="98" y="34"/>
                  </a:lnTo>
                  <a:lnTo>
                    <a:pt x="96" y="36"/>
                  </a:lnTo>
                  <a:lnTo>
                    <a:pt x="96" y="38"/>
                  </a:lnTo>
                  <a:lnTo>
                    <a:pt x="92" y="38"/>
                  </a:lnTo>
                  <a:lnTo>
                    <a:pt x="90" y="38"/>
                  </a:lnTo>
                  <a:lnTo>
                    <a:pt x="84" y="38"/>
                  </a:lnTo>
                  <a:lnTo>
                    <a:pt x="74" y="36"/>
                  </a:lnTo>
                  <a:lnTo>
                    <a:pt x="62" y="34"/>
                  </a:lnTo>
                  <a:lnTo>
                    <a:pt x="56" y="32"/>
                  </a:lnTo>
                  <a:lnTo>
                    <a:pt x="54" y="32"/>
                  </a:lnTo>
                  <a:lnTo>
                    <a:pt x="52" y="30"/>
                  </a:lnTo>
                  <a:lnTo>
                    <a:pt x="50" y="30"/>
                  </a:lnTo>
                  <a:lnTo>
                    <a:pt x="50" y="28"/>
                  </a:lnTo>
                  <a:lnTo>
                    <a:pt x="48" y="28"/>
                  </a:lnTo>
                  <a:lnTo>
                    <a:pt x="48" y="28"/>
                  </a:lnTo>
                  <a:lnTo>
                    <a:pt x="46" y="26"/>
                  </a:lnTo>
                  <a:lnTo>
                    <a:pt x="42" y="26"/>
                  </a:lnTo>
                  <a:lnTo>
                    <a:pt x="38" y="26"/>
                  </a:lnTo>
                  <a:lnTo>
                    <a:pt x="36" y="26"/>
                  </a:lnTo>
                  <a:lnTo>
                    <a:pt x="32" y="26"/>
                  </a:lnTo>
                  <a:lnTo>
                    <a:pt x="28" y="26"/>
                  </a:lnTo>
                  <a:lnTo>
                    <a:pt x="22" y="26"/>
                  </a:lnTo>
                  <a:lnTo>
                    <a:pt x="16" y="28"/>
                  </a:lnTo>
                  <a:lnTo>
                    <a:pt x="16" y="28"/>
                  </a:lnTo>
                  <a:lnTo>
                    <a:pt x="16" y="32"/>
                  </a:lnTo>
                  <a:lnTo>
                    <a:pt x="16" y="38"/>
                  </a:lnTo>
                  <a:lnTo>
                    <a:pt x="14" y="42"/>
                  </a:lnTo>
                  <a:lnTo>
                    <a:pt x="14" y="48"/>
                  </a:lnTo>
                  <a:lnTo>
                    <a:pt x="16" y="52"/>
                  </a:lnTo>
                  <a:lnTo>
                    <a:pt x="16" y="54"/>
                  </a:lnTo>
                  <a:lnTo>
                    <a:pt x="0" y="56"/>
                  </a:lnTo>
                  <a:lnTo>
                    <a:pt x="0" y="102"/>
                  </a:lnTo>
                  <a:lnTo>
                    <a:pt x="0" y="102"/>
                  </a:lnTo>
                  <a:lnTo>
                    <a:pt x="2" y="104"/>
                  </a:lnTo>
                  <a:lnTo>
                    <a:pt x="4" y="108"/>
                  </a:lnTo>
                  <a:lnTo>
                    <a:pt x="8" y="112"/>
                  </a:lnTo>
                  <a:lnTo>
                    <a:pt x="12" y="114"/>
                  </a:lnTo>
                  <a:lnTo>
                    <a:pt x="18" y="118"/>
                  </a:lnTo>
                  <a:lnTo>
                    <a:pt x="20" y="118"/>
                  </a:lnTo>
                  <a:lnTo>
                    <a:pt x="24" y="116"/>
                  </a:lnTo>
                  <a:lnTo>
                    <a:pt x="30" y="116"/>
                  </a:lnTo>
                  <a:lnTo>
                    <a:pt x="36" y="116"/>
                  </a:lnTo>
                  <a:lnTo>
                    <a:pt x="46" y="116"/>
                  </a:lnTo>
                  <a:lnTo>
                    <a:pt x="48" y="116"/>
                  </a:lnTo>
                  <a:lnTo>
                    <a:pt x="54" y="116"/>
                  </a:lnTo>
                  <a:lnTo>
                    <a:pt x="60" y="118"/>
                  </a:lnTo>
                  <a:lnTo>
                    <a:pt x="66" y="118"/>
                  </a:lnTo>
                  <a:lnTo>
                    <a:pt x="72" y="120"/>
                  </a:lnTo>
                  <a:lnTo>
                    <a:pt x="78" y="120"/>
                  </a:lnTo>
                  <a:lnTo>
                    <a:pt x="82" y="120"/>
                  </a:lnTo>
                  <a:lnTo>
                    <a:pt x="90" y="120"/>
                  </a:lnTo>
                  <a:lnTo>
                    <a:pt x="102" y="118"/>
                  </a:lnTo>
                  <a:lnTo>
                    <a:pt x="110" y="114"/>
                  </a:lnTo>
                  <a:lnTo>
                    <a:pt x="114" y="104"/>
                  </a:lnTo>
                  <a:lnTo>
                    <a:pt x="192" y="88"/>
                  </a:lnTo>
                  <a:lnTo>
                    <a:pt x="192" y="64"/>
                  </a:lnTo>
                  <a:lnTo>
                    <a:pt x="190" y="56"/>
                  </a:lnTo>
                  <a:lnTo>
                    <a:pt x="194" y="50"/>
                  </a:lnTo>
                  <a:lnTo>
                    <a:pt x="194" y="46"/>
                  </a:lnTo>
                  <a:lnTo>
                    <a:pt x="190" y="34"/>
                  </a:lnTo>
                  <a:lnTo>
                    <a:pt x="184" y="20"/>
                  </a:lnTo>
                  <a:lnTo>
                    <a:pt x="174" y="10"/>
                  </a:lnTo>
                  <a:lnTo>
                    <a:pt x="160" y="4"/>
                  </a:lnTo>
                  <a:lnTo>
                    <a:pt x="142"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7" name="Freeform 474"/>
            <p:cNvSpPr/>
            <p:nvPr/>
          </p:nvSpPr>
          <p:spPr bwMode="gray">
            <a:xfrm>
              <a:off x="1035109" y="5124113"/>
              <a:ext cx="355468" cy="307125"/>
            </a:xfrm>
            <a:custGeom>
              <a:gdLst>
                <a:gd fmla="*/ 130 w 192" name="T0"/>
                <a:gd fmla="*/ 10 h 166" name="T1"/>
                <a:gd fmla="*/ 122 w 192" name="T2"/>
                <a:gd fmla="*/ 10 h 166" name="T3"/>
                <a:gd fmla="*/ 112 w 192" name="T4"/>
                <a:gd fmla="*/ 12 h 166" name="T5"/>
                <a:gd fmla="*/ 104 w 192" name="T6"/>
                <a:gd fmla="*/ 14 h 166" name="T7"/>
                <a:gd fmla="*/ 98 w 192" name="T8"/>
                <a:gd fmla="*/ 14 h 166" name="T9"/>
                <a:gd fmla="*/ 88 w 192" name="T10"/>
                <a:gd fmla="*/ 12 h 166" name="T11"/>
                <a:gd fmla="*/ 80 w 192" name="T12"/>
                <a:gd fmla="*/ 10 h 166" name="T13"/>
                <a:gd fmla="*/ 34 w 192" name="T14"/>
                <a:gd fmla="*/ 8 h 166" name="T15"/>
                <a:gd fmla="*/ 30 w 192" name="T16"/>
                <a:gd fmla="*/ 8 h 166" name="T17"/>
                <a:gd fmla="*/ 24 w 192" name="T18"/>
                <a:gd fmla="*/ 6 h 166" name="T19"/>
                <a:gd fmla="*/ 20 w 192" name="T20"/>
                <a:gd fmla="*/ 2 h 166" name="T21"/>
                <a:gd fmla="*/ 14 w 192" name="T22"/>
                <a:gd fmla="*/ 0 h 166" name="T23"/>
                <a:gd fmla="*/ 2 w 192" name="T24"/>
                <a:gd fmla="*/ 2 h 166" name="T25"/>
                <a:gd fmla="*/ 2 w 192" name="T26"/>
                <a:gd fmla="*/ 12 h 166" name="T27"/>
                <a:gd fmla="*/ 12 w 192" name="T28"/>
                <a:gd fmla="*/ 32 h 166" name="T29"/>
                <a:gd fmla="*/ 18 w 192" name="T30"/>
                <a:gd fmla="*/ 54 h 166" name="T31"/>
                <a:gd fmla="*/ 24 w 192" name="T32"/>
                <a:gd fmla="*/ 72 h 166" name="T33"/>
                <a:gd fmla="*/ 34 w 192" name="T34"/>
                <a:gd fmla="*/ 110 h 166" name="T35"/>
                <a:gd fmla="*/ 46 w 192" name="T36"/>
                <a:gd fmla="*/ 136 h 166" name="T37"/>
                <a:gd fmla="*/ 48 w 192" name="T38"/>
                <a:gd fmla="*/ 140 h 166" name="T39"/>
                <a:gd fmla="*/ 52 w 192" name="T40"/>
                <a:gd fmla="*/ 148 h 166" name="T41"/>
                <a:gd fmla="*/ 58 w 192" name="T42"/>
                <a:gd fmla="*/ 158 h 166" name="T43"/>
                <a:gd fmla="*/ 60 w 192" name="T44"/>
                <a:gd fmla="*/ 164 h 166" name="T45"/>
                <a:gd fmla="*/ 72 w 192" name="T46"/>
                <a:gd fmla="*/ 160 h 166" name="T47"/>
                <a:gd fmla="*/ 74 w 192" name="T48"/>
                <a:gd fmla="*/ 156 h 166" name="T49"/>
                <a:gd fmla="*/ 76 w 192" name="T50"/>
                <a:gd fmla="*/ 152 h 166" name="T51"/>
                <a:gd fmla="*/ 78 w 192" name="T52"/>
                <a:gd fmla="*/ 150 h 166" name="T53"/>
                <a:gd fmla="*/ 82 w 192" name="T54"/>
                <a:gd fmla="*/ 152 h 166" name="T55"/>
                <a:gd fmla="*/ 82 w 192" name="T56"/>
                <a:gd fmla="*/ 156 h 166" name="T57"/>
                <a:gd fmla="*/ 82 w 192" name="T58"/>
                <a:gd fmla="*/ 162 h 166" name="T59"/>
                <a:gd fmla="*/ 86 w 192" name="T60"/>
                <a:gd fmla="*/ 164 h 166" name="T61"/>
                <a:gd fmla="*/ 94 w 192" name="T62"/>
                <a:gd fmla="*/ 164 h 166" name="T63"/>
                <a:gd fmla="*/ 104 w 192" name="T64"/>
                <a:gd fmla="*/ 166 h 166" name="T65"/>
                <a:gd fmla="*/ 112 w 192" name="T66"/>
                <a:gd fmla="*/ 162 h 166" name="T67"/>
                <a:gd fmla="*/ 114 w 192" name="T68"/>
                <a:gd fmla="*/ 60 h 166" name="T69"/>
                <a:gd fmla="*/ 128 w 192" name="T70"/>
                <a:gd fmla="*/ 16 h 166" name="T71"/>
                <a:gd fmla="*/ 144 w 192" name="T72"/>
                <a:gd fmla="*/ 16 h 166" name="T73"/>
                <a:gd fmla="*/ 164 w 192" name="T74"/>
                <a:gd fmla="*/ 16 h 166" name="T75"/>
                <a:gd fmla="*/ 168 w 192" name="T76"/>
                <a:gd fmla="*/ 18 h 166" name="T77"/>
                <a:gd fmla="*/ 170 w 192" name="T78"/>
                <a:gd fmla="*/ 22 h 166" name="T79"/>
                <a:gd fmla="*/ 172 w 192" name="T80"/>
                <a:gd fmla="*/ 20 h 166" name="T81"/>
                <a:gd fmla="*/ 182 w 192" name="T82"/>
                <a:gd fmla="*/ 16 h 166" name="T83"/>
                <a:gd fmla="*/ 190 w 192" name="T84"/>
                <a:gd fmla="*/ 12 h 166" name="T85"/>
                <a:gd fmla="*/ 188 w 192" name="T86"/>
                <a:gd fmla="*/ 12 h 166" name="T87"/>
                <a:gd fmla="*/ 166 w 192" name="T88"/>
                <a:gd fmla="*/ 8 h 166" name="T89"/>
                <a:gd fmla="*/ 132 w 192" name="T90"/>
                <a:gd fmla="*/ 10 h 166"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166" w="192">
                  <a:moveTo>
                    <a:pt x="132" y="10"/>
                  </a:moveTo>
                  <a:lnTo>
                    <a:pt x="130" y="10"/>
                  </a:lnTo>
                  <a:lnTo>
                    <a:pt x="128" y="10"/>
                  </a:lnTo>
                  <a:lnTo>
                    <a:pt x="122" y="10"/>
                  </a:lnTo>
                  <a:lnTo>
                    <a:pt x="118" y="12"/>
                  </a:lnTo>
                  <a:lnTo>
                    <a:pt x="112" y="12"/>
                  </a:lnTo>
                  <a:lnTo>
                    <a:pt x="106" y="14"/>
                  </a:lnTo>
                  <a:lnTo>
                    <a:pt x="104" y="14"/>
                  </a:lnTo>
                  <a:lnTo>
                    <a:pt x="102" y="14"/>
                  </a:lnTo>
                  <a:lnTo>
                    <a:pt x="98" y="14"/>
                  </a:lnTo>
                  <a:lnTo>
                    <a:pt x="94" y="14"/>
                  </a:lnTo>
                  <a:lnTo>
                    <a:pt x="88" y="12"/>
                  </a:lnTo>
                  <a:lnTo>
                    <a:pt x="84" y="12"/>
                  </a:lnTo>
                  <a:lnTo>
                    <a:pt x="80" y="10"/>
                  </a:lnTo>
                  <a:lnTo>
                    <a:pt x="76" y="8"/>
                  </a:lnTo>
                  <a:lnTo>
                    <a:pt x="34" y="8"/>
                  </a:lnTo>
                  <a:lnTo>
                    <a:pt x="32" y="8"/>
                  </a:lnTo>
                  <a:lnTo>
                    <a:pt x="30" y="8"/>
                  </a:lnTo>
                  <a:lnTo>
                    <a:pt x="26" y="8"/>
                  </a:lnTo>
                  <a:lnTo>
                    <a:pt x="24" y="6"/>
                  </a:lnTo>
                  <a:lnTo>
                    <a:pt x="20" y="2"/>
                  </a:lnTo>
                  <a:lnTo>
                    <a:pt x="20" y="2"/>
                  </a:lnTo>
                  <a:lnTo>
                    <a:pt x="18" y="0"/>
                  </a:lnTo>
                  <a:lnTo>
                    <a:pt x="14" y="0"/>
                  </a:lnTo>
                  <a:lnTo>
                    <a:pt x="8" y="0"/>
                  </a:lnTo>
                  <a:lnTo>
                    <a:pt x="2" y="2"/>
                  </a:lnTo>
                  <a:lnTo>
                    <a:pt x="0" y="10"/>
                  </a:lnTo>
                  <a:lnTo>
                    <a:pt x="2" y="12"/>
                  </a:lnTo>
                  <a:lnTo>
                    <a:pt x="6" y="20"/>
                  </a:lnTo>
                  <a:lnTo>
                    <a:pt x="12" y="32"/>
                  </a:lnTo>
                  <a:lnTo>
                    <a:pt x="16" y="42"/>
                  </a:lnTo>
                  <a:lnTo>
                    <a:pt x="18" y="54"/>
                  </a:lnTo>
                  <a:lnTo>
                    <a:pt x="20" y="58"/>
                  </a:lnTo>
                  <a:lnTo>
                    <a:pt x="24" y="72"/>
                  </a:lnTo>
                  <a:lnTo>
                    <a:pt x="28" y="90"/>
                  </a:lnTo>
                  <a:lnTo>
                    <a:pt x="34" y="110"/>
                  </a:lnTo>
                  <a:lnTo>
                    <a:pt x="42" y="126"/>
                  </a:lnTo>
                  <a:lnTo>
                    <a:pt x="46" y="136"/>
                  </a:lnTo>
                  <a:lnTo>
                    <a:pt x="48" y="136"/>
                  </a:lnTo>
                  <a:lnTo>
                    <a:pt x="48" y="140"/>
                  </a:lnTo>
                  <a:lnTo>
                    <a:pt x="50" y="144"/>
                  </a:lnTo>
                  <a:lnTo>
                    <a:pt x="52" y="148"/>
                  </a:lnTo>
                  <a:lnTo>
                    <a:pt x="56" y="152"/>
                  </a:lnTo>
                  <a:lnTo>
                    <a:pt x="58" y="158"/>
                  </a:lnTo>
                  <a:lnTo>
                    <a:pt x="60" y="162"/>
                  </a:lnTo>
                  <a:lnTo>
                    <a:pt x="60" y="164"/>
                  </a:lnTo>
                  <a:lnTo>
                    <a:pt x="72" y="160"/>
                  </a:lnTo>
                  <a:lnTo>
                    <a:pt x="72" y="160"/>
                  </a:lnTo>
                  <a:lnTo>
                    <a:pt x="74" y="158"/>
                  </a:lnTo>
                  <a:lnTo>
                    <a:pt x="74" y="156"/>
                  </a:lnTo>
                  <a:lnTo>
                    <a:pt x="76" y="154"/>
                  </a:lnTo>
                  <a:lnTo>
                    <a:pt x="76" y="152"/>
                  </a:lnTo>
                  <a:lnTo>
                    <a:pt x="76" y="152"/>
                  </a:lnTo>
                  <a:lnTo>
                    <a:pt x="78" y="150"/>
                  </a:lnTo>
                  <a:lnTo>
                    <a:pt x="80" y="152"/>
                  </a:lnTo>
                  <a:lnTo>
                    <a:pt x="82" y="152"/>
                  </a:lnTo>
                  <a:lnTo>
                    <a:pt x="82" y="154"/>
                  </a:lnTo>
                  <a:lnTo>
                    <a:pt x="82" y="156"/>
                  </a:lnTo>
                  <a:lnTo>
                    <a:pt x="82" y="160"/>
                  </a:lnTo>
                  <a:lnTo>
                    <a:pt x="82" y="162"/>
                  </a:lnTo>
                  <a:lnTo>
                    <a:pt x="84" y="164"/>
                  </a:lnTo>
                  <a:lnTo>
                    <a:pt x="86" y="164"/>
                  </a:lnTo>
                  <a:lnTo>
                    <a:pt x="88" y="164"/>
                  </a:lnTo>
                  <a:lnTo>
                    <a:pt x="94" y="164"/>
                  </a:lnTo>
                  <a:lnTo>
                    <a:pt x="98" y="166"/>
                  </a:lnTo>
                  <a:lnTo>
                    <a:pt x="104" y="166"/>
                  </a:lnTo>
                  <a:lnTo>
                    <a:pt x="108" y="164"/>
                  </a:lnTo>
                  <a:lnTo>
                    <a:pt x="112" y="162"/>
                  </a:lnTo>
                  <a:lnTo>
                    <a:pt x="114" y="160"/>
                  </a:lnTo>
                  <a:lnTo>
                    <a:pt x="114" y="60"/>
                  </a:lnTo>
                  <a:lnTo>
                    <a:pt x="128" y="60"/>
                  </a:lnTo>
                  <a:lnTo>
                    <a:pt x="128" y="16"/>
                  </a:lnTo>
                  <a:lnTo>
                    <a:pt x="132" y="16"/>
                  </a:lnTo>
                  <a:lnTo>
                    <a:pt x="144" y="16"/>
                  </a:lnTo>
                  <a:lnTo>
                    <a:pt x="156" y="14"/>
                  </a:lnTo>
                  <a:lnTo>
                    <a:pt x="164" y="16"/>
                  </a:lnTo>
                  <a:lnTo>
                    <a:pt x="164" y="16"/>
                  </a:lnTo>
                  <a:lnTo>
                    <a:pt x="168" y="18"/>
                  </a:lnTo>
                  <a:lnTo>
                    <a:pt x="168" y="20"/>
                  </a:lnTo>
                  <a:lnTo>
                    <a:pt x="170" y="22"/>
                  </a:lnTo>
                  <a:lnTo>
                    <a:pt x="170" y="22"/>
                  </a:lnTo>
                  <a:lnTo>
                    <a:pt x="172" y="20"/>
                  </a:lnTo>
                  <a:lnTo>
                    <a:pt x="176" y="18"/>
                  </a:lnTo>
                  <a:lnTo>
                    <a:pt x="182" y="16"/>
                  </a:lnTo>
                  <a:lnTo>
                    <a:pt x="186" y="14"/>
                  </a:lnTo>
                  <a:lnTo>
                    <a:pt x="190" y="12"/>
                  </a:lnTo>
                  <a:lnTo>
                    <a:pt x="192" y="12"/>
                  </a:lnTo>
                  <a:lnTo>
                    <a:pt x="188" y="12"/>
                  </a:lnTo>
                  <a:lnTo>
                    <a:pt x="178" y="10"/>
                  </a:lnTo>
                  <a:lnTo>
                    <a:pt x="166" y="8"/>
                  </a:lnTo>
                  <a:lnTo>
                    <a:pt x="156" y="8"/>
                  </a:lnTo>
                  <a:lnTo>
                    <a:pt x="132" y="1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8" name="Freeform 475"/>
            <p:cNvSpPr/>
            <p:nvPr/>
          </p:nvSpPr>
          <p:spPr bwMode="gray">
            <a:xfrm>
              <a:off x="1246168" y="5150015"/>
              <a:ext cx="222168" cy="255321"/>
            </a:xfrm>
            <a:custGeom>
              <a:gdLst>
                <a:gd fmla="*/ 98 w 120" name="T0"/>
                <a:gd fmla="*/ 48 h 138" name="T1"/>
                <a:gd fmla="*/ 98 w 120" name="T2"/>
                <a:gd fmla="*/ 44 h 138" name="T3"/>
                <a:gd fmla="*/ 96 w 120" name="T4"/>
                <a:gd fmla="*/ 38 h 138" name="T5"/>
                <a:gd fmla="*/ 90 w 120" name="T6"/>
                <a:gd fmla="*/ 32 h 138" name="T7"/>
                <a:gd fmla="*/ 88 w 120" name="T8"/>
                <a:gd fmla="*/ 28 h 138" name="T9"/>
                <a:gd fmla="*/ 84 w 120" name="T10"/>
                <a:gd fmla="*/ 22 h 138" name="T11"/>
                <a:gd fmla="*/ 80 w 120" name="T12"/>
                <a:gd fmla="*/ 10 h 138" name="T13"/>
                <a:gd fmla="*/ 78 w 120" name="T14"/>
                <a:gd fmla="*/ 0 h 138" name="T15"/>
                <a:gd fmla="*/ 76 w 120" name="T16"/>
                <a:gd fmla="*/ 0 h 138" name="T17"/>
                <a:gd fmla="*/ 68 w 120" name="T18"/>
                <a:gd fmla="*/ 2 h 138" name="T19"/>
                <a:gd fmla="*/ 60 w 120" name="T20"/>
                <a:gd fmla="*/ 6 h 138" name="T21"/>
                <a:gd fmla="*/ 56 w 120" name="T22"/>
                <a:gd fmla="*/ 10 h 138" name="T23"/>
                <a:gd fmla="*/ 46 w 120" name="T24"/>
                <a:gd fmla="*/ 2 h 138" name="T25"/>
                <a:gd fmla="*/ 26 w 120" name="T26"/>
                <a:gd fmla="*/ 2 h 138" name="T27"/>
                <a:gd fmla="*/ 14 w 120" name="T28"/>
                <a:gd fmla="*/ 4 h 138" name="T29"/>
                <a:gd fmla="*/ 0 w 120" name="T30"/>
                <a:gd fmla="*/ 48 h 138" name="T31"/>
                <a:gd fmla="*/ 2 w 120" name="T32"/>
                <a:gd fmla="*/ 102 h 138" name="T33"/>
                <a:gd fmla="*/ 6 w 120" name="T34"/>
                <a:gd fmla="*/ 104 h 138" name="T35"/>
                <a:gd fmla="*/ 12 w 120" name="T36"/>
                <a:gd fmla="*/ 112 h 138" name="T37"/>
                <a:gd fmla="*/ 12 w 120" name="T38"/>
                <a:gd fmla="*/ 126 h 138" name="T39"/>
                <a:gd fmla="*/ 10 w 120" name="T40"/>
                <a:gd fmla="*/ 128 h 138" name="T41"/>
                <a:gd fmla="*/ 8 w 120" name="T42"/>
                <a:gd fmla="*/ 134 h 138" name="T43"/>
                <a:gd fmla="*/ 12 w 120" name="T44"/>
                <a:gd fmla="*/ 138 h 138" name="T45"/>
                <a:gd fmla="*/ 20 w 120" name="T46"/>
                <a:gd fmla="*/ 136 h 138" name="T47"/>
                <a:gd fmla="*/ 32 w 120" name="T48"/>
                <a:gd fmla="*/ 130 h 138" name="T49"/>
                <a:gd fmla="*/ 40 w 120" name="T50"/>
                <a:gd fmla="*/ 124 h 138" name="T51"/>
                <a:gd fmla="*/ 42 w 120" name="T52"/>
                <a:gd fmla="*/ 118 h 138" name="T53"/>
                <a:gd fmla="*/ 44 w 120" name="T54"/>
                <a:gd fmla="*/ 112 h 138" name="T55"/>
                <a:gd fmla="*/ 46 w 120" name="T56"/>
                <a:gd fmla="*/ 110 h 138" name="T57"/>
                <a:gd fmla="*/ 52 w 120" name="T58"/>
                <a:gd fmla="*/ 108 h 138" name="T59"/>
                <a:gd fmla="*/ 60 w 120" name="T60"/>
                <a:gd fmla="*/ 110 h 138" name="T61"/>
                <a:gd fmla="*/ 64 w 120" name="T62"/>
                <a:gd fmla="*/ 114 h 138" name="T63"/>
                <a:gd fmla="*/ 70 w 120" name="T64"/>
                <a:gd fmla="*/ 116 h 138" name="T65"/>
                <a:gd fmla="*/ 74 w 120" name="T66"/>
                <a:gd fmla="*/ 114 h 138" name="T67"/>
                <a:gd fmla="*/ 76 w 120" name="T68"/>
                <a:gd fmla="*/ 106 h 138" name="T69"/>
                <a:gd fmla="*/ 82 w 120" name="T70"/>
                <a:gd fmla="*/ 98 h 138" name="T71"/>
                <a:gd fmla="*/ 90 w 120" name="T72"/>
                <a:gd fmla="*/ 90 h 138" name="T73"/>
                <a:gd fmla="*/ 94 w 120" name="T74"/>
                <a:gd fmla="*/ 88 h 138" name="T75"/>
                <a:gd fmla="*/ 104 w 120" name="T76"/>
                <a:gd fmla="*/ 84 h 138" name="T77"/>
                <a:gd fmla="*/ 108 w 120" name="T78"/>
                <a:gd fmla="*/ 80 h 138" name="T79"/>
                <a:gd fmla="*/ 112 w 120" name="T80"/>
                <a:gd fmla="*/ 78 h 138" name="T81"/>
                <a:gd fmla="*/ 118 w 120" name="T82"/>
                <a:gd fmla="*/ 72 h 138" name="T83"/>
                <a:gd fmla="*/ 120 w 120" name="T84"/>
                <a:gd fmla="*/ 68 h 138" name="T85"/>
                <a:gd fmla="*/ 116 w 120" name="T86"/>
                <a:gd fmla="*/ 62 h 138" name="T87"/>
                <a:gd fmla="*/ 112 w 120" name="T88"/>
                <a:gd fmla="*/ 60 h 138" name="T89"/>
                <a:gd fmla="*/ 110 w 120" name="T90"/>
                <a:gd fmla="*/ 60 h 138" name="T91"/>
                <a:gd fmla="*/ 106 w 120" name="T92"/>
                <a:gd fmla="*/ 56 h 138" name="T93"/>
                <a:gd fmla="*/ 102 w 120" name="T94"/>
                <a:gd fmla="*/ 48 h 138"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138" w="120">
                  <a:moveTo>
                    <a:pt x="102" y="48"/>
                  </a:moveTo>
                  <a:lnTo>
                    <a:pt x="98" y="48"/>
                  </a:lnTo>
                  <a:lnTo>
                    <a:pt x="100" y="46"/>
                  </a:lnTo>
                  <a:lnTo>
                    <a:pt x="98" y="44"/>
                  </a:lnTo>
                  <a:lnTo>
                    <a:pt x="98" y="40"/>
                  </a:lnTo>
                  <a:lnTo>
                    <a:pt x="96" y="38"/>
                  </a:lnTo>
                  <a:lnTo>
                    <a:pt x="92" y="34"/>
                  </a:lnTo>
                  <a:lnTo>
                    <a:pt x="90" y="32"/>
                  </a:lnTo>
                  <a:lnTo>
                    <a:pt x="90" y="30"/>
                  </a:lnTo>
                  <a:lnTo>
                    <a:pt x="88" y="28"/>
                  </a:lnTo>
                  <a:lnTo>
                    <a:pt x="86" y="26"/>
                  </a:lnTo>
                  <a:lnTo>
                    <a:pt x="84" y="22"/>
                  </a:lnTo>
                  <a:lnTo>
                    <a:pt x="82" y="16"/>
                  </a:lnTo>
                  <a:lnTo>
                    <a:pt x="80" y="10"/>
                  </a:lnTo>
                  <a:lnTo>
                    <a:pt x="80" y="4"/>
                  </a:lnTo>
                  <a:lnTo>
                    <a:pt x="78" y="0"/>
                  </a:lnTo>
                  <a:lnTo>
                    <a:pt x="78" y="0"/>
                  </a:lnTo>
                  <a:lnTo>
                    <a:pt x="76" y="0"/>
                  </a:lnTo>
                  <a:lnTo>
                    <a:pt x="72" y="0"/>
                  </a:lnTo>
                  <a:lnTo>
                    <a:pt x="68" y="2"/>
                  </a:lnTo>
                  <a:lnTo>
                    <a:pt x="64" y="4"/>
                  </a:lnTo>
                  <a:lnTo>
                    <a:pt x="60" y="6"/>
                  </a:lnTo>
                  <a:lnTo>
                    <a:pt x="56" y="8"/>
                  </a:lnTo>
                  <a:lnTo>
                    <a:pt x="56" y="10"/>
                  </a:lnTo>
                  <a:lnTo>
                    <a:pt x="52" y="4"/>
                  </a:lnTo>
                  <a:lnTo>
                    <a:pt x="46" y="2"/>
                  </a:lnTo>
                  <a:lnTo>
                    <a:pt x="36" y="0"/>
                  </a:lnTo>
                  <a:lnTo>
                    <a:pt x="26" y="2"/>
                  </a:lnTo>
                  <a:lnTo>
                    <a:pt x="18" y="2"/>
                  </a:lnTo>
                  <a:lnTo>
                    <a:pt x="14" y="4"/>
                  </a:lnTo>
                  <a:lnTo>
                    <a:pt x="14" y="46"/>
                  </a:lnTo>
                  <a:lnTo>
                    <a:pt x="0" y="48"/>
                  </a:lnTo>
                  <a:lnTo>
                    <a:pt x="0" y="100"/>
                  </a:lnTo>
                  <a:lnTo>
                    <a:pt x="2" y="102"/>
                  </a:lnTo>
                  <a:lnTo>
                    <a:pt x="4" y="102"/>
                  </a:lnTo>
                  <a:lnTo>
                    <a:pt x="6" y="104"/>
                  </a:lnTo>
                  <a:lnTo>
                    <a:pt x="10" y="108"/>
                  </a:lnTo>
                  <a:lnTo>
                    <a:pt x="12" y="112"/>
                  </a:lnTo>
                  <a:lnTo>
                    <a:pt x="14" y="118"/>
                  </a:lnTo>
                  <a:lnTo>
                    <a:pt x="12" y="126"/>
                  </a:lnTo>
                  <a:lnTo>
                    <a:pt x="12" y="126"/>
                  </a:lnTo>
                  <a:lnTo>
                    <a:pt x="10" y="128"/>
                  </a:lnTo>
                  <a:lnTo>
                    <a:pt x="8" y="130"/>
                  </a:lnTo>
                  <a:lnTo>
                    <a:pt x="8" y="134"/>
                  </a:lnTo>
                  <a:lnTo>
                    <a:pt x="10" y="136"/>
                  </a:lnTo>
                  <a:lnTo>
                    <a:pt x="12" y="138"/>
                  </a:lnTo>
                  <a:lnTo>
                    <a:pt x="16" y="138"/>
                  </a:lnTo>
                  <a:lnTo>
                    <a:pt x="20" y="136"/>
                  </a:lnTo>
                  <a:lnTo>
                    <a:pt x="26" y="134"/>
                  </a:lnTo>
                  <a:lnTo>
                    <a:pt x="32" y="130"/>
                  </a:lnTo>
                  <a:lnTo>
                    <a:pt x="38" y="124"/>
                  </a:lnTo>
                  <a:lnTo>
                    <a:pt x="40" y="124"/>
                  </a:lnTo>
                  <a:lnTo>
                    <a:pt x="40" y="122"/>
                  </a:lnTo>
                  <a:lnTo>
                    <a:pt x="42" y="118"/>
                  </a:lnTo>
                  <a:lnTo>
                    <a:pt x="44" y="116"/>
                  </a:lnTo>
                  <a:lnTo>
                    <a:pt x="44" y="112"/>
                  </a:lnTo>
                  <a:lnTo>
                    <a:pt x="44" y="112"/>
                  </a:lnTo>
                  <a:lnTo>
                    <a:pt x="46" y="110"/>
                  </a:lnTo>
                  <a:lnTo>
                    <a:pt x="50" y="110"/>
                  </a:lnTo>
                  <a:lnTo>
                    <a:pt x="52" y="108"/>
                  </a:lnTo>
                  <a:lnTo>
                    <a:pt x="56" y="108"/>
                  </a:lnTo>
                  <a:lnTo>
                    <a:pt x="60" y="110"/>
                  </a:lnTo>
                  <a:lnTo>
                    <a:pt x="64" y="114"/>
                  </a:lnTo>
                  <a:lnTo>
                    <a:pt x="64" y="114"/>
                  </a:lnTo>
                  <a:lnTo>
                    <a:pt x="68" y="116"/>
                  </a:lnTo>
                  <a:lnTo>
                    <a:pt x="70" y="116"/>
                  </a:lnTo>
                  <a:lnTo>
                    <a:pt x="74" y="116"/>
                  </a:lnTo>
                  <a:lnTo>
                    <a:pt x="74" y="114"/>
                  </a:lnTo>
                  <a:lnTo>
                    <a:pt x="74" y="112"/>
                  </a:lnTo>
                  <a:lnTo>
                    <a:pt x="76" y="106"/>
                  </a:lnTo>
                  <a:lnTo>
                    <a:pt x="80" y="102"/>
                  </a:lnTo>
                  <a:lnTo>
                    <a:pt x="82" y="98"/>
                  </a:lnTo>
                  <a:lnTo>
                    <a:pt x="86" y="94"/>
                  </a:lnTo>
                  <a:lnTo>
                    <a:pt x="90" y="90"/>
                  </a:lnTo>
                  <a:lnTo>
                    <a:pt x="90" y="90"/>
                  </a:lnTo>
                  <a:lnTo>
                    <a:pt x="94" y="88"/>
                  </a:lnTo>
                  <a:lnTo>
                    <a:pt x="98" y="86"/>
                  </a:lnTo>
                  <a:lnTo>
                    <a:pt x="104" y="84"/>
                  </a:lnTo>
                  <a:lnTo>
                    <a:pt x="106" y="82"/>
                  </a:lnTo>
                  <a:lnTo>
                    <a:pt x="108" y="80"/>
                  </a:lnTo>
                  <a:lnTo>
                    <a:pt x="110" y="78"/>
                  </a:lnTo>
                  <a:lnTo>
                    <a:pt x="112" y="78"/>
                  </a:lnTo>
                  <a:lnTo>
                    <a:pt x="116" y="76"/>
                  </a:lnTo>
                  <a:lnTo>
                    <a:pt x="118" y="72"/>
                  </a:lnTo>
                  <a:lnTo>
                    <a:pt x="120" y="70"/>
                  </a:lnTo>
                  <a:lnTo>
                    <a:pt x="120" y="68"/>
                  </a:lnTo>
                  <a:lnTo>
                    <a:pt x="120" y="66"/>
                  </a:lnTo>
                  <a:lnTo>
                    <a:pt x="116" y="62"/>
                  </a:lnTo>
                  <a:lnTo>
                    <a:pt x="112" y="60"/>
                  </a:lnTo>
                  <a:lnTo>
                    <a:pt x="112" y="60"/>
                  </a:lnTo>
                  <a:lnTo>
                    <a:pt x="110" y="60"/>
                  </a:lnTo>
                  <a:lnTo>
                    <a:pt x="110" y="60"/>
                  </a:lnTo>
                  <a:lnTo>
                    <a:pt x="108" y="58"/>
                  </a:lnTo>
                  <a:lnTo>
                    <a:pt x="106" y="56"/>
                  </a:lnTo>
                  <a:lnTo>
                    <a:pt x="104" y="54"/>
                  </a:lnTo>
                  <a:lnTo>
                    <a:pt x="102" y="4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19" name="Freeform 476"/>
            <p:cNvSpPr/>
            <p:nvPr/>
          </p:nvSpPr>
          <p:spPr bwMode="gray">
            <a:xfrm>
              <a:off x="1760856" y="4417356"/>
              <a:ext cx="214762" cy="303425"/>
            </a:xfrm>
            <a:custGeom>
              <a:gdLst>
                <a:gd fmla="*/ 4 w 116" name="T0"/>
                <a:gd fmla="*/ 164 h 164" name="T1"/>
                <a:gd fmla="*/ 28 w 116" name="T2"/>
                <a:gd fmla="*/ 148 h 164" name="T3"/>
                <a:gd fmla="*/ 32 w 116" name="T4"/>
                <a:gd fmla="*/ 144 h 164" name="T5"/>
                <a:gd fmla="*/ 38 w 116" name="T6"/>
                <a:gd fmla="*/ 136 h 164" name="T7"/>
                <a:gd fmla="*/ 50 w 116" name="T8"/>
                <a:gd fmla="*/ 126 h 164" name="T9"/>
                <a:gd fmla="*/ 62 w 116" name="T10"/>
                <a:gd fmla="*/ 112 h 164" name="T11"/>
                <a:gd fmla="*/ 72 w 116" name="T12"/>
                <a:gd fmla="*/ 98 h 164" name="T13"/>
                <a:gd fmla="*/ 82 w 116" name="T14"/>
                <a:gd fmla="*/ 84 h 164" name="T15"/>
                <a:gd fmla="*/ 92 w 116" name="T16"/>
                <a:gd fmla="*/ 66 h 164" name="T17"/>
                <a:gd fmla="*/ 100 w 116" name="T18"/>
                <a:gd fmla="*/ 50 h 164" name="T19"/>
                <a:gd fmla="*/ 106 w 116" name="T20"/>
                <a:gd fmla="*/ 36 h 164" name="T21"/>
                <a:gd fmla="*/ 108 w 116" name="T22"/>
                <a:gd fmla="*/ 32 h 164" name="T23"/>
                <a:gd fmla="*/ 116 w 116" name="T24"/>
                <a:gd fmla="*/ 18 h 164" name="T25"/>
                <a:gd fmla="*/ 116 w 116" name="T26"/>
                <a:gd fmla="*/ 0 h 164" name="T27"/>
                <a:gd fmla="*/ 108 w 116" name="T28"/>
                <a:gd fmla="*/ 0 h 164" name="T29"/>
                <a:gd fmla="*/ 108 w 116" name="T30"/>
                <a:gd fmla="*/ 0 h 164" name="T31"/>
                <a:gd fmla="*/ 106 w 116" name="T32"/>
                <a:gd fmla="*/ 2 h 164" name="T33"/>
                <a:gd fmla="*/ 102 w 116" name="T34"/>
                <a:gd fmla="*/ 2 h 164" name="T35"/>
                <a:gd fmla="*/ 98 w 116" name="T36"/>
                <a:gd fmla="*/ 4 h 164" name="T37"/>
                <a:gd fmla="*/ 92 w 116" name="T38"/>
                <a:gd fmla="*/ 4 h 164" name="T39"/>
                <a:gd fmla="*/ 80 w 116" name="T40"/>
                <a:gd fmla="*/ 6 h 164" name="T41"/>
                <a:gd fmla="*/ 66 w 116" name="T42"/>
                <a:gd fmla="*/ 8 h 164" name="T43"/>
                <a:gd fmla="*/ 54 w 116" name="T44"/>
                <a:gd fmla="*/ 10 h 164" name="T45"/>
                <a:gd fmla="*/ 50 w 116" name="T46"/>
                <a:gd fmla="*/ 10 h 164" name="T47"/>
                <a:gd fmla="*/ 28 w 116" name="T48"/>
                <a:gd fmla="*/ 14 h 164" name="T49"/>
                <a:gd fmla="*/ 28 w 116" name="T50"/>
                <a:gd fmla="*/ 14 h 164" name="T51"/>
                <a:gd fmla="*/ 26 w 116" name="T52"/>
                <a:gd fmla="*/ 12 h 164" name="T53"/>
                <a:gd fmla="*/ 24 w 116" name="T54"/>
                <a:gd fmla="*/ 12 h 164" name="T55"/>
                <a:gd fmla="*/ 20 w 116" name="T56"/>
                <a:gd fmla="*/ 10 h 164" name="T57"/>
                <a:gd fmla="*/ 14 w 116" name="T58"/>
                <a:gd fmla="*/ 20 h 164" name="T59"/>
                <a:gd fmla="*/ 16 w 116" name="T60"/>
                <a:gd fmla="*/ 22 h 164" name="T61"/>
                <a:gd fmla="*/ 14 w 116" name="T62"/>
                <a:gd fmla="*/ 28 h 164" name="T63"/>
                <a:gd fmla="*/ 24 w 116" name="T64"/>
                <a:gd fmla="*/ 34 h 164" name="T65"/>
                <a:gd fmla="*/ 56 w 116" name="T66"/>
                <a:gd fmla="*/ 52 h 164" name="T67"/>
                <a:gd fmla="*/ 70 w 116" name="T68"/>
                <a:gd fmla="*/ 54 h 164" name="T69"/>
                <a:gd fmla="*/ 40 w 116" name="T70"/>
                <a:gd fmla="*/ 96 h 164" name="T71"/>
                <a:gd fmla="*/ 24 w 116" name="T72"/>
                <a:gd fmla="*/ 102 h 164" name="T73"/>
                <a:gd fmla="*/ 22 w 116" name="T74"/>
                <a:gd fmla="*/ 108 h 164" name="T75"/>
                <a:gd fmla="*/ 6 w 116" name="T76"/>
                <a:gd fmla="*/ 108 h 164" name="T77"/>
                <a:gd fmla="*/ 0 w 116" name="T78"/>
                <a:gd fmla="*/ 122 h 164" name="T79"/>
                <a:gd fmla="*/ 0 w 116" name="T80"/>
                <a:gd fmla="*/ 156 h 164" name="T81"/>
                <a:gd fmla="*/ 4 w 116" name="T82"/>
                <a:gd fmla="*/ 164 h 164"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164" w="115">
                  <a:moveTo>
                    <a:pt x="4" y="164"/>
                  </a:moveTo>
                  <a:lnTo>
                    <a:pt x="28" y="148"/>
                  </a:lnTo>
                  <a:lnTo>
                    <a:pt x="32" y="144"/>
                  </a:lnTo>
                  <a:lnTo>
                    <a:pt x="38" y="136"/>
                  </a:lnTo>
                  <a:lnTo>
                    <a:pt x="50" y="126"/>
                  </a:lnTo>
                  <a:lnTo>
                    <a:pt x="62" y="112"/>
                  </a:lnTo>
                  <a:lnTo>
                    <a:pt x="72" y="98"/>
                  </a:lnTo>
                  <a:lnTo>
                    <a:pt x="82" y="84"/>
                  </a:lnTo>
                  <a:lnTo>
                    <a:pt x="92" y="66"/>
                  </a:lnTo>
                  <a:lnTo>
                    <a:pt x="100" y="50"/>
                  </a:lnTo>
                  <a:lnTo>
                    <a:pt x="106" y="36"/>
                  </a:lnTo>
                  <a:lnTo>
                    <a:pt x="108" y="32"/>
                  </a:lnTo>
                  <a:lnTo>
                    <a:pt x="116" y="18"/>
                  </a:lnTo>
                  <a:lnTo>
                    <a:pt x="116" y="0"/>
                  </a:lnTo>
                  <a:lnTo>
                    <a:pt x="108" y="0"/>
                  </a:lnTo>
                  <a:lnTo>
                    <a:pt x="108" y="0"/>
                  </a:lnTo>
                  <a:lnTo>
                    <a:pt x="106" y="2"/>
                  </a:lnTo>
                  <a:lnTo>
                    <a:pt x="102" y="2"/>
                  </a:lnTo>
                  <a:lnTo>
                    <a:pt x="98" y="4"/>
                  </a:lnTo>
                  <a:lnTo>
                    <a:pt x="92" y="4"/>
                  </a:lnTo>
                  <a:lnTo>
                    <a:pt x="80" y="6"/>
                  </a:lnTo>
                  <a:lnTo>
                    <a:pt x="66" y="8"/>
                  </a:lnTo>
                  <a:lnTo>
                    <a:pt x="54" y="10"/>
                  </a:lnTo>
                  <a:lnTo>
                    <a:pt x="50" y="10"/>
                  </a:lnTo>
                  <a:lnTo>
                    <a:pt x="28" y="14"/>
                  </a:lnTo>
                  <a:lnTo>
                    <a:pt x="28" y="14"/>
                  </a:lnTo>
                  <a:lnTo>
                    <a:pt x="26" y="12"/>
                  </a:lnTo>
                  <a:lnTo>
                    <a:pt x="24" y="12"/>
                  </a:lnTo>
                  <a:lnTo>
                    <a:pt x="20" y="10"/>
                  </a:lnTo>
                  <a:lnTo>
                    <a:pt x="14" y="20"/>
                  </a:lnTo>
                  <a:lnTo>
                    <a:pt x="16" y="22"/>
                  </a:lnTo>
                  <a:lnTo>
                    <a:pt x="14" y="28"/>
                  </a:lnTo>
                  <a:lnTo>
                    <a:pt x="24" y="34"/>
                  </a:lnTo>
                  <a:lnTo>
                    <a:pt x="56" y="52"/>
                  </a:lnTo>
                  <a:lnTo>
                    <a:pt x="70" y="54"/>
                  </a:lnTo>
                  <a:lnTo>
                    <a:pt x="40" y="96"/>
                  </a:lnTo>
                  <a:lnTo>
                    <a:pt x="24" y="102"/>
                  </a:lnTo>
                  <a:lnTo>
                    <a:pt x="22" y="108"/>
                  </a:lnTo>
                  <a:lnTo>
                    <a:pt x="6" y="108"/>
                  </a:lnTo>
                  <a:lnTo>
                    <a:pt x="0" y="122"/>
                  </a:lnTo>
                  <a:lnTo>
                    <a:pt x="0" y="156"/>
                  </a:lnTo>
                  <a:lnTo>
                    <a:pt x="4" y="16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0" name="Freeform 477"/>
            <p:cNvSpPr/>
            <p:nvPr/>
          </p:nvSpPr>
          <p:spPr bwMode="gray">
            <a:xfrm>
              <a:off x="1575717" y="4594970"/>
              <a:ext cx="196248" cy="229419"/>
            </a:xfrm>
            <a:custGeom>
              <a:gdLst>
                <a:gd fmla="*/ 66 w 106" name="T0"/>
                <a:gd fmla="*/ 116 h 124" name="T1"/>
                <a:gd fmla="*/ 82 w 106" name="T2"/>
                <a:gd fmla="*/ 100 h 124" name="T3"/>
                <a:gd fmla="*/ 102 w 106" name="T4"/>
                <a:gd fmla="*/ 68 h 124" name="T5"/>
                <a:gd fmla="*/ 104 w 106" name="T6"/>
                <a:gd fmla="*/ 68 h 124" name="T7"/>
                <a:gd fmla="*/ 100 w 106" name="T8"/>
                <a:gd fmla="*/ 60 h 124" name="T9"/>
                <a:gd fmla="*/ 100 w 106" name="T10"/>
                <a:gd fmla="*/ 26 h 124" name="T11"/>
                <a:gd fmla="*/ 106 w 106" name="T12"/>
                <a:gd fmla="*/ 12 h 124" name="T13"/>
                <a:gd fmla="*/ 104 w 106" name="T14"/>
                <a:gd fmla="*/ 6 h 124" name="T15"/>
                <a:gd fmla="*/ 84 w 106" name="T16"/>
                <a:gd fmla="*/ 10 h 124" name="T17"/>
                <a:gd fmla="*/ 76 w 106" name="T18"/>
                <a:gd fmla="*/ 18 h 124" name="T19"/>
                <a:gd fmla="*/ 58 w 106" name="T20"/>
                <a:gd fmla="*/ 16 h 124" name="T21"/>
                <a:gd fmla="*/ 40 w 106" name="T22"/>
                <a:gd fmla="*/ 0 h 124" name="T23"/>
                <a:gd fmla="*/ 26 w 106" name="T24"/>
                <a:gd fmla="*/ 0 h 124" name="T25"/>
                <a:gd fmla="*/ 26 w 106" name="T26"/>
                <a:gd fmla="*/ 0 h 124" name="T27"/>
                <a:gd fmla="*/ 26 w 106" name="T28"/>
                <a:gd fmla="*/ 0 h 124" name="T29"/>
                <a:gd fmla="*/ 24 w 106" name="T30"/>
                <a:gd fmla="*/ 2 h 124" name="T31"/>
                <a:gd fmla="*/ 22 w 106" name="T32"/>
                <a:gd fmla="*/ 4 h 124" name="T33"/>
                <a:gd fmla="*/ 16 w 106" name="T34"/>
                <a:gd fmla="*/ 4 h 124" name="T35"/>
                <a:gd fmla="*/ 8 w 106" name="T36"/>
                <a:gd fmla="*/ 6 h 124" name="T37"/>
                <a:gd fmla="*/ 10 w 106" name="T38"/>
                <a:gd fmla="*/ 12 h 124" name="T39"/>
                <a:gd fmla="*/ 14 w 106" name="T40"/>
                <a:gd fmla="*/ 40 h 124" name="T41"/>
                <a:gd fmla="*/ 0 w 106" name="T42"/>
                <a:gd fmla="*/ 56 h 124" name="T43"/>
                <a:gd fmla="*/ 0 w 106" name="T44"/>
                <a:gd fmla="*/ 56 h 124" name="T45"/>
                <a:gd fmla="*/ 2 w 106" name="T46"/>
                <a:gd fmla="*/ 58 h 124" name="T47"/>
                <a:gd fmla="*/ 4 w 106" name="T48"/>
                <a:gd fmla="*/ 62 h 124" name="T49"/>
                <a:gd fmla="*/ 4 w 106" name="T50"/>
                <a:gd fmla="*/ 66 h 124" name="T51"/>
                <a:gd fmla="*/ 6 w 106" name="T52"/>
                <a:gd fmla="*/ 70 h 124" name="T53"/>
                <a:gd fmla="*/ 4 w 106" name="T54"/>
                <a:gd fmla="*/ 74 h 124" name="T55"/>
                <a:gd fmla="*/ 2 w 106" name="T56"/>
                <a:gd fmla="*/ 78 h 124" name="T57"/>
                <a:gd fmla="*/ 46 w 106" name="T58"/>
                <a:gd fmla="*/ 110 h 124" name="T59"/>
                <a:gd fmla="*/ 46 w 106" name="T60"/>
                <a:gd fmla="*/ 110 h 124" name="T61"/>
                <a:gd fmla="*/ 48 w 106" name="T62"/>
                <a:gd fmla="*/ 112 h 124" name="T63"/>
                <a:gd fmla="*/ 48 w 106" name="T64"/>
                <a:gd fmla="*/ 114 h 124" name="T65"/>
                <a:gd fmla="*/ 50 w 106" name="T66"/>
                <a:gd fmla="*/ 116 h 124" name="T67"/>
                <a:gd fmla="*/ 62 w 106" name="T68"/>
                <a:gd fmla="*/ 124 h 124"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124" w="105">
                  <a:moveTo>
                    <a:pt x="66" y="116"/>
                  </a:moveTo>
                  <a:lnTo>
                    <a:pt x="82" y="100"/>
                  </a:lnTo>
                  <a:lnTo>
                    <a:pt x="102" y="68"/>
                  </a:lnTo>
                  <a:lnTo>
                    <a:pt x="104" y="68"/>
                  </a:lnTo>
                  <a:lnTo>
                    <a:pt x="100" y="60"/>
                  </a:lnTo>
                  <a:lnTo>
                    <a:pt x="100" y="26"/>
                  </a:lnTo>
                  <a:lnTo>
                    <a:pt x="106" y="12"/>
                  </a:lnTo>
                  <a:lnTo>
                    <a:pt x="104" y="6"/>
                  </a:lnTo>
                  <a:lnTo>
                    <a:pt x="84" y="10"/>
                  </a:lnTo>
                  <a:lnTo>
                    <a:pt x="76" y="18"/>
                  </a:lnTo>
                  <a:lnTo>
                    <a:pt x="58" y="16"/>
                  </a:lnTo>
                  <a:lnTo>
                    <a:pt x="40" y="0"/>
                  </a:lnTo>
                  <a:lnTo>
                    <a:pt x="26" y="0"/>
                  </a:lnTo>
                  <a:lnTo>
                    <a:pt x="26" y="0"/>
                  </a:lnTo>
                  <a:lnTo>
                    <a:pt x="26" y="0"/>
                  </a:lnTo>
                  <a:lnTo>
                    <a:pt x="24" y="2"/>
                  </a:lnTo>
                  <a:lnTo>
                    <a:pt x="22" y="4"/>
                  </a:lnTo>
                  <a:lnTo>
                    <a:pt x="16" y="4"/>
                  </a:lnTo>
                  <a:lnTo>
                    <a:pt x="8" y="6"/>
                  </a:lnTo>
                  <a:lnTo>
                    <a:pt x="10" y="12"/>
                  </a:lnTo>
                  <a:lnTo>
                    <a:pt x="14" y="40"/>
                  </a:lnTo>
                  <a:lnTo>
                    <a:pt x="0" y="56"/>
                  </a:lnTo>
                  <a:lnTo>
                    <a:pt x="0" y="56"/>
                  </a:lnTo>
                  <a:lnTo>
                    <a:pt x="2" y="58"/>
                  </a:lnTo>
                  <a:lnTo>
                    <a:pt x="4" y="62"/>
                  </a:lnTo>
                  <a:lnTo>
                    <a:pt x="4" y="66"/>
                  </a:lnTo>
                  <a:lnTo>
                    <a:pt x="6" y="70"/>
                  </a:lnTo>
                  <a:lnTo>
                    <a:pt x="4" y="74"/>
                  </a:lnTo>
                  <a:lnTo>
                    <a:pt x="2" y="78"/>
                  </a:lnTo>
                  <a:lnTo>
                    <a:pt x="46" y="110"/>
                  </a:lnTo>
                  <a:lnTo>
                    <a:pt x="46" y="110"/>
                  </a:lnTo>
                  <a:lnTo>
                    <a:pt x="48" y="112"/>
                  </a:lnTo>
                  <a:lnTo>
                    <a:pt x="48" y="114"/>
                  </a:lnTo>
                  <a:lnTo>
                    <a:pt x="50" y="116"/>
                  </a:lnTo>
                  <a:lnTo>
                    <a:pt x="62" y="12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1" name="Freeform 478"/>
            <p:cNvSpPr/>
            <p:nvPr/>
          </p:nvSpPr>
          <p:spPr bwMode="gray">
            <a:xfrm>
              <a:off x="1468336" y="4606071"/>
              <a:ext cx="133301" cy="140611"/>
            </a:xfrm>
            <a:custGeom>
              <a:gdLst>
                <a:gd fmla="*/ 16 w 72" name="T0"/>
                <a:gd fmla="*/ 6 h 76" name="T1"/>
                <a:gd fmla="*/ 16 w 72" name="T2"/>
                <a:gd fmla="*/ 6 h 76" name="T3"/>
                <a:gd fmla="*/ 14 w 72" name="T4"/>
                <a:gd fmla="*/ 8 h 76" name="T5"/>
                <a:gd fmla="*/ 14 w 72" name="T6"/>
                <a:gd fmla="*/ 12 h 76" name="T7"/>
                <a:gd fmla="*/ 14 w 72" name="T8"/>
                <a:gd fmla="*/ 16 h 76" name="T9"/>
                <a:gd fmla="*/ 14 w 72" name="T10"/>
                <a:gd fmla="*/ 18 h 76" name="T11"/>
                <a:gd fmla="*/ 12 w 72" name="T12"/>
                <a:gd fmla="*/ 20 h 76" name="T13"/>
                <a:gd fmla="*/ 10 w 72" name="T14"/>
                <a:gd fmla="*/ 22 h 76" name="T15"/>
                <a:gd fmla="*/ 10 w 72" name="T16"/>
                <a:gd fmla="*/ 26 h 76" name="T17"/>
                <a:gd fmla="*/ 10 w 72" name="T18"/>
                <a:gd fmla="*/ 30 h 76" name="T19"/>
                <a:gd fmla="*/ 10 w 72" name="T20"/>
                <a:gd fmla="*/ 32 h 76" name="T21"/>
                <a:gd fmla="*/ 8 w 72" name="T22"/>
                <a:gd fmla="*/ 34 h 76" name="T23"/>
                <a:gd fmla="*/ 8 w 72" name="T24"/>
                <a:gd fmla="*/ 38 h 76" name="T25"/>
                <a:gd fmla="*/ 6 w 72" name="T26"/>
                <a:gd fmla="*/ 44 h 76" name="T27"/>
                <a:gd fmla="*/ 4 w 72" name="T28"/>
                <a:gd fmla="*/ 48 h 76" name="T29"/>
                <a:gd fmla="*/ 2 w 72" name="T30"/>
                <a:gd fmla="*/ 52 h 76" name="T31"/>
                <a:gd fmla="*/ 2 w 72" name="T32"/>
                <a:gd fmla="*/ 54 h 76" name="T33"/>
                <a:gd fmla="*/ 0 w 72" name="T34"/>
                <a:gd fmla="*/ 58 h 76" name="T35"/>
                <a:gd fmla="*/ 0 w 72" name="T36"/>
                <a:gd fmla="*/ 62 h 76" name="T37"/>
                <a:gd fmla="*/ 0 w 72" name="T38"/>
                <a:gd fmla="*/ 68 h 76" name="T39"/>
                <a:gd fmla="*/ 2 w 72" name="T40"/>
                <a:gd fmla="*/ 72 h 76" name="T41"/>
                <a:gd fmla="*/ 2 w 72" name="T42"/>
                <a:gd fmla="*/ 76 h 76" name="T43"/>
                <a:gd fmla="*/ 4 w 72" name="T44"/>
                <a:gd fmla="*/ 76 h 76" name="T45"/>
                <a:gd fmla="*/ 8 w 72" name="T46"/>
                <a:gd fmla="*/ 74 h 76" name="T47"/>
                <a:gd fmla="*/ 12 w 72" name="T48"/>
                <a:gd fmla="*/ 74 h 76" name="T49"/>
                <a:gd fmla="*/ 18 w 72" name="T50"/>
                <a:gd fmla="*/ 72 h 76" name="T51"/>
                <a:gd fmla="*/ 24 w 72" name="T52"/>
                <a:gd fmla="*/ 70 h 76" name="T53"/>
                <a:gd fmla="*/ 28 w 72" name="T54"/>
                <a:gd fmla="*/ 68 h 76" name="T55"/>
                <a:gd fmla="*/ 44 w 72" name="T56"/>
                <a:gd fmla="*/ 56 h 76" name="T57"/>
                <a:gd fmla="*/ 44 w 72" name="T58"/>
                <a:gd fmla="*/ 54 h 76" name="T59"/>
                <a:gd fmla="*/ 44 w 72" name="T60"/>
                <a:gd fmla="*/ 54 h 76" name="T61"/>
                <a:gd fmla="*/ 44 w 72" name="T62"/>
                <a:gd fmla="*/ 52 h 76" name="T63"/>
                <a:gd fmla="*/ 46 w 72" name="T64"/>
                <a:gd fmla="*/ 50 h 76" name="T65"/>
                <a:gd fmla="*/ 50 w 72" name="T66"/>
                <a:gd fmla="*/ 50 h 76" name="T67"/>
                <a:gd fmla="*/ 56 w 72" name="T68"/>
                <a:gd fmla="*/ 50 h 76" name="T69"/>
                <a:gd fmla="*/ 72 w 72" name="T70"/>
                <a:gd fmla="*/ 34 h 76" name="T71"/>
                <a:gd fmla="*/ 68 w 72" name="T72"/>
                <a:gd fmla="*/ 10 h 76" name="T73"/>
                <a:gd fmla="*/ 68 w 72" name="T74"/>
                <a:gd fmla="*/ 8 h 76" name="T75"/>
                <a:gd fmla="*/ 68 w 72" name="T76"/>
                <a:gd fmla="*/ 6 h 76" name="T77"/>
                <a:gd fmla="*/ 68 w 72" name="T78"/>
                <a:gd fmla="*/ 4 h 76" name="T79"/>
                <a:gd fmla="*/ 66 w 72" name="T80"/>
                <a:gd fmla="*/ 2 h 76" name="T81"/>
                <a:gd fmla="*/ 64 w 72" name="T82"/>
                <a:gd fmla="*/ 0 h 76" name="T83"/>
                <a:gd fmla="*/ 64 w 72" name="T84"/>
                <a:gd fmla="*/ 0 h 76" name="T85"/>
                <a:gd fmla="*/ 60 w 72" name="T86"/>
                <a:gd fmla="*/ 2 h 76" name="T87"/>
                <a:gd fmla="*/ 54 w 72" name="T88"/>
                <a:gd fmla="*/ 2 h 76" name="T89"/>
                <a:gd fmla="*/ 48 w 72" name="T90"/>
                <a:gd fmla="*/ 2 h 76" name="T91"/>
                <a:gd fmla="*/ 44 w 72" name="T92"/>
                <a:gd fmla="*/ 4 h 76" name="T93"/>
                <a:gd fmla="*/ 42 w 72" name="T94"/>
                <a:gd fmla="*/ 4 h 76" name="T95"/>
                <a:gd fmla="*/ 22 w 72" name="T96"/>
                <a:gd fmla="*/ 4 h 76" name="T97"/>
                <a:gd fmla="*/ 16 w 72" name="T98"/>
                <a:gd fmla="*/ 6 h 76"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76" w="72">
                  <a:moveTo>
                    <a:pt x="16" y="6"/>
                  </a:moveTo>
                  <a:lnTo>
                    <a:pt x="16" y="6"/>
                  </a:lnTo>
                  <a:lnTo>
                    <a:pt x="14" y="8"/>
                  </a:lnTo>
                  <a:lnTo>
                    <a:pt x="14" y="12"/>
                  </a:lnTo>
                  <a:lnTo>
                    <a:pt x="14" y="16"/>
                  </a:lnTo>
                  <a:lnTo>
                    <a:pt x="14" y="18"/>
                  </a:lnTo>
                  <a:lnTo>
                    <a:pt x="12" y="20"/>
                  </a:lnTo>
                  <a:lnTo>
                    <a:pt x="10" y="22"/>
                  </a:lnTo>
                  <a:lnTo>
                    <a:pt x="10" y="26"/>
                  </a:lnTo>
                  <a:lnTo>
                    <a:pt x="10" y="30"/>
                  </a:lnTo>
                  <a:lnTo>
                    <a:pt x="10" y="32"/>
                  </a:lnTo>
                  <a:lnTo>
                    <a:pt x="8" y="34"/>
                  </a:lnTo>
                  <a:lnTo>
                    <a:pt x="8" y="38"/>
                  </a:lnTo>
                  <a:lnTo>
                    <a:pt x="6" y="44"/>
                  </a:lnTo>
                  <a:lnTo>
                    <a:pt x="4" y="48"/>
                  </a:lnTo>
                  <a:lnTo>
                    <a:pt x="2" y="52"/>
                  </a:lnTo>
                  <a:lnTo>
                    <a:pt x="2" y="54"/>
                  </a:lnTo>
                  <a:lnTo>
                    <a:pt x="0" y="58"/>
                  </a:lnTo>
                  <a:lnTo>
                    <a:pt x="0" y="62"/>
                  </a:lnTo>
                  <a:lnTo>
                    <a:pt x="0" y="68"/>
                  </a:lnTo>
                  <a:lnTo>
                    <a:pt x="2" y="72"/>
                  </a:lnTo>
                  <a:lnTo>
                    <a:pt x="2" y="76"/>
                  </a:lnTo>
                  <a:lnTo>
                    <a:pt x="4" y="76"/>
                  </a:lnTo>
                  <a:lnTo>
                    <a:pt x="8" y="74"/>
                  </a:lnTo>
                  <a:lnTo>
                    <a:pt x="12" y="74"/>
                  </a:lnTo>
                  <a:lnTo>
                    <a:pt x="18" y="72"/>
                  </a:lnTo>
                  <a:lnTo>
                    <a:pt x="24" y="70"/>
                  </a:lnTo>
                  <a:lnTo>
                    <a:pt x="28" y="68"/>
                  </a:lnTo>
                  <a:lnTo>
                    <a:pt x="44" y="56"/>
                  </a:lnTo>
                  <a:lnTo>
                    <a:pt x="44" y="54"/>
                  </a:lnTo>
                  <a:lnTo>
                    <a:pt x="44" y="54"/>
                  </a:lnTo>
                  <a:lnTo>
                    <a:pt x="44" y="52"/>
                  </a:lnTo>
                  <a:lnTo>
                    <a:pt x="46" y="50"/>
                  </a:lnTo>
                  <a:lnTo>
                    <a:pt x="50" y="50"/>
                  </a:lnTo>
                  <a:lnTo>
                    <a:pt x="56" y="50"/>
                  </a:lnTo>
                  <a:lnTo>
                    <a:pt x="72" y="34"/>
                  </a:lnTo>
                  <a:lnTo>
                    <a:pt x="68" y="10"/>
                  </a:lnTo>
                  <a:lnTo>
                    <a:pt x="68" y="8"/>
                  </a:lnTo>
                  <a:lnTo>
                    <a:pt x="68" y="6"/>
                  </a:lnTo>
                  <a:lnTo>
                    <a:pt x="68" y="4"/>
                  </a:lnTo>
                  <a:lnTo>
                    <a:pt x="66" y="2"/>
                  </a:lnTo>
                  <a:lnTo>
                    <a:pt x="64" y="0"/>
                  </a:lnTo>
                  <a:lnTo>
                    <a:pt x="64" y="0"/>
                  </a:lnTo>
                  <a:lnTo>
                    <a:pt x="60" y="2"/>
                  </a:lnTo>
                  <a:lnTo>
                    <a:pt x="54" y="2"/>
                  </a:lnTo>
                  <a:lnTo>
                    <a:pt x="48" y="2"/>
                  </a:lnTo>
                  <a:lnTo>
                    <a:pt x="44" y="4"/>
                  </a:lnTo>
                  <a:lnTo>
                    <a:pt x="42" y="4"/>
                  </a:lnTo>
                  <a:lnTo>
                    <a:pt x="22" y="4"/>
                  </a:lnTo>
                  <a:lnTo>
                    <a:pt x="16" y="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2" name="Freeform 479"/>
            <p:cNvSpPr/>
            <p:nvPr/>
          </p:nvSpPr>
          <p:spPr bwMode="gray">
            <a:xfrm>
              <a:off x="1564608" y="4276745"/>
              <a:ext cx="329549" cy="351528"/>
            </a:xfrm>
            <a:custGeom>
              <a:gdLst>
                <a:gd fmla="*/ 66 w 178" name="T0"/>
                <a:gd fmla="*/ 0 h 190" name="T1"/>
                <a:gd fmla="*/ 62 w 178" name="T2"/>
                <a:gd fmla="*/ 4 h 190" name="T3"/>
                <a:gd fmla="*/ 56 w 178" name="T4"/>
                <a:gd fmla="*/ 10 h 190" name="T5"/>
                <a:gd fmla="*/ 52 w 178" name="T6"/>
                <a:gd fmla="*/ 12 h 190" name="T7"/>
                <a:gd fmla="*/ 46 w 178" name="T8"/>
                <a:gd fmla="*/ 18 h 190" name="T9"/>
                <a:gd fmla="*/ 40 w 178" name="T10"/>
                <a:gd fmla="*/ 26 h 190" name="T11"/>
                <a:gd fmla="*/ 36 w 178" name="T12"/>
                <a:gd fmla="*/ 30 h 190" name="T13"/>
                <a:gd fmla="*/ 30 w 178" name="T14"/>
                <a:gd fmla="*/ 50 h 190" name="T15"/>
                <a:gd fmla="*/ 24 w 178" name="T16"/>
                <a:gd fmla="*/ 62 h 190" name="T17"/>
                <a:gd fmla="*/ 12 w 178" name="T18"/>
                <a:gd fmla="*/ 76 h 190" name="T19"/>
                <a:gd fmla="*/ 6 w 178" name="T20"/>
                <a:gd fmla="*/ 86 h 190" name="T21"/>
                <a:gd fmla="*/ 4 w 178" name="T22"/>
                <a:gd fmla="*/ 90 h 190" name="T23"/>
                <a:gd fmla="*/ 4 w 178" name="T24"/>
                <a:gd fmla="*/ 104 h 190" name="T25"/>
                <a:gd fmla="*/ 4 w 178" name="T26"/>
                <a:gd fmla="*/ 112 h 190" name="T27"/>
                <a:gd fmla="*/ 0 w 178" name="T28"/>
                <a:gd fmla="*/ 116 h 190" name="T29"/>
                <a:gd fmla="*/ 0 w 178" name="T30"/>
                <a:gd fmla="*/ 122 h 190" name="T31"/>
                <a:gd fmla="*/ 4 w 178" name="T32"/>
                <a:gd fmla="*/ 126 h 190" name="T33"/>
                <a:gd fmla="*/ 8 w 178" name="T34"/>
                <a:gd fmla="*/ 128 h 190" name="T35"/>
                <a:gd fmla="*/ 14 w 178" name="T36"/>
                <a:gd fmla="*/ 134 h 190" name="T37"/>
                <a:gd fmla="*/ 22 w 178" name="T38"/>
                <a:gd fmla="*/ 144 h 190" name="T39"/>
                <a:gd fmla="*/ 28 w 178" name="T40"/>
                <a:gd fmla="*/ 152 h 190" name="T41"/>
                <a:gd fmla="*/ 30 w 178" name="T42"/>
                <a:gd fmla="*/ 154 h 190" name="T43"/>
                <a:gd fmla="*/ 46 w 178" name="T44"/>
                <a:gd fmla="*/ 172 h 190" name="T45"/>
                <a:gd fmla="*/ 82 w 178" name="T46"/>
                <a:gd fmla="*/ 190 h 190" name="T47"/>
                <a:gd fmla="*/ 110 w 178" name="T48"/>
                <a:gd fmla="*/ 178 h 190" name="T49"/>
                <a:gd fmla="*/ 128 w 178" name="T50"/>
                <a:gd fmla="*/ 184 h 190" name="T51"/>
                <a:gd fmla="*/ 146 w 178" name="T52"/>
                <a:gd fmla="*/ 172 h 190" name="T53"/>
                <a:gd fmla="*/ 162 w 178" name="T54"/>
                <a:gd fmla="*/ 128 h 190" name="T55"/>
                <a:gd fmla="*/ 120 w 178" name="T56"/>
                <a:gd fmla="*/ 104 h 190" name="T57"/>
                <a:gd fmla="*/ 120 w 178" name="T58"/>
                <a:gd fmla="*/ 96 h 190" name="T59"/>
                <a:gd fmla="*/ 104 w 178" name="T60"/>
                <a:gd fmla="*/ 80 h 190" name="T61"/>
                <a:gd fmla="*/ 114 w 178" name="T62"/>
                <a:gd fmla="*/ 74 h 190" name="T63"/>
                <a:gd fmla="*/ 118 w 178" name="T64"/>
                <a:gd fmla="*/ 68 h 190" name="T65"/>
                <a:gd fmla="*/ 118 w 178" name="T66"/>
                <a:gd fmla="*/ 66 h 190" name="T67"/>
                <a:gd fmla="*/ 114 w 178" name="T68"/>
                <a:gd fmla="*/ 60 h 190" name="T69"/>
                <a:gd fmla="*/ 104 w 178" name="T70"/>
                <a:gd fmla="*/ 50 h 190" name="T71"/>
                <a:gd fmla="*/ 96 w 178" name="T72"/>
                <a:gd fmla="*/ 42 h 190" name="T73"/>
                <a:gd fmla="*/ 90 w 178" name="T74"/>
                <a:gd fmla="*/ 38 h 190" name="T75"/>
                <a:gd fmla="*/ 82 w 178" name="T76"/>
                <a:gd fmla="*/ 30 h 190" name="T77"/>
                <a:gd fmla="*/ 76 w 178" name="T78"/>
                <a:gd fmla="*/ 20 h 190" name="T79"/>
                <a:gd fmla="*/ 72 w 178" name="T80"/>
                <a:gd fmla="*/ 14 h 190" name="T81"/>
                <a:gd fmla="*/ 70 w 178" name="T82"/>
                <a:gd fmla="*/ 10 h 190" name="T83"/>
                <a:gd fmla="*/ 66 w 178" name="T84"/>
                <a:gd fmla="*/ 0 h 190"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190" w="178">
                  <a:moveTo>
                    <a:pt x="66" y="0"/>
                  </a:moveTo>
                  <a:lnTo>
                    <a:pt x="66" y="0"/>
                  </a:lnTo>
                  <a:lnTo>
                    <a:pt x="64" y="2"/>
                  </a:lnTo>
                  <a:lnTo>
                    <a:pt x="62" y="4"/>
                  </a:lnTo>
                  <a:lnTo>
                    <a:pt x="58" y="8"/>
                  </a:lnTo>
                  <a:lnTo>
                    <a:pt x="56" y="10"/>
                  </a:lnTo>
                  <a:lnTo>
                    <a:pt x="54" y="10"/>
                  </a:lnTo>
                  <a:lnTo>
                    <a:pt x="52" y="12"/>
                  </a:lnTo>
                  <a:lnTo>
                    <a:pt x="48" y="14"/>
                  </a:lnTo>
                  <a:lnTo>
                    <a:pt x="46" y="18"/>
                  </a:lnTo>
                  <a:lnTo>
                    <a:pt x="42" y="22"/>
                  </a:lnTo>
                  <a:lnTo>
                    <a:pt x="40" y="26"/>
                  </a:lnTo>
                  <a:lnTo>
                    <a:pt x="38" y="28"/>
                  </a:lnTo>
                  <a:lnTo>
                    <a:pt x="36" y="30"/>
                  </a:lnTo>
                  <a:lnTo>
                    <a:pt x="34" y="40"/>
                  </a:lnTo>
                  <a:lnTo>
                    <a:pt x="30" y="50"/>
                  </a:lnTo>
                  <a:lnTo>
                    <a:pt x="26" y="60"/>
                  </a:lnTo>
                  <a:lnTo>
                    <a:pt x="24" y="62"/>
                  </a:lnTo>
                  <a:lnTo>
                    <a:pt x="16" y="68"/>
                  </a:lnTo>
                  <a:lnTo>
                    <a:pt x="12" y="76"/>
                  </a:lnTo>
                  <a:lnTo>
                    <a:pt x="8" y="82"/>
                  </a:lnTo>
                  <a:lnTo>
                    <a:pt x="6" y="86"/>
                  </a:lnTo>
                  <a:lnTo>
                    <a:pt x="4" y="90"/>
                  </a:lnTo>
                  <a:lnTo>
                    <a:pt x="4" y="90"/>
                  </a:lnTo>
                  <a:lnTo>
                    <a:pt x="4" y="98"/>
                  </a:lnTo>
                  <a:lnTo>
                    <a:pt x="4" y="104"/>
                  </a:lnTo>
                  <a:lnTo>
                    <a:pt x="4" y="108"/>
                  </a:lnTo>
                  <a:lnTo>
                    <a:pt x="4" y="112"/>
                  </a:lnTo>
                  <a:lnTo>
                    <a:pt x="4" y="114"/>
                  </a:lnTo>
                  <a:lnTo>
                    <a:pt x="0" y="116"/>
                  </a:lnTo>
                  <a:lnTo>
                    <a:pt x="0" y="120"/>
                  </a:lnTo>
                  <a:lnTo>
                    <a:pt x="0" y="122"/>
                  </a:lnTo>
                  <a:lnTo>
                    <a:pt x="2" y="124"/>
                  </a:lnTo>
                  <a:lnTo>
                    <a:pt x="4" y="126"/>
                  </a:lnTo>
                  <a:lnTo>
                    <a:pt x="6" y="126"/>
                  </a:lnTo>
                  <a:lnTo>
                    <a:pt x="8" y="128"/>
                  </a:lnTo>
                  <a:lnTo>
                    <a:pt x="10" y="130"/>
                  </a:lnTo>
                  <a:lnTo>
                    <a:pt x="14" y="134"/>
                  </a:lnTo>
                  <a:lnTo>
                    <a:pt x="18" y="140"/>
                  </a:lnTo>
                  <a:lnTo>
                    <a:pt x="22" y="144"/>
                  </a:lnTo>
                  <a:lnTo>
                    <a:pt x="24" y="148"/>
                  </a:lnTo>
                  <a:lnTo>
                    <a:pt x="28" y="152"/>
                  </a:lnTo>
                  <a:lnTo>
                    <a:pt x="28" y="154"/>
                  </a:lnTo>
                  <a:lnTo>
                    <a:pt x="30" y="154"/>
                  </a:lnTo>
                  <a:lnTo>
                    <a:pt x="32" y="172"/>
                  </a:lnTo>
                  <a:lnTo>
                    <a:pt x="46" y="172"/>
                  </a:lnTo>
                  <a:lnTo>
                    <a:pt x="64" y="188"/>
                  </a:lnTo>
                  <a:lnTo>
                    <a:pt x="82" y="190"/>
                  </a:lnTo>
                  <a:lnTo>
                    <a:pt x="90" y="182"/>
                  </a:lnTo>
                  <a:lnTo>
                    <a:pt x="110" y="178"/>
                  </a:lnTo>
                  <a:lnTo>
                    <a:pt x="112" y="184"/>
                  </a:lnTo>
                  <a:lnTo>
                    <a:pt x="128" y="184"/>
                  </a:lnTo>
                  <a:lnTo>
                    <a:pt x="130" y="178"/>
                  </a:lnTo>
                  <a:lnTo>
                    <a:pt x="146" y="172"/>
                  </a:lnTo>
                  <a:lnTo>
                    <a:pt x="178" y="130"/>
                  </a:lnTo>
                  <a:lnTo>
                    <a:pt x="162" y="128"/>
                  </a:lnTo>
                  <a:lnTo>
                    <a:pt x="130" y="110"/>
                  </a:lnTo>
                  <a:lnTo>
                    <a:pt x="120" y="104"/>
                  </a:lnTo>
                  <a:lnTo>
                    <a:pt x="122" y="98"/>
                  </a:lnTo>
                  <a:lnTo>
                    <a:pt x="120" y="96"/>
                  </a:lnTo>
                  <a:lnTo>
                    <a:pt x="106" y="92"/>
                  </a:lnTo>
                  <a:lnTo>
                    <a:pt x="104" y="80"/>
                  </a:lnTo>
                  <a:lnTo>
                    <a:pt x="112" y="72"/>
                  </a:lnTo>
                  <a:lnTo>
                    <a:pt x="114" y="74"/>
                  </a:lnTo>
                  <a:lnTo>
                    <a:pt x="118" y="70"/>
                  </a:lnTo>
                  <a:lnTo>
                    <a:pt x="118" y="68"/>
                  </a:lnTo>
                  <a:lnTo>
                    <a:pt x="118" y="68"/>
                  </a:lnTo>
                  <a:lnTo>
                    <a:pt x="118" y="66"/>
                  </a:lnTo>
                  <a:lnTo>
                    <a:pt x="116" y="64"/>
                  </a:lnTo>
                  <a:lnTo>
                    <a:pt x="114" y="60"/>
                  </a:lnTo>
                  <a:lnTo>
                    <a:pt x="110" y="56"/>
                  </a:lnTo>
                  <a:lnTo>
                    <a:pt x="104" y="50"/>
                  </a:lnTo>
                  <a:lnTo>
                    <a:pt x="96" y="44"/>
                  </a:lnTo>
                  <a:lnTo>
                    <a:pt x="96" y="42"/>
                  </a:lnTo>
                  <a:lnTo>
                    <a:pt x="94" y="40"/>
                  </a:lnTo>
                  <a:lnTo>
                    <a:pt x="90" y="38"/>
                  </a:lnTo>
                  <a:lnTo>
                    <a:pt x="86" y="34"/>
                  </a:lnTo>
                  <a:lnTo>
                    <a:pt x="82" y="30"/>
                  </a:lnTo>
                  <a:lnTo>
                    <a:pt x="78" y="26"/>
                  </a:lnTo>
                  <a:lnTo>
                    <a:pt x="76" y="20"/>
                  </a:lnTo>
                  <a:lnTo>
                    <a:pt x="74" y="16"/>
                  </a:lnTo>
                  <a:lnTo>
                    <a:pt x="72" y="14"/>
                  </a:lnTo>
                  <a:lnTo>
                    <a:pt x="72" y="12"/>
                  </a:lnTo>
                  <a:lnTo>
                    <a:pt x="70" y="10"/>
                  </a:lnTo>
                  <a:lnTo>
                    <a:pt x="70" y="6"/>
                  </a:lnTo>
                  <a:lnTo>
                    <a:pt x="6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3" name="Freeform 480"/>
            <p:cNvSpPr/>
            <p:nvPr/>
          </p:nvSpPr>
          <p:spPr bwMode="gray">
            <a:xfrm>
              <a:off x="1472038" y="4735582"/>
              <a:ext cx="40731" cy="48104"/>
            </a:xfrm>
            <a:custGeom>
              <a:gdLst>
                <a:gd fmla="*/ 0 w 22" name="T0"/>
                <a:gd fmla="*/ 6 h 26" name="T1"/>
                <a:gd fmla="*/ 18 w 22" name="T2"/>
                <a:gd fmla="*/ 0 h 26" name="T3"/>
                <a:gd fmla="*/ 20 w 22" name="T4"/>
                <a:gd fmla="*/ 0 h 26" name="T5"/>
                <a:gd fmla="*/ 20 w 22" name="T6"/>
                <a:gd fmla="*/ 2 h 26" name="T7"/>
                <a:gd fmla="*/ 22 w 22" name="T8"/>
                <a:gd fmla="*/ 4 h 26" name="T9"/>
                <a:gd fmla="*/ 22 w 22" name="T10"/>
                <a:gd fmla="*/ 6 h 26" name="T11"/>
                <a:gd fmla="*/ 22 w 22" name="T12"/>
                <a:gd fmla="*/ 6 h 26" name="T13"/>
                <a:gd fmla="*/ 22 w 22" name="T14"/>
                <a:gd fmla="*/ 8 h 26" name="T15"/>
                <a:gd fmla="*/ 22 w 22" name="T16"/>
                <a:gd fmla="*/ 12 h 26" name="T17"/>
                <a:gd fmla="*/ 22 w 22" name="T18"/>
                <a:gd fmla="*/ 16 h 26" name="T19"/>
                <a:gd fmla="*/ 22 w 22" name="T20"/>
                <a:gd fmla="*/ 20 h 26" name="T21"/>
                <a:gd fmla="*/ 18 w 22" name="T22"/>
                <a:gd fmla="*/ 22 h 26" name="T23"/>
                <a:gd fmla="*/ 18 w 22" name="T24"/>
                <a:gd fmla="*/ 22 h 26" name="T25"/>
                <a:gd fmla="*/ 16 w 22" name="T26"/>
                <a:gd fmla="*/ 22 h 26" name="T27"/>
                <a:gd fmla="*/ 12 w 22" name="T28"/>
                <a:gd fmla="*/ 24 h 26" name="T29"/>
                <a:gd fmla="*/ 12 w 22" name="T30"/>
                <a:gd fmla="*/ 26 h 26" name="T31"/>
                <a:gd fmla="*/ 12 w 22" name="T32"/>
                <a:gd fmla="*/ 26 h 26" name="T33"/>
                <a:gd fmla="*/ 10 w 22" name="T34"/>
                <a:gd fmla="*/ 26 h 26" name="T35"/>
                <a:gd fmla="*/ 8 w 22" name="T36"/>
                <a:gd fmla="*/ 26 h 26" name="T37"/>
                <a:gd fmla="*/ 2 w 22" name="T38"/>
                <a:gd fmla="*/ 24 h 26" name="T39"/>
                <a:gd fmla="*/ 2 w 22" name="T40"/>
                <a:gd fmla="*/ 24 h 26" name="T41"/>
                <a:gd fmla="*/ 2 w 22" name="T42"/>
                <a:gd fmla="*/ 22 h 26" name="T43"/>
                <a:gd fmla="*/ 0 w 22" name="T44"/>
                <a:gd fmla="*/ 18 h 26" name="T45"/>
                <a:gd fmla="*/ 0 w 22" name="T46"/>
                <a:gd fmla="*/ 14 h 26" name="T47"/>
                <a:gd fmla="*/ 0 w 22" name="T48"/>
                <a:gd fmla="*/ 10 h 26" name="T49"/>
                <a:gd fmla="*/ 0 w 22" name="T50"/>
                <a:gd fmla="*/ 6 h 26" name="T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b="b" l="0" r="r" t="0"/>
              <a:pathLst>
                <a:path h="26" w="22">
                  <a:moveTo>
                    <a:pt x="0" y="6"/>
                  </a:moveTo>
                  <a:lnTo>
                    <a:pt x="18" y="0"/>
                  </a:lnTo>
                  <a:lnTo>
                    <a:pt x="20" y="0"/>
                  </a:lnTo>
                  <a:lnTo>
                    <a:pt x="20" y="2"/>
                  </a:lnTo>
                  <a:lnTo>
                    <a:pt x="22" y="4"/>
                  </a:lnTo>
                  <a:lnTo>
                    <a:pt x="22" y="6"/>
                  </a:lnTo>
                  <a:lnTo>
                    <a:pt x="22" y="6"/>
                  </a:lnTo>
                  <a:lnTo>
                    <a:pt x="22" y="8"/>
                  </a:lnTo>
                  <a:lnTo>
                    <a:pt x="22" y="12"/>
                  </a:lnTo>
                  <a:lnTo>
                    <a:pt x="22" y="16"/>
                  </a:lnTo>
                  <a:lnTo>
                    <a:pt x="22" y="20"/>
                  </a:lnTo>
                  <a:lnTo>
                    <a:pt x="18" y="22"/>
                  </a:lnTo>
                  <a:lnTo>
                    <a:pt x="18" y="22"/>
                  </a:lnTo>
                  <a:lnTo>
                    <a:pt x="16" y="22"/>
                  </a:lnTo>
                  <a:lnTo>
                    <a:pt x="12" y="24"/>
                  </a:lnTo>
                  <a:lnTo>
                    <a:pt x="12" y="26"/>
                  </a:lnTo>
                  <a:lnTo>
                    <a:pt x="12" y="26"/>
                  </a:lnTo>
                  <a:lnTo>
                    <a:pt x="10" y="26"/>
                  </a:lnTo>
                  <a:lnTo>
                    <a:pt x="8" y="26"/>
                  </a:lnTo>
                  <a:lnTo>
                    <a:pt x="2" y="24"/>
                  </a:lnTo>
                  <a:lnTo>
                    <a:pt x="2" y="24"/>
                  </a:lnTo>
                  <a:lnTo>
                    <a:pt x="2" y="22"/>
                  </a:lnTo>
                  <a:lnTo>
                    <a:pt x="0" y="18"/>
                  </a:lnTo>
                  <a:lnTo>
                    <a:pt x="0" y="14"/>
                  </a:lnTo>
                  <a:lnTo>
                    <a:pt x="0" y="10"/>
                  </a:lnTo>
                  <a:lnTo>
                    <a:pt x="0" y="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4" name="Freeform 481"/>
            <p:cNvSpPr/>
            <p:nvPr/>
          </p:nvSpPr>
          <p:spPr bwMode="gray">
            <a:xfrm>
              <a:off x="1475741" y="4768884"/>
              <a:ext cx="44434" cy="59205"/>
            </a:xfrm>
            <a:custGeom>
              <a:gdLst>
                <a:gd fmla="*/ 18 w 24" name="T0"/>
                <a:gd fmla="*/ 0 h 32" name="T1"/>
                <a:gd fmla="*/ 18 w 24" name="T2"/>
                <a:gd fmla="*/ 2 h 32" name="T3"/>
                <a:gd fmla="*/ 16 w 24" name="T4"/>
                <a:gd fmla="*/ 2 h 32" name="T5"/>
                <a:gd fmla="*/ 12 w 24" name="T6"/>
                <a:gd fmla="*/ 6 h 32" name="T7"/>
                <a:gd fmla="*/ 12 w 24" name="T8"/>
                <a:gd fmla="*/ 6 h 32" name="T9"/>
                <a:gd fmla="*/ 12 w 24" name="T10"/>
                <a:gd fmla="*/ 6 h 32" name="T11"/>
                <a:gd fmla="*/ 10 w 24" name="T12"/>
                <a:gd fmla="*/ 6 h 32" name="T13"/>
                <a:gd fmla="*/ 10 w 24" name="T14"/>
                <a:gd fmla="*/ 8 h 32" name="T15"/>
                <a:gd fmla="*/ 8 w 24" name="T16"/>
                <a:gd fmla="*/ 8 h 32" name="T17"/>
                <a:gd fmla="*/ 6 w 24" name="T18"/>
                <a:gd fmla="*/ 8 h 32" name="T19"/>
                <a:gd fmla="*/ 2 w 24" name="T20"/>
                <a:gd fmla="*/ 6 h 32" name="T21"/>
                <a:gd fmla="*/ 0 w 24" name="T22"/>
                <a:gd fmla="*/ 6 h 32" name="T23"/>
                <a:gd fmla="*/ 8 w 24" name="T24"/>
                <a:gd fmla="*/ 32 h 32" name="T25"/>
                <a:gd fmla="*/ 8 w 24" name="T26"/>
                <a:gd fmla="*/ 32 h 32" name="T27"/>
                <a:gd fmla="*/ 10 w 24" name="T28"/>
                <a:gd fmla="*/ 30 h 32" name="T29"/>
                <a:gd fmla="*/ 14 w 24" name="T30"/>
                <a:gd fmla="*/ 28 h 32" name="T31"/>
                <a:gd fmla="*/ 16 w 24" name="T32"/>
                <a:gd fmla="*/ 24 h 32" name="T33"/>
                <a:gd fmla="*/ 20 w 24" name="T34"/>
                <a:gd fmla="*/ 20 h 32" name="T35"/>
                <a:gd fmla="*/ 22 w 24" name="T36"/>
                <a:gd fmla="*/ 16 h 32" name="T37"/>
                <a:gd fmla="*/ 24 w 24" name="T38"/>
                <a:gd fmla="*/ 12 h 32" name="T39"/>
                <a:gd fmla="*/ 24 w 24" name="T40"/>
                <a:gd fmla="*/ 10 h 32" name="T41"/>
                <a:gd fmla="*/ 22 w 24" name="T42"/>
                <a:gd fmla="*/ 8 h 32" name="T43"/>
                <a:gd fmla="*/ 20 w 24" name="T44"/>
                <a:gd fmla="*/ 6 h 32" name="T45"/>
                <a:gd fmla="*/ 20 w 24" name="T46"/>
                <a:gd fmla="*/ 4 h 32" name="T47"/>
                <a:gd fmla="*/ 18 w 24" name="T48"/>
                <a:gd fmla="*/ 0 h 32"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32" w="24">
                  <a:moveTo>
                    <a:pt x="18" y="0"/>
                  </a:moveTo>
                  <a:lnTo>
                    <a:pt x="18" y="2"/>
                  </a:lnTo>
                  <a:lnTo>
                    <a:pt x="16" y="2"/>
                  </a:lnTo>
                  <a:lnTo>
                    <a:pt x="12" y="6"/>
                  </a:lnTo>
                  <a:lnTo>
                    <a:pt x="12" y="6"/>
                  </a:lnTo>
                  <a:lnTo>
                    <a:pt x="12" y="6"/>
                  </a:lnTo>
                  <a:lnTo>
                    <a:pt x="10" y="6"/>
                  </a:lnTo>
                  <a:lnTo>
                    <a:pt x="10" y="8"/>
                  </a:lnTo>
                  <a:lnTo>
                    <a:pt x="8" y="8"/>
                  </a:lnTo>
                  <a:lnTo>
                    <a:pt x="6" y="8"/>
                  </a:lnTo>
                  <a:lnTo>
                    <a:pt x="2" y="6"/>
                  </a:lnTo>
                  <a:lnTo>
                    <a:pt x="0" y="6"/>
                  </a:lnTo>
                  <a:lnTo>
                    <a:pt x="8" y="32"/>
                  </a:lnTo>
                  <a:lnTo>
                    <a:pt x="8" y="32"/>
                  </a:lnTo>
                  <a:lnTo>
                    <a:pt x="10" y="30"/>
                  </a:lnTo>
                  <a:lnTo>
                    <a:pt x="14" y="28"/>
                  </a:lnTo>
                  <a:lnTo>
                    <a:pt x="16" y="24"/>
                  </a:lnTo>
                  <a:lnTo>
                    <a:pt x="20" y="20"/>
                  </a:lnTo>
                  <a:lnTo>
                    <a:pt x="22" y="16"/>
                  </a:lnTo>
                  <a:lnTo>
                    <a:pt x="24" y="12"/>
                  </a:lnTo>
                  <a:lnTo>
                    <a:pt x="24" y="10"/>
                  </a:lnTo>
                  <a:lnTo>
                    <a:pt x="22" y="8"/>
                  </a:lnTo>
                  <a:lnTo>
                    <a:pt x="20" y="6"/>
                  </a:lnTo>
                  <a:lnTo>
                    <a:pt x="20" y="4"/>
                  </a:lnTo>
                  <a:lnTo>
                    <a:pt x="18"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5" name="Freeform 482"/>
            <p:cNvSpPr/>
            <p:nvPr/>
          </p:nvSpPr>
          <p:spPr bwMode="gray">
            <a:xfrm>
              <a:off x="1490552" y="4731881"/>
              <a:ext cx="233276" cy="262721"/>
            </a:xfrm>
            <a:custGeom>
              <a:gdLst>
                <a:gd fmla="*/ 40 w 126" name="T0"/>
                <a:gd fmla="*/ 4 h 142" name="T1"/>
                <a:gd fmla="*/ 40 w 126" name="T2"/>
                <a:gd fmla="*/ 6 h 142" name="T3"/>
                <a:gd fmla="*/ 38 w 126" name="T4"/>
                <a:gd fmla="*/ 12 h 142" name="T5"/>
                <a:gd fmla="*/ 32 w 126" name="T6"/>
                <a:gd fmla="*/ 18 h 142" name="T7"/>
                <a:gd fmla="*/ 28 w 126" name="T8"/>
                <a:gd fmla="*/ 18 h 142" name="T9"/>
                <a:gd fmla="*/ 22 w 126" name="T10"/>
                <a:gd fmla="*/ 12 h 142" name="T11"/>
                <a:gd fmla="*/ 18 w 126" name="T12"/>
                <a:gd fmla="*/ 6 h 142" name="T13"/>
                <a:gd fmla="*/ 10 w 126" name="T14"/>
                <a:gd fmla="*/ 2 h 142" name="T15"/>
                <a:gd fmla="*/ 10 w 126" name="T16"/>
                <a:gd fmla="*/ 6 h 142" name="T17"/>
                <a:gd fmla="*/ 12 w 126" name="T18"/>
                <a:gd fmla="*/ 14 h 142" name="T19"/>
                <a:gd fmla="*/ 14 w 126" name="T20"/>
                <a:gd fmla="*/ 16 h 142" name="T21"/>
                <a:gd fmla="*/ 12 w 126" name="T22"/>
                <a:gd fmla="*/ 22 h 142" name="T23"/>
                <a:gd fmla="*/ 12 w 126" name="T24"/>
                <a:gd fmla="*/ 26 h 142" name="T25"/>
                <a:gd fmla="*/ 16 w 126" name="T26"/>
                <a:gd fmla="*/ 32 h 142" name="T27"/>
                <a:gd fmla="*/ 16 w 126" name="T28"/>
                <a:gd fmla="*/ 34 h 142" name="T29"/>
                <a:gd fmla="*/ 14 w 126" name="T30"/>
                <a:gd fmla="*/ 38 h 142" name="T31"/>
                <a:gd fmla="*/ 6 w 126" name="T32"/>
                <a:gd fmla="*/ 48 h 142" name="T33"/>
                <a:gd fmla="*/ 10 w 126" name="T34"/>
                <a:gd fmla="*/ 104 h 142" name="T35"/>
                <a:gd fmla="*/ 14 w 126" name="T36"/>
                <a:gd fmla="*/ 104 h 142" name="T37"/>
                <a:gd fmla="*/ 22 w 126" name="T38"/>
                <a:gd fmla="*/ 106 h 142" name="T39"/>
                <a:gd fmla="*/ 30 w 126" name="T40"/>
                <a:gd fmla="*/ 108 h 142" name="T41"/>
                <a:gd fmla="*/ 34 w 126" name="T42"/>
                <a:gd fmla="*/ 108 h 142" name="T43"/>
                <a:gd fmla="*/ 40 w 126" name="T44"/>
                <a:gd fmla="*/ 108 h 142" name="T45"/>
                <a:gd fmla="*/ 48 w 126" name="T46"/>
                <a:gd fmla="*/ 108 h 142" name="T47"/>
                <a:gd fmla="*/ 56 w 126" name="T48"/>
                <a:gd fmla="*/ 116 h 142" name="T49"/>
                <a:gd fmla="*/ 60 w 126" name="T50"/>
                <a:gd fmla="*/ 126 h 142" name="T51"/>
                <a:gd fmla="*/ 62 w 126" name="T52"/>
                <a:gd fmla="*/ 132 h 142" name="T53"/>
                <a:gd fmla="*/ 68 w 126" name="T54"/>
                <a:gd fmla="*/ 142 h 142" name="T55"/>
                <a:gd fmla="*/ 84 w 126" name="T56"/>
                <a:gd fmla="*/ 140 h 142" name="T57"/>
                <a:gd fmla="*/ 106 w 126" name="T58"/>
                <a:gd fmla="*/ 142 h 142" name="T59"/>
                <a:gd fmla="*/ 110 w 126" name="T60"/>
                <a:gd fmla="*/ 108 h 142" name="T61"/>
                <a:gd fmla="*/ 106 w 126" name="T62"/>
                <a:gd fmla="*/ 90 h 142" name="T63"/>
                <a:gd fmla="*/ 102 w 126" name="T64"/>
                <a:gd fmla="*/ 84 h 142" name="T65"/>
                <a:gd fmla="*/ 100 w 126" name="T66"/>
                <a:gd fmla="*/ 76 h 142" name="T67"/>
                <a:gd fmla="*/ 110 w 126" name="T68"/>
                <a:gd fmla="*/ 50 h 142" name="T69"/>
                <a:gd fmla="*/ 96 w 126" name="T70"/>
                <a:gd fmla="*/ 42 h 142" name="T71"/>
                <a:gd fmla="*/ 94 w 126" name="T72"/>
                <a:gd fmla="*/ 38 h 142" name="T73"/>
                <a:gd fmla="*/ 48 w 126" name="T74"/>
                <a:gd fmla="*/ 4 h 142"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142" w="125">
                  <a:moveTo>
                    <a:pt x="48" y="4"/>
                  </a:moveTo>
                  <a:lnTo>
                    <a:pt x="40" y="4"/>
                  </a:lnTo>
                  <a:lnTo>
                    <a:pt x="40" y="4"/>
                  </a:lnTo>
                  <a:lnTo>
                    <a:pt x="40" y="6"/>
                  </a:lnTo>
                  <a:lnTo>
                    <a:pt x="38" y="10"/>
                  </a:lnTo>
                  <a:lnTo>
                    <a:pt x="38" y="12"/>
                  </a:lnTo>
                  <a:lnTo>
                    <a:pt x="36" y="16"/>
                  </a:lnTo>
                  <a:lnTo>
                    <a:pt x="32" y="18"/>
                  </a:lnTo>
                  <a:lnTo>
                    <a:pt x="28" y="18"/>
                  </a:lnTo>
                  <a:lnTo>
                    <a:pt x="28" y="18"/>
                  </a:lnTo>
                  <a:lnTo>
                    <a:pt x="24" y="16"/>
                  </a:lnTo>
                  <a:lnTo>
                    <a:pt x="22" y="12"/>
                  </a:lnTo>
                  <a:lnTo>
                    <a:pt x="20" y="10"/>
                  </a:lnTo>
                  <a:lnTo>
                    <a:pt x="18" y="6"/>
                  </a:lnTo>
                  <a:lnTo>
                    <a:pt x="18" y="0"/>
                  </a:lnTo>
                  <a:lnTo>
                    <a:pt x="10" y="2"/>
                  </a:lnTo>
                  <a:lnTo>
                    <a:pt x="10" y="4"/>
                  </a:lnTo>
                  <a:lnTo>
                    <a:pt x="10" y="6"/>
                  </a:lnTo>
                  <a:lnTo>
                    <a:pt x="12" y="10"/>
                  </a:lnTo>
                  <a:lnTo>
                    <a:pt x="12" y="14"/>
                  </a:lnTo>
                  <a:lnTo>
                    <a:pt x="12" y="14"/>
                  </a:lnTo>
                  <a:lnTo>
                    <a:pt x="14" y="16"/>
                  </a:lnTo>
                  <a:lnTo>
                    <a:pt x="12" y="18"/>
                  </a:lnTo>
                  <a:lnTo>
                    <a:pt x="12" y="22"/>
                  </a:lnTo>
                  <a:lnTo>
                    <a:pt x="12" y="22"/>
                  </a:lnTo>
                  <a:lnTo>
                    <a:pt x="12" y="26"/>
                  </a:lnTo>
                  <a:lnTo>
                    <a:pt x="14" y="28"/>
                  </a:lnTo>
                  <a:lnTo>
                    <a:pt x="16" y="32"/>
                  </a:lnTo>
                  <a:lnTo>
                    <a:pt x="16" y="32"/>
                  </a:lnTo>
                  <a:lnTo>
                    <a:pt x="16" y="34"/>
                  </a:lnTo>
                  <a:lnTo>
                    <a:pt x="16" y="36"/>
                  </a:lnTo>
                  <a:lnTo>
                    <a:pt x="14" y="38"/>
                  </a:lnTo>
                  <a:lnTo>
                    <a:pt x="10" y="42"/>
                  </a:lnTo>
                  <a:lnTo>
                    <a:pt x="6" y="48"/>
                  </a:lnTo>
                  <a:lnTo>
                    <a:pt x="0" y="54"/>
                  </a:lnTo>
                  <a:lnTo>
                    <a:pt x="10" y="104"/>
                  </a:lnTo>
                  <a:lnTo>
                    <a:pt x="10" y="104"/>
                  </a:lnTo>
                  <a:lnTo>
                    <a:pt x="14" y="104"/>
                  </a:lnTo>
                  <a:lnTo>
                    <a:pt x="16" y="106"/>
                  </a:lnTo>
                  <a:lnTo>
                    <a:pt x="22" y="106"/>
                  </a:lnTo>
                  <a:lnTo>
                    <a:pt x="26" y="108"/>
                  </a:lnTo>
                  <a:lnTo>
                    <a:pt x="30" y="108"/>
                  </a:lnTo>
                  <a:lnTo>
                    <a:pt x="34" y="108"/>
                  </a:lnTo>
                  <a:lnTo>
                    <a:pt x="34" y="108"/>
                  </a:lnTo>
                  <a:lnTo>
                    <a:pt x="36" y="108"/>
                  </a:lnTo>
                  <a:lnTo>
                    <a:pt x="40" y="108"/>
                  </a:lnTo>
                  <a:lnTo>
                    <a:pt x="42" y="108"/>
                  </a:lnTo>
                  <a:lnTo>
                    <a:pt x="48" y="108"/>
                  </a:lnTo>
                  <a:lnTo>
                    <a:pt x="52" y="112"/>
                  </a:lnTo>
                  <a:lnTo>
                    <a:pt x="56" y="116"/>
                  </a:lnTo>
                  <a:lnTo>
                    <a:pt x="60" y="124"/>
                  </a:lnTo>
                  <a:lnTo>
                    <a:pt x="60" y="126"/>
                  </a:lnTo>
                  <a:lnTo>
                    <a:pt x="62" y="128"/>
                  </a:lnTo>
                  <a:lnTo>
                    <a:pt x="62" y="132"/>
                  </a:lnTo>
                  <a:lnTo>
                    <a:pt x="64" y="138"/>
                  </a:lnTo>
                  <a:lnTo>
                    <a:pt x="68" y="142"/>
                  </a:lnTo>
                  <a:lnTo>
                    <a:pt x="80" y="142"/>
                  </a:lnTo>
                  <a:lnTo>
                    <a:pt x="84" y="140"/>
                  </a:lnTo>
                  <a:lnTo>
                    <a:pt x="86" y="142"/>
                  </a:lnTo>
                  <a:lnTo>
                    <a:pt x="106" y="142"/>
                  </a:lnTo>
                  <a:lnTo>
                    <a:pt x="126" y="134"/>
                  </a:lnTo>
                  <a:lnTo>
                    <a:pt x="110" y="108"/>
                  </a:lnTo>
                  <a:lnTo>
                    <a:pt x="108" y="90"/>
                  </a:lnTo>
                  <a:lnTo>
                    <a:pt x="106" y="90"/>
                  </a:lnTo>
                  <a:lnTo>
                    <a:pt x="104" y="88"/>
                  </a:lnTo>
                  <a:lnTo>
                    <a:pt x="102" y="84"/>
                  </a:lnTo>
                  <a:lnTo>
                    <a:pt x="102" y="80"/>
                  </a:lnTo>
                  <a:lnTo>
                    <a:pt x="100" y="76"/>
                  </a:lnTo>
                  <a:lnTo>
                    <a:pt x="102" y="70"/>
                  </a:lnTo>
                  <a:lnTo>
                    <a:pt x="110" y="50"/>
                  </a:lnTo>
                  <a:lnTo>
                    <a:pt x="98" y="44"/>
                  </a:lnTo>
                  <a:lnTo>
                    <a:pt x="96" y="42"/>
                  </a:lnTo>
                  <a:lnTo>
                    <a:pt x="94" y="40"/>
                  </a:lnTo>
                  <a:lnTo>
                    <a:pt x="94" y="38"/>
                  </a:lnTo>
                  <a:lnTo>
                    <a:pt x="94" y="36"/>
                  </a:lnTo>
                  <a:lnTo>
                    <a:pt x="48" y="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6" name="Freeform 483"/>
            <p:cNvSpPr/>
            <p:nvPr/>
          </p:nvSpPr>
          <p:spPr bwMode="gray">
            <a:xfrm>
              <a:off x="1520175" y="4979801"/>
              <a:ext cx="207356" cy="392232"/>
            </a:xfrm>
            <a:custGeom>
              <a:gdLst>
                <a:gd fmla="*/ 8 w 112" name="T0"/>
                <a:gd fmla="*/ 148 h 212" name="T1"/>
                <a:gd fmla="*/ 28 w 112" name="T2"/>
                <a:gd fmla="*/ 128 h 212" name="T3"/>
                <a:gd fmla="*/ 28 w 112" name="T4"/>
                <a:gd fmla="*/ 96 h 212" name="T5"/>
                <a:gd fmla="*/ 18 w 112" name="T6"/>
                <a:gd fmla="*/ 76 h 212" name="T7"/>
                <a:gd fmla="*/ 8 w 112" name="T8"/>
                <a:gd fmla="*/ 66 h 212" name="T9"/>
                <a:gd fmla="*/ 44 w 112" name="T10"/>
                <a:gd fmla="*/ 34 h 212" name="T11"/>
                <a:gd fmla="*/ 46 w 112" name="T12"/>
                <a:gd fmla="*/ 20 h 212" name="T13"/>
                <a:gd fmla="*/ 54 w 112" name="T14"/>
                <a:gd fmla="*/ 28 h 212" name="T15"/>
                <a:gd fmla="*/ 58 w 112" name="T16"/>
                <a:gd fmla="*/ 36 h 212" name="T17"/>
                <a:gd fmla="*/ 62 w 112" name="T18"/>
                <a:gd fmla="*/ 40 h 212" name="T19"/>
                <a:gd fmla="*/ 64 w 112" name="T20"/>
                <a:gd fmla="*/ 40 h 212" name="T21"/>
                <a:gd fmla="*/ 62 w 112" name="T22"/>
                <a:gd fmla="*/ 26 h 212" name="T23"/>
                <a:gd fmla="*/ 58 w 112" name="T24"/>
                <a:gd fmla="*/ 24 h 212" name="T25"/>
                <a:gd fmla="*/ 56 w 112" name="T26"/>
                <a:gd fmla="*/ 20 h 212" name="T27"/>
                <a:gd fmla="*/ 64 w 112" name="T28"/>
                <a:gd fmla="*/ 8 h 212" name="T29"/>
                <a:gd fmla="*/ 70 w 112" name="T30"/>
                <a:gd fmla="*/ 8 h 212" name="T31"/>
                <a:gd fmla="*/ 110 w 112" name="T32"/>
                <a:gd fmla="*/ 0 h 212" name="T33"/>
                <a:gd fmla="*/ 110 w 112" name="T34"/>
                <a:gd fmla="*/ 10 h 212" name="T35"/>
                <a:gd fmla="*/ 110 w 112" name="T36"/>
                <a:gd fmla="*/ 24 h 212" name="T37"/>
                <a:gd fmla="*/ 110 w 112" name="T38"/>
                <a:gd fmla="*/ 36 h 212" name="T39"/>
                <a:gd fmla="*/ 112 w 112" name="T40"/>
                <a:gd fmla="*/ 42 h 212" name="T41"/>
                <a:gd fmla="*/ 108 w 112" name="T42"/>
                <a:gd fmla="*/ 70 h 212" name="T43"/>
                <a:gd fmla="*/ 96 w 112" name="T44"/>
                <a:gd fmla="*/ 80 h 212" name="T45"/>
                <a:gd fmla="*/ 88 w 112" name="T46"/>
                <a:gd fmla="*/ 82 h 212" name="T47"/>
                <a:gd fmla="*/ 78 w 112" name="T48"/>
                <a:gd fmla="*/ 88 h 212" name="T49"/>
                <a:gd fmla="*/ 72 w 112" name="T50"/>
                <a:gd fmla="*/ 94 h 212" name="T51"/>
                <a:gd fmla="*/ 68 w 112" name="T52"/>
                <a:gd fmla="*/ 100 h 212" name="T53"/>
                <a:gd fmla="*/ 60 w 112" name="T54"/>
                <a:gd fmla="*/ 108 h 212" name="T55"/>
                <a:gd fmla="*/ 56 w 112" name="T56"/>
                <a:gd fmla="*/ 110 h 212" name="T57"/>
                <a:gd fmla="*/ 48 w 112" name="T58"/>
                <a:gd fmla="*/ 118 h 212" name="T59"/>
                <a:gd fmla="*/ 44 w 112" name="T60"/>
                <a:gd fmla="*/ 126 h 212" name="T61"/>
                <a:gd fmla="*/ 44 w 112" name="T62"/>
                <a:gd fmla="*/ 142 h 212" name="T63"/>
                <a:gd fmla="*/ 46 w 112" name="T64"/>
                <a:gd fmla="*/ 168 h 212" name="T65"/>
                <a:gd fmla="*/ 46 w 112" name="T66"/>
                <a:gd fmla="*/ 176 h 212" name="T67"/>
                <a:gd fmla="*/ 46 w 112" name="T68"/>
                <a:gd fmla="*/ 184 h 212" name="T69"/>
                <a:gd fmla="*/ 42 w 112" name="T70"/>
                <a:gd fmla="*/ 188 h 212" name="T71"/>
                <a:gd fmla="*/ 34 w 112" name="T72"/>
                <a:gd fmla="*/ 192 h 212" name="T73"/>
                <a:gd fmla="*/ 30 w 112" name="T74"/>
                <a:gd fmla="*/ 194 h 212" name="T75"/>
                <a:gd fmla="*/ 22 w 112" name="T76"/>
                <a:gd fmla="*/ 198 h 212" name="T77"/>
                <a:gd fmla="*/ 20 w 112" name="T78"/>
                <a:gd fmla="*/ 202 h 212" name="T79"/>
                <a:gd fmla="*/ 20 w 112" name="T80"/>
                <a:gd fmla="*/ 206 h 212" name="T81"/>
                <a:gd fmla="*/ 22 w 112" name="T82"/>
                <a:gd fmla="*/ 208 h 212" name="T83"/>
                <a:gd fmla="*/ 20 w 112" name="T84"/>
                <a:gd fmla="*/ 212 h 212" name="T85"/>
                <a:gd fmla="*/ 18 w 112" name="T86"/>
                <a:gd fmla="*/ 212 h 212" name="T87"/>
                <a:gd fmla="*/ 12 w 112" name="T88"/>
                <a:gd fmla="*/ 204 h 212" name="T89"/>
                <a:gd fmla="*/ 10 w 112" name="T90"/>
                <a:gd fmla="*/ 194 h 212" name="T91"/>
                <a:gd fmla="*/ 8 w 112" name="T92"/>
                <a:gd fmla="*/ 192 h 212" name="T93"/>
                <a:gd fmla="*/ 6 w 112" name="T94"/>
                <a:gd fmla="*/ 192 h 212" name="T95"/>
                <a:gd fmla="*/ 6 w 112" name="T96"/>
                <a:gd fmla="*/ 174 h 212" name="T97"/>
                <a:gd fmla="*/ 2 w 112" name="T98"/>
                <a:gd fmla="*/ 164 h 212" name="T99"/>
                <a:gd fmla="*/ 0 w 112" name="T100"/>
                <a:gd fmla="*/ 160 h 212" name="T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b="b" l="0" r="r" t="0"/>
              <a:pathLst>
                <a:path h="211" w="112">
                  <a:moveTo>
                    <a:pt x="2" y="156"/>
                  </a:moveTo>
                  <a:lnTo>
                    <a:pt x="8" y="148"/>
                  </a:lnTo>
                  <a:lnTo>
                    <a:pt x="20" y="140"/>
                  </a:lnTo>
                  <a:lnTo>
                    <a:pt x="28" y="128"/>
                  </a:lnTo>
                  <a:lnTo>
                    <a:pt x="30" y="112"/>
                  </a:lnTo>
                  <a:lnTo>
                    <a:pt x="28" y="96"/>
                  </a:lnTo>
                  <a:lnTo>
                    <a:pt x="30" y="82"/>
                  </a:lnTo>
                  <a:lnTo>
                    <a:pt x="18" y="76"/>
                  </a:lnTo>
                  <a:lnTo>
                    <a:pt x="8" y="72"/>
                  </a:lnTo>
                  <a:lnTo>
                    <a:pt x="8" y="66"/>
                  </a:lnTo>
                  <a:lnTo>
                    <a:pt x="44" y="58"/>
                  </a:lnTo>
                  <a:lnTo>
                    <a:pt x="44" y="34"/>
                  </a:lnTo>
                  <a:lnTo>
                    <a:pt x="42" y="26"/>
                  </a:lnTo>
                  <a:lnTo>
                    <a:pt x="46" y="20"/>
                  </a:lnTo>
                  <a:lnTo>
                    <a:pt x="50" y="28"/>
                  </a:lnTo>
                  <a:lnTo>
                    <a:pt x="54" y="28"/>
                  </a:lnTo>
                  <a:lnTo>
                    <a:pt x="56" y="34"/>
                  </a:lnTo>
                  <a:lnTo>
                    <a:pt x="58" y="36"/>
                  </a:lnTo>
                  <a:lnTo>
                    <a:pt x="60" y="38"/>
                  </a:lnTo>
                  <a:lnTo>
                    <a:pt x="62" y="40"/>
                  </a:lnTo>
                  <a:lnTo>
                    <a:pt x="64" y="40"/>
                  </a:lnTo>
                  <a:lnTo>
                    <a:pt x="64" y="40"/>
                  </a:lnTo>
                  <a:lnTo>
                    <a:pt x="64" y="32"/>
                  </a:lnTo>
                  <a:lnTo>
                    <a:pt x="62" y="26"/>
                  </a:lnTo>
                  <a:lnTo>
                    <a:pt x="60" y="26"/>
                  </a:lnTo>
                  <a:lnTo>
                    <a:pt x="58" y="24"/>
                  </a:lnTo>
                  <a:lnTo>
                    <a:pt x="56" y="22"/>
                  </a:lnTo>
                  <a:lnTo>
                    <a:pt x="56" y="20"/>
                  </a:lnTo>
                  <a:lnTo>
                    <a:pt x="52" y="8"/>
                  </a:lnTo>
                  <a:lnTo>
                    <a:pt x="64" y="8"/>
                  </a:lnTo>
                  <a:lnTo>
                    <a:pt x="68" y="6"/>
                  </a:lnTo>
                  <a:lnTo>
                    <a:pt x="70" y="8"/>
                  </a:lnTo>
                  <a:lnTo>
                    <a:pt x="92" y="8"/>
                  </a:lnTo>
                  <a:lnTo>
                    <a:pt x="110" y="0"/>
                  </a:lnTo>
                  <a:lnTo>
                    <a:pt x="110" y="4"/>
                  </a:lnTo>
                  <a:lnTo>
                    <a:pt x="110" y="10"/>
                  </a:lnTo>
                  <a:lnTo>
                    <a:pt x="110" y="18"/>
                  </a:lnTo>
                  <a:lnTo>
                    <a:pt x="110" y="24"/>
                  </a:lnTo>
                  <a:lnTo>
                    <a:pt x="110" y="32"/>
                  </a:lnTo>
                  <a:lnTo>
                    <a:pt x="110" y="36"/>
                  </a:lnTo>
                  <a:lnTo>
                    <a:pt x="112" y="40"/>
                  </a:lnTo>
                  <a:lnTo>
                    <a:pt x="112" y="42"/>
                  </a:lnTo>
                  <a:lnTo>
                    <a:pt x="112" y="58"/>
                  </a:lnTo>
                  <a:lnTo>
                    <a:pt x="108" y="70"/>
                  </a:lnTo>
                  <a:lnTo>
                    <a:pt x="102" y="76"/>
                  </a:lnTo>
                  <a:lnTo>
                    <a:pt x="96" y="80"/>
                  </a:lnTo>
                  <a:lnTo>
                    <a:pt x="90" y="82"/>
                  </a:lnTo>
                  <a:lnTo>
                    <a:pt x="88" y="82"/>
                  </a:lnTo>
                  <a:lnTo>
                    <a:pt x="82" y="86"/>
                  </a:lnTo>
                  <a:lnTo>
                    <a:pt x="78" y="88"/>
                  </a:lnTo>
                  <a:lnTo>
                    <a:pt x="74" y="92"/>
                  </a:lnTo>
                  <a:lnTo>
                    <a:pt x="72" y="94"/>
                  </a:lnTo>
                  <a:lnTo>
                    <a:pt x="72" y="94"/>
                  </a:lnTo>
                  <a:lnTo>
                    <a:pt x="68" y="100"/>
                  </a:lnTo>
                  <a:lnTo>
                    <a:pt x="62" y="106"/>
                  </a:lnTo>
                  <a:lnTo>
                    <a:pt x="60" y="108"/>
                  </a:lnTo>
                  <a:lnTo>
                    <a:pt x="56" y="110"/>
                  </a:lnTo>
                  <a:lnTo>
                    <a:pt x="56" y="110"/>
                  </a:lnTo>
                  <a:lnTo>
                    <a:pt x="50" y="114"/>
                  </a:lnTo>
                  <a:lnTo>
                    <a:pt x="48" y="118"/>
                  </a:lnTo>
                  <a:lnTo>
                    <a:pt x="46" y="122"/>
                  </a:lnTo>
                  <a:lnTo>
                    <a:pt x="44" y="126"/>
                  </a:lnTo>
                  <a:lnTo>
                    <a:pt x="44" y="126"/>
                  </a:lnTo>
                  <a:lnTo>
                    <a:pt x="44" y="142"/>
                  </a:lnTo>
                  <a:lnTo>
                    <a:pt x="44" y="158"/>
                  </a:lnTo>
                  <a:lnTo>
                    <a:pt x="46" y="168"/>
                  </a:lnTo>
                  <a:lnTo>
                    <a:pt x="46" y="172"/>
                  </a:lnTo>
                  <a:lnTo>
                    <a:pt x="46" y="176"/>
                  </a:lnTo>
                  <a:lnTo>
                    <a:pt x="46" y="180"/>
                  </a:lnTo>
                  <a:lnTo>
                    <a:pt x="46" y="184"/>
                  </a:lnTo>
                  <a:lnTo>
                    <a:pt x="46" y="184"/>
                  </a:lnTo>
                  <a:lnTo>
                    <a:pt x="42" y="188"/>
                  </a:lnTo>
                  <a:lnTo>
                    <a:pt x="38" y="190"/>
                  </a:lnTo>
                  <a:lnTo>
                    <a:pt x="34" y="192"/>
                  </a:lnTo>
                  <a:lnTo>
                    <a:pt x="30" y="194"/>
                  </a:lnTo>
                  <a:lnTo>
                    <a:pt x="30" y="194"/>
                  </a:lnTo>
                  <a:lnTo>
                    <a:pt x="24" y="196"/>
                  </a:lnTo>
                  <a:lnTo>
                    <a:pt x="22" y="198"/>
                  </a:lnTo>
                  <a:lnTo>
                    <a:pt x="20" y="200"/>
                  </a:lnTo>
                  <a:lnTo>
                    <a:pt x="20" y="202"/>
                  </a:lnTo>
                  <a:lnTo>
                    <a:pt x="20" y="202"/>
                  </a:lnTo>
                  <a:lnTo>
                    <a:pt x="20" y="206"/>
                  </a:lnTo>
                  <a:lnTo>
                    <a:pt x="22" y="208"/>
                  </a:lnTo>
                  <a:lnTo>
                    <a:pt x="22" y="208"/>
                  </a:lnTo>
                  <a:lnTo>
                    <a:pt x="22" y="210"/>
                  </a:lnTo>
                  <a:lnTo>
                    <a:pt x="20" y="212"/>
                  </a:lnTo>
                  <a:lnTo>
                    <a:pt x="20" y="212"/>
                  </a:lnTo>
                  <a:lnTo>
                    <a:pt x="18" y="212"/>
                  </a:lnTo>
                  <a:lnTo>
                    <a:pt x="14" y="212"/>
                  </a:lnTo>
                  <a:lnTo>
                    <a:pt x="12" y="204"/>
                  </a:lnTo>
                  <a:lnTo>
                    <a:pt x="10" y="198"/>
                  </a:lnTo>
                  <a:lnTo>
                    <a:pt x="10" y="194"/>
                  </a:lnTo>
                  <a:lnTo>
                    <a:pt x="8" y="192"/>
                  </a:lnTo>
                  <a:lnTo>
                    <a:pt x="8" y="192"/>
                  </a:lnTo>
                  <a:lnTo>
                    <a:pt x="6" y="192"/>
                  </a:lnTo>
                  <a:lnTo>
                    <a:pt x="6" y="192"/>
                  </a:lnTo>
                  <a:lnTo>
                    <a:pt x="8" y="182"/>
                  </a:lnTo>
                  <a:lnTo>
                    <a:pt x="6" y="174"/>
                  </a:lnTo>
                  <a:lnTo>
                    <a:pt x="4" y="168"/>
                  </a:lnTo>
                  <a:lnTo>
                    <a:pt x="2" y="164"/>
                  </a:lnTo>
                  <a:lnTo>
                    <a:pt x="0" y="162"/>
                  </a:lnTo>
                  <a:lnTo>
                    <a:pt x="0" y="160"/>
                  </a:lnTo>
                  <a:lnTo>
                    <a:pt x="2" y="15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7" name="Freeform 484"/>
            <p:cNvSpPr/>
            <p:nvPr/>
          </p:nvSpPr>
          <p:spPr bwMode="gray">
            <a:xfrm>
              <a:off x="1146193" y="5275825"/>
              <a:ext cx="414713" cy="325626"/>
            </a:xfrm>
            <a:custGeom>
              <a:gdLst>
                <a:gd fmla="*/ 170 w 224" name="T0"/>
                <a:gd fmla="*/ 6 h 176" name="T1"/>
                <a:gd fmla="*/ 162 w 224" name="T2"/>
                <a:gd fmla="*/ 10 h 176" name="T3"/>
                <a:gd fmla="*/ 152 w 224" name="T4"/>
                <a:gd fmla="*/ 18 h 176" name="T5"/>
                <a:gd fmla="*/ 144 w 224" name="T6"/>
                <a:gd fmla="*/ 22 h 176" name="T7"/>
                <a:gd fmla="*/ 134 w 224" name="T8"/>
                <a:gd fmla="*/ 34 h 176" name="T9"/>
                <a:gd fmla="*/ 128 w 224" name="T10"/>
                <a:gd fmla="*/ 46 h 176" name="T11"/>
                <a:gd fmla="*/ 122 w 224" name="T12"/>
                <a:gd fmla="*/ 46 h 176" name="T13"/>
                <a:gd fmla="*/ 114 w 224" name="T14"/>
                <a:gd fmla="*/ 40 h 176" name="T15"/>
                <a:gd fmla="*/ 102 w 224" name="T16"/>
                <a:gd fmla="*/ 42 h 176" name="T17"/>
                <a:gd fmla="*/ 98 w 224" name="T18"/>
                <a:gd fmla="*/ 46 h 176" name="T19"/>
                <a:gd fmla="*/ 94 w 224" name="T20"/>
                <a:gd fmla="*/ 54 h 176" name="T21"/>
                <a:gd fmla="*/ 80 w 224" name="T22"/>
                <a:gd fmla="*/ 66 h 176" name="T23"/>
                <a:gd fmla="*/ 66 w 224" name="T24"/>
                <a:gd fmla="*/ 68 h 176" name="T25"/>
                <a:gd fmla="*/ 64 w 224" name="T26"/>
                <a:gd fmla="*/ 62 h 176" name="T27"/>
                <a:gd fmla="*/ 68 w 224" name="T28"/>
                <a:gd fmla="*/ 56 h 176" name="T29"/>
                <a:gd fmla="*/ 64 w 224" name="T30"/>
                <a:gd fmla="*/ 38 h 176" name="T31"/>
                <a:gd fmla="*/ 56 w 224" name="T32"/>
                <a:gd fmla="*/ 32 h 176" name="T33"/>
                <a:gd fmla="*/ 54 w 224" name="T34"/>
                <a:gd fmla="*/ 78 h 176" name="T35"/>
                <a:gd fmla="*/ 50 w 224" name="T36"/>
                <a:gd fmla="*/ 82 h 176" name="T37"/>
                <a:gd fmla="*/ 28 w 224" name="T38"/>
                <a:gd fmla="*/ 82 h 176" name="T39"/>
                <a:gd fmla="*/ 24 w 224" name="T40"/>
                <a:gd fmla="*/ 80 h 176" name="T41"/>
                <a:gd fmla="*/ 22 w 224" name="T42"/>
                <a:gd fmla="*/ 70 h 176" name="T43"/>
                <a:gd fmla="*/ 18 w 224" name="T44"/>
                <a:gd fmla="*/ 68 h 176" name="T45"/>
                <a:gd fmla="*/ 0 w 224" name="T46"/>
                <a:gd fmla="*/ 82 h 176" name="T47"/>
                <a:gd fmla="*/ 20 w 224" name="T48"/>
                <a:gd fmla="*/ 160 h 176" name="T49"/>
                <a:gd fmla="*/ 38 w 224" name="T50"/>
                <a:gd fmla="*/ 172 h 176" name="T51"/>
                <a:gd fmla="*/ 70 w 224" name="T52"/>
                <a:gd fmla="*/ 172 h 176" name="T53"/>
                <a:gd fmla="*/ 100 w 224" name="T54"/>
                <a:gd fmla="*/ 164 h 176" name="T55"/>
                <a:gd fmla="*/ 128 w 224" name="T56"/>
                <a:gd fmla="*/ 160 h 176" name="T57"/>
                <a:gd fmla="*/ 146 w 224" name="T58"/>
                <a:gd fmla="*/ 150 h 176" name="T59"/>
                <a:gd fmla="*/ 154 w 224" name="T60"/>
                <a:gd fmla="*/ 142 h 176" name="T61"/>
                <a:gd fmla="*/ 166 w 224" name="T62"/>
                <a:gd fmla="*/ 126 h 176" name="T63"/>
                <a:gd fmla="*/ 186 w 224" name="T64"/>
                <a:gd fmla="*/ 104 h 176" name="T65"/>
                <a:gd fmla="*/ 190 w 224" name="T66"/>
                <a:gd fmla="*/ 96 h 176" name="T67"/>
                <a:gd fmla="*/ 198 w 224" name="T68"/>
                <a:gd fmla="*/ 88 h 176" name="T69"/>
                <a:gd fmla="*/ 202 w 224" name="T70"/>
                <a:gd fmla="*/ 84 h 176" name="T71"/>
                <a:gd fmla="*/ 212 w 224" name="T72"/>
                <a:gd fmla="*/ 76 h 176" name="T73"/>
                <a:gd fmla="*/ 216 w 224" name="T74"/>
                <a:gd fmla="*/ 70 h 176" name="T75"/>
                <a:gd fmla="*/ 222 w 224" name="T76"/>
                <a:gd fmla="*/ 58 h 176" name="T77"/>
                <a:gd fmla="*/ 216 w 224" name="T78"/>
                <a:gd fmla="*/ 52 h 176" name="T79"/>
                <a:gd fmla="*/ 214 w 224" name="T80"/>
                <a:gd fmla="*/ 44 h 176" name="T81"/>
                <a:gd fmla="*/ 210 w 224" name="T82"/>
                <a:gd fmla="*/ 32 h 176" name="T83"/>
                <a:gd fmla="*/ 210 w 224" name="T84"/>
                <a:gd fmla="*/ 26 h 176" name="T85"/>
                <a:gd fmla="*/ 208 w 224" name="T86"/>
                <a:gd fmla="*/ 8 h 176" name="T87"/>
                <a:gd fmla="*/ 176 w 224" name="T88"/>
                <a:gd fmla="*/ 0 h 176" name="T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b="b" l="0" r="r" t="0"/>
              <a:pathLst>
                <a:path h="176" w="224">
                  <a:moveTo>
                    <a:pt x="176" y="0"/>
                  </a:moveTo>
                  <a:lnTo>
                    <a:pt x="174" y="4"/>
                  </a:lnTo>
                  <a:lnTo>
                    <a:pt x="170" y="6"/>
                  </a:lnTo>
                  <a:lnTo>
                    <a:pt x="166" y="8"/>
                  </a:lnTo>
                  <a:lnTo>
                    <a:pt x="164" y="10"/>
                  </a:lnTo>
                  <a:lnTo>
                    <a:pt x="162" y="10"/>
                  </a:lnTo>
                  <a:lnTo>
                    <a:pt x="160" y="14"/>
                  </a:lnTo>
                  <a:lnTo>
                    <a:pt x="158" y="16"/>
                  </a:lnTo>
                  <a:lnTo>
                    <a:pt x="152" y="18"/>
                  </a:lnTo>
                  <a:lnTo>
                    <a:pt x="148" y="20"/>
                  </a:lnTo>
                  <a:lnTo>
                    <a:pt x="146" y="20"/>
                  </a:lnTo>
                  <a:lnTo>
                    <a:pt x="144" y="22"/>
                  </a:lnTo>
                  <a:lnTo>
                    <a:pt x="140" y="24"/>
                  </a:lnTo>
                  <a:lnTo>
                    <a:pt x="136" y="28"/>
                  </a:lnTo>
                  <a:lnTo>
                    <a:pt x="134" y="34"/>
                  </a:lnTo>
                  <a:lnTo>
                    <a:pt x="132" y="38"/>
                  </a:lnTo>
                  <a:lnTo>
                    <a:pt x="130" y="42"/>
                  </a:lnTo>
                  <a:lnTo>
                    <a:pt x="128" y="46"/>
                  </a:lnTo>
                  <a:lnTo>
                    <a:pt x="128" y="48"/>
                  </a:lnTo>
                  <a:lnTo>
                    <a:pt x="124" y="48"/>
                  </a:lnTo>
                  <a:lnTo>
                    <a:pt x="122" y="46"/>
                  </a:lnTo>
                  <a:lnTo>
                    <a:pt x="120" y="44"/>
                  </a:lnTo>
                  <a:lnTo>
                    <a:pt x="118" y="44"/>
                  </a:lnTo>
                  <a:lnTo>
                    <a:pt x="114" y="40"/>
                  </a:lnTo>
                  <a:lnTo>
                    <a:pt x="110" y="40"/>
                  </a:lnTo>
                  <a:lnTo>
                    <a:pt x="106" y="40"/>
                  </a:lnTo>
                  <a:lnTo>
                    <a:pt x="102" y="42"/>
                  </a:lnTo>
                  <a:lnTo>
                    <a:pt x="100" y="42"/>
                  </a:lnTo>
                  <a:lnTo>
                    <a:pt x="98" y="44"/>
                  </a:lnTo>
                  <a:lnTo>
                    <a:pt x="98" y="46"/>
                  </a:lnTo>
                  <a:lnTo>
                    <a:pt x="96" y="50"/>
                  </a:lnTo>
                  <a:lnTo>
                    <a:pt x="94" y="52"/>
                  </a:lnTo>
                  <a:lnTo>
                    <a:pt x="94" y="54"/>
                  </a:lnTo>
                  <a:lnTo>
                    <a:pt x="94" y="56"/>
                  </a:lnTo>
                  <a:lnTo>
                    <a:pt x="88" y="62"/>
                  </a:lnTo>
                  <a:lnTo>
                    <a:pt x="80" y="66"/>
                  </a:lnTo>
                  <a:lnTo>
                    <a:pt x="74" y="68"/>
                  </a:lnTo>
                  <a:lnTo>
                    <a:pt x="70" y="68"/>
                  </a:lnTo>
                  <a:lnTo>
                    <a:pt x="66" y="68"/>
                  </a:lnTo>
                  <a:lnTo>
                    <a:pt x="64" y="68"/>
                  </a:lnTo>
                  <a:lnTo>
                    <a:pt x="62" y="64"/>
                  </a:lnTo>
                  <a:lnTo>
                    <a:pt x="64" y="62"/>
                  </a:lnTo>
                  <a:lnTo>
                    <a:pt x="66" y="58"/>
                  </a:lnTo>
                  <a:lnTo>
                    <a:pt x="66" y="58"/>
                  </a:lnTo>
                  <a:lnTo>
                    <a:pt x="68" y="56"/>
                  </a:lnTo>
                  <a:lnTo>
                    <a:pt x="68" y="50"/>
                  </a:lnTo>
                  <a:lnTo>
                    <a:pt x="66" y="44"/>
                  </a:lnTo>
                  <a:lnTo>
                    <a:pt x="64" y="38"/>
                  </a:lnTo>
                  <a:lnTo>
                    <a:pt x="60" y="36"/>
                  </a:lnTo>
                  <a:lnTo>
                    <a:pt x="58" y="34"/>
                  </a:lnTo>
                  <a:lnTo>
                    <a:pt x="56" y="32"/>
                  </a:lnTo>
                  <a:lnTo>
                    <a:pt x="54" y="32"/>
                  </a:lnTo>
                  <a:lnTo>
                    <a:pt x="54" y="78"/>
                  </a:lnTo>
                  <a:lnTo>
                    <a:pt x="54" y="78"/>
                  </a:lnTo>
                  <a:lnTo>
                    <a:pt x="54" y="80"/>
                  </a:lnTo>
                  <a:lnTo>
                    <a:pt x="52" y="80"/>
                  </a:lnTo>
                  <a:lnTo>
                    <a:pt x="50" y="82"/>
                  </a:lnTo>
                  <a:lnTo>
                    <a:pt x="46" y="82"/>
                  </a:lnTo>
                  <a:lnTo>
                    <a:pt x="38" y="82"/>
                  </a:lnTo>
                  <a:lnTo>
                    <a:pt x="28" y="82"/>
                  </a:lnTo>
                  <a:lnTo>
                    <a:pt x="26" y="82"/>
                  </a:lnTo>
                  <a:lnTo>
                    <a:pt x="26" y="82"/>
                  </a:lnTo>
                  <a:lnTo>
                    <a:pt x="24" y="80"/>
                  </a:lnTo>
                  <a:lnTo>
                    <a:pt x="24" y="80"/>
                  </a:lnTo>
                  <a:lnTo>
                    <a:pt x="22" y="76"/>
                  </a:lnTo>
                  <a:lnTo>
                    <a:pt x="22" y="70"/>
                  </a:lnTo>
                  <a:lnTo>
                    <a:pt x="20" y="70"/>
                  </a:lnTo>
                  <a:lnTo>
                    <a:pt x="20" y="68"/>
                  </a:lnTo>
                  <a:lnTo>
                    <a:pt x="18" y="68"/>
                  </a:lnTo>
                  <a:lnTo>
                    <a:pt x="16" y="68"/>
                  </a:lnTo>
                  <a:lnTo>
                    <a:pt x="12" y="78"/>
                  </a:lnTo>
                  <a:lnTo>
                    <a:pt x="0" y="82"/>
                  </a:lnTo>
                  <a:lnTo>
                    <a:pt x="8" y="110"/>
                  </a:lnTo>
                  <a:lnTo>
                    <a:pt x="20" y="126"/>
                  </a:lnTo>
                  <a:lnTo>
                    <a:pt x="20" y="160"/>
                  </a:lnTo>
                  <a:lnTo>
                    <a:pt x="20" y="162"/>
                  </a:lnTo>
                  <a:lnTo>
                    <a:pt x="28" y="168"/>
                  </a:lnTo>
                  <a:lnTo>
                    <a:pt x="38" y="172"/>
                  </a:lnTo>
                  <a:lnTo>
                    <a:pt x="56" y="176"/>
                  </a:lnTo>
                  <a:lnTo>
                    <a:pt x="60" y="176"/>
                  </a:lnTo>
                  <a:lnTo>
                    <a:pt x="70" y="172"/>
                  </a:lnTo>
                  <a:lnTo>
                    <a:pt x="82" y="166"/>
                  </a:lnTo>
                  <a:lnTo>
                    <a:pt x="92" y="164"/>
                  </a:lnTo>
                  <a:lnTo>
                    <a:pt x="100" y="164"/>
                  </a:lnTo>
                  <a:lnTo>
                    <a:pt x="104" y="164"/>
                  </a:lnTo>
                  <a:lnTo>
                    <a:pt x="116" y="164"/>
                  </a:lnTo>
                  <a:lnTo>
                    <a:pt x="128" y="160"/>
                  </a:lnTo>
                  <a:lnTo>
                    <a:pt x="142" y="154"/>
                  </a:lnTo>
                  <a:lnTo>
                    <a:pt x="144" y="152"/>
                  </a:lnTo>
                  <a:lnTo>
                    <a:pt x="146" y="150"/>
                  </a:lnTo>
                  <a:lnTo>
                    <a:pt x="148" y="148"/>
                  </a:lnTo>
                  <a:lnTo>
                    <a:pt x="152" y="144"/>
                  </a:lnTo>
                  <a:lnTo>
                    <a:pt x="154" y="142"/>
                  </a:lnTo>
                  <a:lnTo>
                    <a:pt x="156" y="138"/>
                  </a:lnTo>
                  <a:lnTo>
                    <a:pt x="158" y="136"/>
                  </a:lnTo>
                  <a:lnTo>
                    <a:pt x="166" y="126"/>
                  </a:lnTo>
                  <a:lnTo>
                    <a:pt x="174" y="116"/>
                  </a:lnTo>
                  <a:lnTo>
                    <a:pt x="182" y="108"/>
                  </a:lnTo>
                  <a:lnTo>
                    <a:pt x="186" y="104"/>
                  </a:lnTo>
                  <a:lnTo>
                    <a:pt x="186" y="102"/>
                  </a:lnTo>
                  <a:lnTo>
                    <a:pt x="188" y="100"/>
                  </a:lnTo>
                  <a:lnTo>
                    <a:pt x="190" y="96"/>
                  </a:lnTo>
                  <a:lnTo>
                    <a:pt x="194" y="94"/>
                  </a:lnTo>
                  <a:lnTo>
                    <a:pt x="196" y="90"/>
                  </a:lnTo>
                  <a:lnTo>
                    <a:pt x="198" y="88"/>
                  </a:lnTo>
                  <a:lnTo>
                    <a:pt x="198" y="86"/>
                  </a:lnTo>
                  <a:lnTo>
                    <a:pt x="200" y="86"/>
                  </a:lnTo>
                  <a:lnTo>
                    <a:pt x="202" y="84"/>
                  </a:lnTo>
                  <a:lnTo>
                    <a:pt x="206" y="82"/>
                  </a:lnTo>
                  <a:lnTo>
                    <a:pt x="208" y="80"/>
                  </a:lnTo>
                  <a:lnTo>
                    <a:pt x="212" y="76"/>
                  </a:lnTo>
                  <a:lnTo>
                    <a:pt x="214" y="74"/>
                  </a:lnTo>
                  <a:lnTo>
                    <a:pt x="216" y="72"/>
                  </a:lnTo>
                  <a:lnTo>
                    <a:pt x="216" y="70"/>
                  </a:lnTo>
                  <a:lnTo>
                    <a:pt x="218" y="68"/>
                  </a:lnTo>
                  <a:lnTo>
                    <a:pt x="220" y="62"/>
                  </a:lnTo>
                  <a:lnTo>
                    <a:pt x="222" y="58"/>
                  </a:lnTo>
                  <a:lnTo>
                    <a:pt x="224" y="54"/>
                  </a:lnTo>
                  <a:lnTo>
                    <a:pt x="224" y="52"/>
                  </a:lnTo>
                  <a:lnTo>
                    <a:pt x="216" y="52"/>
                  </a:lnTo>
                  <a:lnTo>
                    <a:pt x="214" y="52"/>
                  </a:lnTo>
                  <a:lnTo>
                    <a:pt x="214" y="48"/>
                  </a:lnTo>
                  <a:lnTo>
                    <a:pt x="214" y="44"/>
                  </a:lnTo>
                  <a:lnTo>
                    <a:pt x="214" y="40"/>
                  </a:lnTo>
                  <a:lnTo>
                    <a:pt x="212" y="36"/>
                  </a:lnTo>
                  <a:lnTo>
                    <a:pt x="210" y="32"/>
                  </a:lnTo>
                  <a:lnTo>
                    <a:pt x="208" y="30"/>
                  </a:lnTo>
                  <a:lnTo>
                    <a:pt x="208" y="30"/>
                  </a:lnTo>
                  <a:lnTo>
                    <a:pt x="210" y="26"/>
                  </a:lnTo>
                  <a:lnTo>
                    <a:pt x="210" y="20"/>
                  </a:lnTo>
                  <a:lnTo>
                    <a:pt x="208" y="14"/>
                  </a:lnTo>
                  <a:lnTo>
                    <a:pt x="208" y="8"/>
                  </a:lnTo>
                  <a:lnTo>
                    <a:pt x="204" y="4"/>
                  </a:lnTo>
                  <a:lnTo>
                    <a:pt x="202" y="0"/>
                  </a:lnTo>
                  <a:lnTo>
                    <a:pt x="17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8" name="Freeform 485"/>
            <p:cNvSpPr/>
            <p:nvPr/>
          </p:nvSpPr>
          <p:spPr bwMode="gray">
            <a:xfrm>
              <a:off x="1520175" y="5331330"/>
              <a:ext cx="25920" cy="51804"/>
            </a:xfrm>
            <a:custGeom>
              <a:gdLst>
                <a:gd fmla="*/ 4 w 14" name="T0"/>
                <a:gd fmla="*/ 2 h 28" name="T1"/>
                <a:gd fmla="*/ 4 w 14" name="T2"/>
                <a:gd fmla="*/ 2 h 28" name="T3"/>
                <a:gd fmla="*/ 6 w 14" name="T4"/>
                <a:gd fmla="*/ 2 h 28" name="T5"/>
                <a:gd fmla="*/ 6 w 14" name="T6"/>
                <a:gd fmla="*/ 0 h 28" name="T7"/>
                <a:gd fmla="*/ 6 w 14" name="T8"/>
                <a:gd fmla="*/ 2 h 28" name="T9"/>
                <a:gd fmla="*/ 8 w 14" name="T10"/>
                <a:gd fmla="*/ 2 h 28" name="T11"/>
                <a:gd fmla="*/ 8 w 14" name="T12"/>
                <a:gd fmla="*/ 4 h 28" name="T13"/>
                <a:gd fmla="*/ 10 w 14" name="T14"/>
                <a:gd fmla="*/ 6 h 28" name="T15"/>
                <a:gd fmla="*/ 12 w 14" name="T16"/>
                <a:gd fmla="*/ 10 h 28" name="T17"/>
                <a:gd fmla="*/ 12 w 14" name="T18"/>
                <a:gd fmla="*/ 14 h 28" name="T19"/>
                <a:gd fmla="*/ 14 w 14" name="T20"/>
                <a:gd fmla="*/ 22 h 28" name="T21"/>
                <a:gd fmla="*/ 12 w 14" name="T22"/>
                <a:gd fmla="*/ 24 h 28" name="T23"/>
                <a:gd fmla="*/ 12 w 14" name="T24"/>
                <a:gd fmla="*/ 24 h 28" name="T25"/>
                <a:gd fmla="*/ 10 w 14" name="T26"/>
                <a:gd fmla="*/ 26 h 28" name="T27"/>
                <a:gd fmla="*/ 6 w 14" name="T28"/>
                <a:gd fmla="*/ 28 h 28" name="T29"/>
                <a:gd fmla="*/ 4 w 14" name="T30"/>
                <a:gd fmla="*/ 26 h 28" name="T31"/>
                <a:gd fmla="*/ 2 w 14" name="T32"/>
                <a:gd fmla="*/ 24 h 28" name="T33"/>
                <a:gd fmla="*/ 2 w 14" name="T34"/>
                <a:gd fmla="*/ 22 h 28" name="T35"/>
                <a:gd fmla="*/ 0 w 14" name="T36"/>
                <a:gd fmla="*/ 18 h 28" name="T37"/>
                <a:gd fmla="*/ 0 w 14" name="T38"/>
                <a:gd fmla="*/ 14 h 28" name="T39"/>
                <a:gd fmla="*/ 0 w 14" name="T40"/>
                <a:gd fmla="*/ 8 h 28" name="T41"/>
                <a:gd fmla="*/ 4 w 14" name="T42"/>
                <a:gd fmla="*/ 2 h 28"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28" w="14">
                  <a:moveTo>
                    <a:pt x="4" y="2"/>
                  </a:moveTo>
                  <a:lnTo>
                    <a:pt x="4" y="2"/>
                  </a:lnTo>
                  <a:lnTo>
                    <a:pt x="6" y="2"/>
                  </a:lnTo>
                  <a:lnTo>
                    <a:pt x="6" y="0"/>
                  </a:lnTo>
                  <a:lnTo>
                    <a:pt x="6" y="2"/>
                  </a:lnTo>
                  <a:lnTo>
                    <a:pt x="8" y="2"/>
                  </a:lnTo>
                  <a:lnTo>
                    <a:pt x="8" y="4"/>
                  </a:lnTo>
                  <a:lnTo>
                    <a:pt x="10" y="6"/>
                  </a:lnTo>
                  <a:lnTo>
                    <a:pt x="12" y="10"/>
                  </a:lnTo>
                  <a:lnTo>
                    <a:pt x="12" y="14"/>
                  </a:lnTo>
                  <a:lnTo>
                    <a:pt x="14" y="22"/>
                  </a:lnTo>
                  <a:lnTo>
                    <a:pt x="12" y="24"/>
                  </a:lnTo>
                  <a:lnTo>
                    <a:pt x="12" y="24"/>
                  </a:lnTo>
                  <a:lnTo>
                    <a:pt x="10" y="26"/>
                  </a:lnTo>
                  <a:lnTo>
                    <a:pt x="6" y="28"/>
                  </a:lnTo>
                  <a:lnTo>
                    <a:pt x="4" y="26"/>
                  </a:lnTo>
                  <a:lnTo>
                    <a:pt x="2" y="24"/>
                  </a:lnTo>
                  <a:lnTo>
                    <a:pt x="2" y="22"/>
                  </a:lnTo>
                  <a:lnTo>
                    <a:pt x="0" y="18"/>
                  </a:lnTo>
                  <a:lnTo>
                    <a:pt x="0" y="14"/>
                  </a:lnTo>
                  <a:lnTo>
                    <a:pt x="0" y="8"/>
                  </a:lnTo>
                  <a:lnTo>
                    <a:pt x="4"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29" name="Freeform 486"/>
            <p:cNvSpPr/>
            <p:nvPr/>
          </p:nvSpPr>
          <p:spPr bwMode="gray">
            <a:xfrm>
              <a:off x="1412794" y="5416437"/>
              <a:ext cx="40731" cy="48104"/>
            </a:xfrm>
            <a:custGeom>
              <a:gdLst>
                <a:gd fmla="*/ 0 w 22" name="T0"/>
                <a:gd fmla="*/ 12 h 26" name="T1"/>
                <a:gd fmla="*/ 4 w 22" name="T2"/>
                <a:gd fmla="*/ 6 h 26" name="T3"/>
                <a:gd fmla="*/ 4 w 22" name="T4"/>
                <a:gd fmla="*/ 6 h 26" name="T5"/>
                <a:gd fmla="*/ 4 w 22" name="T6"/>
                <a:gd fmla="*/ 6 h 26" name="T7"/>
                <a:gd fmla="*/ 4 w 22" name="T8"/>
                <a:gd fmla="*/ 4 h 26" name="T9"/>
                <a:gd fmla="*/ 6 w 22" name="T10"/>
                <a:gd fmla="*/ 2 h 26" name="T11"/>
                <a:gd fmla="*/ 8 w 22" name="T12"/>
                <a:gd fmla="*/ 2 h 26" name="T13"/>
                <a:gd fmla="*/ 12 w 22" name="T14"/>
                <a:gd fmla="*/ 0 h 26" name="T15"/>
                <a:gd fmla="*/ 22 w 22" name="T16"/>
                <a:gd fmla="*/ 8 h 26" name="T17"/>
                <a:gd fmla="*/ 16 w 22" name="T18"/>
                <a:gd fmla="*/ 18 h 26" name="T19"/>
                <a:gd fmla="*/ 14 w 22" name="T20"/>
                <a:gd fmla="*/ 20 h 26" name="T21"/>
                <a:gd fmla="*/ 14 w 22" name="T22"/>
                <a:gd fmla="*/ 22 h 26" name="T23"/>
                <a:gd fmla="*/ 12 w 22" name="T24"/>
                <a:gd fmla="*/ 24 h 26" name="T25"/>
                <a:gd fmla="*/ 12 w 22" name="T26"/>
                <a:gd fmla="*/ 26 h 26" name="T27"/>
                <a:gd fmla="*/ 8 w 22" name="T28"/>
                <a:gd fmla="*/ 26 h 26" name="T29"/>
                <a:gd fmla="*/ 0 w 22" name="T30"/>
                <a:gd fmla="*/ 12 h 26" name="T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b="b" l="0" r="r" t="0"/>
              <a:pathLst>
                <a:path h="26" w="22">
                  <a:moveTo>
                    <a:pt x="0" y="12"/>
                  </a:moveTo>
                  <a:lnTo>
                    <a:pt x="4" y="6"/>
                  </a:lnTo>
                  <a:lnTo>
                    <a:pt x="4" y="6"/>
                  </a:lnTo>
                  <a:lnTo>
                    <a:pt x="4" y="6"/>
                  </a:lnTo>
                  <a:lnTo>
                    <a:pt x="4" y="4"/>
                  </a:lnTo>
                  <a:lnTo>
                    <a:pt x="6" y="2"/>
                  </a:lnTo>
                  <a:lnTo>
                    <a:pt x="8" y="2"/>
                  </a:lnTo>
                  <a:lnTo>
                    <a:pt x="12" y="0"/>
                  </a:lnTo>
                  <a:lnTo>
                    <a:pt x="22" y="8"/>
                  </a:lnTo>
                  <a:lnTo>
                    <a:pt x="16" y="18"/>
                  </a:lnTo>
                  <a:lnTo>
                    <a:pt x="14" y="20"/>
                  </a:lnTo>
                  <a:lnTo>
                    <a:pt x="14" y="22"/>
                  </a:lnTo>
                  <a:lnTo>
                    <a:pt x="12" y="24"/>
                  </a:lnTo>
                  <a:lnTo>
                    <a:pt x="12" y="26"/>
                  </a:lnTo>
                  <a:lnTo>
                    <a:pt x="8" y="26"/>
                  </a:lnTo>
                  <a:lnTo>
                    <a:pt x="0" y="1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0" name="Freeform 487"/>
            <p:cNvSpPr/>
            <p:nvPr/>
          </p:nvSpPr>
          <p:spPr bwMode="gray">
            <a:xfrm>
              <a:off x="1390577" y="5098211"/>
              <a:ext cx="185140" cy="177614"/>
            </a:xfrm>
            <a:custGeom>
              <a:gdLst>
                <a:gd fmla="*/ 18 w 100" name="T0"/>
                <a:gd fmla="*/ 26 h 96" name="T1"/>
                <a:gd fmla="*/ 34 w 100" name="T2"/>
                <a:gd fmla="*/ 16 h 96" name="T3"/>
                <a:gd fmla="*/ 36 w 100" name="T4"/>
                <a:gd fmla="*/ 10 h 96" name="T5"/>
                <a:gd fmla="*/ 78 w 100" name="T6"/>
                <a:gd fmla="*/ 8 h 96" name="T7"/>
                <a:gd fmla="*/ 100 w 100" name="T8"/>
                <a:gd fmla="*/ 18 h 96" name="T9"/>
                <a:gd fmla="*/ 100 w 100" name="T10"/>
                <a:gd fmla="*/ 48 h 96" name="T11"/>
                <a:gd fmla="*/ 90 w 100" name="T12"/>
                <a:gd fmla="*/ 76 h 96" name="T13"/>
                <a:gd fmla="*/ 72 w 100" name="T14"/>
                <a:gd fmla="*/ 92 h 96" name="T15"/>
                <a:gd fmla="*/ 42 w 100" name="T16"/>
                <a:gd fmla="*/ 96 h 96" name="T17"/>
                <a:gd fmla="*/ 40 w 100" name="T18"/>
                <a:gd fmla="*/ 94 h 96" name="T19"/>
                <a:gd fmla="*/ 34 w 100" name="T20"/>
                <a:gd fmla="*/ 88 h 96" name="T21"/>
                <a:gd fmla="*/ 32 w 100" name="T22"/>
                <a:gd fmla="*/ 88 h 96" name="T23"/>
                <a:gd fmla="*/ 28 w 100" name="T24"/>
                <a:gd fmla="*/ 86 h 96" name="T25"/>
                <a:gd fmla="*/ 26 w 100" name="T26"/>
                <a:gd fmla="*/ 80 h 96" name="T27"/>
                <a:gd fmla="*/ 20 w 100" name="T28"/>
                <a:gd fmla="*/ 74 h 96" name="T29"/>
                <a:gd fmla="*/ 20 w 100" name="T30"/>
                <a:gd fmla="*/ 74 h 96" name="T31"/>
                <a:gd fmla="*/ 18 w 100" name="T32"/>
                <a:gd fmla="*/ 68 h 96" name="T33"/>
                <a:gd fmla="*/ 12 w 100" name="T34"/>
                <a:gd fmla="*/ 58 h 96" name="T35"/>
                <a:gd fmla="*/ 4 w 100" name="T36"/>
                <a:gd fmla="*/ 46 h 96" name="T37"/>
                <a:gd fmla="*/ 0 w 100" name="T38"/>
                <a:gd fmla="*/ 28 h 96" name="T39"/>
                <a:gd fmla="*/ 2 w 100" name="T40"/>
                <a:gd fmla="*/ 38 h 96" name="T41"/>
                <a:gd fmla="*/ 6 w 100" name="T42"/>
                <a:gd fmla="*/ 50 h 96" name="T43"/>
                <a:gd fmla="*/ 10 w 100" name="T44"/>
                <a:gd fmla="*/ 56 h 96" name="T45"/>
                <a:gd fmla="*/ 12 w 100" name="T46"/>
                <a:gd fmla="*/ 58 h 96" name="T47"/>
                <a:gd fmla="*/ 16 w 100" name="T48"/>
                <a:gd fmla="*/ 64 h 96" name="T49"/>
                <a:gd fmla="*/ 20 w 100" name="T50"/>
                <a:gd fmla="*/ 72 h 96" name="T51"/>
                <a:gd fmla="*/ 20 w 100" name="T52"/>
                <a:gd fmla="*/ 74 h 96" name="T53"/>
                <a:gd fmla="*/ 26 w 100" name="T54"/>
                <a:gd fmla="*/ 80 h 96" name="T55"/>
                <a:gd fmla="*/ 28 w 100" name="T56"/>
                <a:gd fmla="*/ 86 h 96" name="T57"/>
                <a:gd fmla="*/ 32 w 100" name="T58"/>
                <a:gd fmla="*/ 88 h 96" name="T59"/>
                <a:gd fmla="*/ 34 w 100" name="T60"/>
                <a:gd fmla="*/ 88 h 96" name="T61"/>
                <a:gd fmla="*/ 40 w 100" name="T62"/>
                <a:gd fmla="*/ 94 h 96" name="T63"/>
                <a:gd fmla="*/ 42 w 100" name="T64"/>
                <a:gd fmla="*/ 96 h 96" name="T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b="b" l="0" r="r" t="0"/>
              <a:pathLst>
                <a:path h="96" w="100">
                  <a:moveTo>
                    <a:pt x="0" y="26"/>
                  </a:moveTo>
                  <a:lnTo>
                    <a:pt x="18" y="26"/>
                  </a:lnTo>
                  <a:lnTo>
                    <a:pt x="30" y="22"/>
                  </a:lnTo>
                  <a:lnTo>
                    <a:pt x="34" y="16"/>
                  </a:lnTo>
                  <a:lnTo>
                    <a:pt x="36" y="12"/>
                  </a:lnTo>
                  <a:lnTo>
                    <a:pt x="36" y="10"/>
                  </a:lnTo>
                  <a:lnTo>
                    <a:pt x="78" y="0"/>
                  </a:lnTo>
                  <a:lnTo>
                    <a:pt x="78" y="8"/>
                  </a:lnTo>
                  <a:lnTo>
                    <a:pt x="88" y="12"/>
                  </a:lnTo>
                  <a:lnTo>
                    <a:pt x="100" y="18"/>
                  </a:lnTo>
                  <a:lnTo>
                    <a:pt x="98" y="32"/>
                  </a:lnTo>
                  <a:lnTo>
                    <a:pt x="100" y="48"/>
                  </a:lnTo>
                  <a:lnTo>
                    <a:pt x="98" y="64"/>
                  </a:lnTo>
                  <a:lnTo>
                    <a:pt x="90" y="76"/>
                  </a:lnTo>
                  <a:lnTo>
                    <a:pt x="78" y="86"/>
                  </a:lnTo>
                  <a:lnTo>
                    <a:pt x="72" y="92"/>
                  </a:lnTo>
                  <a:lnTo>
                    <a:pt x="70" y="96"/>
                  </a:lnTo>
                  <a:lnTo>
                    <a:pt x="42" y="96"/>
                  </a:lnTo>
                  <a:lnTo>
                    <a:pt x="42" y="96"/>
                  </a:lnTo>
                  <a:lnTo>
                    <a:pt x="40" y="94"/>
                  </a:lnTo>
                  <a:lnTo>
                    <a:pt x="38" y="90"/>
                  </a:lnTo>
                  <a:lnTo>
                    <a:pt x="34" y="88"/>
                  </a:lnTo>
                  <a:lnTo>
                    <a:pt x="34" y="88"/>
                  </a:lnTo>
                  <a:lnTo>
                    <a:pt x="32" y="88"/>
                  </a:lnTo>
                  <a:lnTo>
                    <a:pt x="30" y="88"/>
                  </a:lnTo>
                  <a:lnTo>
                    <a:pt x="28" y="86"/>
                  </a:lnTo>
                  <a:lnTo>
                    <a:pt x="26" y="84"/>
                  </a:lnTo>
                  <a:lnTo>
                    <a:pt x="26" y="80"/>
                  </a:lnTo>
                  <a:lnTo>
                    <a:pt x="24" y="76"/>
                  </a:lnTo>
                  <a:lnTo>
                    <a:pt x="20" y="74"/>
                  </a:lnTo>
                  <a:lnTo>
                    <a:pt x="20" y="74"/>
                  </a:lnTo>
                  <a:lnTo>
                    <a:pt x="20" y="74"/>
                  </a:lnTo>
                  <a:lnTo>
                    <a:pt x="20" y="72"/>
                  </a:lnTo>
                  <a:lnTo>
                    <a:pt x="18" y="68"/>
                  </a:lnTo>
                  <a:lnTo>
                    <a:pt x="16" y="64"/>
                  </a:lnTo>
                  <a:lnTo>
                    <a:pt x="12" y="58"/>
                  </a:lnTo>
                  <a:lnTo>
                    <a:pt x="8" y="52"/>
                  </a:lnTo>
                  <a:lnTo>
                    <a:pt x="4" y="46"/>
                  </a:lnTo>
                  <a:lnTo>
                    <a:pt x="0" y="26"/>
                  </a:lnTo>
                  <a:lnTo>
                    <a:pt x="0" y="28"/>
                  </a:lnTo>
                  <a:lnTo>
                    <a:pt x="2" y="32"/>
                  </a:lnTo>
                  <a:lnTo>
                    <a:pt x="2" y="38"/>
                  </a:lnTo>
                  <a:lnTo>
                    <a:pt x="4" y="44"/>
                  </a:lnTo>
                  <a:lnTo>
                    <a:pt x="6" y="50"/>
                  </a:lnTo>
                  <a:lnTo>
                    <a:pt x="8" y="54"/>
                  </a:lnTo>
                  <a:lnTo>
                    <a:pt x="10" y="56"/>
                  </a:lnTo>
                  <a:lnTo>
                    <a:pt x="10" y="56"/>
                  </a:lnTo>
                  <a:lnTo>
                    <a:pt x="12" y="58"/>
                  </a:lnTo>
                  <a:lnTo>
                    <a:pt x="14" y="62"/>
                  </a:lnTo>
                  <a:lnTo>
                    <a:pt x="16" y="64"/>
                  </a:lnTo>
                  <a:lnTo>
                    <a:pt x="18" y="68"/>
                  </a:lnTo>
                  <a:lnTo>
                    <a:pt x="20" y="72"/>
                  </a:lnTo>
                  <a:lnTo>
                    <a:pt x="20" y="74"/>
                  </a:lnTo>
                  <a:lnTo>
                    <a:pt x="20" y="74"/>
                  </a:lnTo>
                  <a:lnTo>
                    <a:pt x="24" y="76"/>
                  </a:lnTo>
                  <a:lnTo>
                    <a:pt x="26" y="80"/>
                  </a:lnTo>
                  <a:lnTo>
                    <a:pt x="28" y="84"/>
                  </a:lnTo>
                  <a:lnTo>
                    <a:pt x="28" y="86"/>
                  </a:lnTo>
                  <a:lnTo>
                    <a:pt x="30" y="88"/>
                  </a:lnTo>
                  <a:lnTo>
                    <a:pt x="32" y="88"/>
                  </a:lnTo>
                  <a:lnTo>
                    <a:pt x="34" y="88"/>
                  </a:lnTo>
                  <a:lnTo>
                    <a:pt x="34" y="88"/>
                  </a:lnTo>
                  <a:lnTo>
                    <a:pt x="38" y="90"/>
                  </a:lnTo>
                  <a:lnTo>
                    <a:pt x="40" y="94"/>
                  </a:lnTo>
                  <a:lnTo>
                    <a:pt x="42" y="96"/>
                  </a:lnTo>
                  <a:lnTo>
                    <a:pt x="42" y="9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1" name="Freeform 488"/>
            <p:cNvSpPr/>
            <p:nvPr/>
          </p:nvSpPr>
          <p:spPr bwMode="gray">
            <a:xfrm>
              <a:off x="472284" y="4062127"/>
              <a:ext cx="388793" cy="370030"/>
            </a:xfrm>
            <a:custGeom>
              <a:gdLst>
                <a:gd fmla="*/ 74 w 210" name="T0"/>
                <a:gd fmla="*/ 0 h 200" name="T1"/>
                <a:gd fmla="*/ 74 w 210" name="T2"/>
                <a:gd fmla="*/ 0 h 200" name="T3"/>
                <a:gd fmla="*/ 72 w 210" name="T4"/>
                <a:gd fmla="*/ 2 h 200" name="T5"/>
                <a:gd fmla="*/ 78 w 210" name="T6"/>
                <a:gd fmla="*/ 114 h 200" name="T7"/>
                <a:gd fmla="*/ 80 w 210" name="T8"/>
                <a:gd fmla="*/ 120 h 200" name="T9"/>
                <a:gd fmla="*/ 82 w 210" name="T10"/>
                <a:gd fmla="*/ 128 h 200" name="T11"/>
                <a:gd fmla="*/ 24 w 210" name="T12"/>
                <a:gd fmla="*/ 130 h 200" name="T13"/>
                <a:gd fmla="*/ 22 w 210" name="T14"/>
                <a:gd fmla="*/ 132 h 200" name="T15"/>
                <a:gd fmla="*/ 18 w 210" name="T16"/>
                <a:gd fmla="*/ 134 h 200" name="T17"/>
                <a:gd fmla="*/ 16 w 210" name="T18"/>
                <a:gd fmla="*/ 132 h 200" name="T19"/>
                <a:gd fmla="*/ 14 w 210" name="T20"/>
                <a:gd fmla="*/ 132 h 200" name="T21"/>
                <a:gd fmla="*/ 12 w 210" name="T22"/>
                <a:gd fmla="*/ 136 h 200" name="T23"/>
                <a:gd fmla="*/ 12 w 210" name="T24"/>
                <a:gd fmla="*/ 140 h 200" name="T25"/>
                <a:gd fmla="*/ 10 w 210" name="T26"/>
                <a:gd fmla="*/ 144 h 200" name="T27"/>
                <a:gd fmla="*/ 8 w 210" name="T28"/>
                <a:gd fmla="*/ 146 h 200" name="T29"/>
                <a:gd fmla="*/ 6 w 210" name="T30"/>
                <a:gd fmla="*/ 150 h 200" name="T31"/>
                <a:gd fmla="*/ 2 w 210" name="T32"/>
                <a:gd fmla="*/ 154 h 200" name="T33"/>
                <a:gd fmla="*/ 0 w 210" name="T34"/>
                <a:gd fmla="*/ 156 h 200" name="T35"/>
                <a:gd fmla="*/ 0 w 210" name="T36"/>
                <a:gd fmla="*/ 164 h 200" name="T37"/>
                <a:gd fmla="*/ 2 w 210" name="T38"/>
                <a:gd fmla="*/ 172 h 200" name="T39"/>
                <a:gd fmla="*/ 2 w 210" name="T40"/>
                <a:gd fmla="*/ 174 h 200" name="T41"/>
                <a:gd fmla="*/ 4 w 210" name="T42"/>
                <a:gd fmla="*/ 176 h 200" name="T43"/>
                <a:gd fmla="*/ 10 w 210" name="T44"/>
                <a:gd fmla="*/ 178 h 200" name="T45"/>
                <a:gd fmla="*/ 14 w 210" name="T46"/>
                <a:gd fmla="*/ 180 h 200" name="T47"/>
                <a:gd fmla="*/ 22 w 210" name="T48"/>
                <a:gd fmla="*/ 182 h 200" name="T49"/>
                <a:gd fmla="*/ 24 w 210" name="T50"/>
                <a:gd fmla="*/ 182 h 200" name="T51"/>
                <a:gd fmla="*/ 30 w 210" name="T52"/>
                <a:gd fmla="*/ 182 h 200" name="T53"/>
                <a:gd fmla="*/ 30 w 210" name="T54"/>
                <a:gd fmla="*/ 176 h 200" name="T55"/>
                <a:gd fmla="*/ 32 w 210" name="T56"/>
                <a:gd fmla="*/ 176 h 200" name="T57"/>
                <a:gd fmla="*/ 38 w 210" name="T58"/>
                <a:gd fmla="*/ 174 h 200" name="T59"/>
                <a:gd fmla="*/ 44 w 210" name="T60"/>
                <a:gd fmla="*/ 178 h 200" name="T61"/>
                <a:gd fmla="*/ 44 w 210" name="T62"/>
                <a:gd fmla="*/ 182 h 200" name="T63"/>
                <a:gd fmla="*/ 48 w 210" name="T64"/>
                <a:gd fmla="*/ 190 h 200" name="T65"/>
                <a:gd fmla="*/ 56 w 210" name="T66"/>
                <a:gd fmla="*/ 198 h 200" name="T67"/>
                <a:gd fmla="*/ 60 w 210" name="T68"/>
                <a:gd fmla="*/ 200 h 200" name="T69"/>
                <a:gd fmla="*/ 70 w 210" name="T70"/>
                <a:gd fmla="*/ 198 h 200" name="T71"/>
                <a:gd fmla="*/ 74 w 210" name="T72"/>
                <a:gd fmla="*/ 196 h 200" name="T73"/>
                <a:gd fmla="*/ 78 w 210" name="T74"/>
                <a:gd fmla="*/ 192 h 200" name="T75"/>
                <a:gd fmla="*/ 84 w 210" name="T76"/>
                <a:gd fmla="*/ 196 h 200" name="T77"/>
                <a:gd fmla="*/ 86 w 210" name="T78"/>
                <a:gd fmla="*/ 196 h 200" name="T79"/>
                <a:gd fmla="*/ 90 w 210" name="T80"/>
                <a:gd fmla="*/ 196 h 200" name="T81"/>
                <a:gd fmla="*/ 92 w 210" name="T82"/>
                <a:gd fmla="*/ 194 h 200" name="T83"/>
                <a:gd fmla="*/ 94 w 210" name="T84"/>
                <a:gd fmla="*/ 186 h 200" name="T85"/>
                <a:gd fmla="*/ 98 w 210" name="T86"/>
                <a:gd fmla="*/ 176 h 200" name="T87"/>
                <a:gd fmla="*/ 102 w 210" name="T88"/>
                <a:gd fmla="*/ 170 h 200" name="T89"/>
                <a:gd fmla="*/ 106 w 210" name="T90"/>
                <a:gd fmla="*/ 166 h 200" name="T91"/>
                <a:gd fmla="*/ 114 w 210" name="T92"/>
                <a:gd fmla="*/ 164 h 200" name="T93"/>
                <a:gd fmla="*/ 130 w 210" name="T94"/>
                <a:gd fmla="*/ 162 h 200" name="T95"/>
                <a:gd fmla="*/ 148 w 210" name="T96"/>
                <a:gd fmla="*/ 156 h 200" name="T97"/>
                <a:gd fmla="*/ 154 w 210" name="T98"/>
                <a:gd fmla="*/ 150 h 200" name="T99"/>
                <a:gd fmla="*/ 162 w 210" name="T100"/>
                <a:gd fmla="*/ 150 h 200" name="T101"/>
                <a:gd fmla="*/ 176 w 210" name="T102"/>
                <a:gd fmla="*/ 148 h 200" name="T103"/>
                <a:gd fmla="*/ 180 w 210" name="T104"/>
                <a:gd fmla="*/ 148 h 200" name="T105"/>
                <a:gd fmla="*/ 186 w 210" name="T106"/>
                <a:gd fmla="*/ 142 h 200" name="T107"/>
                <a:gd fmla="*/ 196 w 210" name="T108"/>
                <a:gd fmla="*/ 132 h 200" name="T109"/>
                <a:gd fmla="*/ 202 w 210" name="T110"/>
                <a:gd fmla="*/ 120 h 200" name="T111"/>
                <a:gd fmla="*/ 208 w 210" name="T112"/>
                <a:gd fmla="*/ 92 h 200" name="T113"/>
                <a:gd fmla="*/ 202 w 210" name="T114"/>
                <a:gd fmla="*/ 74 h 200" name="T115"/>
                <a:gd fmla="*/ 170 w 210" name="T116"/>
                <a:gd fmla="*/ 58 h 200"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200" w="210">
                  <a:moveTo>
                    <a:pt x="94" y="0"/>
                  </a:moveTo>
                  <a:lnTo>
                    <a:pt x="74" y="0"/>
                  </a:lnTo>
                  <a:lnTo>
                    <a:pt x="74" y="0"/>
                  </a:lnTo>
                  <a:lnTo>
                    <a:pt x="74" y="0"/>
                  </a:lnTo>
                  <a:lnTo>
                    <a:pt x="72" y="0"/>
                  </a:lnTo>
                  <a:lnTo>
                    <a:pt x="72" y="2"/>
                  </a:lnTo>
                  <a:lnTo>
                    <a:pt x="78" y="114"/>
                  </a:lnTo>
                  <a:lnTo>
                    <a:pt x="78" y="114"/>
                  </a:lnTo>
                  <a:lnTo>
                    <a:pt x="80" y="118"/>
                  </a:lnTo>
                  <a:lnTo>
                    <a:pt x="80" y="120"/>
                  </a:lnTo>
                  <a:lnTo>
                    <a:pt x="82" y="124"/>
                  </a:lnTo>
                  <a:lnTo>
                    <a:pt x="82" y="128"/>
                  </a:lnTo>
                  <a:lnTo>
                    <a:pt x="76" y="136"/>
                  </a:lnTo>
                  <a:lnTo>
                    <a:pt x="24" y="130"/>
                  </a:lnTo>
                  <a:lnTo>
                    <a:pt x="24" y="130"/>
                  </a:lnTo>
                  <a:lnTo>
                    <a:pt x="22" y="132"/>
                  </a:lnTo>
                  <a:lnTo>
                    <a:pt x="20" y="134"/>
                  </a:lnTo>
                  <a:lnTo>
                    <a:pt x="18" y="134"/>
                  </a:lnTo>
                  <a:lnTo>
                    <a:pt x="16" y="132"/>
                  </a:lnTo>
                  <a:lnTo>
                    <a:pt x="16" y="132"/>
                  </a:lnTo>
                  <a:lnTo>
                    <a:pt x="16" y="132"/>
                  </a:lnTo>
                  <a:lnTo>
                    <a:pt x="14" y="132"/>
                  </a:lnTo>
                  <a:lnTo>
                    <a:pt x="12" y="134"/>
                  </a:lnTo>
                  <a:lnTo>
                    <a:pt x="12" y="136"/>
                  </a:lnTo>
                  <a:lnTo>
                    <a:pt x="12" y="138"/>
                  </a:lnTo>
                  <a:lnTo>
                    <a:pt x="12" y="140"/>
                  </a:lnTo>
                  <a:lnTo>
                    <a:pt x="12" y="144"/>
                  </a:lnTo>
                  <a:lnTo>
                    <a:pt x="10" y="144"/>
                  </a:lnTo>
                  <a:lnTo>
                    <a:pt x="8" y="144"/>
                  </a:lnTo>
                  <a:lnTo>
                    <a:pt x="8" y="146"/>
                  </a:lnTo>
                  <a:lnTo>
                    <a:pt x="8" y="148"/>
                  </a:lnTo>
                  <a:lnTo>
                    <a:pt x="6" y="150"/>
                  </a:lnTo>
                  <a:lnTo>
                    <a:pt x="4" y="154"/>
                  </a:lnTo>
                  <a:lnTo>
                    <a:pt x="2" y="154"/>
                  </a:lnTo>
                  <a:lnTo>
                    <a:pt x="0" y="154"/>
                  </a:lnTo>
                  <a:lnTo>
                    <a:pt x="0" y="156"/>
                  </a:lnTo>
                  <a:lnTo>
                    <a:pt x="0" y="158"/>
                  </a:lnTo>
                  <a:lnTo>
                    <a:pt x="0" y="164"/>
                  </a:lnTo>
                  <a:lnTo>
                    <a:pt x="2" y="168"/>
                  </a:lnTo>
                  <a:lnTo>
                    <a:pt x="2" y="172"/>
                  </a:lnTo>
                  <a:lnTo>
                    <a:pt x="2" y="174"/>
                  </a:lnTo>
                  <a:lnTo>
                    <a:pt x="2" y="174"/>
                  </a:lnTo>
                  <a:lnTo>
                    <a:pt x="2" y="176"/>
                  </a:lnTo>
                  <a:lnTo>
                    <a:pt x="4" y="176"/>
                  </a:lnTo>
                  <a:lnTo>
                    <a:pt x="6" y="178"/>
                  </a:lnTo>
                  <a:lnTo>
                    <a:pt x="10" y="178"/>
                  </a:lnTo>
                  <a:lnTo>
                    <a:pt x="10" y="178"/>
                  </a:lnTo>
                  <a:lnTo>
                    <a:pt x="14" y="180"/>
                  </a:lnTo>
                  <a:lnTo>
                    <a:pt x="18" y="182"/>
                  </a:lnTo>
                  <a:lnTo>
                    <a:pt x="22" y="182"/>
                  </a:lnTo>
                  <a:lnTo>
                    <a:pt x="22" y="182"/>
                  </a:lnTo>
                  <a:lnTo>
                    <a:pt x="24" y="182"/>
                  </a:lnTo>
                  <a:lnTo>
                    <a:pt x="28" y="182"/>
                  </a:lnTo>
                  <a:lnTo>
                    <a:pt x="30" y="182"/>
                  </a:lnTo>
                  <a:lnTo>
                    <a:pt x="30" y="180"/>
                  </a:lnTo>
                  <a:lnTo>
                    <a:pt x="30" y="176"/>
                  </a:lnTo>
                  <a:lnTo>
                    <a:pt x="32" y="176"/>
                  </a:lnTo>
                  <a:lnTo>
                    <a:pt x="32" y="176"/>
                  </a:lnTo>
                  <a:lnTo>
                    <a:pt x="36" y="174"/>
                  </a:lnTo>
                  <a:lnTo>
                    <a:pt x="38" y="174"/>
                  </a:lnTo>
                  <a:lnTo>
                    <a:pt x="42" y="176"/>
                  </a:lnTo>
                  <a:lnTo>
                    <a:pt x="44" y="178"/>
                  </a:lnTo>
                  <a:lnTo>
                    <a:pt x="44" y="180"/>
                  </a:lnTo>
                  <a:lnTo>
                    <a:pt x="44" y="182"/>
                  </a:lnTo>
                  <a:lnTo>
                    <a:pt x="46" y="186"/>
                  </a:lnTo>
                  <a:lnTo>
                    <a:pt x="48" y="190"/>
                  </a:lnTo>
                  <a:lnTo>
                    <a:pt x="50" y="194"/>
                  </a:lnTo>
                  <a:lnTo>
                    <a:pt x="56" y="198"/>
                  </a:lnTo>
                  <a:lnTo>
                    <a:pt x="56" y="198"/>
                  </a:lnTo>
                  <a:lnTo>
                    <a:pt x="60" y="200"/>
                  </a:lnTo>
                  <a:lnTo>
                    <a:pt x="64" y="200"/>
                  </a:lnTo>
                  <a:lnTo>
                    <a:pt x="70" y="198"/>
                  </a:lnTo>
                  <a:lnTo>
                    <a:pt x="74" y="196"/>
                  </a:lnTo>
                  <a:lnTo>
                    <a:pt x="74" y="196"/>
                  </a:lnTo>
                  <a:lnTo>
                    <a:pt x="76" y="194"/>
                  </a:lnTo>
                  <a:lnTo>
                    <a:pt x="78" y="192"/>
                  </a:lnTo>
                  <a:lnTo>
                    <a:pt x="82" y="192"/>
                  </a:lnTo>
                  <a:lnTo>
                    <a:pt x="84" y="196"/>
                  </a:lnTo>
                  <a:lnTo>
                    <a:pt x="86" y="196"/>
                  </a:lnTo>
                  <a:lnTo>
                    <a:pt x="86" y="196"/>
                  </a:lnTo>
                  <a:lnTo>
                    <a:pt x="88" y="198"/>
                  </a:lnTo>
                  <a:lnTo>
                    <a:pt x="90" y="196"/>
                  </a:lnTo>
                  <a:lnTo>
                    <a:pt x="92" y="194"/>
                  </a:lnTo>
                  <a:lnTo>
                    <a:pt x="92" y="194"/>
                  </a:lnTo>
                  <a:lnTo>
                    <a:pt x="92" y="190"/>
                  </a:lnTo>
                  <a:lnTo>
                    <a:pt x="94" y="186"/>
                  </a:lnTo>
                  <a:lnTo>
                    <a:pt x="96" y="180"/>
                  </a:lnTo>
                  <a:lnTo>
                    <a:pt x="98" y="176"/>
                  </a:lnTo>
                  <a:lnTo>
                    <a:pt x="100" y="172"/>
                  </a:lnTo>
                  <a:lnTo>
                    <a:pt x="102" y="170"/>
                  </a:lnTo>
                  <a:lnTo>
                    <a:pt x="102" y="168"/>
                  </a:lnTo>
                  <a:lnTo>
                    <a:pt x="106" y="166"/>
                  </a:lnTo>
                  <a:lnTo>
                    <a:pt x="108" y="164"/>
                  </a:lnTo>
                  <a:lnTo>
                    <a:pt x="114" y="164"/>
                  </a:lnTo>
                  <a:lnTo>
                    <a:pt x="120" y="164"/>
                  </a:lnTo>
                  <a:lnTo>
                    <a:pt x="130" y="162"/>
                  </a:lnTo>
                  <a:lnTo>
                    <a:pt x="140" y="160"/>
                  </a:lnTo>
                  <a:lnTo>
                    <a:pt x="148" y="156"/>
                  </a:lnTo>
                  <a:lnTo>
                    <a:pt x="152" y="150"/>
                  </a:lnTo>
                  <a:lnTo>
                    <a:pt x="154" y="150"/>
                  </a:lnTo>
                  <a:lnTo>
                    <a:pt x="158" y="150"/>
                  </a:lnTo>
                  <a:lnTo>
                    <a:pt x="162" y="150"/>
                  </a:lnTo>
                  <a:lnTo>
                    <a:pt x="168" y="150"/>
                  </a:lnTo>
                  <a:lnTo>
                    <a:pt x="176" y="148"/>
                  </a:lnTo>
                  <a:lnTo>
                    <a:pt x="176" y="148"/>
                  </a:lnTo>
                  <a:lnTo>
                    <a:pt x="180" y="148"/>
                  </a:lnTo>
                  <a:lnTo>
                    <a:pt x="182" y="146"/>
                  </a:lnTo>
                  <a:lnTo>
                    <a:pt x="186" y="142"/>
                  </a:lnTo>
                  <a:lnTo>
                    <a:pt x="192" y="138"/>
                  </a:lnTo>
                  <a:lnTo>
                    <a:pt x="196" y="132"/>
                  </a:lnTo>
                  <a:lnTo>
                    <a:pt x="200" y="124"/>
                  </a:lnTo>
                  <a:lnTo>
                    <a:pt x="202" y="120"/>
                  </a:lnTo>
                  <a:lnTo>
                    <a:pt x="204" y="108"/>
                  </a:lnTo>
                  <a:lnTo>
                    <a:pt x="208" y="92"/>
                  </a:lnTo>
                  <a:lnTo>
                    <a:pt x="210" y="72"/>
                  </a:lnTo>
                  <a:lnTo>
                    <a:pt x="202" y="74"/>
                  </a:lnTo>
                  <a:lnTo>
                    <a:pt x="198" y="58"/>
                  </a:lnTo>
                  <a:lnTo>
                    <a:pt x="170" y="58"/>
                  </a:lnTo>
                  <a:lnTo>
                    <a:pt x="94"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2" name="Freeform 489"/>
            <p:cNvSpPr/>
            <p:nvPr/>
          </p:nvSpPr>
          <p:spPr bwMode="gray">
            <a:xfrm>
              <a:off x="1375766" y="3914115"/>
              <a:ext cx="255493" cy="277522"/>
            </a:xfrm>
            <a:custGeom>
              <a:gdLst>
                <a:gd fmla="*/ 0 w 138" name="T0"/>
                <a:gd fmla="*/ 150 h 150" name="T1"/>
                <a:gd fmla="*/ 0 w 138" name="T2"/>
                <a:gd fmla="*/ 0 h 150" name="T3"/>
                <a:gd fmla="*/ 2 w 138" name="T4"/>
                <a:gd fmla="*/ 0 h 150" name="T5"/>
                <a:gd fmla="*/ 6 w 138" name="T6"/>
                <a:gd fmla="*/ 2 h 150" name="T7"/>
                <a:gd fmla="*/ 12 w 138" name="T8"/>
                <a:gd fmla="*/ 2 h 150" name="T9"/>
                <a:gd fmla="*/ 18 w 138" name="T10"/>
                <a:gd fmla="*/ 2 h 150" name="T11"/>
                <a:gd fmla="*/ 22 w 138" name="T12"/>
                <a:gd fmla="*/ 2 h 150" name="T13"/>
                <a:gd fmla="*/ 26 w 138" name="T14"/>
                <a:gd fmla="*/ 4 h 150" name="T15"/>
                <a:gd fmla="*/ 28 w 138" name="T16"/>
                <a:gd fmla="*/ 4 h 150" name="T17"/>
                <a:gd fmla="*/ 30 w 138" name="T18"/>
                <a:gd fmla="*/ 6 h 150" name="T19"/>
                <a:gd fmla="*/ 34 w 138" name="T20"/>
                <a:gd fmla="*/ 8 h 150" name="T21"/>
                <a:gd fmla="*/ 38 w 138" name="T22"/>
                <a:gd fmla="*/ 10 h 150" name="T23"/>
                <a:gd fmla="*/ 44 w 138" name="T24"/>
                <a:gd fmla="*/ 10 h 150" name="T25"/>
                <a:gd fmla="*/ 68 w 138" name="T26"/>
                <a:gd fmla="*/ 4 h 150" name="T27"/>
                <a:gd fmla="*/ 68 w 138" name="T28"/>
                <a:gd fmla="*/ 4 h 150" name="T29"/>
                <a:gd fmla="*/ 70 w 138" name="T30"/>
                <a:gd fmla="*/ 4 h 150" name="T31"/>
                <a:gd fmla="*/ 72 w 138" name="T32"/>
                <a:gd fmla="*/ 2 h 150" name="T33"/>
                <a:gd fmla="*/ 76 w 138" name="T34"/>
                <a:gd fmla="*/ 2 h 150" name="T35"/>
                <a:gd fmla="*/ 80 w 138" name="T36"/>
                <a:gd fmla="*/ 4 h 150" name="T37"/>
                <a:gd fmla="*/ 86 w 138" name="T38"/>
                <a:gd fmla="*/ 6 h 150" name="T39"/>
                <a:gd fmla="*/ 86 w 138" name="T40"/>
                <a:gd fmla="*/ 6 h 150" name="T41"/>
                <a:gd fmla="*/ 86 w 138" name="T42"/>
                <a:gd fmla="*/ 10 h 150" name="T43"/>
                <a:gd fmla="*/ 86 w 138" name="T44"/>
                <a:gd fmla="*/ 14 h 150" name="T45"/>
                <a:gd fmla="*/ 88 w 138" name="T46"/>
                <a:gd fmla="*/ 20 h 150" name="T47"/>
                <a:gd fmla="*/ 92 w 138" name="T48"/>
                <a:gd fmla="*/ 26 h 150" name="T49"/>
                <a:gd fmla="*/ 92 w 138" name="T50"/>
                <a:gd fmla="*/ 30 h 150" name="T51"/>
                <a:gd fmla="*/ 98 w 138" name="T52"/>
                <a:gd fmla="*/ 40 h 150" name="T53"/>
                <a:gd fmla="*/ 106 w 138" name="T54"/>
                <a:gd fmla="*/ 56 h 150" name="T55"/>
                <a:gd fmla="*/ 114 w 138" name="T56"/>
                <a:gd fmla="*/ 74 h 150" name="T57"/>
                <a:gd fmla="*/ 122 w 138" name="T58"/>
                <a:gd fmla="*/ 92 h 150" name="T59"/>
                <a:gd fmla="*/ 130 w 138" name="T60"/>
                <a:gd fmla="*/ 108 h 150" name="T61"/>
                <a:gd fmla="*/ 136 w 138" name="T62"/>
                <a:gd fmla="*/ 122 h 150" name="T63"/>
                <a:gd fmla="*/ 138 w 138" name="T64"/>
                <a:gd fmla="*/ 128 h 150" name="T65"/>
                <a:gd fmla="*/ 138 w 138" name="T66"/>
                <a:gd fmla="*/ 130 h 150" name="T67"/>
                <a:gd fmla="*/ 136 w 138" name="T68"/>
                <a:gd fmla="*/ 132 h 150" name="T69"/>
                <a:gd fmla="*/ 132 w 138" name="T70"/>
                <a:gd fmla="*/ 138 h 150" name="T71"/>
                <a:gd fmla="*/ 126 w 138" name="T72"/>
                <a:gd fmla="*/ 142 h 150" name="T73"/>
                <a:gd fmla="*/ 120 w 138" name="T74"/>
                <a:gd fmla="*/ 146 h 150" name="T75"/>
                <a:gd fmla="*/ 110 w 138" name="T76"/>
                <a:gd fmla="*/ 150 h 150" name="T77"/>
                <a:gd fmla="*/ 0 w 138" name="T78"/>
                <a:gd fmla="*/ 150 h 150" name="T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b="b" l="0" r="r" t="0"/>
              <a:pathLst>
                <a:path h="150" w="138">
                  <a:moveTo>
                    <a:pt x="0" y="150"/>
                  </a:moveTo>
                  <a:lnTo>
                    <a:pt x="0" y="0"/>
                  </a:lnTo>
                  <a:lnTo>
                    <a:pt x="2" y="0"/>
                  </a:lnTo>
                  <a:lnTo>
                    <a:pt x="6" y="2"/>
                  </a:lnTo>
                  <a:lnTo>
                    <a:pt x="12" y="2"/>
                  </a:lnTo>
                  <a:lnTo>
                    <a:pt x="18" y="2"/>
                  </a:lnTo>
                  <a:lnTo>
                    <a:pt x="22" y="2"/>
                  </a:lnTo>
                  <a:lnTo>
                    <a:pt x="26" y="4"/>
                  </a:lnTo>
                  <a:lnTo>
                    <a:pt x="28" y="4"/>
                  </a:lnTo>
                  <a:lnTo>
                    <a:pt x="30" y="6"/>
                  </a:lnTo>
                  <a:lnTo>
                    <a:pt x="34" y="8"/>
                  </a:lnTo>
                  <a:lnTo>
                    <a:pt x="38" y="10"/>
                  </a:lnTo>
                  <a:lnTo>
                    <a:pt x="44" y="10"/>
                  </a:lnTo>
                  <a:lnTo>
                    <a:pt x="68" y="4"/>
                  </a:lnTo>
                  <a:lnTo>
                    <a:pt x="68" y="4"/>
                  </a:lnTo>
                  <a:lnTo>
                    <a:pt x="70" y="4"/>
                  </a:lnTo>
                  <a:lnTo>
                    <a:pt x="72" y="2"/>
                  </a:lnTo>
                  <a:lnTo>
                    <a:pt x="76" y="2"/>
                  </a:lnTo>
                  <a:lnTo>
                    <a:pt x="80" y="4"/>
                  </a:lnTo>
                  <a:lnTo>
                    <a:pt x="86" y="6"/>
                  </a:lnTo>
                  <a:lnTo>
                    <a:pt x="86" y="6"/>
                  </a:lnTo>
                  <a:lnTo>
                    <a:pt x="86" y="10"/>
                  </a:lnTo>
                  <a:lnTo>
                    <a:pt x="86" y="14"/>
                  </a:lnTo>
                  <a:lnTo>
                    <a:pt x="88" y="20"/>
                  </a:lnTo>
                  <a:lnTo>
                    <a:pt x="92" y="26"/>
                  </a:lnTo>
                  <a:lnTo>
                    <a:pt x="92" y="30"/>
                  </a:lnTo>
                  <a:lnTo>
                    <a:pt x="98" y="40"/>
                  </a:lnTo>
                  <a:lnTo>
                    <a:pt x="106" y="56"/>
                  </a:lnTo>
                  <a:lnTo>
                    <a:pt x="114" y="74"/>
                  </a:lnTo>
                  <a:lnTo>
                    <a:pt x="122" y="92"/>
                  </a:lnTo>
                  <a:lnTo>
                    <a:pt x="130" y="108"/>
                  </a:lnTo>
                  <a:lnTo>
                    <a:pt x="136" y="122"/>
                  </a:lnTo>
                  <a:lnTo>
                    <a:pt x="138" y="128"/>
                  </a:lnTo>
                  <a:lnTo>
                    <a:pt x="138" y="130"/>
                  </a:lnTo>
                  <a:lnTo>
                    <a:pt x="136" y="132"/>
                  </a:lnTo>
                  <a:lnTo>
                    <a:pt x="132" y="138"/>
                  </a:lnTo>
                  <a:lnTo>
                    <a:pt x="126" y="142"/>
                  </a:lnTo>
                  <a:lnTo>
                    <a:pt x="120" y="146"/>
                  </a:lnTo>
                  <a:lnTo>
                    <a:pt x="110" y="150"/>
                  </a:lnTo>
                  <a:lnTo>
                    <a:pt x="0" y="15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3" name="Freeform 490"/>
            <p:cNvSpPr/>
            <p:nvPr/>
          </p:nvSpPr>
          <p:spPr bwMode="gray">
            <a:xfrm>
              <a:off x="1534986" y="3921516"/>
              <a:ext cx="74056" cy="92507"/>
            </a:xfrm>
            <a:custGeom>
              <a:gdLst>
                <a:gd fmla="*/ 0 w 40" name="T0"/>
                <a:gd fmla="*/ 0 h 50" name="T1"/>
                <a:gd fmla="*/ 0 w 40" name="T2"/>
                <a:gd fmla="*/ 8 h 50" name="T3"/>
                <a:gd fmla="*/ 0 w 40" name="T4"/>
                <a:gd fmla="*/ 10 h 50" name="T5"/>
                <a:gd fmla="*/ 2 w 40" name="T6"/>
                <a:gd fmla="*/ 12 h 50" name="T7"/>
                <a:gd fmla="*/ 2 w 40" name="T8"/>
                <a:gd fmla="*/ 16 h 50" name="T9"/>
                <a:gd fmla="*/ 4 w 40" name="T10"/>
                <a:gd fmla="*/ 20 h 50" name="T11"/>
                <a:gd fmla="*/ 6 w 40" name="T12"/>
                <a:gd fmla="*/ 24 h 50" name="T13"/>
                <a:gd fmla="*/ 8 w 40" name="T14"/>
                <a:gd fmla="*/ 28 h 50" name="T15"/>
                <a:gd fmla="*/ 10 w 40" name="T16"/>
                <a:gd fmla="*/ 30 h 50" name="T17"/>
                <a:gd fmla="*/ 14 w 40" name="T18"/>
                <a:gd fmla="*/ 34 h 50" name="T19"/>
                <a:gd fmla="*/ 16 w 40" name="T20"/>
                <a:gd fmla="*/ 38 h 50" name="T21"/>
                <a:gd fmla="*/ 22 w 40" name="T22"/>
                <a:gd fmla="*/ 42 h 50" name="T23"/>
                <a:gd fmla="*/ 26 w 40" name="T24"/>
                <a:gd fmla="*/ 44 h 50" name="T25"/>
                <a:gd fmla="*/ 30 w 40" name="T26"/>
                <a:gd fmla="*/ 48 h 50" name="T27"/>
                <a:gd fmla="*/ 32 w 40" name="T28"/>
                <a:gd fmla="*/ 50 h 50" name="T29"/>
                <a:gd fmla="*/ 32 w 40" name="T30"/>
                <a:gd fmla="*/ 50 h 50" name="T31"/>
                <a:gd fmla="*/ 34 w 40" name="T32"/>
                <a:gd fmla="*/ 50 h 50" name="T33"/>
                <a:gd fmla="*/ 36 w 40" name="T34"/>
                <a:gd fmla="*/ 48 h 50" name="T35"/>
                <a:gd fmla="*/ 38 w 40" name="T36"/>
                <a:gd fmla="*/ 44 h 50" name="T37"/>
                <a:gd fmla="*/ 40 w 40" name="T38"/>
                <a:gd fmla="*/ 32 h 50" name="T39"/>
                <a:gd fmla="*/ 38 w 40" name="T40"/>
                <a:gd fmla="*/ 28 h 50" name="T41"/>
                <a:gd fmla="*/ 32 w 40" name="T42"/>
                <a:gd fmla="*/ 18 h 50" name="T43"/>
                <a:gd fmla="*/ 26 w 40" name="T44"/>
                <a:gd fmla="*/ 8 h 50" name="T45"/>
                <a:gd fmla="*/ 22 w 40" name="T46"/>
                <a:gd fmla="*/ 0 h 50" name="T47"/>
                <a:gd fmla="*/ 22 w 40" name="T48"/>
                <a:gd fmla="*/ 0 h 50" name="T49"/>
                <a:gd fmla="*/ 18 w 40" name="T50"/>
                <a:gd fmla="*/ 0 h 50" name="T51"/>
                <a:gd fmla="*/ 12 w 40" name="T52"/>
                <a:gd fmla="*/ 0 h 50" name="T53"/>
                <a:gd fmla="*/ 8 w 40" name="T54"/>
                <a:gd fmla="*/ 0 h 50" name="T55"/>
                <a:gd fmla="*/ 2 w 40" name="T56"/>
                <a:gd fmla="*/ 0 h 50" name="T57"/>
                <a:gd fmla="*/ 0 w 40" name="T58"/>
                <a:gd fmla="*/ 0 h 50" name="T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b="b" l="0" r="r" t="0"/>
              <a:pathLst>
                <a:path h="50" w="40">
                  <a:moveTo>
                    <a:pt x="0" y="0"/>
                  </a:moveTo>
                  <a:lnTo>
                    <a:pt x="0" y="8"/>
                  </a:lnTo>
                  <a:lnTo>
                    <a:pt x="0" y="10"/>
                  </a:lnTo>
                  <a:lnTo>
                    <a:pt x="2" y="12"/>
                  </a:lnTo>
                  <a:lnTo>
                    <a:pt x="2" y="16"/>
                  </a:lnTo>
                  <a:lnTo>
                    <a:pt x="4" y="20"/>
                  </a:lnTo>
                  <a:lnTo>
                    <a:pt x="6" y="24"/>
                  </a:lnTo>
                  <a:lnTo>
                    <a:pt x="8" y="28"/>
                  </a:lnTo>
                  <a:lnTo>
                    <a:pt x="10" y="30"/>
                  </a:lnTo>
                  <a:lnTo>
                    <a:pt x="14" y="34"/>
                  </a:lnTo>
                  <a:lnTo>
                    <a:pt x="16" y="38"/>
                  </a:lnTo>
                  <a:lnTo>
                    <a:pt x="22" y="42"/>
                  </a:lnTo>
                  <a:lnTo>
                    <a:pt x="26" y="44"/>
                  </a:lnTo>
                  <a:lnTo>
                    <a:pt x="30" y="48"/>
                  </a:lnTo>
                  <a:lnTo>
                    <a:pt x="32" y="50"/>
                  </a:lnTo>
                  <a:lnTo>
                    <a:pt x="32" y="50"/>
                  </a:lnTo>
                  <a:lnTo>
                    <a:pt x="34" y="50"/>
                  </a:lnTo>
                  <a:lnTo>
                    <a:pt x="36" y="48"/>
                  </a:lnTo>
                  <a:lnTo>
                    <a:pt x="38" y="44"/>
                  </a:lnTo>
                  <a:lnTo>
                    <a:pt x="40" y="32"/>
                  </a:lnTo>
                  <a:lnTo>
                    <a:pt x="38" y="28"/>
                  </a:lnTo>
                  <a:lnTo>
                    <a:pt x="32" y="18"/>
                  </a:lnTo>
                  <a:lnTo>
                    <a:pt x="26" y="8"/>
                  </a:lnTo>
                  <a:lnTo>
                    <a:pt x="22" y="0"/>
                  </a:lnTo>
                  <a:lnTo>
                    <a:pt x="22" y="0"/>
                  </a:lnTo>
                  <a:lnTo>
                    <a:pt x="18" y="0"/>
                  </a:lnTo>
                  <a:lnTo>
                    <a:pt x="12" y="0"/>
                  </a:lnTo>
                  <a:lnTo>
                    <a:pt x="8" y="0"/>
                  </a:lnTo>
                  <a:lnTo>
                    <a:pt x="2" y="0"/>
                  </a:lnTo>
                  <a:lnTo>
                    <a:pt x="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4" name="Freeform 491"/>
            <p:cNvSpPr/>
            <p:nvPr/>
          </p:nvSpPr>
          <p:spPr bwMode="gray">
            <a:xfrm>
              <a:off x="1790479" y="4983502"/>
              <a:ext cx="159220" cy="336727"/>
            </a:xfrm>
            <a:custGeom>
              <a:gdLst>
                <a:gd fmla="*/ 78 w 86" name="T0"/>
                <a:gd fmla="*/ 0 h 182" name="T1"/>
                <a:gd fmla="*/ 72 w 86" name="T2"/>
                <a:gd fmla="*/ 4 h 182" name="T3"/>
                <a:gd fmla="*/ 64 w 86" name="T4"/>
                <a:gd fmla="*/ 12 h 182" name="T5"/>
                <a:gd fmla="*/ 60 w 86" name="T6"/>
                <a:gd fmla="*/ 20 h 182" name="T7"/>
                <a:gd fmla="*/ 56 w 86" name="T8"/>
                <a:gd fmla="*/ 24 h 182" name="T9"/>
                <a:gd fmla="*/ 48 w 86" name="T10"/>
                <a:gd fmla="*/ 32 h 182" name="T11"/>
                <a:gd fmla="*/ 40 w 86" name="T12"/>
                <a:gd fmla="*/ 42 h 182" name="T13"/>
                <a:gd fmla="*/ 34 w 86" name="T14"/>
                <a:gd fmla="*/ 50 h 182" name="T15"/>
                <a:gd fmla="*/ 28 w 86" name="T16"/>
                <a:gd fmla="*/ 54 h 182" name="T17"/>
                <a:gd fmla="*/ 24 w 86" name="T18"/>
                <a:gd fmla="*/ 54 h 182" name="T19"/>
                <a:gd fmla="*/ 22 w 86" name="T20"/>
                <a:gd fmla="*/ 54 h 182" name="T21"/>
                <a:gd fmla="*/ 16 w 86" name="T22"/>
                <a:gd fmla="*/ 54 h 182" name="T23"/>
                <a:gd fmla="*/ 10 w 86" name="T24"/>
                <a:gd fmla="*/ 60 h 182" name="T25"/>
                <a:gd fmla="*/ 6 w 86" name="T26"/>
                <a:gd fmla="*/ 68 h 182" name="T27"/>
                <a:gd fmla="*/ 6 w 86" name="T28"/>
                <a:gd fmla="*/ 82 h 182" name="T29"/>
                <a:gd fmla="*/ 4 w 86" name="T30"/>
                <a:gd fmla="*/ 90 h 182" name="T31"/>
                <a:gd fmla="*/ 6 w 86" name="T32"/>
                <a:gd fmla="*/ 92 h 182" name="T33"/>
                <a:gd fmla="*/ 8 w 86" name="T34"/>
                <a:gd fmla="*/ 92 h 182" name="T35"/>
                <a:gd fmla="*/ 14 w 86" name="T36"/>
                <a:gd fmla="*/ 100 h 182" name="T37"/>
                <a:gd fmla="*/ 14 w 86" name="T38"/>
                <a:gd fmla="*/ 106 h 182" name="T39"/>
                <a:gd fmla="*/ 10 w 86" name="T40"/>
                <a:gd fmla="*/ 110 h 182" name="T41"/>
                <a:gd fmla="*/ 6 w 86" name="T42"/>
                <a:gd fmla="*/ 116 h 182" name="T43"/>
                <a:gd fmla="*/ 0 w 86" name="T44"/>
                <a:gd fmla="*/ 138 h 182" name="T45"/>
                <a:gd fmla="*/ 6 w 86" name="T46"/>
                <a:gd fmla="*/ 172 h 182" name="T47"/>
                <a:gd fmla="*/ 8 w 86" name="T48"/>
                <a:gd fmla="*/ 172 h 182" name="T49"/>
                <a:gd fmla="*/ 16 w 86" name="T50"/>
                <a:gd fmla="*/ 172 h 182" name="T51"/>
                <a:gd fmla="*/ 22 w 86" name="T52"/>
                <a:gd fmla="*/ 172 h 182" name="T53"/>
                <a:gd fmla="*/ 20 w 86" name="T54"/>
                <a:gd fmla="*/ 174 h 182" name="T55"/>
                <a:gd fmla="*/ 24 w 86" name="T56"/>
                <a:gd fmla="*/ 178 h 182" name="T57"/>
                <a:gd fmla="*/ 28 w 86" name="T58"/>
                <a:gd fmla="*/ 182 h 182" name="T59"/>
                <a:gd fmla="*/ 36 w 86" name="T60"/>
                <a:gd fmla="*/ 182 h 182" name="T61"/>
                <a:gd fmla="*/ 44 w 86" name="T62"/>
                <a:gd fmla="*/ 178 h 182" name="T63"/>
                <a:gd fmla="*/ 50 w 86" name="T64"/>
                <a:gd fmla="*/ 164 h 182" name="T65"/>
                <a:gd fmla="*/ 58 w 86" name="T66"/>
                <a:gd fmla="*/ 134 h 182" name="T67"/>
                <a:gd fmla="*/ 58 w 86" name="T68"/>
                <a:gd fmla="*/ 126 h 182" name="T69"/>
                <a:gd fmla="*/ 60 w 86" name="T70"/>
                <a:gd fmla="*/ 120 h 182" name="T71"/>
                <a:gd fmla="*/ 66 w 86" name="T72"/>
                <a:gd fmla="*/ 108 h 182" name="T73"/>
                <a:gd fmla="*/ 72 w 86" name="T74"/>
                <a:gd fmla="*/ 82 h 182" name="T75"/>
                <a:gd fmla="*/ 78 w 86" name="T76"/>
                <a:gd fmla="*/ 54 h 182" name="T77"/>
                <a:gd fmla="*/ 78 w 86" name="T78"/>
                <a:gd fmla="*/ 50 h 182" name="T79"/>
                <a:gd fmla="*/ 82 w 86" name="T80"/>
                <a:gd fmla="*/ 40 h 182" name="T81"/>
                <a:gd fmla="*/ 84 w 86" name="T82"/>
                <a:gd fmla="*/ 28 h 182" name="T83"/>
                <a:gd fmla="*/ 84 w 86" name="T84"/>
                <a:gd fmla="*/ 20 h 182" name="T85"/>
                <a:gd fmla="*/ 86 w 86" name="T86"/>
                <a:gd fmla="*/ 12 h 182" name="T87"/>
                <a:gd fmla="*/ 86 w 86" name="T88"/>
                <a:gd fmla="*/ 4 h 182" name="T89"/>
                <a:gd fmla="*/ 78 w 86" name="T90"/>
                <a:gd fmla="*/ 0 h 182"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182" w="86">
                  <a:moveTo>
                    <a:pt x="78" y="0"/>
                  </a:moveTo>
                  <a:lnTo>
                    <a:pt x="78" y="0"/>
                  </a:lnTo>
                  <a:lnTo>
                    <a:pt x="76" y="2"/>
                  </a:lnTo>
                  <a:lnTo>
                    <a:pt x="72" y="4"/>
                  </a:lnTo>
                  <a:lnTo>
                    <a:pt x="68" y="6"/>
                  </a:lnTo>
                  <a:lnTo>
                    <a:pt x="64" y="12"/>
                  </a:lnTo>
                  <a:lnTo>
                    <a:pt x="62" y="20"/>
                  </a:lnTo>
                  <a:lnTo>
                    <a:pt x="60" y="20"/>
                  </a:lnTo>
                  <a:lnTo>
                    <a:pt x="58" y="22"/>
                  </a:lnTo>
                  <a:lnTo>
                    <a:pt x="56" y="24"/>
                  </a:lnTo>
                  <a:lnTo>
                    <a:pt x="52" y="28"/>
                  </a:lnTo>
                  <a:lnTo>
                    <a:pt x="48" y="32"/>
                  </a:lnTo>
                  <a:lnTo>
                    <a:pt x="44" y="36"/>
                  </a:lnTo>
                  <a:lnTo>
                    <a:pt x="40" y="42"/>
                  </a:lnTo>
                  <a:lnTo>
                    <a:pt x="38" y="46"/>
                  </a:lnTo>
                  <a:lnTo>
                    <a:pt x="34" y="50"/>
                  </a:lnTo>
                  <a:lnTo>
                    <a:pt x="30" y="52"/>
                  </a:lnTo>
                  <a:lnTo>
                    <a:pt x="28" y="54"/>
                  </a:lnTo>
                  <a:lnTo>
                    <a:pt x="26" y="54"/>
                  </a:lnTo>
                  <a:lnTo>
                    <a:pt x="24" y="54"/>
                  </a:lnTo>
                  <a:lnTo>
                    <a:pt x="24" y="54"/>
                  </a:lnTo>
                  <a:lnTo>
                    <a:pt x="22" y="54"/>
                  </a:lnTo>
                  <a:lnTo>
                    <a:pt x="20" y="54"/>
                  </a:lnTo>
                  <a:lnTo>
                    <a:pt x="16" y="54"/>
                  </a:lnTo>
                  <a:lnTo>
                    <a:pt x="14" y="56"/>
                  </a:lnTo>
                  <a:lnTo>
                    <a:pt x="10" y="60"/>
                  </a:lnTo>
                  <a:lnTo>
                    <a:pt x="8" y="64"/>
                  </a:lnTo>
                  <a:lnTo>
                    <a:pt x="6" y="68"/>
                  </a:lnTo>
                  <a:lnTo>
                    <a:pt x="6" y="76"/>
                  </a:lnTo>
                  <a:lnTo>
                    <a:pt x="6" y="82"/>
                  </a:lnTo>
                  <a:lnTo>
                    <a:pt x="6" y="88"/>
                  </a:lnTo>
                  <a:lnTo>
                    <a:pt x="4" y="90"/>
                  </a:lnTo>
                  <a:lnTo>
                    <a:pt x="6" y="90"/>
                  </a:lnTo>
                  <a:lnTo>
                    <a:pt x="6" y="92"/>
                  </a:lnTo>
                  <a:lnTo>
                    <a:pt x="6" y="92"/>
                  </a:lnTo>
                  <a:lnTo>
                    <a:pt x="8" y="92"/>
                  </a:lnTo>
                  <a:lnTo>
                    <a:pt x="12" y="96"/>
                  </a:lnTo>
                  <a:lnTo>
                    <a:pt x="14" y="100"/>
                  </a:lnTo>
                  <a:lnTo>
                    <a:pt x="14" y="102"/>
                  </a:lnTo>
                  <a:lnTo>
                    <a:pt x="14" y="106"/>
                  </a:lnTo>
                  <a:lnTo>
                    <a:pt x="12" y="108"/>
                  </a:lnTo>
                  <a:lnTo>
                    <a:pt x="10" y="110"/>
                  </a:lnTo>
                  <a:lnTo>
                    <a:pt x="8" y="112"/>
                  </a:lnTo>
                  <a:lnTo>
                    <a:pt x="6" y="116"/>
                  </a:lnTo>
                  <a:lnTo>
                    <a:pt x="2" y="124"/>
                  </a:lnTo>
                  <a:lnTo>
                    <a:pt x="0" y="138"/>
                  </a:lnTo>
                  <a:lnTo>
                    <a:pt x="0" y="154"/>
                  </a:lnTo>
                  <a:lnTo>
                    <a:pt x="6" y="172"/>
                  </a:lnTo>
                  <a:lnTo>
                    <a:pt x="8" y="172"/>
                  </a:lnTo>
                  <a:lnTo>
                    <a:pt x="8" y="172"/>
                  </a:lnTo>
                  <a:lnTo>
                    <a:pt x="12" y="172"/>
                  </a:lnTo>
                  <a:lnTo>
                    <a:pt x="16" y="172"/>
                  </a:lnTo>
                  <a:lnTo>
                    <a:pt x="20" y="172"/>
                  </a:lnTo>
                  <a:lnTo>
                    <a:pt x="22" y="172"/>
                  </a:lnTo>
                  <a:lnTo>
                    <a:pt x="22" y="172"/>
                  </a:lnTo>
                  <a:lnTo>
                    <a:pt x="20" y="174"/>
                  </a:lnTo>
                  <a:lnTo>
                    <a:pt x="22" y="176"/>
                  </a:lnTo>
                  <a:lnTo>
                    <a:pt x="24" y="178"/>
                  </a:lnTo>
                  <a:lnTo>
                    <a:pt x="26" y="180"/>
                  </a:lnTo>
                  <a:lnTo>
                    <a:pt x="28" y="182"/>
                  </a:lnTo>
                  <a:lnTo>
                    <a:pt x="32" y="182"/>
                  </a:lnTo>
                  <a:lnTo>
                    <a:pt x="36" y="182"/>
                  </a:lnTo>
                  <a:lnTo>
                    <a:pt x="40" y="182"/>
                  </a:lnTo>
                  <a:lnTo>
                    <a:pt x="44" y="178"/>
                  </a:lnTo>
                  <a:lnTo>
                    <a:pt x="46" y="172"/>
                  </a:lnTo>
                  <a:lnTo>
                    <a:pt x="50" y="164"/>
                  </a:lnTo>
                  <a:lnTo>
                    <a:pt x="56" y="146"/>
                  </a:lnTo>
                  <a:lnTo>
                    <a:pt x="58" y="134"/>
                  </a:lnTo>
                  <a:lnTo>
                    <a:pt x="60" y="128"/>
                  </a:lnTo>
                  <a:lnTo>
                    <a:pt x="58" y="126"/>
                  </a:lnTo>
                  <a:lnTo>
                    <a:pt x="58" y="124"/>
                  </a:lnTo>
                  <a:lnTo>
                    <a:pt x="60" y="120"/>
                  </a:lnTo>
                  <a:lnTo>
                    <a:pt x="62" y="114"/>
                  </a:lnTo>
                  <a:lnTo>
                    <a:pt x="66" y="108"/>
                  </a:lnTo>
                  <a:lnTo>
                    <a:pt x="70" y="98"/>
                  </a:lnTo>
                  <a:lnTo>
                    <a:pt x="72" y="82"/>
                  </a:lnTo>
                  <a:lnTo>
                    <a:pt x="76" y="66"/>
                  </a:lnTo>
                  <a:lnTo>
                    <a:pt x="78" y="54"/>
                  </a:lnTo>
                  <a:lnTo>
                    <a:pt x="78" y="52"/>
                  </a:lnTo>
                  <a:lnTo>
                    <a:pt x="78" y="50"/>
                  </a:lnTo>
                  <a:lnTo>
                    <a:pt x="80" y="44"/>
                  </a:lnTo>
                  <a:lnTo>
                    <a:pt x="82" y="40"/>
                  </a:lnTo>
                  <a:lnTo>
                    <a:pt x="82" y="34"/>
                  </a:lnTo>
                  <a:lnTo>
                    <a:pt x="84" y="28"/>
                  </a:lnTo>
                  <a:lnTo>
                    <a:pt x="84" y="24"/>
                  </a:lnTo>
                  <a:lnTo>
                    <a:pt x="84" y="20"/>
                  </a:lnTo>
                  <a:lnTo>
                    <a:pt x="86" y="16"/>
                  </a:lnTo>
                  <a:lnTo>
                    <a:pt x="86" y="12"/>
                  </a:lnTo>
                  <a:lnTo>
                    <a:pt x="86" y="8"/>
                  </a:lnTo>
                  <a:lnTo>
                    <a:pt x="86" y="4"/>
                  </a:lnTo>
                  <a:lnTo>
                    <a:pt x="84" y="2"/>
                  </a:lnTo>
                  <a:lnTo>
                    <a:pt x="78"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5" name="Freeform 492"/>
            <p:cNvSpPr/>
            <p:nvPr/>
          </p:nvSpPr>
          <p:spPr bwMode="gray">
            <a:xfrm>
              <a:off x="4167672" y="5834571"/>
              <a:ext cx="107381" cy="103608"/>
            </a:xfrm>
            <a:custGeom>
              <a:gdLst>
                <a:gd fmla="*/ 10 w 58" name="T0"/>
                <a:gd fmla="*/ 2 h 56" name="T1"/>
                <a:gd fmla="*/ 10 w 58" name="T2"/>
                <a:gd fmla="*/ 2 h 56" name="T3"/>
                <a:gd fmla="*/ 8 w 58" name="T4"/>
                <a:gd fmla="*/ 2 h 56" name="T5"/>
                <a:gd fmla="*/ 6 w 58" name="T6"/>
                <a:gd fmla="*/ 2 h 56" name="T7"/>
                <a:gd fmla="*/ 4 w 58" name="T8"/>
                <a:gd fmla="*/ 4 h 56" name="T9"/>
                <a:gd fmla="*/ 2 w 58" name="T10"/>
                <a:gd fmla="*/ 6 h 56" name="T11"/>
                <a:gd fmla="*/ 0 w 58" name="T12"/>
                <a:gd fmla="*/ 8 h 56" name="T13"/>
                <a:gd fmla="*/ 0 w 58" name="T14"/>
                <a:gd fmla="*/ 14 h 56" name="T15"/>
                <a:gd fmla="*/ 6 w 58" name="T16"/>
                <a:gd fmla="*/ 30 h 56" name="T17"/>
                <a:gd fmla="*/ 6 w 58" name="T18"/>
                <a:gd fmla="*/ 30 h 56" name="T19"/>
                <a:gd fmla="*/ 8 w 58" name="T20"/>
                <a:gd fmla="*/ 32 h 56" name="T21"/>
                <a:gd fmla="*/ 10 w 58" name="T22"/>
                <a:gd fmla="*/ 36 h 56" name="T23"/>
                <a:gd fmla="*/ 14 w 58" name="T24"/>
                <a:gd fmla="*/ 40 h 56" name="T25"/>
                <a:gd fmla="*/ 14 w 58" name="T26"/>
                <a:gd fmla="*/ 44 h 56" name="T27"/>
                <a:gd fmla="*/ 18 w 58" name="T28"/>
                <a:gd fmla="*/ 46 h 56" name="T29"/>
                <a:gd fmla="*/ 22 w 58" name="T30"/>
                <a:gd fmla="*/ 50 h 56" name="T31"/>
                <a:gd fmla="*/ 26 w 58" name="T32"/>
                <a:gd fmla="*/ 52 h 56" name="T33"/>
                <a:gd fmla="*/ 32 w 58" name="T34"/>
                <a:gd fmla="*/ 54 h 56" name="T35"/>
                <a:gd fmla="*/ 36 w 58" name="T36"/>
                <a:gd fmla="*/ 56 h 56" name="T37"/>
                <a:gd fmla="*/ 40 w 58" name="T38"/>
                <a:gd fmla="*/ 54 h 56" name="T39"/>
                <a:gd fmla="*/ 42 w 58" name="T40"/>
                <a:gd fmla="*/ 52 h 56" name="T41"/>
                <a:gd fmla="*/ 46 w 58" name="T42"/>
                <a:gd fmla="*/ 50 h 56" name="T43"/>
                <a:gd fmla="*/ 50 w 58" name="T44"/>
                <a:gd fmla="*/ 44 h 56" name="T45"/>
                <a:gd fmla="*/ 54 w 58" name="T46"/>
                <a:gd fmla="*/ 40 h 56" name="T47"/>
                <a:gd fmla="*/ 56 w 58" name="T48"/>
                <a:gd fmla="*/ 34 h 56" name="T49"/>
                <a:gd fmla="*/ 58 w 58" name="T50"/>
                <a:gd fmla="*/ 30 h 56" name="T51"/>
                <a:gd fmla="*/ 56 w 58" name="T52"/>
                <a:gd fmla="*/ 24 h 56" name="T53"/>
                <a:gd fmla="*/ 56 w 58" name="T54"/>
                <a:gd fmla="*/ 18 h 56" name="T55"/>
                <a:gd fmla="*/ 56 w 58" name="T56"/>
                <a:gd fmla="*/ 12 h 56" name="T57"/>
                <a:gd fmla="*/ 56 w 58" name="T58"/>
                <a:gd fmla="*/ 8 h 56" name="T59"/>
                <a:gd fmla="*/ 56 w 58" name="T60"/>
                <a:gd fmla="*/ 6 h 56" name="T61"/>
                <a:gd fmla="*/ 54 w 58" name="T62"/>
                <a:gd fmla="*/ 6 h 56" name="T63"/>
                <a:gd fmla="*/ 52 w 58" name="T64"/>
                <a:gd fmla="*/ 4 h 56" name="T65"/>
                <a:gd fmla="*/ 50 w 58" name="T66"/>
                <a:gd fmla="*/ 2 h 56" name="T67"/>
                <a:gd fmla="*/ 46 w 58" name="T68"/>
                <a:gd fmla="*/ 0 h 56" name="T69"/>
                <a:gd fmla="*/ 42 w 58" name="T70"/>
                <a:gd fmla="*/ 0 h 56" name="T71"/>
                <a:gd fmla="*/ 40 w 58" name="T72"/>
                <a:gd fmla="*/ 0 h 56" name="T73"/>
                <a:gd fmla="*/ 38 w 58" name="T74"/>
                <a:gd fmla="*/ 2 h 56" name="T75"/>
                <a:gd fmla="*/ 36 w 58" name="T76"/>
                <a:gd fmla="*/ 4 h 56" name="T77"/>
                <a:gd fmla="*/ 34 w 58" name="T78"/>
                <a:gd fmla="*/ 8 h 56" name="T79"/>
                <a:gd fmla="*/ 32 w 58" name="T80"/>
                <a:gd fmla="*/ 10 h 56" name="T81"/>
                <a:gd fmla="*/ 32 w 58" name="T82"/>
                <a:gd fmla="*/ 10 h 56" name="T83"/>
                <a:gd fmla="*/ 16 w 58" name="T84"/>
                <a:gd fmla="*/ 2 h 56" name="T85"/>
                <a:gd fmla="*/ 10 w 58" name="T86"/>
                <a:gd fmla="*/ 2 h 56"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56" w="57">
                  <a:moveTo>
                    <a:pt x="10" y="2"/>
                  </a:moveTo>
                  <a:lnTo>
                    <a:pt x="10" y="2"/>
                  </a:lnTo>
                  <a:lnTo>
                    <a:pt x="8" y="2"/>
                  </a:lnTo>
                  <a:lnTo>
                    <a:pt x="6" y="2"/>
                  </a:lnTo>
                  <a:lnTo>
                    <a:pt x="4" y="4"/>
                  </a:lnTo>
                  <a:lnTo>
                    <a:pt x="2" y="6"/>
                  </a:lnTo>
                  <a:lnTo>
                    <a:pt x="0" y="8"/>
                  </a:lnTo>
                  <a:lnTo>
                    <a:pt x="0" y="14"/>
                  </a:lnTo>
                  <a:lnTo>
                    <a:pt x="6" y="30"/>
                  </a:lnTo>
                  <a:lnTo>
                    <a:pt x="6" y="30"/>
                  </a:lnTo>
                  <a:lnTo>
                    <a:pt x="8" y="32"/>
                  </a:lnTo>
                  <a:lnTo>
                    <a:pt x="10" y="36"/>
                  </a:lnTo>
                  <a:lnTo>
                    <a:pt x="14" y="40"/>
                  </a:lnTo>
                  <a:lnTo>
                    <a:pt x="14" y="44"/>
                  </a:lnTo>
                  <a:lnTo>
                    <a:pt x="18" y="46"/>
                  </a:lnTo>
                  <a:lnTo>
                    <a:pt x="22" y="50"/>
                  </a:lnTo>
                  <a:lnTo>
                    <a:pt x="26" y="52"/>
                  </a:lnTo>
                  <a:lnTo>
                    <a:pt x="32" y="54"/>
                  </a:lnTo>
                  <a:lnTo>
                    <a:pt x="36" y="56"/>
                  </a:lnTo>
                  <a:lnTo>
                    <a:pt x="40" y="54"/>
                  </a:lnTo>
                  <a:lnTo>
                    <a:pt x="42" y="52"/>
                  </a:lnTo>
                  <a:lnTo>
                    <a:pt x="46" y="50"/>
                  </a:lnTo>
                  <a:lnTo>
                    <a:pt x="50" y="44"/>
                  </a:lnTo>
                  <a:lnTo>
                    <a:pt x="54" y="40"/>
                  </a:lnTo>
                  <a:lnTo>
                    <a:pt x="56" y="34"/>
                  </a:lnTo>
                  <a:lnTo>
                    <a:pt x="58" y="30"/>
                  </a:lnTo>
                  <a:lnTo>
                    <a:pt x="56" y="24"/>
                  </a:lnTo>
                  <a:lnTo>
                    <a:pt x="56" y="18"/>
                  </a:lnTo>
                  <a:lnTo>
                    <a:pt x="56" y="12"/>
                  </a:lnTo>
                  <a:lnTo>
                    <a:pt x="56" y="8"/>
                  </a:lnTo>
                  <a:lnTo>
                    <a:pt x="56" y="6"/>
                  </a:lnTo>
                  <a:lnTo>
                    <a:pt x="54" y="6"/>
                  </a:lnTo>
                  <a:lnTo>
                    <a:pt x="52" y="4"/>
                  </a:lnTo>
                  <a:lnTo>
                    <a:pt x="50" y="2"/>
                  </a:lnTo>
                  <a:lnTo>
                    <a:pt x="46" y="0"/>
                  </a:lnTo>
                  <a:lnTo>
                    <a:pt x="42" y="0"/>
                  </a:lnTo>
                  <a:lnTo>
                    <a:pt x="40" y="0"/>
                  </a:lnTo>
                  <a:lnTo>
                    <a:pt x="38" y="2"/>
                  </a:lnTo>
                  <a:lnTo>
                    <a:pt x="36" y="4"/>
                  </a:lnTo>
                  <a:lnTo>
                    <a:pt x="34" y="8"/>
                  </a:lnTo>
                  <a:lnTo>
                    <a:pt x="32" y="10"/>
                  </a:lnTo>
                  <a:lnTo>
                    <a:pt x="32" y="10"/>
                  </a:lnTo>
                  <a:lnTo>
                    <a:pt x="16" y="2"/>
                  </a:lnTo>
                  <a:lnTo>
                    <a:pt x="10"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6" name="Freeform 493"/>
            <p:cNvSpPr/>
            <p:nvPr/>
          </p:nvSpPr>
          <p:spPr bwMode="gray">
            <a:xfrm>
              <a:off x="4267647" y="4746683"/>
              <a:ext cx="129598" cy="99908"/>
            </a:xfrm>
            <a:custGeom>
              <a:gdLst>
                <a:gd fmla="*/ 2 w 70" name="T0"/>
                <a:gd fmla="*/ 44 h 54" name="T1"/>
                <a:gd fmla="*/ 34 w 70" name="T2"/>
                <a:gd fmla="*/ 28 h 54" name="T3"/>
                <a:gd fmla="*/ 34 w 70" name="T4"/>
                <a:gd fmla="*/ 28 h 54" name="T5"/>
                <a:gd fmla="*/ 38 w 70" name="T6"/>
                <a:gd fmla="*/ 26 h 54" name="T7"/>
                <a:gd fmla="*/ 40 w 70" name="T8"/>
                <a:gd fmla="*/ 22 h 54" name="T9"/>
                <a:gd fmla="*/ 44 w 70" name="T10"/>
                <a:gd fmla="*/ 18 h 54" name="T11"/>
                <a:gd fmla="*/ 48 w 70" name="T12"/>
                <a:gd fmla="*/ 14 h 54" name="T13"/>
                <a:gd fmla="*/ 52 w 70" name="T14"/>
                <a:gd fmla="*/ 10 h 54" name="T15"/>
                <a:gd fmla="*/ 54 w 70" name="T16"/>
                <a:gd fmla="*/ 4 h 54" name="T17"/>
                <a:gd fmla="*/ 54 w 70" name="T18"/>
                <a:gd fmla="*/ 0 h 54" name="T19"/>
                <a:gd fmla="*/ 64 w 70" name="T20"/>
                <a:gd fmla="*/ 0 h 54" name="T21"/>
                <a:gd fmla="*/ 70 w 70" name="T22"/>
                <a:gd fmla="*/ 8 h 54" name="T23"/>
                <a:gd fmla="*/ 68 w 70" name="T24"/>
                <a:gd fmla="*/ 12 h 54" name="T25"/>
                <a:gd fmla="*/ 64 w 70" name="T26"/>
                <a:gd fmla="*/ 22 h 54" name="T27"/>
                <a:gd fmla="*/ 56 w 70" name="T28"/>
                <a:gd fmla="*/ 32 h 54" name="T29"/>
                <a:gd fmla="*/ 46 w 70" name="T30"/>
                <a:gd fmla="*/ 42 h 54" name="T31"/>
                <a:gd fmla="*/ 28 w 70" name="T32"/>
                <a:gd fmla="*/ 50 h 54" name="T33"/>
                <a:gd fmla="*/ 16 w 70" name="T34"/>
                <a:gd fmla="*/ 54 h 54" name="T35"/>
                <a:gd fmla="*/ 10 w 70" name="T36"/>
                <a:gd fmla="*/ 54 h 54" name="T37"/>
                <a:gd fmla="*/ 10 w 70" name="T38"/>
                <a:gd fmla="*/ 54 h 54" name="T39"/>
                <a:gd fmla="*/ 8 w 70" name="T40"/>
                <a:gd fmla="*/ 54 h 54" name="T41"/>
                <a:gd fmla="*/ 6 w 70" name="T42"/>
                <a:gd fmla="*/ 54 h 54" name="T43"/>
                <a:gd fmla="*/ 4 w 70" name="T44"/>
                <a:gd fmla="*/ 52 h 54" name="T45"/>
                <a:gd fmla="*/ 2 w 70" name="T46"/>
                <a:gd fmla="*/ 52 h 54" name="T47"/>
                <a:gd fmla="*/ 0 w 70" name="T48"/>
                <a:gd fmla="*/ 50 h 54" name="T49"/>
                <a:gd fmla="*/ 0 w 70" name="T50"/>
                <a:gd fmla="*/ 48 h 54" name="T51"/>
                <a:gd fmla="*/ 2 w 70" name="T52"/>
                <a:gd fmla="*/ 44 h 54" name="T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54" w="70">
                  <a:moveTo>
                    <a:pt x="2" y="44"/>
                  </a:moveTo>
                  <a:lnTo>
                    <a:pt x="34" y="28"/>
                  </a:lnTo>
                  <a:lnTo>
                    <a:pt x="34" y="28"/>
                  </a:lnTo>
                  <a:lnTo>
                    <a:pt x="38" y="26"/>
                  </a:lnTo>
                  <a:lnTo>
                    <a:pt x="40" y="22"/>
                  </a:lnTo>
                  <a:lnTo>
                    <a:pt x="44" y="18"/>
                  </a:lnTo>
                  <a:lnTo>
                    <a:pt x="48" y="14"/>
                  </a:lnTo>
                  <a:lnTo>
                    <a:pt x="52" y="10"/>
                  </a:lnTo>
                  <a:lnTo>
                    <a:pt x="54" y="4"/>
                  </a:lnTo>
                  <a:lnTo>
                    <a:pt x="54" y="0"/>
                  </a:lnTo>
                  <a:lnTo>
                    <a:pt x="64" y="0"/>
                  </a:lnTo>
                  <a:lnTo>
                    <a:pt x="70" y="8"/>
                  </a:lnTo>
                  <a:lnTo>
                    <a:pt x="68" y="12"/>
                  </a:lnTo>
                  <a:lnTo>
                    <a:pt x="64" y="22"/>
                  </a:lnTo>
                  <a:lnTo>
                    <a:pt x="56" y="32"/>
                  </a:lnTo>
                  <a:lnTo>
                    <a:pt x="46" y="42"/>
                  </a:lnTo>
                  <a:lnTo>
                    <a:pt x="28" y="50"/>
                  </a:lnTo>
                  <a:lnTo>
                    <a:pt x="16" y="54"/>
                  </a:lnTo>
                  <a:lnTo>
                    <a:pt x="10" y="54"/>
                  </a:lnTo>
                  <a:lnTo>
                    <a:pt x="10" y="54"/>
                  </a:lnTo>
                  <a:lnTo>
                    <a:pt x="8" y="54"/>
                  </a:lnTo>
                  <a:lnTo>
                    <a:pt x="6" y="54"/>
                  </a:lnTo>
                  <a:lnTo>
                    <a:pt x="4" y="52"/>
                  </a:lnTo>
                  <a:lnTo>
                    <a:pt x="2" y="52"/>
                  </a:lnTo>
                  <a:lnTo>
                    <a:pt x="0" y="50"/>
                  </a:lnTo>
                  <a:lnTo>
                    <a:pt x="0" y="48"/>
                  </a:lnTo>
                  <a:lnTo>
                    <a:pt x="2" y="4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7" name="Freeform 494"/>
            <p:cNvSpPr/>
            <p:nvPr/>
          </p:nvSpPr>
          <p:spPr bwMode="gray">
            <a:xfrm>
              <a:off x="4686063" y="5797568"/>
              <a:ext cx="137003" cy="203516"/>
            </a:xfrm>
            <a:custGeom>
              <a:gdLst>
                <a:gd fmla="*/ 8 w 74" name="T0"/>
                <a:gd fmla="*/ 0 h 110" name="T1"/>
                <a:gd fmla="*/ 4 w 74" name="T2"/>
                <a:gd fmla="*/ 2 h 110" name="T3"/>
                <a:gd fmla="*/ 2 w 74" name="T4"/>
                <a:gd fmla="*/ 4 h 110" name="T5"/>
                <a:gd fmla="*/ 2 w 74" name="T6"/>
                <a:gd fmla="*/ 12 h 110" name="T7"/>
                <a:gd fmla="*/ 8 w 74" name="T8"/>
                <a:gd fmla="*/ 20 h 110" name="T9"/>
                <a:gd fmla="*/ 14 w 74" name="T10"/>
                <a:gd fmla="*/ 30 h 110" name="T11"/>
                <a:gd fmla="*/ 20 w 74" name="T12"/>
                <a:gd fmla="*/ 38 h 110" name="T13"/>
                <a:gd fmla="*/ 22 w 74" name="T14"/>
                <a:gd fmla="*/ 40 h 110" name="T15"/>
                <a:gd fmla="*/ 22 w 74" name="T16"/>
                <a:gd fmla="*/ 54 h 110" name="T17"/>
                <a:gd fmla="*/ 18 w 74" name="T18"/>
                <a:gd fmla="*/ 74 h 110" name="T19"/>
                <a:gd fmla="*/ 18 w 74" name="T20"/>
                <a:gd fmla="*/ 78 h 110" name="T21"/>
                <a:gd fmla="*/ 22 w 74" name="T22"/>
                <a:gd fmla="*/ 84 h 110" name="T23"/>
                <a:gd fmla="*/ 28 w 74" name="T24"/>
                <a:gd fmla="*/ 92 h 110" name="T25"/>
                <a:gd fmla="*/ 32 w 74" name="T26"/>
                <a:gd fmla="*/ 102 h 110" name="T27"/>
                <a:gd fmla="*/ 36 w 74" name="T28"/>
                <a:gd fmla="*/ 110 h 110" name="T29"/>
                <a:gd fmla="*/ 38 w 74" name="T30"/>
                <a:gd fmla="*/ 110 h 110" name="T31"/>
                <a:gd fmla="*/ 40 w 74" name="T32"/>
                <a:gd fmla="*/ 102 h 110" name="T33"/>
                <a:gd fmla="*/ 46 w 74" name="T34"/>
                <a:gd fmla="*/ 90 h 110" name="T35"/>
                <a:gd fmla="*/ 54 w 74" name="T36"/>
                <a:gd fmla="*/ 82 h 110" name="T37"/>
                <a:gd fmla="*/ 60 w 74" name="T38"/>
                <a:gd fmla="*/ 78 h 110" name="T39"/>
                <a:gd fmla="*/ 66 w 74" name="T40"/>
                <a:gd fmla="*/ 68 h 110" name="T41"/>
                <a:gd fmla="*/ 70 w 74" name="T42"/>
                <a:gd fmla="*/ 58 h 110" name="T43"/>
                <a:gd fmla="*/ 72 w 74" name="T44"/>
                <a:gd fmla="*/ 50 h 110" name="T45"/>
                <a:gd fmla="*/ 72 w 74" name="T46"/>
                <a:gd fmla="*/ 50 h 110" name="T47"/>
                <a:gd fmla="*/ 64 w 74" name="T48"/>
                <a:gd fmla="*/ 52 h 110" name="T49"/>
                <a:gd fmla="*/ 54 w 74" name="T50"/>
                <a:gd fmla="*/ 52 h 110" name="T51"/>
                <a:gd fmla="*/ 46 w 74" name="T52"/>
                <a:gd fmla="*/ 48 h 110" name="T53"/>
                <a:gd fmla="*/ 38 w 74" name="T54"/>
                <a:gd fmla="*/ 40 h 110" name="T55"/>
                <a:gd fmla="*/ 34 w 74" name="T56"/>
                <a:gd fmla="*/ 32 h 110" name="T57"/>
                <a:gd fmla="*/ 32 w 74" name="T58"/>
                <a:gd fmla="*/ 28 h 110" name="T59"/>
                <a:gd fmla="*/ 18 w 74" name="T60"/>
                <a:gd fmla="*/ 10 h 110" name="T61"/>
                <a:gd fmla="*/ 18 w 74" name="T62"/>
                <a:gd fmla="*/ 6 h 110" name="T63"/>
                <a:gd fmla="*/ 12 w 74" name="T64"/>
                <a:gd fmla="*/ 2 h 110" name="T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b="b" l="0" r="r" t="0"/>
              <a:pathLst>
                <a:path h="110" w="74">
                  <a:moveTo>
                    <a:pt x="10" y="0"/>
                  </a:moveTo>
                  <a:lnTo>
                    <a:pt x="8" y="0"/>
                  </a:lnTo>
                  <a:lnTo>
                    <a:pt x="6" y="2"/>
                  </a:lnTo>
                  <a:lnTo>
                    <a:pt x="4" y="2"/>
                  </a:lnTo>
                  <a:lnTo>
                    <a:pt x="2" y="2"/>
                  </a:lnTo>
                  <a:lnTo>
                    <a:pt x="2" y="4"/>
                  </a:lnTo>
                  <a:lnTo>
                    <a:pt x="0" y="8"/>
                  </a:lnTo>
                  <a:lnTo>
                    <a:pt x="2" y="12"/>
                  </a:lnTo>
                  <a:lnTo>
                    <a:pt x="4" y="16"/>
                  </a:lnTo>
                  <a:lnTo>
                    <a:pt x="8" y="20"/>
                  </a:lnTo>
                  <a:lnTo>
                    <a:pt x="10" y="26"/>
                  </a:lnTo>
                  <a:lnTo>
                    <a:pt x="14" y="30"/>
                  </a:lnTo>
                  <a:lnTo>
                    <a:pt x="16" y="34"/>
                  </a:lnTo>
                  <a:lnTo>
                    <a:pt x="20" y="38"/>
                  </a:lnTo>
                  <a:lnTo>
                    <a:pt x="22" y="40"/>
                  </a:lnTo>
                  <a:lnTo>
                    <a:pt x="22" y="40"/>
                  </a:lnTo>
                  <a:lnTo>
                    <a:pt x="22" y="44"/>
                  </a:lnTo>
                  <a:lnTo>
                    <a:pt x="22" y="54"/>
                  </a:lnTo>
                  <a:lnTo>
                    <a:pt x="20" y="64"/>
                  </a:lnTo>
                  <a:lnTo>
                    <a:pt x="18" y="74"/>
                  </a:lnTo>
                  <a:lnTo>
                    <a:pt x="18" y="74"/>
                  </a:lnTo>
                  <a:lnTo>
                    <a:pt x="18" y="78"/>
                  </a:lnTo>
                  <a:lnTo>
                    <a:pt x="18" y="80"/>
                  </a:lnTo>
                  <a:lnTo>
                    <a:pt x="22" y="84"/>
                  </a:lnTo>
                  <a:lnTo>
                    <a:pt x="24" y="88"/>
                  </a:lnTo>
                  <a:lnTo>
                    <a:pt x="28" y="92"/>
                  </a:lnTo>
                  <a:lnTo>
                    <a:pt x="30" y="96"/>
                  </a:lnTo>
                  <a:lnTo>
                    <a:pt x="32" y="102"/>
                  </a:lnTo>
                  <a:lnTo>
                    <a:pt x="34" y="106"/>
                  </a:lnTo>
                  <a:lnTo>
                    <a:pt x="36" y="110"/>
                  </a:lnTo>
                  <a:lnTo>
                    <a:pt x="36" y="110"/>
                  </a:lnTo>
                  <a:lnTo>
                    <a:pt x="38" y="110"/>
                  </a:lnTo>
                  <a:lnTo>
                    <a:pt x="38" y="106"/>
                  </a:lnTo>
                  <a:lnTo>
                    <a:pt x="40" y="102"/>
                  </a:lnTo>
                  <a:lnTo>
                    <a:pt x="44" y="96"/>
                  </a:lnTo>
                  <a:lnTo>
                    <a:pt x="46" y="90"/>
                  </a:lnTo>
                  <a:lnTo>
                    <a:pt x="50" y="86"/>
                  </a:lnTo>
                  <a:lnTo>
                    <a:pt x="54" y="82"/>
                  </a:lnTo>
                  <a:lnTo>
                    <a:pt x="56" y="80"/>
                  </a:lnTo>
                  <a:lnTo>
                    <a:pt x="60" y="78"/>
                  </a:lnTo>
                  <a:lnTo>
                    <a:pt x="64" y="74"/>
                  </a:lnTo>
                  <a:lnTo>
                    <a:pt x="66" y="68"/>
                  </a:lnTo>
                  <a:lnTo>
                    <a:pt x="68" y="64"/>
                  </a:lnTo>
                  <a:lnTo>
                    <a:pt x="70" y="58"/>
                  </a:lnTo>
                  <a:lnTo>
                    <a:pt x="72" y="54"/>
                  </a:lnTo>
                  <a:lnTo>
                    <a:pt x="72" y="50"/>
                  </a:lnTo>
                  <a:lnTo>
                    <a:pt x="74" y="50"/>
                  </a:lnTo>
                  <a:lnTo>
                    <a:pt x="72" y="50"/>
                  </a:lnTo>
                  <a:lnTo>
                    <a:pt x="68" y="50"/>
                  </a:lnTo>
                  <a:lnTo>
                    <a:pt x="64" y="52"/>
                  </a:lnTo>
                  <a:lnTo>
                    <a:pt x="58" y="52"/>
                  </a:lnTo>
                  <a:lnTo>
                    <a:pt x="54" y="52"/>
                  </a:lnTo>
                  <a:lnTo>
                    <a:pt x="48" y="50"/>
                  </a:lnTo>
                  <a:lnTo>
                    <a:pt x="46" y="48"/>
                  </a:lnTo>
                  <a:lnTo>
                    <a:pt x="42" y="44"/>
                  </a:lnTo>
                  <a:lnTo>
                    <a:pt x="38" y="40"/>
                  </a:lnTo>
                  <a:lnTo>
                    <a:pt x="36" y="36"/>
                  </a:lnTo>
                  <a:lnTo>
                    <a:pt x="34" y="32"/>
                  </a:lnTo>
                  <a:lnTo>
                    <a:pt x="32" y="30"/>
                  </a:lnTo>
                  <a:lnTo>
                    <a:pt x="32" y="28"/>
                  </a:lnTo>
                  <a:lnTo>
                    <a:pt x="18" y="10"/>
                  </a:lnTo>
                  <a:lnTo>
                    <a:pt x="18" y="10"/>
                  </a:lnTo>
                  <a:lnTo>
                    <a:pt x="18" y="8"/>
                  </a:lnTo>
                  <a:lnTo>
                    <a:pt x="18" y="6"/>
                  </a:lnTo>
                  <a:lnTo>
                    <a:pt x="16" y="2"/>
                  </a:lnTo>
                  <a:lnTo>
                    <a:pt x="12" y="2"/>
                  </a:lnTo>
                  <a:lnTo>
                    <a:pt x="1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8" name="Freeform 495"/>
            <p:cNvSpPr/>
            <p:nvPr/>
          </p:nvSpPr>
          <p:spPr bwMode="gray">
            <a:xfrm>
              <a:off x="4556465" y="5989983"/>
              <a:ext cx="170328" cy="192416"/>
            </a:xfrm>
            <a:custGeom>
              <a:gdLst>
                <a:gd fmla="*/ 4 w 92" name="T0"/>
                <a:gd fmla="*/ 80 h 104" name="T1"/>
                <a:gd fmla="*/ 4 w 92" name="T2"/>
                <a:gd fmla="*/ 80 h 104" name="T3"/>
                <a:gd fmla="*/ 2 w 92" name="T4"/>
                <a:gd fmla="*/ 82 h 104" name="T5"/>
                <a:gd fmla="*/ 0 w 92" name="T6"/>
                <a:gd fmla="*/ 84 h 104" name="T7"/>
                <a:gd fmla="*/ 0 w 92" name="T8"/>
                <a:gd fmla="*/ 88 h 104" name="T9"/>
                <a:gd fmla="*/ 0 w 92" name="T10"/>
                <a:gd fmla="*/ 90 h 104" name="T11"/>
                <a:gd fmla="*/ 0 w 92" name="T12"/>
                <a:gd fmla="*/ 94 h 104" name="T13"/>
                <a:gd fmla="*/ 4 w 92" name="T14"/>
                <a:gd fmla="*/ 96 h 104" name="T15"/>
                <a:gd fmla="*/ 10 w 92" name="T16"/>
                <a:gd fmla="*/ 98 h 104" name="T17"/>
                <a:gd fmla="*/ 16 w 92" name="T18"/>
                <a:gd fmla="*/ 100 h 104" name="T19"/>
                <a:gd fmla="*/ 22 w 92" name="T20"/>
                <a:gd fmla="*/ 102 h 104" name="T21"/>
                <a:gd fmla="*/ 28 w 92" name="T22"/>
                <a:gd fmla="*/ 104 h 104" name="T23"/>
                <a:gd fmla="*/ 34 w 92" name="T24"/>
                <a:gd fmla="*/ 104 h 104" name="T25"/>
                <a:gd fmla="*/ 36 w 92" name="T26"/>
                <a:gd fmla="*/ 104 h 104" name="T27"/>
                <a:gd fmla="*/ 40 w 92" name="T28"/>
                <a:gd fmla="*/ 102 h 104" name="T29"/>
                <a:gd fmla="*/ 44 w 92" name="T30"/>
                <a:gd fmla="*/ 98 h 104" name="T31"/>
                <a:gd fmla="*/ 48 w 92" name="T32"/>
                <a:gd fmla="*/ 94 h 104" name="T33"/>
                <a:gd fmla="*/ 50 w 92" name="T34"/>
                <a:gd fmla="*/ 90 h 104" name="T35"/>
                <a:gd fmla="*/ 52 w 92" name="T36"/>
                <a:gd fmla="*/ 86 h 104" name="T37"/>
                <a:gd fmla="*/ 52 w 92" name="T38"/>
                <a:gd fmla="*/ 82 h 104" name="T39"/>
                <a:gd fmla="*/ 52 w 92" name="T40"/>
                <a:gd fmla="*/ 78 h 104" name="T41"/>
                <a:gd fmla="*/ 50 w 92" name="T42"/>
                <a:gd fmla="*/ 74 h 104" name="T43"/>
                <a:gd fmla="*/ 52 w 92" name="T44"/>
                <a:gd fmla="*/ 70 h 104" name="T45"/>
                <a:gd fmla="*/ 54 w 92" name="T46"/>
                <a:gd fmla="*/ 66 h 104" name="T47"/>
                <a:gd fmla="*/ 58 w 92" name="T48"/>
                <a:gd fmla="*/ 64 h 104" name="T49"/>
                <a:gd fmla="*/ 62 w 92" name="T50"/>
                <a:gd fmla="*/ 60 h 104" name="T51"/>
                <a:gd fmla="*/ 66 w 92" name="T52"/>
                <a:gd fmla="*/ 54 h 104" name="T53"/>
                <a:gd fmla="*/ 70 w 92" name="T54"/>
                <a:gd fmla="*/ 50 h 104" name="T55"/>
                <a:gd fmla="*/ 72 w 92" name="T56"/>
                <a:gd fmla="*/ 46 h 104" name="T57"/>
                <a:gd fmla="*/ 74 w 92" name="T58"/>
                <a:gd fmla="*/ 44 h 104" name="T59"/>
                <a:gd fmla="*/ 74 w 92" name="T60"/>
                <a:gd fmla="*/ 42 h 104" name="T61"/>
                <a:gd fmla="*/ 80 w 92" name="T62"/>
                <a:gd fmla="*/ 30 h 104" name="T63"/>
                <a:gd fmla="*/ 82 w 92" name="T64"/>
                <a:gd fmla="*/ 28 h 104" name="T65"/>
                <a:gd fmla="*/ 84 w 92" name="T66"/>
                <a:gd fmla="*/ 26 h 104" name="T67"/>
                <a:gd fmla="*/ 86 w 92" name="T68"/>
                <a:gd fmla="*/ 24 h 104" name="T69"/>
                <a:gd fmla="*/ 88 w 92" name="T70"/>
                <a:gd fmla="*/ 20 h 104" name="T71"/>
                <a:gd fmla="*/ 90 w 92" name="T72"/>
                <a:gd fmla="*/ 16 h 104" name="T73"/>
                <a:gd fmla="*/ 92 w 92" name="T74"/>
                <a:gd fmla="*/ 12 h 104" name="T75"/>
                <a:gd fmla="*/ 92 w 92" name="T76"/>
                <a:gd fmla="*/ 8 h 104" name="T77"/>
                <a:gd fmla="*/ 90 w 92" name="T78"/>
                <a:gd fmla="*/ 6 h 104" name="T79"/>
                <a:gd fmla="*/ 86 w 92" name="T80"/>
                <a:gd fmla="*/ 4 h 104" name="T81"/>
                <a:gd fmla="*/ 82 w 92" name="T82"/>
                <a:gd fmla="*/ 2 h 104" name="T83"/>
                <a:gd fmla="*/ 78 w 92" name="T84"/>
                <a:gd fmla="*/ 0 h 104" name="T85"/>
                <a:gd fmla="*/ 74 w 92" name="T86"/>
                <a:gd fmla="*/ 0 h 104" name="T87"/>
                <a:gd fmla="*/ 70 w 92" name="T88"/>
                <a:gd fmla="*/ 0 h 104" name="T89"/>
                <a:gd fmla="*/ 68 w 92" name="T90"/>
                <a:gd fmla="*/ 2 h 104" name="T91"/>
                <a:gd fmla="*/ 66 w 92" name="T92"/>
                <a:gd fmla="*/ 4 h 104" name="T93"/>
                <a:gd fmla="*/ 64 w 92" name="T94"/>
                <a:gd fmla="*/ 8 h 104" name="T95"/>
                <a:gd fmla="*/ 62 w 92" name="T96"/>
                <a:gd fmla="*/ 10 h 104" name="T97"/>
                <a:gd fmla="*/ 60 w 92" name="T98"/>
                <a:gd fmla="*/ 12 h 104" name="T99"/>
                <a:gd fmla="*/ 60 w 92" name="T100"/>
                <a:gd fmla="*/ 12 h 104" name="T101"/>
                <a:gd fmla="*/ 58 w 92" name="T102"/>
                <a:gd fmla="*/ 26 h 104" name="T103"/>
                <a:gd fmla="*/ 42 w 92" name="T104"/>
                <a:gd fmla="*/ 36 h 104" name="T105"/>
                <a:gd fmla="*/ 32 w 92" name="T106"/>
                <a:gd fmla="*/ 44 h 104" name="T107"/>
                <a:gd fmla="*/ 20 w 92" name="T108"/>
                <a:gd fmla="*/ 62 h 104" name="T109"/>
                <a:gd fmla="*/ 14 w 92" name="T110"/>
                <a:gd fmla="*/ 72 h 104" name="T111"/>
                <a:gd fmla="*/ 14 w 92" name="T112"/>
                <a:gd fmla="*/ 72 h 104" name="T113"/>
                <a:gd fmla="*/ 12 w 92" name="T114"/>
                <a:gd fmla="*/ 72 h 104" name="T115"/>
                <a:gd fmla="*/ 8 w 92" name="T116"/>
                <a:gd fmla="*/ 72 h 104" name="T117"/>
                <a:gd fmla="*/ 6 w 92" name="T118"/>
                <a:gd fmla="*/ 76 h 104" name="T119"/>
                <a:gd fmla="*/ 4 w 92" name="T120"/>
                <a:gd fmla="*/ 80 h 104"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104" w="92">
                  <a:moveTo>
                    <a:pt x="4" y="80"/>
                  </a:moveTo>
                  <a:lnTo>
                    <a:pt x="4" y="80"/>
                  </a:lnTo>
                  <a:lnTo>
                    <a:pt x="2" y="82"/>
                  </a:lnTo>
                  <a:lnTo>
                    <a:pt x="0" y="84"/>
                  </a:lnTo>
                  <a:lnTo>
                    <a:pt x="0" y="88"/>
                  </a:lnTo>
                  <a:lnTo>
                    <a:pt x="0" y="90"/>
                  </a:lnTo>
                  <a:lnTo>
                    <a:pt x="0" y="94"/>
                  </a:lnTo>
                  <a:lnTo>
                    <a:pt x="4" y="96"/>
                  </a:lnTo>
                  <a:lnTo>
                    <a:pt x="10" y="98"/>
                  </a:lnTo>
                  <a:lnTo>
                    <a:pt x="16" y="100"/>
                  </a:lnTo>
                  <a:lnTo>
                    <a:pt x="22" y="102"/>
                  </a:lnTo>
                  <a:lnTo>
                    <a:pt x="28" y="104"/>
                  </a:lnTo>
                  <a:lnTo>
                    <a:pt x="34" y="104"/>
                  </a:lnTo>
                  <a:lnTo>
                    <a:pt x="36" y="104"/>
                  </a:lnTo>
                  <a:lnTo>
                    <a:pt x="40" y="102"/>
                  </a:lnTo>
                  <a:lnTo>
                    <a:pt x="44" y="98"/>
                  </a:lnTo>
                  <a:lnTo>
                    <a:pt x="48" y="94"/>
                  </a:lnTo>
                  <a:lnTo>
                    <a:pt x="50" y="90"/>
                  </a:lnTo>
                  <a:lnTo>
                    <a:pt x="52" y="86"/>
                  </a:lnTo>
                  <a:lnTo>
                    <a:pt x="52" y="82"/>
                  </a:lnTo>
                  <a:lnTo>
                    <a:pt x="52" y="78"/>
                  </a:lnTo>
                  <a:lnTo>
                    <a:pt x="50" y="74"/>
                  </a:lnTo>
                  <a:lnTo>
                    <a:pt x="52" y="70"/>
                  </a:lnTo>
                  <a:lnTo>
                    <a:pt x="54" y="66"/>
                  </a:lnTo>
                  <a:lnTo>
                    <a:pt x="58" y="64"/>
                  </a:lnTo>
                  <a:lnTo>
                    <a:pt x="62" y="60"/>
                  </a:lnTo>
                  <a:lnTo>
                    <a:pt x="66" y="54"/>
                  </a:lnTo>
                  <a:lnTo>
                    <a:pt x="70" y="50"/>
                  </a:lnTo>
                  <a:lnTo>
                    <a:pt x="72" y="46"/>
                  </a:lnTo>
                  <a:lnTo>
                    <a:pt x="74" y="44"/>
                  </a:lnTo>
                  <a:lnTo>
                    <a:pt x="74" y="42"/>
                  </a:lnTo>
                  <a:lnTo>
                    <a:pt x="80" y="30"/>
                  </a:lnTo>
                  <a:lnTo>
                    <a:pt x="82" y="28"/>
                  </a:lnTo>
                  <a:lnTo>
                    <a:pt x="84" y="26"/>
                  </a:lnTo>
                  <a:lnTo>
                    <a:pt x="86" y="24"/>
                  </a:lnTo>
                  <a:lnTo>
                    <a:pt x="88" y="20"/>
                  </a:lnTo>
                  <a:lnTo>
                    <a:pt x="90" y="16"/>
                  </a:lnTo>
                  <a:lnTo>
                    <a:pt x="92" y="12"/>
                  </a:lnTo>
                  <a:lnTo>
                    <a:pt x="92" y="8"/>
                  </a:lnTo>
                  <a:lnTo>
                    <a:pt x="90" y="6"/>
                  </a:lnTo>
                  <a:lnTo>
                    <a:pt x="86" y="4"/>
                  </a:lnTo>
                  <a:lnTo>
                    <a:pt x="82" y="2"/>
                  </a:lnTo>
                  <a:lnTo>
                    <a:pt x="78" y="0"/>
                  </a:lnTo>
                  <a:lnTo>
                    <a:pt x="74" y="0"/>
                  </a:lnTo>
                  <a:lnTo>
                    <a:pt x="70" y="0"/>
                  </a:lnTo>
                  <a:lnTo>
                    <a:pt x="68" y="2"/>
                  </a:lnTo>
                  <a:lnTo>
                    <a:pt x="66" y="4"/>
                  </a:lnTo>
                  <a:lnTo>
                    <a:pt x="64" y="8"/>
                  </a:lnTo>
                  <a:lnTo>
                    <a:pt x="62" y="10"/>
                  </a:lnTo>
                  <a:lnTo>
                    <a:pt x="60" y="12"/>
                  </a:lnTo>
                  <a:lnTo>
                    <a:pt x="60" y="12"/>
                  </a:lnTo>
                  <a:lnTo>
                    <a:pt x="58" y="26"/>
                  </a:lnTo>
                  <a:lnTo>
                    <a:pt x="42" y="36"/>
                  </a:lnTo>
                  <a:lnTo>
                    <a:pt x="32" y="44"/>
                  </a:lnTo>
                  <a:lnTo>
                    <a:pt x="20" y="62"/>
                  </a:lnTo>
                  <a:lnTo>
                    <a:pt x="14" y="72"/>
                  </a:lnTo>
                  <a:lnTo>
                    <a:pt x="14" y="72"/>
                  </a:lnTo>
                  <a:lnTo>
                    <a:pt x="12" y="72"/>
                  </a:lnTo>
                  <a:lnTo>
                    <a:pt x="8" y="72"/>
                  </a:lnTo>
                  <a:lnTo>
                    <a:pt x="6" y="76"/>
                  </a:lnTo>
                  <a:lnTo>
                    <a:pt x="4" y="8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39" name="Freeform 496"/>
            <p:cNvSpPr/>
            <p:nvPr/>
          </p:nvSpPr>
          <p:spPr bwMode="gray">
            <a:xfrm>
              <a:off x="3586333" y="4247142"/>
              <a:ext cx="66650" cy="177614"/>
            </a:xfrm>
            <a:custGeom>
              <a:gdLst>
                <a:gd fmla="*/ 20 w 36" name="T0"/>
                <a:gd fmla="*/ 0 h 96" name="T1"/>
                <a:gd fmla="*/ 20 w 36" name="T2"/>
                <a:gd fmla="*/ 0 h 96" name="T3"/>
                <a:gd fmla="*/ 16 w 36" name="T4"/>
                <a:gd fmla="*/ 0 h 96" name="T5"/>
                <a:gd fmla="*/ 12 w 36" name="T6"/>
                <a:gd fmla="*/ 0 h 96" name="T7"/>
                <a:gd fmla="*/ 8 w 36" name="T8"/>
                <a:gd fmla="*/ 2 h 96" name="T9"/>
                <a:gd fmla="*/ 4 w 36" name="T10"/>
                <a:gd fmla="*/ 4 h 96" name="T11"/>
                <a:gd fmla="*/ 2 w 36" name="T12"/>
                <a:gd fmla="*/ 8 h 96" name="T13"/>
                <a:gd fmla="*/ 2 w 36" name="T14"/>
                <a:gd fmla="*/ 12 h 96" name="T15"/>
                <a:gd fmla="*/ 0 w 36" name="T16"/>
                <a:gd fmla="*/ 26 h 96" name="T17"/>
                <a:gd fmla="*/ 0 w 36" name="T18"/>
                <a:gd fmla="*/ 40 h 96" name="T19"/>
                <a:gd fmla="*/ 2 w 36" name="T20"/>
                <a:gd fmla="*/ 48 h 96" name="T21"/>
                <a:gd fmla="*/ 2 w 36" name="T22"/>
                <a:gd fmla="*/ 52 h 96" name="T23"/>
                <a:gd fmla="*/ 4 w 36" name="T24"/>
                <a:gd fmla="*/ 54 h 96" name="T25"/>
                <a:gd fmla="*/ 4 w 36" name="T26"/>
                <a:gd fmla="*/ 54 h 96" name="T27"/>
                <a:gd fmla="*/ 4 w 36" name="T28"/>
                <a:gd fmla="*/ 54 h 96" name="T29"/>
                <a:gd fmla="*/ 4 w 36" name="T30"/>
                <a:gd fmla="*/ 56 h 96" name="T31"/>
                <a:gd fmla="*/ 2 w 36" name="T32"/>
                <a:gd fmla="*/ 58 h 96" name="T33"/>
                <a:gd fmla="*/ 2 w 36" name="T34"/>
                <a:gd fmla="*/ 60 h 96" name="T35"/>
                <a:gd fmla="*/ 0 w 36" name="T36"/>
                <a:gd fmla="*/ 64 h 96" name="T37"/>
                <a:gd fmla="*/ 0 w 36" name="T38"/>
                <a:gd fmla="*/ 66 h 96" name="T39"/>
                <a:gd fmla="*/ 2 w 36" name="T40"/>
                <a:gd fmla="*/ 70 h 96" name="T41"/>
                <a:gd fmla="*/ 4 w 36" name="T42"/>
                <a:gd fmla="*/ 76 h 96" name="T43"/>
                <a:gd fmla="*/ 6 w 36" name="T44"/>
                <a:gd fmla="*/ 82 h 96" name="T45"/>
                <a:gd fmla="*/ 10 w 36" name="T46"/>
                <a:gd fmla="*/ 88 h 96" name="T47"/>
                <a:gd fmla="*/ 12 w 36" name="T48"/>
                <a:gd fmla="*/ 92 h 96" name="T49"/>
                <a:gd fmla="*/ 14 w 36" name="T50"/>
                <a:gd fmla="*/ 94 h 96" name="T51"/>
                <a:gd fmla="*/ 16 w 36" name="T52"/>
                <a:gd fmla="*/ 96 h 96" name="T53"/>
                <a:gd fmla="*/ 18 w 36" name="T54"/>
                <a:gd fmla="*/ 94 h 96" name="T55"/>
                <a:gd fmla="*/ 22 w 36" name="T56"/>
                <a:gd fmla="*/ 90 h 96" name="T57"/>
                <a:gd fmla="*/ 24 w 36" name="T58"/>
                <a:gd fmla="*/ 88 h 96" name="T59"/>
                <a:gd fmla="*/ 24 w 36" name="T60"/>
                <a:gd fmla="*/ 84 h 96" name="T61"/>
                <a:gd fmla="*/ 24 w 36" name="T62"/>
                <a:gd fmla="*/ 78 h 96" name="T63"/>
                <a:gd fmla="*/ 24 w 36" name="T64"/>
                <a:gd fmla="*/ 72 h 96" name="T65"/>
                <a:gd fmla="*/ 24 w 36" name="T66"/>
                <a:gd fmla="*/ 66 h 96" name="T67"/>
                <a:gd fmla="*/ 24 w 36" name="T68"/>
                <a:gd fmla="*/ 60 h 96" name="T69"/>
                <a:gd fmla="*/ 24 w 36" name="T70"/>
                <a:gd fmla="*/ 56 h 96" name="T71"/>
                <a:gd fmla="*/ 24 w 36" name="T72"/>
                <a:gd fmla="*/ 56 h 96" name="T73"/>
                <a:gd fmla="*/ 30 w 36" name="T74"/>
                <a:gd fmla="*/ 42 h 96" name="T75"/>
                <a:gd fmla="*/ 30 w 36" name="T76"/>
                <a:gd fmla="*/ 40 h 96" name="T77"/>
                <a:gd fmla="*/ 30 w 36" name="T78"/>
                <a:gd fmla="*/ 36 h 96" name="T79"/>
                <a:gd fmla="*/ 30 w 36" name="T80"/>
                <a:gd fmla="*/ 32 h 96" name="T81"/>
                <a:gd fmla="*/ 30 w 36" name="T82"/>
                <a:gd fmla="*/ 28 h 96" name="T83"/>
                <a:gd fmla="*/ 32 w 36" name="T84"/>
                <a:gd fmla="*/ 24 h 96" name="T85"/>
                <a:gd fmla="*/ 32 w 36" name="T86"/>
                <a:gd fmla="*/ 24 h 96" name="T87"/>
                <a:gd fmla="*/ 34 w 36" name="T88"/>
                <a:gd fmla="*/ 22 h 96" name="T89"/>
                <a:gd fmla="*/ 34 w 36" name="T90"/>
                <a:gd fmla="*/ 20 h 96" name="T91"/>
                <a:gd fmla="*/ 34 w 36" name="T92"/>
                <a:gd fmla="*/ 16 h 96" name="T93"/>
                <a:gd fmla="*/ 34 w 36" name="T94"/>
                <a:gd fmla="*/ 10 h 96" name="T95"/>
                <a:gd fmla="*/ 34 w 36" name="T96"/>
                <a:gd fmla="*/ 6 h 96" name="T97"/>
                <a:gd fmla="*/ 34 w 36" name="T98"/>
                <a:gd fmla="*/ 2 h 96" name="T99"/>
                <a:gd fmla="*/ 36 w 36" name="T100"/>
                <a:gd fmla="*/ 0 h 96" name="T101"/>
                <a:gd fmla="*/ 34 w 36" name="T102"/>
                <a:gd fmla="*/ 0 h 96" name="T103"/>
                <a:gd fmla="*/ 32 w 36" name="T104"/>
                <a:gd fmla="*/ 0 h 96" name="T105"/>
                <a:gd fmla="*/ 28 w 36" name="T106"/>
                <a:gd fmla="*/ 2 h 96" name="T107"/>
                <a:gd fmla="*/ 24 w 36" name="T108"/>
                <a:gd fmla="*/ 2 h 96" name="T109"/>
                <a:gd fmla="*/ 20 w 36" name="T110"/>
                <a:gd fmla="*/ 0 h 96" name="T1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b="b" l="0" r="r" t="0"/>
              <a:pathLst>
                <a:path h="96" w="36">
                  <a:moveTo>
                    <a:pt x="20" y="0"/>
                  </a:moveTo>
                  <a:lnTo>
                    <a:pt x="20" y="0"/>
                  </a:lnTo>
                  <a:lnTo>
                    <a:pt x="16" y="0"/>
                  </a:lnTo>
                  <a:lnTo>
                    <a:pt x="12" y="0"/>
                  </a:lnTo>
                  <a:lnTo>
                    <a:pt x="8" y="2"/>
                  </a:lnTo>
                  <a:lnTo>
                    <a:pt x="4" y="4"/>
                  </a:lnTo>
                  <a:lnTo>
                    <a:pt x="2" y="8"/>
                  </a:lnTo>
                  <a:lnTo>
                    <a:pt x="2" y="12"/>
                  </a:lnTo>
                  <a:lnTo>
                    <a:pt x="0" y="26"/>
                  </a:lnTo>
                  <a:lnTo>
                    <a:pt x="0" y="40"/>
                  </a:lnTo>
                  <a:lnTo>
                    <a:pt x="2" y="48"/>
                  </a:lnTo>
                  <a:lnTo>
                    <a:pt x="2" y="52"/>
                  </a:lnTo>
                  <a:lnTo>
                    <a:pt x="4" y="54"/>
                  </a:lnTo>
                  <a:lnTo>
                    <a:pt x="4" y="54"/>
                  </a:lnTo>
                  <a:lnTo>
                    <a:pt x="4" y="54"/>
                  </a:lnTo>
                  <a:lnTo>
                    <a:pt x="4" y="56"/>
                  </a:lnTo>
                  <a:lnTo>
                    <a:pt x="2" y="58"/>
                  </a:lnTo>
                  <a:lnTo>
                    <a:pt x="2" y="60"/>
                  </a:lnTo>
                  <a:lnTo>
                    <a:pt x="0" y="64"/>
                  </a:lnTo>
                  <a:lnTo>
                    <a:pt x="0" y="66"/>
                  </a:lnTo>
                  <a:lnTo>
                    <a:pt x="2" y="70"/>
                  </a:lnTo>
                  <a:lnTo>
                    <a:pt x="4" y="76"/>
                  </a:lnTo>
                  <a:lnTo>
                    <a:pt x="6" y="82"/>
                  </a:lnTo>
                  <a:lnTo>
                    <a:pt x="10" y="88"/>
                  </a:lnTo>
                  <a:lnTo>
                    <a:pt x="12" y="92"/>
                  </a:lnTo>
                  <a:lnTo>
                    <a:pt x="14" y="94"/>
                  </a:lnTo>
                  <a:lnTo>
                    <a:pt x="16" y="96"/>
                  </a:lnTo>
                  <a:lnTo>
                    <a:pt x="18" y="94"/>
                  </a:lnTo>
                  <a:lnTo>
                    <a:pt x="22" y="90"/>
                  </a:lnTo>
                  <a:lnTo>
                    <a:pt x="24" y="88"/>
                  </a:lnTo>
                  <a:lnTo>
                    <a:pt x="24" y="84"/>
                  </a:lnTo>
                  <a:lnTo>
                    <a:pt x="24" y="78"/>
                  </a:lnTo>
                  <a:lnTo>
                    <a:pt x="24" y="72"/>
                  </a:lnTo>
                  <a:lnTo>
                    <a:pt x="24" y="66"/>
                  </a:lnTo>
                  <a:lnTo>
                    <a:pt x="24" y="60"/>
                  </a:lnTo>
                  <a:lnTo>
                    <a:pt x="24" y="56"/>
                  </a:lnTo>
                  <a:lnTo>
                    <a:pt x="24" y="56"/>
                  </a:lnTo>
                  <a:lnTo>
                    <a:pt x="30" y="42"/>
                  </a:lnTo>
                  <a:lnTo>
                    <a:pt x="30" y="40"/>
                  </a:lnTo>
                  <a:lnTo>
                    <a:pt x="30" y="36"/>
                  </a:lnTo>
                  <a:lnTo>
                    <a:pt x="30" y="32"/>
                  </a:lnTo>
                  <a:lnTo>
                    <a:pt x="30" y="28"/>
                  </a:lnTo>
                  <a:lnTo>
                    <a:pt x="32" y="24"/>
                  </a:lnTo>
                  <a:lnTo>
                    <a:pt x="32" y="24"/>
                  </a:lnTo>
                  <a:lnTo>
                    <a:pt x="34" y="22"/>
                  </a:lnTo>
                  <a:lnTo>
                    <a:pt x="34" y="20"/>
                  </a:lnTo>
                  <a:lnTo>
                    <a:pt x="34" y="16"/>
                  </a:lnTo>
                  <a:lnTo>
                    <a:pt x="34" y="10"/>
                  </a:lnTo>
                  <a:lnTo>
                    <a:pt x="34" y="6"/>
                  </a:lnTo>
                  <a:lnTo>
                    <a:pt x="34" y="2"/>
                  </a:lnTo>
                  <a:lnTo>
                    <a:pt x="36" y="0"/>
                  </a:lnTo>
                  <a:lnTo>
                    <a:pt x="34" y="0"/>
                  </a:lnTo>
                  <a:lnTo>
                    <a:pt x="32" y="0"/>
                  </a:lnTo>
                  <a:lnTo>
                    <a:pt x="28" y="2"/>
                  </a:lnTo>
                  <a:lnTo>
                    <a:pt x="24" y="2"/>
                  </a:lnTo>
                  <a:lnTo>
                    <a:pt x="2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0" name="Freeform 497"/>
            <p:cNvSpPr/>
            <p:nvPr/>
          </p:nvSpPr>
          <p:spPr bwMode="gray">
            <a:xfrm>
              <a:off x="3527088" y="4432157"/>
              <a:ext cx="59245" cy="62905"/>
            </a:xfrm>
            <a:custGeom>
              <a:gdLst>
                <a:gd fmla="*/ 2 w 32" name="T0"/>
                <a:gd fmla="*/ 28 h 34" name="T1"/>
                <a:gd fmla="*/ 2 w 32" name="T2"/>
                <a:gd fmla="*/ 28 h 34" name="T3"/>
                <a:gd fmla="*/ 0 w 32" name="T4"/>
                <a:gd fmla="*/ 30 h 34" name="T5"/>
                <a:gd fmla="*/ 0 w 32" name="T6"/>
                <a:gd fmla="*/ 30 h 34" name="T7"/>
                <a:gd fmla="*/ 2 w 32" name="T8"/>
                <a:gd fmla="*/ 32 h 34" name="T9"/>
                <a:gd fmla="*/ 4 w 32" name="T10"/>
                <a:gd fmla="*/ 34 h 34" name="T11"/>
                <a:gd fmla="*/ 6 w 32" name="T12"/>
                <a:gd fmla="*/ 32 h 34" name="T13"/>
                <a:gd fmla="*/ 10 w 32" name="T14"/>
                <a:gd fmla="*/ 32 h 34" name="T15"/>
                <a:gd fmla="*/ 12 w 32" name="T16"/>
                <a:gd fmla="*/ 30 h 34" name="T17"/>
                <a:gd fmla="*/ 16 w 32" name="T18"/>
                <a:gd fmla="*/ 26 h 34" name="T19"/>
                <a:gd fmla="*/ 20 w 32" name="T20"/>
                <a:gd fmla="*/ 24 h 34" name="T21"/>
                <a:gd fmla="*/ 22 w 32" name="T22"/>
                <a:gd fmla="*/ 22 h 34" name="T23"/>
                <a:gd fmla="*/ 22 w 32" name="T24"/>
                <a:gd fmla="*/ 22 h 34" name="T25"/>
                <a:gd fmla="*/ 22 w 32" name="T26"/>
                <a:gd fmla="*/ 22 h 34" name="T27"/>
                <a:gd fmla="*/ 24 w 32" name="T28"/>
                <a:gd fmla="*/ 20 h 34" name="T29"/>
                <a:gd fmla="*/ 26 w 32" name="T30"/>
                <a:gd fmla="*/ 16 h 34" name="T31"/>
                <a:gd fmla="*/ 28 w 32" name="T32"/>
                <a:gd fmla="*/ 12 h 34" name="T33"/>
                <a:gd fmla="*/ 30 w 32" name="T34"/>
                <a:gd fmla="*/ 10 h 34" name="T35"/>
                <a:gd fmla="*/ 32 w 32" name="T36"/>
                <a:gd fmla="*/ 6 h 34" name="T37"/>
                <a:gd fmla="*/ 32 w 32" name="T38"/>
                <a:gd fmla="*/ 4 h 34" name="T39"/>
                <a:gd fmla="*/ 32 w 32" name="T40"/>
                <a:gd fmla="*/ 4 h 34" name="T41"/>
                <a:gd fmla="*/ 32 w 32" name="T42"/>
                <a:gd fmla="*/ 2 h 34" name="T43"/>
                <a:gd fmla="*/ 30 w 32" name="T44"/>
                <a:gd fmla="*/ 0 h 34" name="T45"/>
                <a:gd fmla="*/ 28 w 32" name="T46"/>
                <a:gd fmla="*/ 0 h 34" name="T47"/>
                <a:gd fmla="*/ 26 w 32" name="T48"/>
                <a:gd fmla="*/ 0 h 34" name="T49"/>
                <a:gd fmla="*/ 22 w 32" name="T50"/>
                <a:gd fmla="*/ 2 h 34" name="T51"/>
                <a:gd fmla="*/ 20 w 32" name="T52"/>
                <a:gd fmla="*/ 6 h 34" name="T53"/>
                <a:gd fmla="*/ 16 w 32" name="T54"/>
                <a:gd fmla="*/ 10 h 34" name="T55"/>
                <a:gd fmla="*/ 12 w 32" name="T56"/>
                <a:gd fmla="*/ 14 h 34" name="T57"/>
                <a:gd fmla="*/ 8 w 32" name="T58"/>
                <a:gd fmla="*/ 20 h 34" name="T59"/>
                <a:gd fmla="*/ 4 w 32" name="T60"/>
                <a:gd fmla="*/ 24 h 34" name="T61"/>
                <a:gd fmla="*/ 2 w 32" name="T62"/>
                <a:gd fmla="*/ 26 h 34" name="T63"/>
                <a:gd fmla="*/ 2 w 32" name="T64"/>
                <a:gd fmla="*/ 28 h 34" name="T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b="b" l="0" r="r" t="0"/>
              <a:pathLst>
                <a:path h="34" w="32">
                  <a:moveTo>
                    <a:pt x="2" y="28"/>
                  </a:moveTo>
                  <a:lnTo>
                    <a:pt x="2" y="28"/>
                  </a:lnTo>
                  <a:lnTo>
                    <a:pt x="0" y="30"/>
                  </a:lnTo>
                  <a:lnTo>
                    <a:pt x="0" y="30"/>
                  </a:lnTo>
                  <a:lnTo>
                    <a:pt x="2" y="32"/>
                  </a:lnTo>
                  <a:lnTo>
                    <a:pt x="4" y="34"/>
                  </a:lnTo>
                  <a:lnTo>
                    <a:pt x="6" y="32"/>
                  </a:lnTo>
                  <a:lnTo>
                    <a:pt x="10" y="32"/>
                  </a:lnTo>
                  <a:lnTo>
                    <a:pt x="12" y="30"/>
                  </a:lnTo>
                  <a:lnTo>
                    <a:pt x="16" y="26"/>
                  </a:lnTo>
                  <a:lnTo>
                    <a:pt x="20" y="24"/>
                  </a:lnTo>
                  <a:lnTo>
                    <a:pt x="22" y="22"/>
                  </a:lnTo>
                  <a:lnTo>
                    <a:pt x="22" y="22"/>
                  </a:lnTo>
                  <a:lnTo>
                    <a:pt x="22" y="22"/>
                  </a:lnTo>
                  <a:lnTo>
                    <a:pt x="24" y="20"/>
                  </a:lnTo>
                  <a:lnTo>
                    <a:pt x="26" y="16"/>
                  </a:lnTo>
                  <a:lnTo>
                    <a:pt x="28" y="12"/>
                  </a:lnTo>
                  <a:lnTo>
                    <a:pt x="30" y="10"/>
                  </a:lnTo>
                  <a:lnTo>
                    <a:pt x="32" y="6"/>
                  </a:lnTo>
                  <a:lnTo>
                    <a:pt x="32" y="4"/>
                  </a:lnTo>
                  <a:lnTo>
                    <a:pt x="32" y="4"/>
                  </a:lnTo>
                  <a:lnTo>
                    <a:pt x="32" y="2"/>
                  </a:lnTo>
                  <a:lnTo>
                    <a:pt x="30" y="0"/>
                  </a:lnTo>
                  <a:lnTo>
                    <a:pt x="28" y="0"/>
                  </a:lnTo>
                  <a:lnTo>
                    <a:pt x="26" y="0"/>
                  </a:lnTo>
                  <a:lnTo>
                    <a:pt x="22" y="2"/>
                  </a:lnTo>
                  <a:lnTo>
                    <a:pt x="20" y="6"/>
                  </a:lnTo>
                  <a:lnTo>
                    <a:pt x="16" y="10"/>
                  </a:lnTo>
                  <a:lnTo>
                    <a:pt x="12" y="14"/>
                  </a:lnTo>
                  <a:lnTo>
                    <a:pt x="8" y="20"/>
                  </a:lnTo>
                  <a:lnTo>
                    <a:pt x="4" y="24"/>
                  </a:lnTo>
                  <a:lnTo>
                    <a:pt x="2" y="26"/>
                  </a:lnTo>
                  <a:lnTo>
                    <a:pt x="2" y="2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1" name="Freeform 498"/>
            <p:cNvSpPr/>
            <p:nvPr/>
          </p:nvSpPr>
          <p:spPr bwMode="gray">
            <a:xfrm>
              <a:off x="3638172" y="4476561"/>
              <a:ext cx="111084" cy="85107"/>
            </a:xfrm>
            <a:custGeom>
              <a:gdLst>
                <a:gd fmla="*/ 42 w 60" name="T0"/>
                <a:gd fmla="*/ 2 h 46" name="T1"/>
                <a:gd fmla="*/ 30 w 60" name="T2"/>
                <a:gd fmla="*/ 8 h 46" name="T3"/>
                <a:gd fmla="*/ 20 w 60" name="T4"/>
                <a:gd fmla="*/ 10 h 46" name="T5"/>
                <a:gd fmla="*/ 6 w 60" name="T6"/>
                <a:gd fmla="*/ 16 h 46" name="T7"/>
                <a:gd fmla="*/ 6 w 60" name="T8"/>
                <a:gd fmla="*/ 18 h 46" name="T9"/>
                <a:gd fmla="*/ 4 w 60" name="T10"/>
                <a:gd fmla="*/ 20 h 46" name="T11"/>
                <a:gd fmla="*/ 2 w 60" name="T12"/>
                <a:gd fmla="*/ 22 h 46" name="T13"/>
                <a:gd fmla="*/ 2 w 60" name="T14"/>
                <a:gd fmla="*/ 26 h 46" name="T15"/>
                <a:gd fmla="*/ 0 w 60" name="T16"/>
                <a:gd fmla="*/ 30 h 46" name="T17"/>
                <a:gd fmla="*/ 0 w 60" name="T18"/>
                <a:gd fmla="*/ 32 h 46" name="T19"/>
                <a:gd fmla="*/ 0 w 60" name="T20"/>
                <a:gd fmla="*/ 34 h 46" name="T21"/>
                <a:gd fmla="*/ 2 w 60" name="T22"/>
                <a:gd fmla="*/ 36 h 46" name="T23"/>
                <a:gd fmla="*/ 8 w 60" name="T24"/>
                <a:gd fmla="*/ 34 h 46" name="T25"/>
                <a:gd fmla="*/ 12 w 60" name="T26"/>
                <a:gd fmla="*/ 34 h 46" name="T27"/>
                <a:gd fmla="*/ 16 w 60" name="T28"/>
                <a:gd fmla="*/ 32 h 46" name="T29"/>
                <a:gd fmla="*/ 20 w 60" name="T30"/>
                <a:gd fmla="*/ 32 h 46" name="T31"/>
                <a:gd fmla="*/ 20 w 60" name="T32"/>
                <a:gd fmla="*/ 32 h 46" name="T33"/>
                <a:gd fmla="*/ 20 w 60" name="T34"/>
                <a:gd fmla="*/ 32 h 46" name="T35"/>
                <a:gd fmla="*/ 20 w 60" name="T36"/>
                <a:gd fmla="*/ 34 h 46" name="T37"/>
                <a:gd fmla="*/ 20 w 60" name="T38"/>
                <a:gd fmla="*/ 38 h 46" name="T39"/>
                <a:gd fmla="*/ 22 w 60" name="T40"/>
                <a:gd fmla="*/ 40 h 46" name="T41"/>
                <a:gd fmla="*/ 24 w 60" name="T42"/>
                <a:gd fmla="*/ 42 h 46" name="T43"/>
                <a:gd fmla="*/ 26 w 60" name="T44"/>
                <a:gd fmla="*/ 44 h 46" name="T45"/>
                <a:gd fmla="*/ 30 w 60" name="T46"/>
                <a:gd fmla="*/ 44 h 46" name="T47"/>
                <a:gd fmla="*/ 32 w 60" name="T48"/>
                <a:gd fmla="*/ 46 h 46" name="T49"/>
                <a:gd fmla="*/ 36 w 60" name="T50"/>
                <a:gd fmla="*/ 46 h 46" name="T51"/>
                <a:gd fmla="*/ 40 w 60" name="T52"/>
                <a:gd fmla="*/ 46 h 46" name="T53"/>
                <a:gd fmla="*/ 42 w 60" name="T54"/>
                <a:gd fmla="*/ 46 h 46" name="T55"/>
                <a:gd fmla="*/ 44 w 60" name="T56"/>
                <a:gd fmla="*/ 42 h 46" name="T57"/>
                <a:gd fmla="*/ 44 w 60" name="T58"/>
                <a:gd fmla="*/ 38 h 46" name="T59"/>
                <a:gd fmla="*/ 44 w 60" name="T60"/>
                <a:gd fmla="*/ 34 h 46" name="T61"/>
                <a:gd fmla="*/ 42 w 60" name="T62"/>
                <a:gd fmla="*/ 32 h 46" name="T63"/>
                <a:gd fmla="*/ 42 w 60" name="T64"/>
                <a:gd fmla="*/ 30 h 46" name="T65"/>
                <a:gd fmla="*/ 44 w 60" name="T66"/>
                <a:gd fmla="*/ 28 h 46" name="T67"/>
                <a:gd fmla="*/ 46 w 60" name="T68"/>
                <a:gd fmla="*/ 28 h 46" name="T69"/>
                <a:gd fmla="*/ 48 w 60" name="T70"/>
                <a:gd fmla="*/ 30 h 46" name="T71"/>
                <a:gd fmla="*/ 50 w 60" name="T72"/>
                <a:gd fmla="*/ 32 h 46" name="T73"/>
                <a:gd fmla="*/ 52 w 60" name="T74"/>
                <a:gd fmla="*/ 34 h 46" name="T75"/>
                <a:gd fmla="*/ 54 w 60" name="T76"/>
                <a:gd fmla="*/ 36 h 46" name="T77"/>
                <a:gd fmla="*/ 56 w 60" name="T78"/>
                <a:gd fmla="*/ 34 h 46" name="T79"/>
                <a:gd fmla="*/ 58 w 60" name="T80"/>
                <a:gd fmla="*/ 30 h 46" name="T81"/>
                <a:gd fmla="*/ 60 w 60" name="T82"/>
                <a:gd fmla="*/ 24 h 46" name="T83"/>
                <a:gd fmla="*/ 60 w 60" name="T84"/>
                <a:gd fmla="*/ 20 h 46" name="T85"/>
                <a:gd fmla="*/ 60 w 60" name="T86"/>
                <a:gd fmla="*/ 16 h 46" name="T87"/>
                <a:gd fmla="*/ 58 w 60" name="T88"/>
                <a:gd fmla="*/ 12 h 46" name="T89"/>
                <a:gd fmla="*/ 56 w 60" name="T90"/>
                <a:gd fmla="*/ 8 h 46" name="T91"/>
                <a:gd fmla="*/ 52 w 60" name="T92"/>
                <a:gd fmla="*/ 4 h 46" name="T93"/>
                <a:gd fmla="*/ 48 w 60" name="T94"/>
                <a:gd fmla="*/ 2 h 46" name="T95"/>
                <a:gd fmla="*/ 46 w 60" name="T96"/>
                <a:gd fmla="*/ 0 h 46" name="T97"/>
                <a:gd fmla="*/ 42 w 60" name="T98"/>
                <a:gd fmla="*/ 2 h 46"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46" w="60">
                  <a:moveTo>
                    <a:pt x="42" y="2"/>
                  </a:moveTo>
                  <a:lnTo>
                    <a:pt x="30" y="8"/>
                  </a:lnTo>
                  <a:lnTo>
                    <a:pt x="20" y="10"/>
                  </a:lnTo>
                  <a:lnTo>
                    <a:pt x="6" y="16"/>
                  </a:lnTo>
                  <a:lnTo>
                    <a:pt x="6" y="18"/>
                  </a:lnTo>
                  <a:lnTo>
                    <a:pt x="4" y="20"/>
                  </a:lnTo>
                  <a:lnTo>
                    <a:pt x="2" y="22"/>
                  </a:lnTo>
                  <a:lnTo>
                    <a:pt x="2" y="26"/>
                  </a:lnTo>
                  <a:lnTo>
                    <a:pt x="0" y="30"/>
                  </a:lnTo>
                  <a:lnTo>
                    <a:pt x="0" y="32"/>
                  </a:lnTo>
                  <a:lnTo>
                    <a:pt x="0" y="34"/>
                  </a:lnTo>
                  <a:lnTo>
                    <a:pt x="2" y="36"/>
                  </a:lnTo>
                  <a:lnTo>
                    <a:pt x="8" y="34"/>
                  </a:lnTo>
                  <a:lnTo>
                    <a:pt x="12" y="34"/>
                  </a:lnTo>
                  <a:lnTo>
                    <a:pt x="16" y="32"/>
                  </a:lnTo>
                  <a:lnTo>
                    <a:pt x="20" y="32"/>
                  </a:lnTo>
                  <a:lnTo>
                    <a:pt x="20" y="32"/>
                  </a:lnTo>
                  <a:lnTo>
                    <a:pt x="20" y="32"/>
                  </a:lnTo>
                  <a:lnTo>
                    <a:pt x="20" y="34"/>
                  </a:lnTo>
                  <a:lnTo>
                    <a:pt x="20" y="38"/>
                  </a:lnTo>
                  <a:lnTo>
                    <a:pt x="22" y="40"/>
                  </a:lnTo>
                  <a:lnTo>
                    <a:pt x="24" y="42"/>
                  </a:lnTo>
                  <a:lnTo>
                    <a:pt x="26" y="44"/>
                  </a:lnTo>
                  <a:lnTo>
                    <a:pt x="30" y="44"/>
                  </a:lnTo>
                  <a:lnTo>
                    <a:pt x="32" y="46"/>
                  </a:lnTo>
                  <a:lnTo>
                    <a:pt x="36" y="46"/>
                  </a:lnTo>
                  <a:lnTo>
                    <a:pt x="40" y="46"/>
                  </a:lnTo>
                  <a:lnTo>
                    <a:pt x="42" y="46"/>
                  </a:lnTo>
                  <a:lnTo>
                    <a:pt x="44" y="42"/>
                  </a:lnTo>
                  <a:lnTo>
                    <a:pt x="44" y="38"/>
                  </a:lnTo>
                  <a:lnTo>
                    <a:pt x="44" y="34"/>
                  </a:lnTo>
                  <a:lnTo>
                    <a:pt x="42" y="32"/>
                  </a:lnTo>
                  <a:lnTo>
                    <a:pt x="42" y="30"/>
                  </a:lnTo>
                  <a:lnTo>
                    <a:pt x="44" y="28"/>
                  </a:lnTo>
                  <a:lnTo>
                    <a:pt x="46" y="28"/>
                  </a:lnTo>
                  <a:lnTo>
                    <a:pt x="48" y="30"/>
                  </a:lnTo>
                  <a:lnTo>
                    <a:pt x="50" y="32"/>
                  </a:lnTo>
                  <a:lnTo>
                    <a:pt x="52" y="34"/>
                  </a:lnTo>
                  <a:lnTo>
                    <a:pt x="54" y="36"/>
                  </a:lnTo>
                  <a:lnTo>
                    <a:pt x="56" y="34"/>
                  </a:lnTo>
                  <a:lnTo>
                    <a:pt x="58" y="30"/>
                  </a:lnTo>
                  <a:lnTo>
                    <a:pt x="60" y="24"/>
                  </a:lnTo>
                  <a:lnTo>
                    <a:pt x="60" y="20"/>
                  </a:lnTo>
                  <a:lnTo>
                    <a:pt x="60" y="16"/>
                  </a:lnTo>
                  <a:lnTo>
                    <a:pt x="58" y="12"/>
                  </a:lnTo>
                  <a:lnTo>
                    <a:pt x="56" y="8"/>
                  </a:lnTo>
                  <a:lnTo>
                    <a:pt x="52" y="4"/>
                  </a:lnTo>
                  <a:lnTo>
                    <a:pt x="48" y="2"/>
                  </a:lnTo>
                  <a:lnTo>
                    <a:pt x="46" y="0"/>
                  </a:lnTo>
                  <a:lnTo>
                    <a:pt x="42"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2" name="Freeform 499"/>
            <p:cNvSpPr/>
            <p:nvPr/>
          </p:nvSpPr>
          <p:spPr bwMode="gray">
            <a:xfrm>
              <a:off x="3375274" y="4528365"/>
              <a:ext cx="199951" cy="177614"/>
            </a:xfrm>
            <a:custGeom>
              <a:gdLst>
                <a:gd fmla="*/ 70 w 108" name="T0"/>
                <a:gd fmla="*/ 46 h 96" name="T1"/>
                <a:gd fmla="*/ 90 w 108" name="T2"/>
                <a:gd fmla="*/ 46 h 96" name="T3"/>
                <a:gd fmla="*/ 100 w 108" name="T4"/>
                <a:gd fmla="*/ 44 h 96" name="T5"/>
                <a:gd fmla="*/ 86 w 108" name="T6"/>
                <a:gd fmla="*/ 38 h 96" name="T7"/>
                <a:gd fmla="*/ 108 w 108" name="T8"/>
                <a:gd fmla="*/ 30 h 96" name="T9"/>
                <a:gd fmla="*/ 108 w 108" name="T10"/>
                <a:gd fmla="*/ 26 h 96" name="T11"/>
                <a:gd fmla="*/ 104 w 108" name="T12"/>
                <a:gd fmla="*/ 22 h 96" name="T13"/>
                <a:gd fmla="*/ 98 w 108" name="T14"/>
                <a:gd fmla="*/ 16 h 96" name="T15"/>
                <a:gd fmla="*/ 92 w 108" name="T16"/>
                <a:gd fmla="*/ 10 h 96" name="T17"/>
                <a:gd fmla="*/ 90 w 108" name="T18"/>
                <a:gd fmla="*/ 6 h 96" name="T19"/>
                <a:gd fmla="*/ 88 w 108" name="T20"/>
                <a:gd fmla="*/ 4 h 96" name="T21"/>
                <a:gd fmla="*/ 84 w 108" name="T22"/>
                <a:gd fmla="*/ 0 h 96" name="T23"/>
                <a:gd fmla="*/ 78 w 108" name="T24"/>
                <a:gd fmla="*/ 2 h 96" name="T25"/>
                <a:gd fmla="*/ 72 w 108" name="T26"/>
                <a:gd fmla="*/ 4 h 96" name="T27"/>
                <a:gd fmla="*/ 66 w 108" name="T28"/>
                <a:gd fmla="*/ 10 h 96" name="T29"/>
                <a:gd fmla="*/ 58 w 108" name="T30"/>
                <a:gd fmla="*/ 14 h 96" name="T31"/>
                <a:gd fmla="*/ 48 w 108" name="T32"/>
                <a:gd fmla="*/ 38 h 96" name="T33"/>
                <a:gd fmla="*/ 42 w 108" name="T34"/>
                <a:gd fmla="*/ 40 h 96" name="T35"/>
                <a:gd fmla="*/ 36 w 108" name="T36"/>
                <a:gd fmla="*/ 46 h 96" name="T37"/>
                <a:gd fmla="*/ 30 w 108" name="T38"/>
                <a:gd fmla="*/ 48 h 96" name="T39"/>
                <a:gd fmla="*/ 24 w 108" name="T40"/>
                <a:gd fmla="*/ 54 h 96" name="T41"/>
                <a:gd fmla="*/ 18 w 108" name="T42"/>
                <a:gd fmla="*/ 60 h 96" name="T43"/>
                <a:gd fmla="*/ 16 w 108" name="T44"/>
                <a:gd fmla="*/ 64 h 96" name="T45"/>
                <a:gd fmla="*/ 0 w 108" name="T46"/>
                <a:gd fmla="*/ 88 h 96" name="T47"/>
                <a:gd fmla="*/ 2 w 108" name="T48"/>
                <a:gd fmla="*/ 90 h 96" name="T49"/>
                <a:gd fmla="*/ 10 w 108" name="T50"/>
                <a:gd fmla="*/ 94 h 96" name="T51"/>
                <a:gd fmla="*/ 16 w 108" name="T52"/>
                <a:gd fmla="*/ 96 h 96" name="T53"/>
                <a:gd fmla="*/ 22 w 108" name="T54"/>
                <a:gd fmla="*/ 90 h 96" name="T55"/>
                <a:gd fmla="*/ 24 w 108" name="T56"/>
                <a:gd fmla="*/ 86 h 96" name="T57"/>
                <a:gd fmla="*/ 28 w 108" name="T58"/>
                <a:gd fmla="*/ 82 h 96" name="T59"/>
                <a:gd fmla="*/ 32 w 108" name="T60"/>
                <a:gd fmla="*/ 80 h 96" name="T61"/>
                <a:gd fmla="*/ 46 w 108" name="T62"/>
                <a:gd fmla="*/ 74 h 96" name="T63"/>
                <a:gd fmla="*/ 62 w 108" name="T64"/>
                <a:gd fmla="*/ 56 h 96" name="T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b="b" l="0" r="r" t="0"/>
              <a:pathLst>
                <a:path h="96" w="108">
                  <a:moveTo>
                    <a:pt x="62" y="56"/>
                  </a:moveTo>
                  <a:lnTo>
                    <a:pt x="70" y="46"/>
                  </a:lnTo>
                  <a:lnTo>
                    <a:pt x="84" y="46"/>
                  </a:lnTo>
                  <a:lnTo>
                    <a:pt x="90" y="46"/>
                  </a:lnTo>
                  <a:lnTo>
                    <a:pt x="96" y="44"/>
                  </a:lnTo>
                  <a:lnTo>
                    <a:pt x="100" y="44"/>
                  </a:lnTo>
                  <a:lnTo>
                    <a:pt x="102" y="42"/>
                  </a:lnTo>
                  <a:lnTo>
                    <a:pt x="86" y="38"/>
                  </a:lnTo>
                  <a:lnTo>
                    <a:pt x="108" y="32"/>
                  </a:lnTo>
                  <a:lnTo>
                    <a:pt x="108" y="30"/>
                  </a:lnTo>
                  <a:lnTo>
                    <a:pt x="108" y="28"/>
                  </a:lnTo>
                  <a:lnTo>
                    <a:pt x="108" y="26"/>
                  </a:lnTo>
                  <a:lnTo>
                    <a:pt x="104" y="24"/>
                  </a:lnTo>
                  <a:lnTo>
                    <a:pt x="104" y="22"/>
                  </a:lnTo>
                  <a:lnTo>
                    <a:pt x="102" y="20"/>
                  </a:lnTo>
                  <a:lnTo>
                    <a:pt x="98" y="16"/>
                  </a:lnTo>
                  <a:lnTo>
                    <a:pt x="96" y="14"/>
                  </a:lnTo>
                  <a:lnTo>
                    <a:pt x="92" y="10"/>
                  </a:lnTo>
                  <a:lnTo>
                    <a:pt x="90" y="8"/>
                  </a:lnTo>
                  <a:lnTo>
                    <a:pt x="90" y="6"/>
                  </a:lnTo>
                  <a:lnTo>
                    <a:pt x="88" y="6"/>
                  </a:lnTo>
                  <a:lnTo>
                    <a:pt x="88" y="4"/>
                  </a:lnTo>
                  <a:lnTo>
                    <a:pt x="86" y="2"/>
                  </a:lnTo>
                  <a:lnTo>
                    <a:pt x="84" y="0"/>
                  </a:lnTo>
                  <a:lnTo>
                    <a:pt x="82" y="0"/>
                  </a:lnTo>
                  <a:lnTo>
                    <a:pt x="78" y="2"/>
                  </a:lnTo>
                  <a:lnTo>
                    <a:pt x="74" y="4"/>
                  </a:lnTo>
                  <a:lnTo>
                    <a:pt x="72" y="4"/>
                  </a:lnTo>
                  <a:lnTo>
                    <a:pt x="70" y="6"/>
                  </a:lnTo>
                  <a:lnTo>
                    <a:pt x="66" y="10"/>
                  </a:lnTo>
                  <a:lnTo>
                    <a:pt x="62" y="12"/>
                  </a:lnTo>
                  <a:lnTo>
                    <a:pt x="58" y="14"/>
                  </a:lnTo>
                  <a:lnTo>
                    <a:pt x="48" y="36"/>
                  </a:lnTo>
                  <a:lnTo>
                    <a:pt x="48" y="38"/>
                  </a:lnTo>
                  <a:lnTo>
                    <a:pt x="46" y="38"/>
                  </a:lnTo>
                  <a:lnTo>
                    <a:pt x="42" y="40"/>
                  </a:lnTo>
                  <a:lnTo>
                    <a:pt x="38" y="44"/>
                  </a:lnTo>
                  <a:lnTo>
                    <a:pt x="36" y="46"/>
                  </a:lnTo>
                  <a:lnTo>
                    <a:pt x="32" y="48"/>
                  </a:lnTo>
                  <a:lnTo>
                    <a:pt x="30" y="48"/>
                  </a:lnTo>
                  <a:lnTo>
                    <a:pt x="26" y="52"/>
                  </a:lnTo>
                  <a:lnTo>
                    <a:pt x="24" y="54"/>
                  </a:lnTo>
                  <a:lnTo>
                    <a:pt x="20" y="58"/>
                  </a:lnTo>
                  <a:lnTo>
                    <a:pt x="18" y="60"/>
                  </a:lnTo>
                  <a:lnTo>
                    <a:pt x="16" y="62"/>
                  </a:lnTo>
                  <a:lnTo>
                    <a:pt x="16" y="64"/>
                  </a:lnTo>
                  <a:lnTo>
                    <a:pt x="8" y="84"/>
                  </a:lnTo>
                  <a:lnTo>
                    <a:pt x="0" y="88"/>
                  </a:lnTo>
                  <a:lnTo>
                    <a:pt x="0" y="88"/>
                  </a:lnTo>
                  <a:lnTo>
                    <a:pt x="2" y="90"/>
                  </a:lnTo>
                  <a:lnTo>
                    <a:pt x="6" y="92"/>
                  </a:lnTo>
                  <a:lnTo>
                    <a:pt x="10" y="94"/>
                  </a:lnTo>
                  <a:lnTo>
                    <a:pt x="14" y="96"/>
                  </a:lnTo>
                  <a:lnTo>
                    <a:pt x="16" y="96"/>
                  </a:lnTo>
                  <a:lnTo>
                    <a:pt x="18" y="94"/>
                  </a:lnTo>
                  <a:lnTo>
                    <a:pt x="22" y="90"/>
                  </a:lnTo>
                  <a:lnTo>
                    <a:pt x="24" y="86"/>
                  </a:lnTo>
                  <a:lnTo>
                    <a:pt x="24" y="86"/>
                  </a:lnTo>
                  <a:lnTo>
                    <a:pt x="26" y="84"/>
                  </a:lnTo>
                  <a:lnTo>
                    <a:pt x="28" y="82"/>
                  </a:lnTo>
                  <a:lnTo>
                    <a:pt x="28" y="82"/>
                  </a:lnTo>
                  <a:lnTo>
                    <a:pt x="32" y="80"/>
                  </a:lnTo>
                  <a:lnTo>
                    <a:pt x="38" y="78"/>
                  </a:lnTo>
                  <a:lnTo>
                    <a:pt x="46" y="74"/>
                  </a:lnTo>
                  <a:lnTo>
                    <a:pt x="54" y="70"/>
                  </a:lnTo>
                  <a:lnTo>
                    <a:pt x="62" y="5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3" name="Freeform 500"/>
            <p:cNvSpPr/>
            <p:nvPr/>
          </p:nvSpPr>
          <p:spPr bwMode="gray">
            <a:xfrm>
              <a:off x="3338246" y="4606071"/>
              <a:ext cx="222168" cy="203516"/>
            </a:xfrm>
            <a:custGeom>
              <a:gdLst>
                <a:gd fmla="*/ 102 w 120" name="T0"/>
                <a:gd fmla="*/ 32 h 110" name="T1"/>
                <a:gd fmla="*/ 104 w 120" name="T2"/>
                <a:gd fmla="*/ 34 h 110" name="T3"/>
                <a:gd fmla="*/ 112 w 120" name="T4"/>
                <a:gd fmla="*/ 36 h 110" name="T5"/>
                <a:gd fmla="*/ 120 w 120" name="T6"/>
                <a:gd fmla="*/ 42 h 110" name="T7"/>
                <a:gd fmla="*/ 116 w 120" name="T8"/>
                <a:gd fmla="*/ 46 h 110" name="T9"/>
                <a:gd fmla="*/ 114 w 120" name="T10"/>
                <a:gd fmla="*/ 48 h 110" name="T11"/>
                <a:gd fmla="*/ 106 w 120" name="T12"/>
                <a:gd fmla="*/ 50 h 110" name="T13"/>
                <a:gd fmla="*/ 102 w 120" name="T14"/>
                <a:gd fmla="*/ 54 h 110" name="T15"/>
                <a:gd fmla="*/ 100 w 120" name="T16"/>
                <a:gd fmla="*/ 56 h 110" name="T17"/>
                <a:gd fmla="*/ 94 w 120" name="T18"/>
                <a:gd fmla="*/ 70 h 110" name="T19"/>
                <a:gd fmla="*/ 88 w 120" name="T20"/>
                <a:gd fmla="*/ 76 h 110" name="T21"/>
                <a:gd fmla="*/ 86 w 120" name="T22"/>
                <a:gd fmla="*/ 80 h 110" name="T23"/>
                <a:gd fmla="*/ 84 w 120" name="T24"/>
                <a:gd fmla="*/ 84 h 110" name="T25"/>
                <a:gd fmla="*/ 82 w 120" name="T26"/>
                <a:gd fmla="*/ 94 h 110" name="T27"/>
                <a:gd fmla="*/ 78 w 120" name="T28"/>
                <a:gd fmla="*/ 102 h 110" name="T29"/>
                <a:gd fmla="*/ 74 w 120" name="T30"/>
                <a:gd fmla="*/ 106 h 110" name="T31"/>
                <a:gd fmla="*/ 66 w 120" name="T32"/>
                <a:gd fmla="*/ 108 h 110" name="T33"/>
                <a:gd fmla="*/ 60 w 120" name="T34"/>
                <a:gd fmla="*/ 100 h 110" name="T35"/>
                <a:gd fmla="*/ 50 w 120" name="T36"/>
                <a:gd fmla="*/ 98 h 110" name="T37"/>
                <a:gd fmla="*/ 46 w 120" name="T38"/>
                <a:gd fmla="*/ 96 h 110" name="T39"/>
                <a:gd fmla="*/ 40 w 120" name="T40"/>
                <a:gd fmla="*/ 96 h 110" name="T41"/>
                <a:gd fmla="*/ 34 w 120" name="T42"/>
                <a:gd fmla="*/ 96 h 110" name="T43"/>
                <a:gd fmla="*/ 26 w 120" name="T44"/>
                <a:gd fmla="*/ 94 h 110" name="T45"/>
                <a:gd fmla="*/ 22 w 120" name="T46"/>
                <a:gd fmla="*/ 90 h 110" name="T47"/>
                <a:gd fmla="*/ 16 w 120" name="T48"/>
                <a:gd fmla="*/ 86 h 110" name="T49"/>
                <a:gd fmla="*/ 6 w 120" name="T50"/>
                <a:gd fmla="*/ 82 h 110" name="T51"/>
                <a:gd fmla="*/ 0 w 120" name="T52"/>
                <a:gd fmla="*/ 78 h 110" name="T53"/>
                <a:gd fmla="*/ 0 w 120" name="T54"/>
                <a:gd fmla="*/ 74 h 110" name="T55"/>
                <a:gd fmla="*/ 4 w 120" name="T56"/>
                <a:gd fmla="*/ 72 h 110" name="T57"/>
                <a:gd fmla="*/ 2 w 120" name="T58"/>
                <a:gd fmla="*/ 60 h 110" name="T59"/>
                <a:gd fmla="*/ 2 w 120" name="T60"/>
                <a:gd fmla="*/ 52 h 110" name="T61"/>
                <a:gd fmla="*/ 6 w 120" name="T62"/>
                <a:gd fmla="*/ 44 h 110" name="T63"/>
                <a:gd fmla="*/ 8 w 120" name="T64"/>
                <a:gd fmla="*/ 42 h 110" name="T65"/>
                <a:gd fmla="*/ 20 w 120" name="T66"/>
                <a:gd fmla="*/ 46 h 110" name="T67"/>
                <a:gd fmla="*/ 22 w 120" name="T68"/>
                <a:gd fmla="*/ 48 h 110" name="T69"/>
                <a:gd fmla="*/ 28 w 120" name="T70"/>
                <a:gd fmla="*/ 52 h 110" name="T71"/>
                <a:gd fmla="*/ 36 w 120" name="T72"/>
                <a:gd fmla="*/ 52 h 110" name="T73"/>
                <a:gd fmla="*/ 44 w 120" name="T74"/>
                <a:gd fmla="*/ 44 h 110" name="T75"/>
                <a:gd fmla="*/ 48 w 120" name="T76"/>
                <a:gd fmla="*/ 42 h 110" name="T77"/>
                <a:gd fmla="*/ 56 w 120" name="T78"/>
                <a:gd fmla="*/ 38 h 110" name="T79"/>
                <a:gd fmla="*/ 62 w 120" name="T80"/>
                <a:gd fmla="*/ 34 h 110" name="T81"/>
                <a:gd fmla="*/ 70 w 120" name="T82"/>
                <a:gd fmla="*/ 30 h 110" name="T83"/>
                <a:gd fmla="*/ 74 w 120" name="T84"/>
                <a:gd fmla="*/ 28 h 110" name="T85"/>
                <a:gd fmla="*/ 90 w 120" name="T86"/>
                <a:gd fmla="*/ 4 h 110" name="T87"/>
                <a:gd fmla="*/ 94 w 120" name="T88"/>
                <a:gd fmla="*/ 4 h 110" name="T89"/>
                <a:gd fmla="*/ 106 w 120" name="T90"/>
                <a:gd fmla="*/ 4 h 110" name="T91"/>
                <a:gd fmla="*/ 116 w 120" name="T92"/>
                <a:gd fmla="*/ 2 h 110" name="T93"/>
                <a:gd fmla="*/ 120 w 120" name="T94"/>
                <a:gd fmla="*/ 2 h 110" name="T95"/>
                <a:gd fmla="*/ 116 w 120" name="T96"/>
                <a:gd fmla="*/ 6 h 110" name="T97"/>
                <a:gd fmla="*/ 108 w 120" name="T98"/>
                <a:gd fmla="*/ 12 h 110" name="T99"/>
                <a:gd fmla="*/ 102 w 120" name="T100"/>
                <a:gd fmla="*/ 28 h 110" name="T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b="b" l="0" r="r" t="0"/>
              <a:pathLst>
                <a:path h="110" w="120">
                  <a:moveTo>
                    <a:pt x="102" y="28"/>
                  </a:moveTo>
                  <a:lnTo>
                    <a:pt x="102" y="32"/>
                  </a:lnTo>
                  <a:lnTo>
                    <a:pt x="102" y="34"/>
                  </a:lnTo>
                  <a:lnTo>
                    <a:pt x="104" y="34"/>
                  </a:lnTo>
                  <a:lnTo>
                    <a:pt x="106" y="34"/>
                  </a:lnTo>
                  <a:lnTo>
                    <a:pt x="112" y="36"/>
                  </a:lnTo>
                  <a:lnTo>
                    <a:pt x="116" y="38"/>
                  </a:lnTo>
                  <a:lnTo>
                    <a:pt x="120" y="42"/>
                  </a:lnTo>
                  <a:lnTo>
                    <a:pt x="118" y="44"/>
                  </a:lnTo>
                  <a:lnTo>
                    <a:pt x="116" y="46"/>
                  </a:lnTo>
                  <a:lnTo>
                    <a:pt x="114" y="48"/>
                  </a:lnTo>
                  <a:lnTo>
                    <a:pt x="114" y="48"/>
                  </a:lnTo>
                  <a:lnTo>
                    <a:pt x="108" y="48"/>
                  </a:lnTo>
                  <a:lnTo>
                    <a:pt x="106" y="50"/>
                  </a:lnTo>
                  <a:lnTo>
                    <a:pt x="102" y="52"/>
                  </a:lnTo>
                  <a:lnTo>
                    <a:pt x="102" y="54"/>
                  </a:lnTo>
                  <a:lnTo>
                    <a:pt x="100" y="56"/>
                  </a:lnTo>
                  <a:lnTo>
                    <a:pt x="100" y="56"/>
                  </a:lnTo>
                  <a:lnTo>
                    <a:pt x="98" y="70"/>
                  </a:lnTo>
                  <a:lnTo>
                    <a:pt x="94" y="70"/>
                  </a:lnTo>
                  <a:lnTo>
                    <a:pt x="90" y="74"/>
                  </a:lnTo>
                  <a:lnTo>
                    <a:pt x="88" y="76"/>
                  </a:lnTo>
                  <a:lnTo>
                    <a:pt x="86" y="78"/>
                  </a:lnTo>
                  <a:lnTo>
                    <a:pt x="86" y="80"/>
                  </a:lnTo>
                  <a:lnTo>
                    <a:pt x="84" y="82"/>
                  </a:lnTo>
                  <a:lnTo>
                    <a:pt x="84" y="84"/>
                  </a:lnTo>
                  <a:lnTo>
                    <a:pt x="82" y="90"/>
                  </a:lnTo>
                  <a:lnTo>
                    <a:pt x="82" y="94"/>
                  </a:lnTo>
                  <a:lnTo>
                    <a:pt x="80" y="98"/>
                  </a:lnTo>
                  <a:lnTo>
                    <a:pt x="78" y="102"/>
                  </a:lnTo>
                  <a:lnTo>
                    <a:pt x="76" y="104"/>
                  </a:lnTo>
                  <a:lnTo>
                    <a:pt x="74" y="106"/>
                  </a:lnTo>
                  <a:lnTo>
                    <a:pt x="70" y="108"/>
                  </a:lnTo>
                  <a:lnTo>
                    <a:pt x="66" y="108"/>
                  </a:lnTo>
                  <a:lnTo>
                    <a:pt x="64" y="110"/>
                  </a:lnTo>
                  <a:lnTo>
                    <a:pt x="60" y="100"/>
                  </a:lnTo>
                  <a:lnTo>
                    <a:pt x="50" y="100"/>
                  </a:lnTo>
                  <a:lnTo>
                    <a:pt x="50" y="98"/>
                  </a:lnTo>
                  <a:lnTo>
                    <a:pt x="50" y="96"/>
                  </a:lnTo>
                  <a:lnTo>
                    <a:pt x="46" y="96"/>
                  </a:lnTo>
                  <a:lnTo>
                    <a:pt x="42" y="96"/>
                  </a:lnTo>
                  <a:lnTo>
                    <a:pt x="40" y="96"/>
                  </a:lnTo>
                  <a:lnTo>
                    <a:pt x="38" y="96"/>
                  </a:lnTo>
                  <a:lnTo>
                    <a:pt x="34" y="96"/>
                  </a:lnTo>
                  <a:lnTo>
                    <a:pt x="30" y="96"/>
                  </a:lnTo>
                  <a:lnTo>
                    <a:pt x="26" y="94"/>
                  </a:lnTo>
                  <a:lnTo>
                    <a:pt x="24" y="92"/>
                  </a:lnTo>
                  <a:lnTo>
                    <a:pt x="22" y="90"/>
                  </a:lnTo>
                  <a:lnTo>
                    <a:pt x="20" y="88"/>
                  </a:lnTo>
                  <a:lnTo>
                    <a:pt x="16" y="86"/>
                  </a:lnTo>
                  <a:lnTo>
                    <a:pt x="12" y="84"/>
                  </a:lnTo>
                  <a:lnTo>
                    <a:pt x="6" y="82"/>
                  </a:lnTo>
                  <a:lnTo>
                    <a:pt x="2" y="80"/>
                  </a:lnTo>
                  <a:lnTo>
                    <a:pt x="0" y="78"/>
                  </a:lnTo>
                  <a:lnTo>
                    <a:pt x="0" y="76"/>
                  </a:lnTo>
                  <a:lnTo>
                    <a:pt x="0" y="74"/>
                  </a:lnTo>
                  <a:lnTo>
                    <a:pt x="2" y="74"/>
                  </a:lnTo>
                  <a:lnTo>
                    <a:pt x="4" y="72"/>
                  </a:lnTo>
                  <a:lnTo>
                    <a:pt x="4" y="72"/>
                  </a:lnTo>
                  <a:lnTo>
                    <a:pt x="2" y="60"/>
                  </a:lnTo>
                  <a:lnTo>
                    <a:pt x="2" y="56"/>
                  </a:lnTo>
                  <a:lnTo>
                    <a:pt x="2" y="52"/>
                  </a:lnTo>
                  <a:lnTo>
                    <a:pt x="4" y="48"/>
                  </a:lnTo>
                  <a:lnTo>
                    <a:pt x="6" y="44"/>
                  </a:lnTo>
                  <a:lnTo>
                    <a:pt x="8" y="42"/>
                  </a:lnTo>
                  <a:lnTo>
                    <a:pt x="8" y="42"/>
                  </a:lnTo>
                  <a:lnTo>
                    <a:pt x="28" y="42"/>
                  </a:lnTo>
                  <a:lnTo>
                    <a:pt x="20" y="46"/>
                  </a:lnTo>
                  <a:lnTo>
                    <a:pt x="20" y="46"/>
                  </a:lnTo>
                  <a:lnTo>
                    <a:pt x="22" y="48"/>
                  </a:lnTo>
                  <a:lnTo>
                    <a:pt x="26" y="50"/>
                  </a:lnTo>
                  <a:lnTo>
                    <a:pt x="28" y="52"/>
                  </a:lnTo>
                  <a:lnTo>
                    <a:pt x="32" y="54"/>
                  </a:lnTo>
                  <a:lnTo>
                    <a:pt x="36" y="52"/>
                  </a:lnTo>
                  <a:lnTo>
                    <a:pt x="40" y="50"/>
                  </a:lnTo>
                  <a:lnTo>
                    <a:pt x="44" y="44"/>
                  </a:lnTo>
                  <a:lnTo>
                    <a:pt x="44" y="44"/>
                  </a:lnTo>
                  <a:lnTo>
                    <a:pt x="48" y="42"/>
                  </a:lnTo>
                  <a:lnTo>
                    <a:pt x="50" y="38"/>
                  </a:lnTo>
                  <a:lnTo>
                    <a:pt x="56" y="38"/>
                  </a:lnTo>
                  <a:lnTo>
                    <a:pt x="58" y="36"/>
                  </a:lnTo>
                  <a:lnTo>
                    <a:pt x="62" y="34"/>
                  </a:lnTo>
                  <a:lnTo>
                    <a:pt x="66" y="32"/>
                  </a:lnTo>
                  <a:lnTo>
                    <a:pt x="70" y="30"/>
                  </a:lnTo>
                  <a:lnTo>
                    <a:pt x="72" y="28"/>
                  </a:lnTo>
                  <a:lnTo>
                    <a:pt x="74" y="28"/>
                  </a:lnTo>
                  <a:lnTo>
                    <a:pt x="82" y="14"/>
                  </a:lnTo>
                  <a:lnTo>
                    <a:pt x="90" y="4"/>
                  </a:lnTo>
                  <a:lnTo>
                    <a:pt x="90" y="4"/>
                  </a:lnTo>
                  <a:lnTo>
                    <a:pt x="94" y="4"/>
                  </a:lnTo>
                  <a:lnTo>
                    <a:pt x="100" y="4"/>
                  </a:lnTo>
                  <a:lnTo>
                    <a:pt x="106" y="4"/>
                  </a:lnTo>
                  <a:lnTo>
                    <a:pt x="112" y="4"/>
                  </a:lnTo>
                  <a:lnTo>
                    <a:pt x="116" y="2"/>
                  </a:lnTo>
                  <a:lnTo>
                    <a:pt x="120" y="0"/>
                  </a:lnTo>
                  <a:lnTo>
                    <a:pt x="120" y="2"/>
                  </a:lnTo>
                  <a:lnTo>
                    <a:pt x="118" y="4"/>
                  </a:lnTo>
                  <a:lnTo>
                    <a:pt x="116" y="6"/>
                  </a:lnTo>
                  <a:lnTo>
                    <a:pt x="112" y="8"/>
                  </a:lnTo>
                  <a:lnTo>
                    <a:pt x="108" y="12"/>
                  </a:lnTo>
                  <a:lnTo>
                    <a:pt x="102" y="14"/>
                  </a:lnTo>
                  <a:lnTo>
                    <a:pt x="102" y="2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4" name="Freeform 501"/>
            <p:cNvSpPr/>
            <p:nvPr/>
          </p:nvSpPr>
          <p:spPr bwMode="gray">
            <a:xfrm>
              <a:off x="4086210" y="4761484"/>
              <a:ext cx="236979" cy="199816"/>
            </a:xfrm>
            <a:custGeom>
              <a:gdLst>
                <a:gd fmla="*/ 78 w 128" name="T0"/>
                <a:gd fmla="*/ 40 h 108" name="T1"/>
                <a:gd fmla="*/ 78 w 128" name="T2"/>
                <a:gd fmla="*/ 38 h 108" name="T3"/>
                <a:gd fmla="*/ 76 w 128" name="T4"/>
                <a:gd fmla="*/ 36 h 108" name="T5"/>
                <a:gd fmla="*/ 72 w 128" name="T6"/>
                <a:gd fmla="*/ 36 h 108" name="T7"/>
                <a:gd fmla="*/ 70 w 128" name="T8"/>
                <a:gd fmla="*/ 34 h 108" name="T9"/>
                <a:gd fmla="*/ 68 w 128" name="T10"/>
                <a:gd fmla="*/ 32 h 108" name="T11"/>
                <a:gd fmla="*/ 62 w 128" name="T12"/>
                <a:gd fmla="*/ 28 h 108" name="T13"/>
                <a:gd fmla="*/ 58 w 128" name="T14"/>
                <a:gd fmla="*/ 24 h 108" name="T15"/>
                <a:gd fmla="*/ 52 w 128" name="T16"/>
                <a:gd fmla="*/ 20 h 108" name="T17"/>
                <a:gd fmla="*/ 46 w 128" name="T18"/>
                <a:gd fmla="*/ 16 h 108" name="T19"/>
                <a:gd fmla="*/ 42 w 128" name="T20"/>
                <a:gd fmla="*/ 12 h 108" name="T21"/>
                <a:gd fmla="*/ 40 w 128" name="T22"/>
                <a:gd fmla="*/ 10 h 108" name="T23"/>
                <a:gd fmla="*/ 38 w 128" name="T24"/>
                <a:gd fmla="*/ 10 h 108" name="T25"/>
                <a:gd fmla="*/ 34 w 128" name="T26"/>
                <a:gd fmla="*/ 10 h 108" name="T27"/>
                <a:gd fmla="*/ 26 w 128" name="T28"/>
                <a:gd fmla="*/ 8 h 108" name="T29"/>
                <a:gd fmla="*/ 14 w 128" name="T30"/>
                <a:gd fmla="*/ 4 h 108" name="T31"/>
                <a:gd fmla="*/ 4 w 128" name="T32"/>
                <a:gd fmla="*/ 0 h 108" name="T33"/>
                <a:gd fmla="*/ 0 w 128" name="T34"/>
                <a:gd fmla="*/ 80 h 108" name="T35"/>
                <a:gd fmla="*/ 12 w 128" name="T36"/>
                <a:gd fmla="*/ 86 h 108" name="T37"/>
                <a:gd fmla="*/ 28 w 128" name="T38"/>
                <a:gd fmla="*/ 80 h 108" name="T39"/>
                <a:gd fmla="*/ 28 w 128" name="T40"/>
                <a:gd fmla="*/ 78 h 108" name="T41"/>
                <a:gd fmla="*/ 28 w 128" name="T42"/>
                <a:gd fmla="*/ 76 h 108" name="T43"/>
                <a:gd fmla="*/ 30 w 128" name="T44"/>
                <a:gd fmla="*/ 74 h 108" name="T45"/>
                <a:gd fmla="*/ 34 w 128" name="T46"/>
                <a:gd fmla="*/ 72 h 108" name="T47"/>
                <a:gd fmla="*/ 38 w 128" name="T48"/>
                <a:gd fmla="*/ 68 h 108" name="T49"/>
                <a:gd fmla="*/ 42 w 128" name="T50"/>
                <a:gd fmla="*/ 68 h 108" name="T51"/>
                <a:gd fmla="*/ 46 w 128" name="T52"/>
                <a:gd fmla="*/ 66 h 108" name="T53"/>
                <a:gd fmla="*/ 52 w 128" name="T54"/>
                <a:gd fmla="*/ 68 h 108" name="T55"/>
                <a:gd fmla="*/ 76 w 128" name="T56"/>
                <a:gd fmla="*/ 82 h 108" name="T57"/>
                <a:gd fmla="*/ 86 w 128" name="T58"/>
                <a:gd fmla="*/ 94 h 108" name="T59"/>
                <a:gd fmla="*/ 104 w 128" name="T60"/>
                <a:gd fmla="*/ 102 h 108" name="T61"/>
                <a:gd fmla="*/ 126 w 128" name="T62"/>
                <a:gd fmla="*/ 108 h 108" name="T63"/>
                <a:gd fmla="*/ 128 w 128" name="T64"/>
                <a:gd fmla="*/ 108 h 108" name="T65"/>
                <a:gd fmla="*/ 128 w 128" name="T66"/>
                <a:gd fmla="*/ 106 h 108" name="T67"/>
                <a:gd fmla="*/ 128 w 128" name="T68"/>
                <a:gd fmla="*/ 104 h 108" name="T69"/>
                <a:gd fmla="*/ 128 w 128" name="T70"/>
                <a:gd fmla="*/ 100 h 108" name="T71"/>
                <a:gd fmla="*/ 126 w 128" name="T72"/>
                <a:gd fmla="*/ 98 h 108" name="T73"/>
                <a:gd fmla="*/ 124 w 128" name="T74"/>
                <a:gd fmla="*/ 94 h 108" name="T75"/>
                <a:gd fmla="*/ 120 w 128" name="T76"/>
                <a:gd fmla="*/ 92 h 108" name="T77"/>
                <a:gd fmla="*/ 116 w 128" name="T78"/>
                <a:gd fmla="*/ 88 h 108" name="T79"/>
                <a:gd fmla="*/ 110 w 128" name="T80"/>
                <a:gd fmla="*/ 84 h 108" name="T81"/>
                <a:gd fmla="*/ 106 w 128" name="T82"/>
                <a:gd fmla="*/ 80 h 108" name="T83"/>
                <a:gd fmla="*/ 102 w 128" name="T84"/>
                <a:gd fmla="*/ 76 h 108" name="T85"/>
                <a:gd fmla="*/ 98 w 128" name="T86"/>
                <a:gd fmla="*/ 72 h 108" name="T87"/>
                <a:gd fmla="*/ 96 w 128" name="T88"/>
                <a:gd fmla="*/ 70 h 108" name="T89"/>
                <a:gd fmla="*/ 96 w 128" name="T90"/>
                <a:gd fmla="*/ 70 h 108" name="T91"/>
                <a:gd fmla="*/ 80 w 128" name="T92"/>
                <a:gd fmla="*/ 60 h 108" name="T93"/>
                <a:gd fmla="*/ 96 w 128" name="T94"/>
                <a:gd fmla="*/ 54 h 108" name="T95"/>
                <a:gd fmla="*/ 92 w 128" name="T96"/>
                <a:gd fmla="*/ 46 h 108" name="T97"/>
                <a:gd fmla="*/ 90 w 128" name="T98"/>
                <a:gd fmla="*/ 46 h 108" name="T99"/>
                <a:gd fmla="*/ 88 w 128" name="T100"/>
                <a:gd fmla="*/ 44 h 108" name="T101"/>
                <a:gd fmla="*/ 84 w 128" name="T102"/>
                <a:gd fmla="*/ 44 h 108" name="T103"/>
                <a:gd fmla="*/ 80 w 128" name="T104"/>
                <a:gd fmla="*/ 42 h 108" name="T105"/>
                <a:gd fmla="*/ 78 w 128" name="T106"/>
                <a:gd fmla="*/ 42 h 108" name="T107"/>
                <a:gd fmla="*/ 78 w 128" name="T108"/>
                <a:gd fmla="*/ 40 h 108"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108" w="128">
                  <a:moveTo>
                    <a:pt x="78" y="40"/>
                  </a:moveTo>
                  <a:lnTo>
                    <a:pt x="78" y="38"/>
                  </a:lnTo>
                  <a:lnTo>
                    <a:pt x="76" y="36"/>
                  </a:lnTo>
                  <a:lnTo>
                    <a:pt x="72" y="36"/>
                  </a:lnTo>
                  <a:lnTo>
                    <a:pt x="70" y="34"/>
                  </a:lnTo>
                  <a:lnTo>
                    <a:pt x="68" y="32"/>
                  </a:lnTo>
                  <a:lnTo>
                    <a:pt x="62" y="28"/>
                  </a:lnTo>
                  <a:lnTo>
                    <a:pt x="58" y="24"/>
                  </a:lnTo>
                  <a:lnTo>
                    <a:pt x="52" y="20"/>
                  </a:lnTo>
                  <a:lnTo>
                    <a:pt x="46" y="16"/>
                  </a:lnTo>
                  <a:lnTo>
                    <a:pt x="42" y="12"/>
                  </a:lnTo>
                  <a:lnTo>
                    <a:pt x="40" y="10"/>
                  </a:lnTo>
                  <a:lnTo>
                    <a:pt x="38" y="10"/>
                  </a:lnTo>
                  <a:lnTo>
                    <a:pt x="34" y="10"/>
                  </a:lnTo>
                  <a:lnTo>
                    <a:pt x="26" y="8"/>
                  </a:lnTo>
                  <a:lnTo>
                    <a:pt x="14" y="4"/>
                  </a:lnTo>
                  <a:lnTo>
                    <a:pt x="4" y="0"/>
                  </a:lnTo>
                  <a:lnTo>
                    <a:pt x="0" y="80"/>
                  </a:lnTo>
                  <a:lnTo>
                    <a:pt x="12" y="86"/>
                  </a:lnTo>
                  <a:lnTo>
                    <a:pt x="28" y="80"/>
                  </a:lnTo>
                  <a:lnTo>
                    <a:pt x="28" y="78"/>
                  </a:lnTo>
                  <a:lnTo>
                    <a:pt x="28" y="76"/>
                  </a:lnTo>
                  <a:lnTo>
                    <a:pt x="30" y="74"/>
                  </a:lnTo>
                  <a:lnTo>
                    <a:pt x="34" y="72"/>
                  </a:lnTo>
                  <a:lnTo>
                    <a:pt x="38" y="68"/>
                  </a:lnTo>
                  <a:lnTo>
                    <a:pt x="42" y="68"/>
                  </a:lnTo>
                  <a:lnTo>
                    <a:pt x="46" y="66"/>
                  </a:lnTo>
                  <a:lnTo>
                    <a:pt x="52" y="68"/>
                  </a:lnTo>
                  <a:lnTo>
                    <a:pt x="76" y="82"/>
                  </a:lnTo>
                  <a:lnTo>
                    <a:pt x="86" y="94"/>
                  </a:lnTo>
                  <a:lnTo>
                    <a:pt x="104" y="102"/>
                  </a:lnTo>
                  <a:lnTo>
                    <a:pt x="126" y="108"/>
                  </a:lnTo>
                  <a:lnTo>
                    <a:pt x="128" y="108"/>
                  </a:lnTo>
                  <a:lnTo>
                    <a:pt x="128" y="106"/>
                  </a:lnTo>
                  <a:lnTo>
                    <a:pt x="128" y="104"/>
                  </a:lnTo>
                  <a:lnTo>
                    <a:pt x="128" y="100"/>
                  </a:lnTo>
                  <a:lnTo>
                    <a:pt x="126" y="98"/>
                  </a:lnTo>
                  <a:lnTo>
                    <a:pt x="124" y="94"/>
                  </a:lnTo>
                  <a:lnTo>
                    <a:pt x="120" y="92"/>
                  </a:lnTo>
                  <a:lnTo>
                    <a:pt x="116" y="88"/>
                  </a:lnTo>
                  <a:lnTo>
                    <a:pt x="110" y="84"/>
                  </a:lnTo>
                  <a:lnTo>
                    <a:pt x="106" y="80"/>
                  </a:lnTo>
                  <a:lnTo>
                    <a:pt x="102" y="76"/>
                  </a:lnTo>
                  <a:lnTo>
                    <a:pt x="98" y="72"/>
                  </a:lnTo>
                  <a:lnTo>
                    <a:pt x="96" y="70"/>
                  </a:lnTo>
                  <a:lnTo>
                    <a:pt x="96" y="70"/>
                  </a:lnTo>
                  <a:lnTo>
                    <a:pt x="80" y="60"/>
                  </a:lnTo>
                  <a:lnTo>
                    <a:pt x="96" y="54"/>
                  </a:lnTo>
                  <a:lnTo>
                    <a:pt x="92" y="46"/>
                  </a:lnTo>
                  <a:lnTo>
                    <a:pt x="90" y="46"/>
                  </a:lnTo>
                  <a:lnTo>
                    <a:pt x="88" y="44"/>
                  </a:lnTo>
                  <a:lnTo>
                    <a:pt x="84" y="44"/>
                  </a:lnTo>
                  <a:lnTo>
                    <a:pt x="80" y="42"/>
                  </a:lnTo>
                  <a:lnTo>
                    <a:pt x="78" y="42"/>
                  </a:lnTo>
                  <a:lnTo>
                    <a:pt x="78" y="4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5" name="Freeform 502"/>
            <p:cNvSpPr/>
            <p:nvPr/>
          </p:nvSpPr>
          <p:spPr bwMode="gray">
            <a:xfrm>
              <a:off x="3864043" y="4709680"/>
              <a:ext cx="225870" cy="199816"/>
            </a:xfrm>
            <a:custGeom>
              <a:gdLst>
                <a:gd fmla="*/ 122 w 122" name="T0"/>
                <a:gd fmla="*/ 28 h 108" name="T1"/>
                <a:gd fmla="*/ 114 w 122" name="T2"/>
                <a:gd fmla="*/ 24 h 108" name="T3"/>
                <a:gd fmla="*/ 102 w 122" name="T4"/>
                <a:gd fmla="*/ 18 h 108" name="T5"/>
                <a:gd fmla="*/ 92 w 122" name="T6"/>
                <a:gd fmla="*/ 14 h 108" name="T7"/>
                <a:gd fmla="*/ 80 w 122" name="T8"/>
                <a:gd fmla="*/ 14 h 108" name="T9"/>
                <a:gd fmla="*/ 72 w 122" name="T10"/>
                <a:gd fmla="*/ 20 h 108" name="T11"/>
                <a:gd fmla="*/ 72 w 122" name="T12"/>
                <a:gd fmla="*/ 20 h 108" name="T13"/>
                <a:gd fmla="*/ 72 w 122" name="T14"/>
                <a:gd fmla="*/ 24 h 108" name="T15"/>
                <a:gd fmla="*/ 72 w 122" name="T16"/>
                <a:gd fmla="*/ 28 h 108" name="T17"/>
                <a:gd fmla="*/ 70 w 122" name="T18"/>
                <a:gd fmla="*/ 32 h 108" name="T19"/>
                <a:gd fmla="*/ 70 w 122" name="T20"/>
                <a:gd fmla="*/ 36 h 108" name="T21"/>
                <a:gd fmla="*/ 66 w 122" name="T22"/>
                <a:gd fmla="*/ 40 h 108" name="T23"/>
                <a:gd fmla="*/ 64 w 122" name="T24"/>
                <a:gd fmla="*/ 42 h 108" name="T25"/>
                <a:gd fmla="*/ 58 w 122" name="T26"/>
                <a:gd fmla="*/ 42 h 108" name="T27"/>
                <a:gd fmla="*/ 52 w 122" name="T28"/>
                <a:gd fmla="*/ 42 h 108" name="T29"/>
                <a:gd fmla="*/ 48 w 122" name="T30"/>
                <a:gd fmla="*/ 40 h 108" name="T31"/>
                <a:gd fmla="*/ 42 w 122" name="T32"/>
                <a:gd fmla="*/ 38 h 108" name="T33"/>
                <a:gd fmla="*/ 40 w 122" name="T34"/>
                <a:gd fmla="*/ 32 h 108" name="T35"/>
                <a:gd fmla="*/ 38 w 122" name="T36"/>
                <a:gd fmla="*/ 28 h 108" name="T37"/>
                <a:gd fmla="*/ 34 w 122" name="T38"/>
                <a:gd fmla="*/ 22 h 108" name="T39"/>
                <a:gd fmla="*/ 34 w 122" name="T40"/>
                <a:gd fmla="*/ 18 h 108" name="T41"/>
                <a:gd fmla="*/ 32 w 122" name="T42"/>
                <a:gd fmla="*/ 14 h 108" name="T43"/>
                <a:gd fmla="*/ 32 w 122" name="T44"/>
                <a:gd fmla="*/ 12 h 108" name="T45"/>
                <a:gd fmla="*/ 30 w 122" name="T46"/>
                <a:gd fmla="*/ 12 h 108" name="T47"/>
                <a:gd fmla="*/ 28 w 122" name="T48"/>
                <a:gd fmla="*/ 10 h 108" name="T49"/>
                <a:gd fmla="*/ 26 w 122" name="T50"/>
                <a:gd fmla="*/ 6 h 108" name="T51"/>
                <a:gd fmla="*/ 22 w 122" name="T52"/>
                <a:gd fmla="*/ 4 h 108" name="T53"/>
                <a:gd fmla="*/ 18 w 122" name="T54"/>
                <a:gd fmla="*/ 2 h 108" name="T55"/>
                <a:gd fmla="*/ 12 w 122" name="T56"/>
                <a:gd fmla="*/ 0 h 108" name="T57"/>
                <a:gd fmla="*/ 8 w 122" name="T58"/>
                <a:gd fmla="*/ 2 h 108" name="T59"/>
                <a:gd fmla="*/ 2 w 122" name="T60"/>
                <a:gd fmla="*/ 4 h 108" name="T61"/>
                <a:gd fmla="*/ 2 w 122" name="T62"/>
                <a:gd fmla="*/ 6 h 108" name="T63"/>
                <a:gd fmla="*/ 0 w 122" name="T64"/>
                <a:gd fmla="*/ 8 h 108" name="T65"/>
                <a:gd fmla="*/ 0 w 122" name="T66"/>
                <a:gd fmla="*/ 10 h 108" name="T67"/>
                <a:gd fmla="*/ 2 w 122" name="T68"/>
                <a:gd fmla="*/ 14 h 108" name="T69"/>
                <a:gd fmla="*/ 6 w 122" name="T70"/>
                <a:gd fmla="*/ 18 h 108" name="T71"/>
                <a:gd fmla="*/ 10 w 122" name="T72"/>
                <a:gd fmla="*/ 26 h 108" name="T73"/>
                <a:gd fmla="*/ 12 w 122" name="T74"/>
                <a:gd fmla="*/ 32 h 108" name="T75"/>
                <a:gd fmla="*/ 14 w 122" name="T76"/>
                <a:gd fmla="*/ 38 h 108" name="T77"/>
                <a:gd fmla="*/ 14 w 122" name="T78"/>
                <a:gd fmla="*/ 42 h 108" name="T79"/>
                <a:gd fmla="*/ 16 w 122" name="T80"/>
                <a:gd fmla="*/ 46 h 108" name="T81"/>
                <a:gd fmla="*/ 18 w 122" name="T82"/>
                <a:gd fmla="*/ 48 h 108" name="T83"/>
                <a:gd fmla="*/ 20 w 122" name="T84"/>
                <a:gd fmla="*/ 50 h 108" name="T85"/>
                <a:gd fmla="*/ 24 w 122" name="T86"/>
                <a:gd fmla="*/ 50 h 108" name="T87"/>
                <a:gd fmla="*/ 28 w 122" name="T88"/>
                <a:gd fmla="*/ 48 h 108" name="T89"/>
                <a:gd fmla="*/ 34 w 122" name="T90"/>
                <a:gd fmla="*/ 48 h 108" name="T91"/>
                <a:gd fmla="*/ 38 w 122" name="T92"/>
                <a:gd fmla="*/ 50 h 108" name="T93"/>
                <a:gd fmla="*/ 42 w 122" name="T94"/>
                <a:gd fmla="*/ 52 h 108" name="T95"/>
                <a:gd fmla="*/ 46 w 122" name="T96"/>
                <a:gd fmla="*/ 54 h 108" name="T97"/>
                <a:gd fmla="*/ 50 w 122" name="T98"/>
                <a:gd fmla="*/ 54 h 108" name="T99"/>
                <a:gd fmla="*/ 56 w 122" name="T100"/>
                <a:gd fmla="*/ 56 h 108" name="T101"/>
                <a:gd fmla="*/ 62 w 122" name="T102"/>
                <a:gd fmla="*/ 56 h 108" name="T103"/>
                <a:gd fmla="*/ 68 w 122" name="T104"/>
                <a:gd fmla="*/ 58 h 108" name="T105"/>
                <a:gd fmla="*/ 70 w 122" name="T106"/>
                <a:gd fmla="*/ 58 h 108" name="T107"/>
                <a:gd fmla="*/ 72 w 122" name="T108"/>
                <a:gd fmla="*/ 58 h 108" name="T109"/>
                <a:gd fmla="*/ 88 w 122" name="T110"/>
                <a:gd fmla="*/ 72 h 108" name="T111"/>
                <a:gd fmla="*/ 98 w 122" name="T112"/>
                <a:gd fmla="*/ 90 h 108" name="T113"/>
                <a:gd fmla="*/ 114 w 122" name="T114"/>
                <a:gd fmla="*/ 104 h 108" name="T115"/>
                <a:gd fmla="*/ 118 w 122" name="T116"/>
                <a:gd fmla="*/ 108 h 108" name="T117"/>
                <a:gd fmla="*/ 122 w 122" name="T118"/>
                <a:gd fmla="*/ 28 h 108" name="T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b="b" l="0" r="r" t="0"/>
              <a:pathLst>
                <a:path h="108" w="122">
                  <a:moveTo>
                    <a:pt x="122" y="28"/>
                  </a:moveTo>
                  <a:lnTo>
                    <a:pt x="114" y="24"/>
                  </a:lnTo>
                  <a:lnTo>
                    <a:pt x="102" y="18"/>
                  </a:lnTo>
                  <a:lnTo>
                    <a:pt x="92" y="14"/>
                  </a:lnTo>
                  <a:lnTo>
                    <a:pt x="80" y="14"/>
                  </a:lnTo>
                  <a:lnTo>
                    <a:pt x="72" y="20"/>
                  </a:lnTo>
                  <a:lnTo>
                    <a:pt x="72" y="20"/>
                  </a:lnTo>
                  <a:lnTo>
                    <a:pt x="72" y="24"/>
                  </a:lnTo>
                  <a:lnTo>
                    <a:pt x="72" y="28"/>
                  </a:lnTo>
                  <a:lnTo>
                    <a:pt x="70" y="32"/>
                  </a:lnTo>
                  <a:lnTo>
                    <a:pt x="70" y="36"/>
                  </a:lnTo>
                  <a:lnTo>
                    <a:pt x="66" y="40"/>
                  </a:lnTo>
                  <a:lnTo>
                    <a:pt x="64" y="42"/>
                  </a:lnTo>
                  <a:lnTo>
                    <a:pt x="58" y="42"/>
                  </a:lnTo>
                  <a:lnTo>
                    <a:pt x="52" y="42"/>
                  </a:lnTo>
                  <a:lnTo>
                    <a:pt x="48" y="40"/>
                  </a:lnTo>
                  <a:lnTo>
                    <a:pt x="42" y="38"/>
                  </a:lnTo>
                  <a:lnTo>
                    <a:pt x="40" y="32"/>
                  </a:lnTo>
                  <a:lnTo>
                    <a:pt x="38" y="28"/>
                  </a:lnTo>
                  <a:lnTo>
                    <a:pt x="34" y="22"/>
                  </a:lnTo>
                  <a:lnTo>
                    <a:pt x="34" y="18"/>
                  </a:lnTo>
                  <a:lnTo>
                    <a:pt x="32" y="14"/>
                  </a:lnTo>
                  <a:lnTo>
                    <a:pt x="32" y="12"/>
                  </a:lnTo>
                  <a:lnTo>
                    <a:pt x="30" y="12"/>
                  </a:lnTo>
                  <a:lnTo>
                    <a:pt x="28" y="10"/>
                  </a:lnTo>
                  <a:lnTo>
                    <a:pt x="26" y="6"/>
                  </a:lnTo>
                  <a:lnTo>
                    <a:pt x="22" y="4"/>
                  </a:lnTo>
                  <a:lnTo>
                    <a:pt x="18" y="2"/>
                  </a:lnTo>
                  <a:lnTo>
                    <a:pt x="12" y="0"/>
                  </a:lnTo>
                  <a:lnTo>
                    <a:pt x="8" y="2"/>
                  </a:lnTo>
                  <a:lnTo>
                    <a:pt x="2" y="4"/>
                  </a:lnTo>
                  <a:lnTo>
                    <a:pt x="2" y="6"/>
                  </a:lnTo>
                  <a:lnTo>
                    <a:pt x="0" y="8"/>
                  </a:lnTo>
                  <a:lnTo>
                    <a:pt x="0" y="10"/>
                  </a:lnTo>
                  <a:lnTo>
                    <a:pt x="2" y="14"/>
                  </a:lnTo>
                  <a:lnTo>
                    <a:pt x="6" y="18"/>
                  </a:lnTo>
                  <a:lnTo>
                    <a:pt x="10" y="26"/>
                  </a:lnTo>
                  <a:lnTo>
                    <a:pt x="12" y="32"/>
                  </a:lnTo>
                  <a:lnTo>
                    <a:pt x="14" y="38"/>
                  </a:lnTo>
                  <a:lnTo>
                    <a:pt x="14" y="42"/>
                  </a:lnTo>
                  <a:lnTo>
                    <a:pt x="16" y="46"/>
                  </a:lnTo>
                  <a:lnTo>
                    <a:pt x="18" y="48"/>
                  </a:lnTo>
                  <a:lnTo>
                    <a:pt x="20" y="50"/>
                  </a:lnTo>
                  <a:lnTo>
                    <a:pt x="24" y="50"/>
                  </a:lnTo>
                  <a:lnTo>
                    <a:pt x="28" y="48"/>
                  </a:lnTo>
                  <a:lnTo>
                    <a:pt x="34" y="48"/>
                  </a:lnTo>
                  <a:lnTo>
                    <a:pt x="38" y="50"/>
                  </a:lnTo>
                  <a:lnTo>
                    <a:pt x="42" y="52"/>
                  </a:lnTo>
                  <a:lnTo>
                    <a:pt x="46" y="54"/>
                  </a:lnTo>
                  <a:lnTo>
                    <a:pt x="50" y="54"/>
                  </a:lnTo>
                  <a:lnTo>
                    <a:pt x="56" y="56"/>
                  </a:lnTo>
                  <a:lnTo>
                    <a:pt x="62" y="56"/>
                  </a:lnTo>
                  <a:lnTo>
                    <a:pt x="68" y="58"/>
                  </a:lnTo>
                  <a:lnTo>
                    <a:pt x="70" y="58"/>
                  </a:lnTo>
                  <a:lnTo>
                    <a:pt x="72" y="58"/>
                  </a:lnTo>
                  <a:lnTo>
                    <a:pt x="88" y="72"/>
                  </a:lnTo>
                  <a:lnTo>
                    <a:pt x="98" y="90"/>
                  </a:lnTo>
                  <a:lnTo>
                    <a:pt x="114" y="104"/>
                  </a:lnTo>
                  <a:lnTo>
                    <a:pt x="118" y="108"/>
                  </a:lnTo>
                  <a:lnTo>
                    <a:pt x="122" y="2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6" name="Freeform 503"/>
            <p:cNvSpPr/>
            <p:nvPr/>
          </p:nvSpPr>
          <p:spPr bwMode="gray">
            <a:xfrm>
              <a:off x="3441924" y="5039006"/>
              <a:ext cx="940509" cy="754861"/>
            </a:xfrm>
            <a:custGeom>
              <a:gdLst>
                <a:gd fmla="*/ 98 w 508" name="T0"/>
                <a:gd fmla="*/ 124 h 408" name="T1"/>
                <a:gd fmla="*/ 110 w 508" name="T2"/>
                <a:gd fmla="*/ 100 h 408" name="T3"/>
                <a:gd fmla="*/ 128 w 508" name="T4"/>
                <a:gd fmla="*/ 86 h 408" name="T5"/>
                <a:gd fmla="*/ 134 w 508" name="T6"/>
                <a:gd fmla="*/ 70 h 408" name="T7"/>
                <a:gd fmla="*/ 170 w 508" name="T8"/>
                <a:gd fmla="*/ 48 h 408" name="T9"/>
                <a:gd fmla="*/ 190 w 508" name="T10"/>
                <a:gd fmla="*/ 60 h 408" name="T11"/>
                <a:gd fmla="*/ 202 w 508" name="T12"/>
                <a:gd fmla="*/ 56 h 408" name="T13"/>
                <a:gd fmla="*/ 196 w 508" name="T14"/>
                <a:gd fmla="*/ 44 h 408" name="T15"/>
                <a:gd fmla="*/ 204 w 508" name="T16"/>
                <a:gd fmla="*/ 28 h 408" name="T17"/>
                <a:gd fmla="*/ 230 w 508" name="T18"/>
                <a:gd fmla="*/ 18 h 408" name="T19"/>
                <a:gd fmla="*/ 222 w 508" name="T20"/>
                <a:gd fmla="*/ 8 h 408" name="T21"/>
                <a:gd fmla="*/ 238 w 508" name="T22"/>
                <a:gd fmla="*/ 0 h 408" name="T23"/>
                <a:gd fmla="*/ 246 w 508" name="T24"/>
                <a:gd fmla="*/ 8 h 408" name="T25"/>
                <a:gd fmla="*/ 252 w 508" name="T26"/>
                <a:gd fmla="*/ 12 h 408" name="T27"/>
                <a:gd fmla="*/ 256 w 508" name="T28"/>
                <a:gd fmla="*/ 4 h 408" name="T29"/>
                <a:gd fmla="*/ 268 w 508" name="T30"/>
                <a:gd fmla="*/ 20 h 408" name="T31"/>
                <a:gd fmla="*/ 298 w 508" name="T32"/>
                <a:gd fmla="*/ 18 h 408" name="T33"/>
                <a:gd fmla="*/ 300 w 508" name="T34"/>
                <a:gd fmla="*/ 32 h 408" name="T35"/>
                <a:gd fmla="*/ 286 w 508" name="T36"/>
                <a:gd fmla="*/ 52 h 408" name="T37"/>
                <a:gd fmla="*/ 326 w 508" name="T38"/>
                <a:gd fmla="*/ 82 h 408" name="T39"/>
                <a:gd fmla="*/ 344 w 508" name="T40"/>
                <a:gd fmla="*/ 78 h 408" name="T41"/>
                <a:gd fmla="*/ 358 w 508" name="T42"/>
                <a:gd fmla="*/ 10 h 408" name="T43"/>
                <a:gd fmla="*/ 364 w 508" name="T44"/>
                <a:gd fmla="*/ 0 h 408" name="T45"/>
                <a:gd fmla="*/ 378 w 508" name="T46"/>
                <a:gd fmla="*/ 20 h 408" name="T47"/>
                <a:gd fmla="*/ 376 w 508" name="T48"/>
                <a:gd fmla="*/ 36 h 408" name="T49"/>
                <a:gd fmla="*/ 390 w 508" name="T50"/>
                <a:gd fmla="*/ 42 h 408" name="T51"/>
                <a:gd fmla="*/ 404 w 508" name="T52"/>
                <a:gd fmla="*/ 66 h 408" name="T53"/>
                <a:gd fmla="*/ 412 w 508" name="T54"/>
                <a:gd fmla="*/ 80 h 408" name="T55"/>
                <a:gd fmla="*/ 424 w 508" name="T56"/>
                <a:gd fmla="*/ 100 h 408" name="T57"/>
                <a:gd fmla="*/ 454 w 508" name="T58"/>
                <a:gd fmla="*/ 136 h 408" name="T59"/>
                <a:gd fmla="*/ 506 w 508" name="T60"/>
                <a:gd fmla="*/ 210 h 408" name="T61"/>
                <a:gd fmla="*/ 508 w 508" name="T62"/>
                <a:gd fmla="*/ 272 h 408" name="T63"/>
                <a:gd fmla="*/ 488 w 508" name="T64"/>
                <a:gd fmla="*/ 294 h 408" name="T65"/>
                <a:gd fmla="*/ 472 w 508" name="T66"/>
                <a:gd fmla="*/ 332 h 408" name="T67"/>
                <a:gd fmla="*/ 460 w 508" name="T68"/>
                <a:gd fmla="*/ 352 h 408" name="T69"/>
                <a:gd fmla="*/ 460 w 508" name="T70"/>
                <a:gd fmla="*/ 384 h 408" name="T71"/>
                <a:gd fmla="*/ 414 w 508" name="T72"/>
                <a:gd fmla="*/ 408 h 408" name="T73"/>
                <a:gd fmla="*/ 394 w 508" name="T74"/>
                <a:gd fmla="*/ 392 h 408" name="T75"/>
                <a:gd fmla="*/ 376 w 508" name="T76"/>
                <a:gd fmla="*/ 396 h 408" name="T77"/>
                <a:gd fmla="*/ 344 w 508" name="T78"/>
                <a:gd fmla="*/ 388 h 408" name="T79"/>
                <a:gd fmla="*/ 274 w 508" name="T80"/>
                <a:gd fmla="*/ 318 h 408" name="T81"/>
                <a:gd fmla="*/ 214 w 508" name="T82"/>
                <a:gd fmla="*/ 294 h 408" name="T83"/>
                <a:gd fmla="*/ 134 w 508" name="T84"/>
                <a:gd fmla="*/ 326 h 408" name="T85"/>
                <a:gd fmla="*/ 120 w 508" name="T86"/>
                <a:gd fmla="*/ 340 h 408" name="T87"/>
                <a:gd fmla="*/ 80 w 508" name="T88"/>
                <a:gd fmla="*/ 338 h 408" name="T89"/>
                <a:gd fmla="*/ 64 w 508" name="T90"/>
                <a:gd fmla="*/ 352 h 408" name="T91"/>
                <a:gd fmla="*/ 36 w 508" name="T92"/>
                <a:gd fmla="*/ 350 h 408" name="T93"/>
                <a:gd fmla="*/ 30 w 508" name="T94"/>
                <a:gd fmla="*/ 340 h 408" name="T95"/>
                <a:gd fmla="*/ 20 w 508" name="T96"/>
                <a:gd fmla="*/ 342 h 408" name="T97"/>
                <a:gd fmla="*/ 26 w 508" name="T98"/>
                <a:gd fmla="*/ 326 h 408" name="T99"/>
                <a:gd fmla="*/ 24 w 508" name="T100"/>
                <a:gd fmla="*/ 284 h 408" name="T101"/>
                <a:gd fmla="*/ 4 w 508" name="T102"/>
                <a:gd fmla="*/ 228 h 408" name="T103"/>
                <a:gd fmla="*/ 4 w 508" name="T104"/>
                <a:gd fmla="*/ 194 h 408" name="T105"/>
                <a:gd fmla="*/ 12 w 508" name="T106"/>
                <a:gd fmla="*/ 154 h 408" name="T107"/>
                <a:gd fmla="*/ 30 w 508" name="T108"/>
                <a:gd fmla="*/ 138 h 408"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408" w="508">
                  <a:moveTo>
                    <a:pt x="30" y="138"/>
                  </a:moveTo>
                  <a:lnTo>
                    <a:pt x="60" y="136"/>
                  </a:lnTo>
                  <a:lnTo>
                    <a:pt x="92" y="130"/>
                  </a:lnTo>
                  <a:lnTo>
                    <a:pt x="92" y="130"/>
                  </a:lnTo>
                  <a:lnTo>
                    <a:pt x="94" y="128"/>
                  </a:lnTo>
                  <a:lnTo>
                    <a:pt x="98" y="124"/>
                  </a:lnTo>
                  <a:lnTo>
                    <a:pt x="100" y="120"/>
                  </a:lnTo>
                  <a:lnTo>
                    <a:pt x="104" y="116"/>
                  </a:lnTo>
                  <a:lnTo>
                    <a:pt x="106" y="112"/>
                  </a:lnTo>
                  <a:lnTo>
                    <a:pt x="108" y="108"/>
                  </a:lnTo>
                  <a:lnTo>
                    <a:pt x="110" y="104"/>
                  </a:lnTo>
                  <a:lnTo>
                    <a:pt x="110" y="100"/>
                  </a:lnTo>
                  <a:lnTo>
                    <a:pt x="110" y="96"/>
                  </a:lnTo>
                  <a:lnTo>
                    <a:pt x="112" y="92"/>
                  </a:lnTo>
                  <a:lnTo>
                    <a:pt x="114" y="88"/>
                  </a:lnTo>
                  <a:lnTo>
                    <a:pt x="118" y="86"/>
                  </a:lnTo>
                  <a:lnTo>
                    <a:pt x="122" y="86"/>
                  </a:lnTo>
                  <a:lnTo>
                    <a:pt x="128" y="86"/>
                  </a:lnTo>
                  <a:lnTo>
                    <a:pt x="128" y="84"/>
                  </a:lnTo>
                  <a:lnTo>
                    <a:pt x="128" y="82"/>
                  </a:lnTo>
                  <a:lnTo>
                    <a:pt x="128" y="80"/>
                  </a:lnTo>
                  <a:lnTo>
                    <a:pt x="130" y="76"/>
                  </a:lnTo>
                  <a:lnTo>
                    <a:pt x="130" y="72"/>
                  </a:lnTo>
                  <a:lnTo>
                    <a:pt x="134" y="70"/>
                  </a:lnTo>
                  <a:lnTo>
                    <a:pt x="136" y="70"/>
                  </a:lnTo>
                  <a:lnTo>
                    <a:pt x="140" y="66"/>
                  </a:lnTo>
                  <a:lnTo>
                    <a:pt x="146" y="56"/>
                  </a:lnTo>
                  <a:lnTo>
                    <a:pt x="156" y="48"/>
                  </a:lnTo>
                  <a:lnTo>
                    <a:pt x="170" y="48"/>
                  </a:lnTo>
                  <a:lnTo>
                    <a:pt x="170" y="48"/>
                  </a:lnTo>
                  <a:lnTo>
                    <a:pt x="172" y="50"/>
                  </a:lnTo>
                  <a:lnTo>
                    <a:pt x="176" y="52"/>
                  </a:lnTo>
                  <a:lnTo>
                    <a:pt x="180" y="54"/>
                  </a:lnTo>
                  <a:lnTo>
                    <a:pt x="182" y="56"/>
                  </a:lnTo>
                  <a:lnTo>
                    <a:pt x="186" y="58"/>
                  </a:lnTo>
                  <a:lnTo>
                    <a:pt x="190" y="60"/>
                  </a:lnTo>
                  <a:lnTo>
                    <a:pt x="194" y="60"/>
                  </a:lnTo>
                  <a:lnTo>
                    <a:pt x="196" y="60"/>
                  </a:lnTo>
                  <a:lnTo>
                    <a:pt x="198" y="62"/>
                  </a:lnTo>
                  <a:lnTo>
                    <a:pt x="198" y="60"/>
                  </a:lnTo>
                  <a:lnTo>
                    <a:pt x="200" y="58"/>
                  </a:lnTo>
                  <a:lnTo>
                    <a:pt x="202" y="56"/>
                  </a:lnTo>
                  <a:lnTo>
                    <a:pt x="202" y="54"/>
                  </a:lnTo>
                  <a:lnTo>
                    <a:pt x="202" y="52"/>
                  </a:lnTo>
                  <a:lnTo>
                    <a:pt x="200" y="50"/>
                  </a:lnTo>
                  <a:lnTo>
                    <a:pt x="198" y="48"/>
                  </a:lnTo>
                  <a:lnTo>
                    <a:pt x="196" y="46"/>
                  </a:lnTo>
                  <a:lnTo>
                    <a:pt x="196" y="44"/>
                  </a:lnTo>
                  <a:lnTo>
                    <a:pt x="198" y="42"/>
                  </a:lnTo>
                  <a:lnTo>
                    <a:pt x="202" y="40"/>
                  </a:lnTo>
                  <a:lnTo>
                    <a:pt x="204" y="32"/>
                  </a:lnTo>
                  <a:lnTo>
                    <a:pt x="202" y="32"/>
                  </a:lnTo>
                  <a:lnTo>
                    <a:pt x="204" y="30"/>
                  </a:lnTo>
                  <a:lnTo>
                    <a:pt x="204" y="28"/>
                  </a:lnTo>
                  <a:lnTo>
                    <a:pt x="206" y="24"/>
                  </a:lnTo>
                  <a:lnTo>
                    <a:pt x="208" y="22"/>
                  </a:lnTo>
                  <a:lnTo>
                    <a:pt x="212" y="20"/>
                  </a:lnTo>
                  <a:lnTo>
                    <a:pt x="228" y="20"/>
                  </a:lnTo>
                  <a:lnTo>
                    <a:pt x="228" y="18"/>
                  </a:lnTo>
                  <a:lnTo>
                    <a:pt x="230" y="18"/>
                  </a:lnTo>
                  <a:lnTo>
                    <a:pt x="232" y="16"/>
                  </a:lnTo>
                  <a:lnTo>
                    <a:pt x="232" y="14"/>
                  </a:lnTo>
                  <a:lnTo>
                    <a:pt x="232" y="10"/>
                  </a:lnTo>
                  <a:lnTo>
                    <a:pt x="222" y="10"/>
                  </a:lnTo>
                  <a:lnTo>
                    <a:pt x="222" y="10"/>
                  </a:lnTo>
                  <a:lnTo>
                    <a:pt x="222" y="8"/>
                  </a:lnTo>
                  <a:lnTo>
                    <a:pt x="224" y="6"/>
                  </a:lnTo>
                  <a:lnTo>
                    <a:pt x="224" y="4"/>
                  </a:lnTo>
                  <a:lnTo>
                    <a:pt x="228" y="2"/>
                  </a:lnTo>
                  <a:lnTo>
                    <a:pt x="232" y="0"/>
                  </a:lnTo>
                  <a:lnTo>
                    <a:pt x="234" y="0"/>
                  </a:lnTo>
                  <a:lnTo>
                    <a:pt x="238" y="0"/>
                  </a:lnTo>
                  <a:lnTo>
                    <a:pt x="242" y="0"/>
                  </a:lnTo>
                  <a:lnTo>
                    <a:pt x="244" y="0"/>
                  </a:lnTo>
                  <a:lnTo>
                    <a:pt x="246" y="2"/>
                  </a:lnTo>
                  <a:lnTo>
                    <a:pt x="248" y="2"/>
                  </a:lnTo>
                  <a:lnTo>
                    <a:pt x="246" y="6"/>
                  </a:lnTo>
                  <a:lnTo>
                    <a:pt x="246" y="8"/>
                  </a:lnTo>
                  <a:lnTo>
                    <a:pt x="244" y="8"/>
                  </a:lnTo>
                  <a:lnTo>
                    <a:pt x="244" y="10"/>
                  </a:lnTo>
                  <a:lnTo>
                    <a:pt x="244" y="10"/>
                  </a:lnTo>
                  <a:lnTo>
                    <a:pt x="246" y="10"/>
                  </a:lnTo>
                  <a:lnTo>
                    <a:pt x="248" y="12"/>
                  </a:lnTo>
                  <a:lnTo>
                    <a:pt x="252" y="12"/>
                  </a:lnTo>
                  <a:lnTo>
                    <a:pt x="252" y="12"/>
                  </a:lnTo>
                  <a:lnTo>
                    <a:pt x="254" y="10"/>
                  </a:lnTo>
                  <a:lnTo>
                    <a:pt x="254" y="8"/>
                  </a:lnTo>
                  <a:lnTo>
                    <a:pt x="254" y="6"/>
                  </a:lnTo>
                  <a:lnTo>
                    <a:pt x="254" y="4"/>
                  </a:lnTo>
                  <a:lnTo>
                    <a:pt x="256" y="4"/>
                  </a:lnTo>
                  <a:lnTo>
                    <a:pt x="258" y="4"/>
                  </a:lnTo>
                  <a:lnTo>
                    <a:pt x="262" y="6"/>
                  </a:lnTo>
                  <a:lnTo>
                    <a:pt x="264" y="12"/>
                  </a:lnTo>
                  <a:lnTo>
                    <a:pt x="266" y="16"/>
                  </a:lnTo>
                  <a:lnTo>
                    <a:pt x="268" y="18"/>
                  </a:lnTo>
                  <a:lnTo>
                    <a:pt x="268" y="20"/>
                  </a:lnTo>
                  <a:lnTo>
                    <a:pt x="280" y="14"/>
                  </a:lnTo>
                  <a:lnTo>
                    <a:pt x="282" y="14"/>
                  </a:lnTo>
                  <a:lnTo>
                    <a:pt x="284" y="14"/>
                  </a:lnTo>
                  <a:lnTo>
                    <a:pt x="290" y="14"/>
                  </a:lnTo>
                  <a:lnTo>
                    <a:pt x="294" y="16"/>
                  </a:lnTo>
                  <a:lnTo>
                    <a:pt x="298" y="18"/>
                  </a:lnTo>
                  <a:lnTo>
                    <a:pt x="300" y="20"/>
                  </a:lnTo>
                  <a:lnTo>
                    <a:pt x="302" y="24"/>
                  </a:lnTo>
                  <a:lnTo>
                    <a:pt x="304" y="28"/>
                  </a:lnTo>
                  <a:lnTo>
                    <a:pt x="302" y="30"/>
                  </a:lnTo>
                  <a:lnTo>
                    <a:pt x="302" y="32"/>
                  </a:lnTo>
                  <a:lnTo>
                    <a:pt x="300" y="32"/>
                  </a:lnTo>
                  <a:lnTo>
                    <a:pt x="298" y="34"/>
                  </a:lnTo>
                  <a:lnTo>
                    <a:pt x="294" y="36"/>
                  </a:lnTo>
                  <a:lnTo>
                    <a:pt x="292" y="40"/>
                  </a:lnTo>
                  <a:lnTo>
                    <a:pt x="290" y="44"/>
                  </a:lnTo>
                  <a:lnTo>
                    <a:pt x="288" y="48"/>
                  </a:lnTo>
                  <a:lnTo>
                    <a:pt x="286" y="52"/>
                  </a:lnTo>
                  <a:lnTo>
                    <a:pt x="286" y="54"/>
                  </a:lnTo>
                  <a:lnTo>
                    <a:pt x="290" y="56"/>
                  </a:lnTo>
                  <a:lnTo>
                    <a:pt x="298" y="62"/>
                  </a:lnTo>
                  <a:lnTo>
                    <a:pt x="308" y="70"/>
                  </a:lnTo>
                  <a:lnTo>
                    <a:pt x="318" y="76"/>
                  </a:lnTo>
                  <a:lnTo>
                    <a:pt x="326" y="82"/>
                  </a:lnTo>
                  <a:lnTo>
                    <a:pt x="330" y="82"/>
                  </a:lnTo>
                  <a:lnTo>
                    <a:pt x="330" y="84"/>
                  </a:lnTo>
                  <a:lnTo>
                    <a:pt x="334" y="84"/>
                  </a:lnTo>
                  <a:lnTo>
                    <a:pt x="336" y="84"/>
                  </a:lnTo>
                  <a:lnTo>
                    <a:pt x="340" y="82"/>
                  </a:lnTo>
                  <a:lnTo>
                    <a:pt x="344" y="78"/>
                  </a:lnTo>
                  <a:lnTo>
                    <a:pt x="348" y="70"/>
                  </a:lnTo>
                  <a:lnTo>
                    <a:pt x="352" y="58"/>
                  </a:lnTo>
                  <a:lnTo>
                    <a:pt x="354" y="48"/>
                  </a:lnTo>
                  <a:lnTo>
                    <a:pt x="356" y="42"/>
                  </a:lnTo>
                  <a:lnTo>
                    <a:pt x="358" y="12"/>
                  </a:lnTo>
                  <a:lnTo>
                    <a:pt x="358" y="10"/>
                  </a:lnTo>
                  <a:lnTo>
                    <a:pt x="358" y="10"/>
                  </a:lnTo>
                  <a:lnTo>
                    <a:pt x="358" y="6"/>
                  </a:lnTo>
                  <a:lnTo>
                    <a:pt x="358" y="4"/>
                  </a:lnTo>
                  <a:lnTo>
                    <a:pt x="360" y="2"/>
                  </a:lnTo>
                  <a:lnTo>
                    <a:pt x="360" y="0"/>
                  </a:lnTo>
                  <a:lnTo>
                    <a:pt x="364" y="0"/>
                  </a:lnTo>
                  <a:lnTo>
                    <a:pt x="368" y="0"/>
                  </a:lnTo>
                  <a:lnTo>
                    <a:pt x="372" y="4"/>
                  </a:lnTo>
                  <a:lnTo>
                    <a:pt x="376" y="6"/>
                  </a:lnTo>
                  <a:lnTo>
                    <a:pt x="376" y="12"/>
                  </a:lnTo>
                  <a:lnTo>
                    <a:pt x="378" y="16"/>
                  </a:lnTo>
                  <a:lnTo>
                    <a:pt x="378" y="20"/>
                  </a:lnTo>
                  <a:lnTo>
                    <a:pt x="378" y="22"/>
                  </a:lnTo>
                  <a:lnTo>
                    <a:pt x="378" y="24"/>
                  </a:lnTo>
                  <a:lnTo>
                    <a:pt x="376" y="24"/>
                  </a:lnTo>
                  <a:lnTo>
                    <a:pt x="376" y="28"/>
                  </a:lnTo>
                  <a:lnTo>
                    <a:pt x="376" y="32"/>
                  </a:lnTo>
                  <a:lnTo>
                    <a:pt x="376" y="36"/>
                  </a:lnTo>
                  <a:lnTo>
                    <a:pt x="378" y="40"/>
                  </a:lnTo>
                  <a:lnTo>
                    <a:pt x="378" y="42"/>
                  </a:lnTo>
                  <a:lnTo>
                    <a:pt x="382" y="42"/>
                  </a:lnTo>
                  <a:lnTo>
                    <a:pt x="384" y="42"/>
                  </a:lnTo>
                  <a:lnTo>
                    <a:pt x="388" y="42"/>
                  </a:lnTo>
                  <a:lnTo>
                    <a:pt x="390" y="42"/>
                  </a:lnTo>
                  <a:lnTo>
                    <a:pt x="392" y="44"/>
                  </a:lnTo>
                  <a:lnTo>
                    <a:pt x="394" y="46"/>
                  </a:lnTo>
                  <a:lnTo>
                    <a:pt x="396" y="50"/>
                  </a:lnTo>
                  <a:lnTo>
                    <a:pt x="398" y="56"/>
                  </a:lnTo>
                  <a:lnTo>
                    <a:pt x="402" y="62"/>
                  </a:lnTo>
                  <a:lnTo>
                    <a:pt x="404" y="66"/>
                  </a:lnTo>
                  <a:lnTo>
                    <a:pt x="408" y="68"/>
                  </a:lnTo>
                  <a:lnTo>
                    <a:pt x="408" y="68"/>
                  </a:lnTo>
                  <a:lnTo>
                    <a:pt x="408" y="70"/>
                  </a:lnTo>
                  <a:lnTo>
                    <a:pt x="410" y="72"/>
                  </a:lnTo>
                  <a:lnTo>
                    <a:pt x="410" y="76"/>
                  </a:lnTo>
                  <a:lnTo>
                    <a:pt x="412" y="80"/>
                  </a:lnTo>
                  <a:lnTo>
                    <a:pt x="414" y="84"/>
                  </a:lnTo>
                  <a:lnTo>
                    <a:pt x="416" y="88"/>
                  </a:lnTo>
                  <a:lnTo>
                    <a:pt x="416" y="92"/>
                  </a:lnTo>
                  <a:lnTo>
                    <a:pt x="418" y="94"/>
                  </a:lnTo>
                  <a:lnTo>
                    <a:pt x="420" y="98"/>
                  </a:lnTo>
                  <a:lnTo>
                    <a:pt x="424" y="100"/>
                  </a:lnTo>
                  <a:lnTo>
                    <a:pt x="426" y="104"/>
                  </a:lnTo>
                  <a:lnTo>
                    <a:pt x="430" y="108"/>
                  </a:lnTo>
                  <a:lnTo>
                    <a:pt x="434" y="112"/>
                  </a:lnTo>
                  <a:lnTo>
                    <a:pt x="436" y="114"/>
                  </a:lnTo>
                  <a:lnTo>
                    <a:pt x="436" y="114"/>
                  </a:lnTo>
                  <a:lnTo>
                    <a:pt x="454" y="136"/>
                  </a:lnTo>
                  <a:lnTo>
                    <a:pt x="454" y="144"/>
                  </a:lnTo>
                  <a:lnTo>
                    <a:pt x="488" y="170"/>
                  </a:lnTo>
                  <a:lnTo>
                    <a:pt x="490" y="174"/>
                  </a:lnTo>
                  <a:lnTo>
                    <a:pt x="496" y="182"/>
                  </a:lnTo>
                  <a:lnTo>
                    <a:pt x="502" y="194"/>
                  </a:lnTo>
                  <a:lnTo>
                    <a:pt x="506" y="210"/>
                  </a:lnTo>
                  <a:lnTo>
                    <a:pt x="506" y="224"/>
                  </a:lnTo>
                  <a:lnTo>
                    <a:pt x="508" y="240"/>
                  </a:lnTo>
                  <a:lnTo>
                    <a:pt x="508" y="256"/>
                  </a:lnTo>
                  <a:lnTo>
                    <a:pt x="508" y="268"/>
                  </a:lnTo>
                  <a:lnTo>
                    <a:pt x="508" y="272"/>
                  </a:lnTo>
                  <a:lnTo>
                    <a:pt x="508" y="272"/>
                  </a:lnTo>
                  <a:lnTo>
                    <a:pt x="508" y="276"/>
                  </a:lnTo>
                  <a:lnTo>
                    <a:pt x="504" y="280"/>
                  </a:lnTo>
                  <a:lnTo>
                    <a:pt x="502" y="284"/>
                  </a:lnTo>
                  <a:lnTo>
                    <a:pt x="498" y="288"/>
                  </a:lnTo>
                  <a:lnTo>
                    <a:pt x="494" y="292"/>
                  </a:lnTo>
                  <a:lnTo>
                    <a:pt x="488" y="294"/>
                  </a:lnTo>
                  <a:lnTo>
                    <a:pt x="480" y="312"/>
                  </a:lnTo>
                  <a:lnTo>
                    <a:pt x="480" y="312"/>
                  </a:lnTo>
                  <a:lnTo>
                    <a:pt x="478" y="316"/>
                  </a:lnTo>
                  <a:lnTo>
                    <a:pt x="476" y="322"/>
                  </a:lnTo>
                  <a:lnTo>
                    <a:pt x="474" y="326"/>
                  </a:lnTo>
                  <a:lnTo>
                    <a:pt x="472" y="332"/>
                  </a:lnTo>
                  <a:lnTo>
                    <a:pt x="470" y="336"/>
                  </a:lnTo>
                  <a:lnTo>
                    <a:pt x="466" y="338"/>
                  </a:lnTo>
                  <a:lnTo>
                    <a:pt x="462" y="340"/>
                  </a:lnTo>
                  <a:lnTo>
                    <a:pt x="460" y="344"/>
                  </a:lnTo>
                  <a:lnTo>
                    <a:pt x="460" y="346"/>
                  </a:lnTo>
                  <a:lnTo>
                    <a:pt x="460" y="352"/>
                  </a:lnTo>
                  <a:lnTo>
                    <a:pt x="462" y="358"/>
                  </a:lnTo>
                  <a:lnTo>
                    <a:pt x="464" y="364"/>
                  </a:lnTo>
                  <a:lnTo>
                    <a:pt x="466" y="370"/>
                  </a:lnTo>
                  <a:lnTo>
                    <a:pt x="466" y="376"/>
                  </a:lnTo>
                  <a:lnTo>
                    <a:pt x="464" y="380"/>
                  </a:lnTo>
                  <a:lnTo>
                    <a:pt x="460" y="384"/>
                  </a:lnTo>
                  <a:lnTo>
                    <a:pt x="452" y="388"/>
                  </a:lnTo>
                  <a:lnTo>
                    <a:pt x="440" y="394"/>
                  </a:lnTo>
                  <a:lnTo>
                    <a:pt x="430" y="402"/>
                  </a:lnTo>
                  <a:lnTo>
                    <a:pt x="420" y="406"/>
                  </a:lnTo>
                  <a:lnTo>
                    <a:pt x="416" y="408"/>
                  </a:lnTo>
                  <a:lnTo>
                    <a:pt x="414" y="408"/>
                  </a:lnTo>
                  <a:lnTo>
                    <a:pt x="412" y="406"/>
                  </a:lnTo>
                  <a:lnTo>
                    <a:pt x="408" y="404"/>
                  </a:lnTo>
                  <a:lnTo>
                    <a:pt x="402" y="400"/>
                  </a:lnTo>
                  <a:lnTo>
                    <a:pt x="398" y="396"/>
                  </a:lnTo>
                  <a:lnTo>
                    <a:pt x="396" y="392"/>
                  </a:lnTo>
                  <a:lnTo>
                    <a:pt x="394" y="392"/>
                  </a:lnTo>
                  <a:lnTo>
                    <a:pt x="392" y="392"/>
                  </a:lnTo>
                  <a:lnTo>
                    <a:pt x="390" y="392"/>
                  </a:lnTo>
                  <a:lnTo>
                    <a:pt x="386" y="394"/>
                  </a:lnTo>
                  <a:lnTo>
                    <a:pt x="384" y="396"/>
                  </a:lnTo>
                  <a:lnTo>
                    <a:pt x="380" y="396"/>
                  </a:lnTo>
                  <a:lnTo>
                    <a:pt x="376" y="396"/>
                  </a:lnTo>
                  <a:lnTo>
                    <a:pt x="372" y="396"/>
                  </a:lnTo>
                  <a:lnTo>
                    <a:pt x="368" y="394"/>
                  </a:lnTo>
                  <a:lnTo>
                    <a:pt x="366" y="394"/>
                  </a:lnTo>
                  <a:lnTo>
                    <a:pt x="364" y="392"/>
                  </a:lnTo>
                  <a:lnTo>
                    <a:pt x="346" y="392"/>
                  </a:lnTo>
                  <a:lnTo>
                    <a:pt x="344" y="388"/>
                  </a:lnTo>
                  <a:lnTo>
                    <a:pt x="338" y="380"/>
                  </a:lnTo>
                  <a:lnTo>
                    <a:pt x="334" y="366"/>
                  </a:lnTo>
                  <a:lnTo>
                    <a:pt x="330" y="354"/>
                  </a:lnTo>
                  <a:lnTo>
                    <a:pt x="318" y="334"/>
                  </a:lnTo>
                  <a:lnTo>
                    <a:pt x="292" y="332"/>
                  </a:lnTo>
                  <a:lnTo>
                    <a:pt x="274" y="318"/>
                  </a:lnTo>
                  <a:lnTo>
                    <a:pt x="272" y="316"/>
                  </a:lnTo>
                  <a:lnTo>
                    <a:pt x="266" y="310"/>
                  </a:lnTo>
                  <a:lnTo>
                    <a:pt x="256" y="304"/>
                  </a:lnTo>
                  <a:lnTo>
                    <a:pt x="240" y="296"/>
                  </a:lnTo>
                  <a:lnTo>
                    <a:pt x="220" y="292"/>
                  </a:lnTo>
                  <a:lnTo>
                    <a:pt x="214" y="294"/>
                  </a:lnTo>
                  <a:lnTo>
                    <a:pt x="204" y="296"/>
                  </a:lnTo>
                  <a:lnTo>
                    <a:pt x="190" y="300"/>
                  </a:lnTo>
                  <a:lnTo>
                    <a:pt x="178" y="304"/>
                  </a:lnTo>
                  <a:lnTo>
                    <a:pt x="144" y="324"/>
                  </a:lnTo>
                  <a:lnTo>
                    <a:pt x="136" y="324"/>
                  </a:lnTo>
                  <a:lnTo>
                    <a:pt x="134" y="326"/>
                  </a:lnTo>
                  <a:lnTo>
                    <a:pt x="134" y="328"/>
                  </a:lnTo>
                  <a:lnTo>
                    <a:pt x="132" y="332"/>
                  </a:lnTo>
                  <a:lnTo>
                    <a:pt x="130" y="334"/>
                  </a:lnTo>
                  <a:lnTo>
                    <a:pt x="128" y="338"/>
                  </a:lnTo>
                  <a:lnTo>
                    <a:pt x="124" y="340"/>
                  </a:lnTo>
                  <a:lnTo>
                    <a:pt x="120" y="340"/>
                  </a:lnTo>
                  <a:lnTo>
                    <a:pt x="116" y="340"/>
                  </a:lnTo>
                  <a:lnTo>
                    <a:pt x="110" y="340"/>
                  </a:lnTo>
                  <a:lnTo>
                    <a:pt x="106" y="340"/>
                  </a:lnTo>
                  <a:lnTo>
                    <a:pt x="104" y="338"/>
                  </a:lnTo>
                  <a:lnTo>
                    <a:pt x="102" y="338"/>
                  </a:lnTo>
                  <a:lnTo>
                    <a:pt x="80" y="338"/>
                  </a:lnTo>
                  <a:lnTo>
                    <a:pt x="78" y="338"/>
                  </a:lnTo>
                  <a:lnTo>
                    <a:pt x="76" y="340"/>
                  </a:lnTo>
                  <a:lnTo>
                    <a:pt x="74" y="342"/>
                  </a:lnTo>
                  <a:lnTo>
                    <a:pt x="70" y="344"/>
                  </a:lnTo>
                  <a:lnTo>
                    <a:pt x="68" y="346"/>
                  </a:lnTo>
                  <a:lnTo>
                    <a:pt x="64" y="352"/>
                  </a:lnTo>
                  <a:lnTo>
                    <a:pt x="60" y="352"/>
                  </a:lnTo>
                  <a:lnTo>
                    <a:pt x="52" y="352"/>
                  </a:lnTo>
                  <a:lnTo>
                    <a:pt x="48" y="352"/>
                  </a:lnTo>
                  <a:lnTo>
                    <a:pt x="44" y="352"/>
                  </a:lnTo>
                  <a:lnTo>
                    <a:pt x="40" y="352"/>
                  </a:lnTo>
                  <a:lnTo>
                    <a:pt x="36" y="350"/>
                  </a:lnTo>
                  <a:lnTo>
                    <a:pt x="34" y="350"/>
                  </a:lnTo>
                  <a:lnTo>
                    <a:pt x="32" y="348"/>
                  </a:lnTo>
                  <a:lnTo>
                    <a:pt x="32" y="346"/>
                  </a:lnTo>
                  <a:lnTo>
                    <a:pt x="32" y="342"/>
                  </a:lnTo>
                  <a:lnTo>
                    <a:pt x="32" y="342"/>
                  </a:lnTo>
                  <a:lnTo>
                    <a:pt x="30" y="340"/>
                  </a:lnTo>
                  <a:lnTo>
                    <a:pt x="30" y="342"/>
                  </a:lnTo>
                  <a:lnTo>
                    <a:pt x="28" y="342"/>
                  </a:lnTo>
                  <a:lnTo>
                    <a:pt x="26" y="344"/>
                  </a:lnTo>
                  <a:lnTo>
                    <a:pt x="24" y="344"/>
                  </a:lnTo>
                  <a:lnTo>
                    <a:pt x="22" y="344"/>
                  </a:lnTo>
                  <a:lnTo>
                    <a:pt x="20" y="342"/>
                  </a:lnTo>
                  <a:lnTo>
                    <a:pt x="18" y="342"/>
                  </a:lnTo>
                  <a:lnTo>
                    <a:pt x="16" y="338"/>
                  </a:lnTo>
                  <a:lnTo>
                    <a:pt x="16" y="336"/>
                  </a:lnTo>
                  <a:lnTo>
                    <a:pt x="16" y="332"/>
                  </a:lnTo>
                  <a:lnTo>
                    <a:pt x="20" y="330"/>
                  </a:lnTo>
                  <a:lnTo>
                    <a:pt x="26" y="326"/>
                  </a:lnTo>
                  <a:lnTo>
                    <a:pt x="30" y="300"/>
                  </a:lnTo>
                  <a:lnTo>
                    <a:pt x="30" y="300"/>
                  </a:lnTo>
                  <a:lnTo>
                    <a:pt x="28" y="296"/>
                  </a:lnTo>
                  <a:lnTo>
                    <a:pt x="28" y="292"/>
                  </a:lnTo>
                  <a:lnTo>
                    <a:pt x="26" y="288"/>
                  </a:lnTo>
                  <a:lnTo>
                    <a:pt x="24" y="284"/>
                  </a:lnTo>
                  <a:lnTo>
                    <a:pt x="22" y="280"/>
                  </a:lnTo>
                  <a:lnTo>
                    <a:pt x="22" y="278"/>
                  </a:lnTo>
                  <a:lnTo>
                    <a:pt x="18" y="272"/>
                  </a:lnTo>
                  <a:lnTo>
                    <a:pt x="12" y="258"/>
                  </a:lnTo>
                  <a:lnTo>
                    <a:pt x="8" y="242"/>
                  </a:lnTo>
                  <a:lnTo>
                    <a:pt x="4" y="228"/>
                  </a:lnTo>
                  <a:lnTo>
                    <a:pt x="4" y="218"/>
                  </a:lnTo>
                  <a:lnTo>
                    <a:pt x="8" y="214"/>
                  </a:lnTo>
                  <a:lnTo>
                    <a:pt x="8" y="208"/>
                  </a:lnTo>
                  <a:lnTo>
                    <a:pt x="8" y="202"/>
                  </a:lnTo>
                  <a:lnTo>
                    <a:pt x="6" y="196"/>
                  </a:lnTo>
                  <a:lnTo>
                    <a:pt x="4" y="194"/>
                  </a:lnTo>
                  <a:lnTo>
                    <a:pt x="2" y="188"/>
                  </a:lnTo>
                  <a:lnTo>
                    <a:pt x="0" y="178"/>
                  </a:lnTo>
                  <a:lnTo>
                    <a:pt x="0" y="168"/>
                  </a:lnTo>
                  <a:lnTo>
                    <a:pt x="4" y="160"/>
                  </a:lnTo>
                  <a:lnTo>
                    <a:pt x="8" y="158"/>
                  </a:lnTo>
                  <a:lnTo>
                    <a:pt x="12" y="154"/>
                  </a:lnTo>
                  <a:lnTo>
                    <a:pt x="16" y="150"/>
                  </a:lnTo>
                  <a:lnTo>
                    <a:pt x="20" y="148"/>
                  </a:lnTo>
                  <a:lnTo>
                    <a:pt x="24" y="144"/>
                  </a:lnTo>
                  <a:lnTo>
                    <a:pt x="28" y="140"/>
                  </a:lnTo>
                  <a:lnTo>
                    <a:pt x="30" y="138"/>
                  </a:lnTo>
                  <a:lnTo>
                    <a:pt x="30" y="138"/>
                  </a:lnTo>
                </a:path>
              </a:pathLst>
            </a:custGeom>
            <a:solidFill>
              <a:srgbClr val="E00024"/>
            </a:solidFill>
            <a:ln w="6350">
              <a:solidFill>
                <a:schemeClr val="bg1"/>
              </a:solidFill>
              <a:prstDash val="solid"/>
              <a:round/>
            </a:ln>
            <a:effectLst/>
            <a:extLst/>
          </p:spPr>
          <p:txBody>
            <a:bodyPr/>
            <a:lstStyle/>
            <a:p>
              <a:endParaRPr altLang="en-US" lang="zh-CN"/>
            </a:p>
          </p:txBody>
        </p:sp>
        <p:sp>
          <p:nvSpPr>
            <p:cNvPr id="547" name="Freeform 504"/>
            <p:cNvSpPr/>
            <p:nvPr/>
          </p:nvSpPr>
          <p:spPr bwMode="gray">
            <a:xfrm>
              <a:off x="3567819" y="4646774"/>
              <a:ext cx="151815" cy="177614"/>
            </a:xfrm>
            <a:custGeom>
              <a:gdLst>
                <a:gd fmla="*/ 10 w 82" name="T0"/>
                <a:gd fmla="*/ 92 h 96" name="T1"/>
                <a:gd fmla="*/ 8 w 82" name="T2"/>
                <a:gd fmla="*/ 86 h 96" name="T3"/>
                <a:gd fmla="*/ 8 w 82" name="T4"/>
                <a:gd fmla="*/ 78 h 96" name="T5"/>
                <a:gd fmla="*/ 10 w 82" name="T6"/>
                <a:gd fmla="*/ 68 h 96" name="T7"/>
                <a:gd fmla="*/ 12 w 82" name="T8"/>
                <a:gd fmla="*/ 62 h 96" name="T9"/>
                <a:gd fmla="*/ 10 w 82" name="T10"/>
                <a:gd fmla="*/ 56 h 96" name="T11"/>
                <a:gd fmla="*/ 6 w 82" name="T12"/>
                <a:gd fmla="*/ 52 h 96" name="T13"/>
                <a:gd fmla="*/ 2 w 82" name="T14"/>
                <a:gd fmla="*/ 52 h 96" name="T15"/>
                <a:gd fmla="*/ 0 w 82" name="T16"/>
                <a:gd fmla="*/ 46 h 96" name="T17"/>
                <a:gd fmla="*/ 4 w 82" name="T18"/>
                <a:gd fmla="*/ 38 h 96" name="T19"/>
                <a:gd fmla="*/ 8 w 82" name="T20"/>
                <a:gd fmla="*/ 32 h 96" name="T21"/>
                <a:gd fmla="*/ 8 w 82" name="T22"/>
                <a:gd fmla="*/ 30 h 96" name="T23"/>
                <a:gd fmla="*/ 8 w 82" name="T24"/>
                <a:gd fmla="*/ 24 h 96" name="T25"/>
                <a:gd fmla="*/ 10 w 82" name="T26"/>
                <a:gd fmla="*/ 18 h 96" name="T27"/>
                <a:gd fmla="*/ 14 w 82" name="T28"/>
                <a:gd fmla="*/ 18 h 96" name="T29"/>
                <a:gd fmla="*/ 18 w 82" name="T30"/>
                <a:gd fmla="*/ 16 h 96" name="T31"/>
                <a:gd fmla="*/ 20 w 82" name="T32"/>
                <a:gd fmla="*/ 12 h 96" name="T33"/>
                <a:gd fmla="*/ 24 w 82" name="T34"/>
                <a:gd fmla="*/ 8 h 96" name="T35"/>
                <a:gd fmla="*/ 34 w 82" name="T36"/>
                <a:gd fmla="*/ 2 h 96" name="T37"/>
                <a:gd fmla="*/ 44 w 82" name="T38"/>
                <a:gd fmla="*/ 0 h 96" name="T39"/>
                <a:gd fmla="*/ 52 w 82" name="T40"/>
                <a:gd fmla="*/ 0 h 96" name="T41"/>
                <a:gd fmla="*/ 62 w 82" name="T42"/>
                <a:gd fmla="*/ 2 h 96" name="T43"/>
                <a:gd fmla="*/ 68 w 82" name="T44"/>
                <a:gd fmla="*/ 4 h 96" name="T45"/>
                <a:gd fmla="*/ 72 w 82" name="T46"/>
                <a:gd fmla="*/ 6 h 96" name="T47"/>
                <a:gd fmla="*/ 76 w 82" name="T48"/>
                <a:gd fmla="*/ 6 h 96" name="T49"/>
                <a:gd fmla="*/ 78 w 82" name="T50"/>
                <a:gd fmla="*/ 4 h 96" name="T51"/>
                <a:gd fmla="*/ 82 w 82" name="T52"/>
                <a:gd fmla="*/ 10 h 96" name="T53"/>
                <a:gd fmla="*/ 82 w 82" name="T54"/>
                <a:gd fmla="*/ 18 h 96" name="T55"/>
                <a:gd fmla="*/ 74 w 82" name="T56"/>
                <a:gd fmla="*/ 22 h 96" name="T57"/>
                <a:gd fmla="*/ 68 w 82" name="T58"/>
                <a:gd fmla="*/ 22 h 96" name="T59"/>
                <a:gd fmla="*/ 64 w 82" name="T60"/>
                <a:gd fmla="*/ 16 h 96" name="T61"/>
                <a:gd fmla="*/ 60 w 82" name="T62"/>
                <a:gd fmla="*/ 12 h 96" name="T63"/>
                <a:gd fmla="*/ 54 w 82" name="T64"/>
                <a:gd fmla="*/ 8 h 96" name="T65"/>
                <a:gd fmla="*/ 46 w 82" name="T66"/>
                <a:gd fmla="*/ 6 h 96" name="T67"/>
                <a:gd fmla="*/ 36 w 82" name="T68"/>
                <a:gd fmla="*/ 10 h 96" name="T69"/>
                <a:gd fmla="*/ 26 w 82" name="T70"/>
                <a:gd fmla="*/ 16 h 96" name="T71"/>
                <a:gd fmla="*/ 22 w 82" name="T72"/>
                <a:gd fmla="*/ 22 h 96" name="T73"/>
                <a:gd fmla="*/ 22 w 82" name="T74"/>
                <a:gd fmla="*/ 28 h 96" name="T75"/>
                <a:gd fmla="*/ 20 w 82" name="T76"/>
                <a:gd fmla="*/ 34 h 96" name="T77"/>
                <a:gd fmla="*/ 20 w 82" name="T78"/>
                <a:gd fmla="*/ 38 h 96" name="T79"/>
                <a:gd fmla="*/ 24 w 82" name="T80"/>
                <a:gd fmla="*/ 38 h 96" name="T81"/>
                <a:gd fmla="*/ 34 w 82" name="T82"/>
                <a:gd fmla="*/ 36 h 96" name="T83"/>
                <a:gd fmla="*/ 42 w 82" name="T84"/>
                <a:gd fmla="*/ 34 h 96" name="T85"/>
                <a:gd fmla="*/ 44 w 82" name="T86"/>
                <a:gd fmla="*/ 30 h 96" name="T87"/>
                <a:gd fmla="*/ 50 w 82" name="T88"/>
                <a:gd fmla="*/ 28 h 96" name="T89"/>
                <a:gd fmla="*/ 54 w 82" name="T90"/>
                <a:gd fmla="*/ 28 h 96" name="T91"/>
                <a:gd fmla="*/ 54 w 82" name="T92"/>
                <a:gd fmla="*/ 32 h 96" name="T93"/>
                <a:gd fmla="*/ 54 w 82" name="T94"/>
                <a:gd fmla="*/ 36 h 96" name="T95"/>
                <a:gd fmla="*/ 50 w 82" name="T96"/>
                <a:gd fmla="*/ 38 h 96" name="T97"/>
                <a:gd fmla="*/ 42 w 82" name="T98"/>
                <a:gd fmla="*/ 40 h 96" name="T99"/>
                <a:gd fmla="*/ 36 w 82" name="T100"/>
                <a:gd fmla="*/ 44 h 96" name="T101"/>
                <a:gd fmla="*/ 32 w 82" name="T102"/>
                <a:gd fmla="*/ 44 h 96" name="T103"/>
                <a:gd fmla="*/ 32 w 82" name="T104"/>
                <a:gd fmla="*/ 46 h 96" name="T105"/>
                <a:gd fmla="*/ 32 w 82" name="T106"/>
                <a:gd fmla="*/ 50 h 96" name="T107"/>
                <a:gd fmla="*/ 36 w 82" name="T108"/>
                <a:gd fmla="*/ 52 h 96" name="T109"/>
                <a:gd fmla="*/ 42 w 82" name="T110"/>
                <a:gd fmla="*/ 58 h 96" name="T111"/>
                <a:gd fmla="*/ 46 w 82" name="T112"/>
                <a:gd fmla="*/ 66 h 96" name="T113"/>
                <a:gd fmla="*/ 46 w 82" name="T114"/>
                <a:gd fmla="*/ 70 h 96" name="T115"/>
                <a:gd fmla="*/ 62 w 82" name="T116"/>
                <a:gd fmla="*/ 90 h 96" name="T117"/>
                <a:gd fmla="*/ 38 w 82" name="T118"/>
                <a:gd fmla="*/ 96 h 96" name="T119"/>
                <a:gd fmla="*/ 34 w 82" name="T120"/>
                <a:gd fmla="*/ 64 h 96" name="T121"/>
                <a:gd fmla="*/ 28 w 82" name="T122"/>
                <a:gd fmla="*/ 58 h 96" name="T123"/>
                <a:gd fmla="*/ 24 w 82" name="T124"/>
                <a:gd fmla="*/ 78 h 96"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96" w="82">
                  <a:moveTo>
                    <a:pt x="16" y="88"/>
                  </a:moveTo>
                  <a:lnTo>
                    <a:pt x="10" y="92"/>
                  </a:lnTo>
                  <a:lnTo>
                    <a:pt x="10" y="90"/>
                  </a:lnTo>
                  <a:lnTo>
                    <a:pt x="8" y="86"/>
                  </a:lnTo>
                  <a:lnTo>
                    <a:pt x="8" y="82"/>
                  </a:lnTo>
                  <a:lnTo>
                    <a:pt x="8" y="78"/>
                  </a:lnTo>
                  <a:lnTo>
                    <a:pt x="8" y="72"/>
                  </a:lnTo>
                  <a:lnTo>
                    <a:pt x="10" y="68"/>
                  </a:lnTo>
                  <a:lnTo>
                    <a:pt x="12" y="64"/>
                  </a:lnTo>
                  <a:lnTo>
                    <a:pt x="12" y="62"/>
                  </a:lnTo>
                  <a:lnTo>
                    <a:pt x="12" y="58"/>
                  </a:lnTo>
                  <a:lnTo>
                    <a:pt x="10" y="56"/>
                  </a:lnTo>
                  <a:lnTo>
                    <a:pt x="8" y="54"/>
                  </a:lnTo>
                  <a:lnTo>
                    <a:pt x="6" y="52"/>
                  </a:lnTo>
                  <a:lnTo>
                    <a:pt x="2" y="52"/>
                  </a:lnTo>
                  <a:lnTo>
                    <a:pt x="2" y="52"/>
                  </a:lnTo>
                  <a:lnTo>
                    <a:pt x="0" y="50"/>
                  </a:lnTo>
                  <a:lnTo>
                    <a:pt x="0" y="46"/>
                  </a:lnTo>
                  <a:lnTo>
                    <a:pt x="2" y="42"/>
                  </a:lnTo>
                  <a:lnTo>
                    <a:pt x="4" y="38"/>
                  </a:lnTo>
                  <a:lnTo>
                    <a:pt x="6" y="34"/>
                  </a:lnTo>
                  <a:lnTo>
                    <a:pt x="8" y="32"/>
                  </a:lnTo>
                  <a:lnTo>
                    <a:pt x="8" y="30"/>
                  </a:lnTo>
                  <a:lnTo>
                    <a:pt x="8" y="30"/>
                  </a:lnTo>
                  <a:lnTo>
                    <a:pt x="8" y="28"/>
                  </a:lnTo>
                  <a:lnTo>
                    <a:pt x="8" y="24"/>
                  </a:lnTo>
                  <a:lnTo>
                    <a:pt x="8" y="20"/>
                  </a:lnTo>
                  <a:lnTo>
                    <a:pt x="10" y="18"/>
                  </a:lnTo>
                  <a:lnTo>
                    <a:pt x="14" y="16"/>
                  </a:lnTo>
                  <a:lnTo>
                    <a:pt x="14" y="18"/>
                  </a:lnTo>
                  <a:lnTo>
                    <a:pt x="16" y="18"/>
                  </a:lnTo>
                  <a:lnTo>
                    <a:pt x="18" y="16"/>
                  </a:lnTo>
                  <a:lnTo>
                    <a:pt x="20" y="16"/>
                  </a:lnTo>
                  <a:lnTo>
                    <a:pt x="20" y="12"/>
                  </a:lnTo>
                  <a:lnTo>
                    <a:pt x="22" y="10"/>
                  </a:lnTo>
                  <a:lnTo>
                    <a:pt x="24" y="8"/>
                  </a:lnTo>
                  <a:lnTo>
                    <a:pt x="30" y="4"/>
                  </a:lnTo>
                  <a:lnTo>
                    <a:pt x="34" y="2"/>
                  </a:lnTo>
                  <a:lnTo>
                    <a:pt x="42" y="0"/>
                  </a:lnTo>
                  <a:lnTo>
                    <a:pt x="44" y="0"/>
                  </a:lnTo>
                  <a:lnTo>
                    <a:pt x="46" y="0"/>
                  </a:lnTo>
                  <a:lnTo>
                    <a:pt x="52" y="0"/>
                  </a:lnTo>
                  <a:lnTo>
                    <a:pt x="56" y="0"/>
                  </a:lnTo>
                  <a:lnTo>
                    <a:pt x="62" y="2"/>
                  </a:lnTo>
                  <a:lnTo>
                    <a:pt x="68" y="4"/>
                  </a:lnTo>
                  <a:lnTo>
                    <a:pt x="68" y="4"/>
                  </a:lnTo>
                  <a:lnTo>
                    <a:pt x="70" y="6"/>
                  </a:lnTo>
                  <a:lnTo>
                    <a:pt x="72" y="6"/>
                  </a:lnTo>
                  <a:lnTo>
                    <a:pt x="74" y="6"/>
                  </a:lnTo>
                  <a:lnTo>
                    <a:pt x="76" y="6"/>
                  </a:lnTo>
                  <a:lnTo>
                    <a:pt x="76" y="4"/>
                  </a:lnTo>
                  <a:lnTo>
                    <a:pt x="78" y="4"/>
                  </a:lnTo>
                  <a:lnTo>
                    <a:pt x="80" y="6"/>
                  </a:lnTo>
                  <a:lnTo>
                    <a:pt x="82" y="10"/>
                  </a:lnTo>
                  <a:lnTo>
                    <a:pt x="82" y="14"/>
                  </a:lnTo>
                  <a:lnTo>
                    <a:pt x="82" y="18"/>
                  </a:lnTo>
                  <a:lnTo>
                    <a:pt x="78" y="20"/>
                  </a:lnTo>
                  <a:lnTo>
                    <a:pt x="74" y="22"/>
                  </a:lnTo>
                  <a:lnTo>
                    <a:pt x="72" y="22"/>
                  </a:lnTo>
                  <a:lnTo>
                    <a:pt x="68" y="22"/>
                  </a:lnTo>
                  <a:lnTo>
                    <a:pt x="66" y="20"/>
                  </a:lnTo>
                  <a:lnTo>
                    <a:pt x="64" y="16"/>
                  </a:lnTo>
                  <a:lnTo>
                    <a:pt x="62" y="14"/>
                  </a:lnTo>
                  <a:lnTo>
                    <a:pt x="60" y="12"/>
                  </a:lnTo>
                  <a:lnTo>
                    <a:pt x="58" y="10"/>
                  </a:lnTo>
                  <a:lnTo>
                    <a:pt x="54" y="8"/>
                  </a:lnTo>
                  <a:lnTo>
                    <a:pt x="50" y="8"/>
                  </a:lnTo>
                  <a:lnTo>
                    <a:pt x="46" y="6"/>
                  </a:lnTo>
                  <a:lnTo>
                    <a:pt x="40" y="8"/>
                  </a:lnTo>
                  <a:lnTo>
                    <a:pt x="36" y="10"/>
                  </a:lnTo>
                  <a:lnTo>
                    <a:pt x="30" y="14"/>
                  </a:lnTo>
                  <a:lnTo>
                    <a:pt x="26" y="16"/>
                  </a:lnTo>
                  <a:lnTo>
                    <a:pt x="24" y="18"/>
                  </a:lnTo>
                  <a:lnTo>
                    <a:pt x="22" y="22"/>
                  </a:lnTo>
                  <a:lnTo>
                    <a:pt x="22" y="24"/>
                  </a:lnTo>
                  <a:lnTo>
                    <a:pt x="22" y="28"/>
                  </a:lnTo>
                  <a:lnTo>
                    <a:pt x="22" y="30"/>
                  </a:lnTo>
                  <a:lnTo>
                    <a:pt x="20" y="34"/>
                  </a:lnTo>
                  <a:lnTo>
                    <a:pt x="20" y="36"/>
                  </a:lnTo>
                  <a:lnTo>
                    <a:pt x="20" y="38"/>
                  </a:lnTo>
                  <a:lnTo>
                    <a:pt x="20" y="38"/>
                  </a:lnTo>
                  <a:lnTo>
                    <a:pt x="24" y="38"/>
                  </a:lnTo>
                  <a:lnTo>
                    <a:pt x="28" y="36"/>
                  </a:lnTo>
                  <a:lnTo>
                    <a:pt x="34" y="36"/>
                  </a:lnTo>
                  <a:lnTo>
                    <a:pt x="40" y="36"/>
                  </a:lnTo>
                  <a:lnTo>
                    <a:pt x="42" y="34"/>
                  </a:lnTo>
                  <a:lnTo>
                    <a:pt x="44" y="32"/>
                  </a:lnTo>
                  <a:lnTo>
                    <a:pt x="44" y="30"/>
                  </a:lnTo>
                  <a:lnTo>
                    <a:pt x="48" y="28"/>
                  </a:lnTo>
                  <a:lnTo>
                    <a:pt x="50" y="28"/>
                  </a:lnTo>
                  <a:lnTo>
                    <a:pt x="52" y="28"/>
                  </a:lnTo>
                  <a:lnTo>
                    <a:pt x="54" y="28"/>
                  </a:lnTo>
                  <a:lnTo>
                    <a:pt x="54" y="30"/>
                  </a:lnTo>
                  <a:lnTo>
                    <a:pt x="54" y="32"/>
                  </a:lnTo>
                  <a:lnTo>
                    <a:pt x="54" y="34"/>
                  </a:lnTo>
                  <a:lnTo>
                    <a:pt x="54" y="36"/>
                  </a:lnTo>
                  <a:lnTo>
                    <a:pt x="52" y="38"/>
                  </a:lnTo>
                  <a:lnTo>
                    <a:pt x="50" y="38"/>
                  </a:lnTo>
                  <a:lnTo>
                    <a:pt x="46" y="40"/>
                  </a:lnTo>
                  <a:lnTo>
                    <a:pt x="42" y="40"/>
                  </a:lnTo>
                  <a:lnTo>
                    <a:pt x="38" y="42"/>
                  </a:lnTo>
                  <a:lnTo>
                    <a:pt x="36" y="44"/>
                  </a:lnTo>
                  <a:lnTo>
                    <a:pt x="32" y="44"/>
                  </a:lnTo>
                  <a:lnTo>
                    <a:pt x="32" y="44"/>
                  </a:lnTo>
                  <a:lnTo>
                    <a:pt x="32" y="46"/>
                  </a:lnTo>
                  <a:lnTo>
                    <a:pt x="32" y="46"/>
                  </a:lnTo>
                  <a:lnTo>
                    <a:pt x="30" y="48"/>
                  </a:lnTo>
                  <a:lnTo>
                    <a:pt x="32" y="50"/>
                  </a:lnTo>
                  <a:lnTo>
                    <a:pt x="32" y="50"/>
                  </a:lnTo>
                  <a:lnTo>
                    <a:pt x="36" y="52"/>
                  </a:lnTo>
                  <a:lnTo>
                    <a:pt x="40" y="54"/>
                  </a:lnTo>
                  <a:lnTo>
                    <a:pt x="42" y="58"/>
                  </a:lnTo>
                  <a:lnTo>
                    <a:pt x="44" y="62"/>
                  </a:lnTo>
                  <a:lnTo>
                    <a:pt x="46" y="66"/>
                  </a:lnTo>
                  <a:lnTo>
                    <a:pt x="46" y="68"/>
                  </a:lnTo>
                  <a:lnTo>
                    <a:pt x="46" y="70"/>
                  </a:lnTo>
                  <a:lnTo>
                    <a:pt x="58" y="76"/>
                  </a:lnTo>
                  <a:lnTo>
                    <a:pt x="62" y="90"/>
                  </a:lnTo>
                  <a:lnTo>
                    <a:pt x="46" y="92"/>
                  </a:lnTo>
                  <a:lnTo>
                    <a:pt x="38" y="96"/>
                  </a:lnTo>
                  <a:lnTo>
                    <a:pt x="34" y="80"/>
                  </a:lnTo>
                  <a:lnTo>
                    <a:pt x="34" y="64"/>
                  </a:lnTo>
                  <a:lnTo>
                    <a:pt x="32" y="62"/>
                  </a:lnTo>
                  <a:lnTo>
                    <a:pt x="28" y="58"/>
                  </a:lnTo>
                  <a:lnTo>
                    <a:pt x="24" y="58"/>
                  </a:lnTo>
                  <a:lnTo>
                    <a:pt x="24" y="78"/>
                  </a:lnTo>
                  <a:lnTo>
                    <a:pt x="16" y="8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8" name="Freeform 505"/>
            <p:cNvSpPr/>
            <p:nvPr/>
          </p:nvSpPr>
          <p:spPr bwMode="gray">
            <a:xfrm>
              <a:off x="3001292" y="4569068"/>
              <a:ext cx="251790" cy="273822"/>
            </a:xfrm>
            <a:custGeom>
              <a:gdLst>
                <a:gd fmla="*/ 2 w 136" name="T0"/>
                <a:gd fmla="*/ 2 h 148" name="T1"/>
                <a:gd fmla="*/ 8 w 136" name="T2"/>
                <a:gd fmla="*/ 4 h 148" name="T3"/>
                <a:gd fmla="*/ 18 w 136" name="T4"/>
                <a:gd fmla="*/ 2 h 148" name="T5"/>
                <a:gd fmla="*/ 24 w 136" name="T6"/>
                <a:gd fmla="*/ 0 h 148" name="T7"/>
                <a:gd fmla="*/ 32 w 136" name="T8"/>
                <a:gd fmla="*/ 4 h 148" name="T9"/>
                <a:gd fmla="*/ 38 w 136" name="T10"/>
                <a:gd fmla="*/ 14 h 148" name="T11"/>
                <a:gd fmla="*/ 42 w 136" name="T12"/>
                <a:gd fmla="*/ 18 h 148" name="T13"/>
                <a:gd fmla="*/ 42 w 136" name="T14"/>
                <a:gd fmla="*/ 20 h 148" name="T15"/>
                <a:gd fmla="*/ 66 w 136" name="T16"/>
                <a:gd fmla="*/ 42 h 148" name="T17"/>
                <a:gd fmla="*/ 72 w 136" name="T18"/>
                <a:gd fmla="*/ 42 h 148" name="T19"/>
                <a:gd fmla="*/ 92 w 136" name="T20"/>
                <a:gd fmla="*/ 60 h 148" name="T21"/>
                <a:gd fmla="*/ 110 w 136" name="T22"/>
                <a:gd fmla="*/ 74 h 148" name="T23"/>
                <a:gd fmla="*/ 108 w 136" name="T24"/>
                <a:gd fmla="*/ 74 h 148" name="T25"/>
                <a:gd fmla="*/ 104 w 136" name="T26"/>
                <a:gd fmla="*/ 76 h 148" name="T27"/>
                <a:gd fmla="*/ 104 w 136" name="T28"/>
                <a:gd fmla="*/ 78 h 148" name="T29"/>
                <a:gd fmla="*/ 114 w 136" name="T30"/>
                <a:gd fmla="*/ 88 h 148" name="T31"/>
                <a:gd fmla="*/ 126 w 136" name="T32"/>
                <a:gd fmla="*/ 100 h 148" name="T33"/>
                <a:gd fmla="*/ 128 w 136" name="T34"/>
                <a:gd fmla="*/ 102 h 148" name="T35"/>
                <a:gd fmla="*/ 132 w 136" name="T36"/>
                <a:gd fmla="*/ 108 h 148" name="T37"/>
                <a:gd fmla="*/ 136 w 136" name="T38"/>
                <a:gd fmla="*/ 116 h 148" name="T39"/>
                <a:gd fmla="*/ 134 w 136" name="T40"/>
                <a:gd fmla="*/ 116 h 148" name="T41"/>
                <a:gd fmla="*/ 134 w 136" name="T42"/>
                <a:gd fmla="*/ 120 h 148" name="T43"/>
                <a:gd fmla="*/ 136 w 136" name="T44"/>
                <a:gd fmla="*/ 128 h 148" name="T45"/>
                <a:gd fmla="*/ 136 w 136" name="T46"/>
                <a:gd fmla="*/ 132 h 148" name="T47"/>
                <a:gd fmla="*/ 136 w 136" name="T48"/>
                <a:gd fmla="*/ 140 h 148" name="T49"/>
                <a:gd fmla="*/ 132 w 136" name="T50"/>
                <a:gd fmla="*/ 146 h 148" name="T51"/>
                <a:gd fmla="*/ 126 w 136" name="T52"/>
                <a:gd fmla="*/ 148 h 148" name="T53"/>
                <a:gd fmla="*/ 122 w 136" name="T54"/>
                <a:gd fmla="*/ 148 h 148" name="T55"/>
                <a:gd fmla="*/ 100 w 136" name="T56"/>
                <a:gd fmla="*/ 138 h 148" name="T57"/>
                <a:gd fmla="*/ 82 w 136" name="T58"/>
                <a:gd fmla="*/ 116 h 148" name="T59"/>
                <a:gd fmla="*/ 62 w 136" name="T60"/>
                <a:gd fmla="*/ 88 h 148" name="T61"/>
                <a:gd fmla="*/ 52 w 136" name="T62"/>
                <a:gd fmla="*/ 68 h 148" name="T63"/>
                <a:gd fmla="*/ 44 w 136" name="T64"/>
                <a:gd fmla="*/ 60 h 148" name="T65"/>
                <a:gd fmla="*/ 40 w 136" name="T66"/>
                <a:gd fmla="*/ 54 h 148" name="T67"/>
                <a:gd fmla="*/ 34 w 136" name="T68"/>
                <a:gd fmla="*/ 46 h 148" name="T69"/>
                <a:gd fmla="*/ 14 w 136" name="T70"/>
                <a:gd fmla="*/ 18 h 148" name="T71"/>
                <a:gd fmla="*/ 12 w 136" name="T72"/>
                <a:gd fmla="*/ 16 h 148" name="T73"/>
                <a:gd fmla="*/ 6 w 136" name="T74"/>
                <a:gd fmla="*/ 12 h 148" name="T75"/>
                <a:gd fmla="*/ 0 w 136" name="T76"/>
                <a:gd fmla="*/ 6 h 148" name="T77"/>
                <a:gd fmla="*/ 0 w 136" name="T78"/>
                <a:gd fmla="*/ 0 h 148" name="T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b="b" l="0" r="r" t="0"/>
              <a:pathLst>
                <a:path h="148" w="136">
                  <a:moveTo>
                    <a:pt x="0" y="0"/>
                  </a:moveTo>
                  <a:lnTo>
                    <a:pt x="2" y="2"/>
                  </a:lnTo>
                  <a:lnTo>
                    <a:pt x="4" y="2"/>
                  </a:lnTo>
                  <a:lnTo>
                    <a:pt x="8" y="4"/>
                  </a:lnTo>
                  <a:lnTo>
                    <a:pt x="12" y="4"/>
                  </a:lnTo>
                  <a:lnTo>
                    <a:pt x="18" y="2"/>
                  </a:lnTo>
                  <a:lnTo>
                    <a:pt x="20" y="2"/>
                  </a:lnTo>
                  <a:lnTo>
                    <a:pt x="24" y="0"/>
                  </a:lnTo>
                  <a:lnTo>
                    <a:pt x="28" y="2"/>
                  </a:lnTo>
                  <a:lnTo>
                    <a:pt x="32" y="4"/>
                  </a:lnTo>
                  <a:lnTo>
                    <a:pt x="36" y="8"/>
                  </a:lnTo>
                  <a:lnTo>
                    <a:pt x="38" y="14"/>
                  </a:lnTo>
                  <a:lnTo>
                    <a:pt x="40" y="16"/>
                  </a:lnTo>
                  <a:lnTo>
                    <a:pt x="42" y="18"/>
                  </a:lnTo>
                  <a:lnTo>
                    <a:pt x="42" y="20"/>
                  </a:lnTo>
                  <a:lnTo>
                    <a:pt x="42" y="20"/>
                  </a:lnTo>
                  <a:lnTo>
                    <a:pt x="42" y="20"/>
                  </a:lnTo>
                  <a:lnTo>
                    <a:pt x="66" y="42"/>
                  </a:lnTo>
                  <a:lnTo>
                    <a:pt x="68" y="40"/>
                  </a:lnTo>
                  <a:lnTo>
                    <a:pt x="72" y="42"/>
                  </a:lnTo>
                  <a:lnTo>
                    <a:pt x="82" y="50"/>
                  </a:lnTo>
                  <a:lnTo>
                    <a:pt x="92" y="60"/>
                  </a:lnTo>
                  <a:lnTo>
                    <a:pt x="104" y="68"/>
                  </a:lnTo>
                  <a:lnTo>
                    <a:pt x="110" y="74"/>
                  </a:lnTo>
                  <a:lnTo>
                    <a:pt x="108" y="74"/>
                  </a:lnTo>
                  <a:lnTo>
                    <a:pt x="108" y="74"/>
                  </a:lnTo>
                  <a:lnTo>
                    <a:pt x="106" y="74"/>
                  </a:lnTo>
                  <a:lnTo>
                    <a:pt x="104" y="76"/>
                  </a:lnTo>
                  <a:lnTo>
                    <a:pt x="102" y="76"/>
                  </a:lnTo>
                  <a:lnTo>
                    <a:pt x="104" y="78"/>
                  </a:lnTo>
                  <a:lnTo>
                    <a:pt x="106" y="82"/>
                  </a:lnTo>
                  <a:lnTo>
                    <a:pt x="114" y="88"/>
                  </a:lnTo>
                  <a:lnTo>
                    <a:pt x="114" y="100"/>
                  </a:lnTo>
                  <a:lnTo>
                    <a:pt x="126" y="100"/>
                  </a:lnTo>
                  <a:lnTo>
                    <a:pt x="126" y="100"/>
                  </a:lnTo>
                  <a:lnTo>
                    <a:pt x="128" y="102"/>
                  </a:lnTo>
                  <a:lnTo>
                    <a:pt x="130" y="104"/>
                  </a:lnTo>
                  <a:lnTo>
                    <a:pt x="132" y="108"/>
                  </a:lnTo>
                  <a:lnTo>
                    <a:pt x="134" y="112"/>
                  </a:lnTo>
                  <a:lnTo>
                    <a:pt x="136" y="116"/>
                  </a:lnTo>
                  <a:lnTo>
                    <a:pt x="136" y="116"/>
                  </a:lnTo>
                  <a:lnTo>
                    <a:pt x="134" y="116"/>
                  </a:lnTo>
                  <a:lnTo>
                    <a:pt x="134" y="118"/>
                  </a:lnTo>
                  <a:lnTo>
                    <a:pt x="134" y="120"/>
                  </a:lnTo>
                  <a:lnTo>
                    <a:pt x="134" y="124"/>
                  </a:lnTo>
                  <a:lnTo>
                    <a:pt x="136" y="128"/>
                  </a:lnTo>
                  <a:lnTo>
                    <a:pt x="136" y="130"/>
                  </a:lnTo>
                  <a:lnTo>
                    <a:pt x="136" y="132"/>
                  </a:lnTo>
                  <a:lnTo>
                    <a:pt x="136" y="136"/>
                  </a:lnTo>
                  <a:lnTo>
                    <a:pt x="136" y="140"/>
                  </a:lnTo>
                  <a:lnTo>
                    <a:pt x="134" y="144"/>
                  </a:lnTo>
                  <a:lnTo>
                    <a:pt x="132" y="146"/>
                  </a:lnTo>
                  <a:lnTo>
                    <a:pt x="128" y="148"/>
                  </a:lnTo>
                  <a:lnTo>
                    <a:pt x="126" y="148"/>
                  </a:lnTo>
                  <a:lnTo>
                    <a:pt x="122" y="148"/>
                  </a:lnTo>
                  <a:lnTo>
                    <a:pt x="122" y="148"/>
                  </a:lnTo>
                  <a:lnTo>
                    <a:pt x="102" y="142"/>
                  </a:lnTo>
                  <a:lnTo>
                    <a:pt x="100" y="138"/>
                  </a:lnTo>
                  <a:lnTo>
                    <a:pt x="92" y="128"/>
                  </a:lnTo>
                  <a:lnTo>
                    <a:pt x="82" y="116"/>
                  </a:lnTo>
                  <a:lnTo>
                    <a:pt x="72" y="102"/>
                  </a:lnTo>
                  <a:lnTo>
                    <a:pt x="62" y="88"/>
                  </a:lnTo>
                  <a:lnTo>
                    <a:pt x="56" y="78"/>
                  </a:lnTo>
                  <a:lnTo>
                    <a:pt x="52" y="68"/>
                  </a:lnTo>
                  <a:lnTo>
                    <a:pt x="44" y="62"/>
                  </a:lnTo>
                  <a:lnTo>
                    <a:pt x="44" y="60"/>
                  </a:lnTo>
                  <a:lnTo>
                    <a:pt x="42" y="58"/>
                  </a:lnTo>
                  <a:lnTo>
                    <a:pt x="40" y="54"/>
                  </a:lnTo>
                  <a:lnTo>
                    <a:pt x="38" y="50"/>
                  </a:lnTo>
                  <a:lnTo>
                    <a:pt x="34" y="46"/>
                  </a:lnTo>
                  <a:lnTo>
                    <a:pt x="32" y="42"/>
                  </a:lnTo>
                  <a:lnTo>
                    <a:pt x="14" y="18"/>
                  </a:lnTo>
                  <a:lnTo>
                    <a:pt x="14" y="18"/>
                  </a:lnTo>
                  <a:lnTo>
                    <a:pt x="12" y="16"/>
                  </a:lnTo>
                  <a:lnTo>
                    <a:pt x="8" y="14"/>
                  </a:lnTo>
                  <a:lnTo>
                    <a:pt x="6" y="12"/>
                  </a:lnTo>
                  <a:lnTo>
                    <a:pt x="2" y="8"/>
                  </a:lnTo>
                  <a:lnTo>
                    <a:pt x="0" y="6"/>
                  </a:lnTo>
                  <a:lnTo>
                    <a:pt x="0" y="2"/>
                  </a:lnTo>
                  <a:lnTo>
                    <a:pt x="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49" name="Freeform 506"/>
            <p:cNvSpPr/>
            <p:nvPr/>
          </p:nvSpPr>
          <p:spPr bwMode="gray">
            <a:xfrm>
              <a:off x="3245676" y="4850291"/>
              <a:ext cx="214762" cy="59205"/>
            </a:xfrm>
            <a:custGeom>
              <a:gdLst>
                <a:gd fmla="*/ 50 w 116" name="T0"/>
                <a:gd fmla="*/ 22 h 32" name="T1"/>
                <a:gd fmla="*/ 22 w 116" name="T2"/>
                <a:gd fmla="*/ 22 h 32" name="T3"/>
                <a:gd fmla="*/ 0 w 116" name="T4"/>
                <a:gd fmla="*/ 10 h 32" name="T5"/>
                <a:gd fmla="*/ 2 w 116" name="T6"/>
                <a:gd fmla="*/ 4 h 32" name="T7"/>
                <a:gd fmla="*/ 2 w 116" name="T8"/>
                <a:gd fmla="*/ 4 h 32" name="T9"/>
                <a:gd fmla="*/ 6 w 116" name="T10"/>
                <a:gd fmla="*/ 2 h 32" name="T11"/>
                <a:gd fmla="*/ 10 w 116" name="T12"/>
                <a:gd fmla="*/ 0 h 32" name="T13"/>
                <a:gd fmla="*/ 14 w 116" name="T14"/>
                <a:gd fmla="*/ 0 h 32" name="T15"/>
                <a:gd fmla="*/ 20 w 116" name="T16"/>
                <a:gd fmla="*/ 0 h 32" name="T17"/>
                <a:gd fmla="*/ 26 w 116" name="T18"/>
                <a:gd fmla="*/ 0 h 32" name="T19"/>
                <a:gd fmla="*/ 56 w 116" name="T20"/>
                <a:gd fmla="*/ 8 h 32" name="T21"/>
                <a:gd fmla="*/ 58 w 116" name="T22"/>
                <a:gd fmla="*/ 8 h 32" name="T23"/>
                <a:gd fmla="*/ 62 w 116" name="T24"/>
                <a:gd fmla="*/ 6 h 32" name="T25"/>
                <a:gd fmla="*/ 66 w 116" name="T26"/>
                <a:gd fmla="*/ 6 h 32" name="T27"/>
                <a:gd fmla="*/ 72 w 116" name="T28"/>
                <a:gd fmla="*/ 6 h 32" name="T29"/>
                <a:gd fmla="*/ 80 w 116" name="T30"/>
                <a:gd fmla="*/ 6 h 32" name="T31"/>
                <a:gd fmla="*/ 84 w 116" name="T32"/>
                <a:gd fmla="*/ 8 h 32" name="T33"/>
                <a:gd fmla="*/ 90 w 116" name="T34"/>
                <a:gd fmla="*/ 12 h 32" name="T35"/>
                <a:gd fmla="*/ 96 w 116" name="T36"/>
                <a:gd fmla="*/ 14 h 32" name="T37"/>
                <a:gd fmla="*/ 102 w 116" name="T38"/>
                <a:gd fmla="*/ 16 h 32" name="T39"/>
                <a:gd fmla="*/ 108 w 116" name="T40"/>
                <a:gd fmla="*/ 18 h 32" name="T41"/>
                <a:gd fmla="*/ 110 w 116" name="T42"/>
                <a:gd fmla="*/ 20 h 32" name="T43"/>
                <a:gd fmla="*/ 112 w 116" name="T44"/>
                <a:gd fmla="*/ 20 h 32" name="T45"/>
                <a:gd fmla="*/ 112 w 116" name="T46"/>
                <a:gd fmla="*/ 20 h 32" name="T47"/>
                <a:gd fmla="*/ 114 w 116" name="T48"/>
                <a:gd fmla="*/ 22 h 32" name="T49"/>
                <a:gd fmla="*/ 114 w 116" name="T50"/>
                <a:gd fmla="*/ 24 h 32" name="T51"/>
                <a:gd fmla="*/ 116 w 116" name="T52"/>
                <a:gd fmla="*/ 28 h 32" name="T53"/>
                <a:gd fmla="*/ 114 w 116" name="T54"/>
                <a:gd fmla="*/ 30 h 32" name="T55"/>
                <a:gd fmla="*/ 114 w 116" name="T56"/>
                <a:gd fmla="*/ 32 h 32" name="T57"/>
                <a:gd fmla="*/ 110 w 116" name="T58"/>
                <a:gd fmla="*/ 32 h 32" name="T59"/>
                <a:gd fmla="*/ 100 w 116" name="T60"/>
                <a:gd fmla="*/ 32 h 32" name="T61"/>
                <a:gd fmla="*/ 88 w 116" name="T62"/>
                <a:gd fmla="*/ 30 h 32" name="T63"/>
                <a:gd fmla="*/ 76 w 116" name="T64"/>
                <a:gd fmla="*/ 30 h 32" name="T65"/>
                <a:gd fmla="*/ 72 w 116" name="T66"/>
                <a:gd fmla="*/ 28 h 32" name="T67"/>
                <a:gd fmla="*/ 50 w 116" name="T68"/>
                <a:gd fmla="*/ 22 h 32" name="T6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b="b" l="0" r="r" t="0"/>
              <a:pathLst>
                <a:path h="32" w="115">
                  <a:moveTo>
                    <a:pt x="50" y="22"/>
                  </a:moveTo>
                  <a:lnTo>
                    <a:pt x="22" y="22"/>
                  </a:lnTo>
                  <a:lnTo>
                    <a:pt x="0" y="10"/>
                  </a:lnTo>
                  <a:lnTo>
                    <a:pt x="2" y="4"/>
                  </a:lnTo>
                  <a:lnTo>
                    <a:pt x="2" y="4"/>
                  </a:lnTo>
                  <a:lnTo>
                    <a:pt x="6" y="2"/>
                  </a:lnTo>
                  <a:lnTo>
                    <a:pt x="10" y="0"/>
                  </a:lnTo>
                  <a:lnTo>
                    <a:pt x="14" y="0"/>
                  </a:lnTo>
                  <a:lnTo>
                    <a:pt x="20" y="0"/>
                  </a:lnTo>
                  <a:lnTo>
                    <a:pt x="26" y="0"/>
                  </a:lnTo>
                  <a:lnTo>
                    <a:pt x="56" y="8"/>
                  </a:lnTo>
                  <a:lnTo>
                    <a:pt x="58" y="8"/>
                  </a:lnTo>
                  <a:lnTo>
                    <a:pt x="62" y="6"/>
                  </a:lnTo>
                  <a:lnTo>
                    <a:pt x="66" y="6"/>
                  </a:lnTo>
                  <a:lnTo>
                    <a:pt x="72" y="6"/>
                  </a:lnTo>
                  <a:lnTo>
                    <a:pt x="80" y="6"/>
                  </a:lnTo>
                  <a:lnTo>
                    <a:pt x="84" y="8"/>
                  </a:lnTo>
                  <a:lnTo>
                    <a:pt x="90" y="12"/>
                  </a:lnTo>
                  <a:lnTo>
                    <a:pt x="96" y="14"/>
                  </a:lnTo>
                  <a:lnTo>
                    <a:pt x="102" y="16"/>
                  </a:lnTo>
                  <a:lnTo>
                    <a:pt x="108" y="18"/>
                  </a:lnTo>
                  <a:lnTo>
                    <a:pt x="110" y="20"/>
                  </a:lnTo>
                  <a:lnTo>
                    <a:pt x="112" y="20"/>
                  </a:lnTo>
                  <a:lnTo>
                    <a:pt x="112" y="20"/>
                  </a:lnTo>
                  <a:lnTo>
                    <a:pt x="114" y="22"/>
                  </a:lnTo>
                  <a:lnTo>
                    <a:pt x="114" y="24"/>
                  </a:lnTo>
                  <a:lnTo>
                    <a:pt x="116" y="28"/>
                  </a:lnTo>
                  <a:lnTo>
                    <a:pt x="114" y="30"/>
                  </a:lnTo>
                  <a:lnTo>
                    <a:pt x="114" y="32"/>
                  </a:lnTo>
                  <a:lnTo>
                    <a:pt x="110" y="32"/>
                  </a:lnTo>
                  <a:lnTo>
                    <a:pt x="100" y="32"/>
                  </a:lnTo>
                  <a:lnTo>
                    <a:pt x="88" y="30"/>
                  </a:lnTo>
                  <a:lnTo>
                    <a:pt x="76" y="30"/>
                  </a:lnTo>
                  <a:lnTo>
                    <a:pt x="72" y="28"/>
                  </a:lnTo>
                  <a:lnTo>
                    <a:pt x="50" y="2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0" name="Freeform 507"/>
            <p:cNvSpPr/>
            <p:nvPr/>
          </p:nvSpPr>
          <p:spPr bwMode="gray">
            <a:xfrm>
              <a:off x="7637188" y="4968701"/>
              <a:ext cx="325846" cy="377431"/>
            </a:xfrm>
            <a:custGeom>
              <a:gdLst>
                <a:gd fmla="*/ 2 w 176" name="T0"/>
                <a:gd fmla="*/ 94 h 204" name="T1"/>
                <a:gd fmla="*/ 8 w 176" name="T2"/>
                <a:gd fmla="*/ 90 h 204" name="T3"/>
                <a:gd fmla="*/ 22 w 176" name="T4"/>
                <a:gd fmla="*/ 84 h 204" name="T5"/>
                <a:gd fmla="*/ 28 w 176" name="T6"/>
                <a:gd fmla="*/ 80 h 204" name="T7"/>
                <a:gd fmla="*/ 26 w 176" name="T8"/>
                <a:gd fmla="*/ 70 h 204" name="T9"/>
                <a:gd fmla="*/ 24 w 176" name="T10"/>
                <a:gd fmla="*/ 66 h 204" name="T11"/>
                <a:gd fmla="*/ 24 w 176" name="T12"/>
                <a:gd fmla="*/ 52 h 204" name="T13"/>
                <a:gd fmla="*/ 28 w 176" name="T14"/>
                <a:gd fmla="*/ 44 h 204" name="T15"/>
                <a:gd fmla="*/ 26 w 176" name="T16"/>
                <a:gd fmla="*/ 36 h 204" name="T17"/>
                <a:gd fmla="*/ 34 w 176" name="T18"/>
                <a:gd fmla="*/ 18 h 204" name="T19"/>
                <a:gd fmla="*/ 42 w 176" name="T20"/>
                <a:gd fmla="*/ 16 h 204" name="T21"/>
                <a:gd fmla="*/ 48 w 176" name="T22"/>
                <a:gd fmla="*/ 8 h 204" name="T23"/>
                <a:gd fmla="*/ 58 w 176" name="T24"/>
                <a:gd fmla="*/ 4 h 204" name="T25"/>
                <a:gd fmla="*/ 64 w 176" name="T26"/>
                <a:gd fmla="*/ 6 h 204" name="T27"/>
                <a:gd fmla="*/ 68 w 176" name="T28"/>
                <a:gd fmla="*/ 0 h 204" name="T29"/>
                <a:gd fmla="*/ 74 w 176" name="T30"/>
                <a:gd fmla="*/ 2 h 204" name="T31"/>
                <a:gd fmla="*/ 72 w 176" name="T32"/>
                <a:gd fmla="*/ 20 h 204" name="T33"/>
                <a:gd fmla="*/ 98 w 176" name="T34"/>
                <a:gd fmla="*/ 46 h 204" name="T35"/>
                <a:gd fmla="*/ 110 w 176" name="T36"/>
                <a:gd fmla="*/ 48 h 204" name="T37"/>
                <a:gd fmla="*/ 118 w 176" name="T38"/>
                <a:gd fmla="*/ 60 h 204" name="T39"/>
                <a:gd fmla="*/ 128 w 176" name="T40"/>
                <a:gd fmla="*/ 66 h 204" name="T41"/>
                <a:gd fmla="*/ 140 w 176" name="T42"/>
                <a:gd fmla="*/ 78 h 204" name="T43"/>
                <a:gd fmla="*/ 166 w 176" name="T44"/>
                <a:gd fmla="*/ 90 h 204" name="T45"/>
                <a:gd fmla="*/ 166 w 176" name="T46"/>
                <a:gd fmla="*/ 98 h 204" name="T47"/>
                <a:gd fmla="*/ 168 w 176" name="T48"/>
                <a:gd fmla="*/ 104 h 204" name="T49"/>
                <a:gd fmla="*/ 174 w 176" name="T50"/>
                <a:gd fmla="*/ 108 h 204" name="T51"/>
                <a:gd fmla="*/ 176 w 176" name="T52"/>
                <a:gd fmla="*/ 120 h 204" name="T53"/>
                <a:gd fmla="*/ 174 w 176" name="T54"/>
                <a:gd fmla="*/ 156 h 204" name="T55"/>
                <a:gd fmla="*/ 162 w 176" name="T56"/>
                <a:gd fmla="*/ 152 h 204" name="T57"/>
                <a:gd fmla="*/ 132 w 176" name="T58"/>
                <a:gd fmla="*/ 150 h 204" name="T59"/>
                <a:gd fmla="*/ 112 w 176" name="T60"/>
                <a:gd fmla="*/ 180 h 204" name="T61"/>
                <a:gd fmla="*/ 106 w 176" name="T62"/>
                <a:gd fmla="*/ 190 h 204" name="T63"/>
                <a:gd fmla="*/ 98 w 176" name="T64"/>
                <a:gd fmla="*/ 186 h 204" name="T65"/>
                <a:gd fmla="*/ 84 w 176" name="T66"/>
                <a:gd fmla="*/ 200 h 204" name="T67"/>
                <a:gd fmla="*/ 82 w 176" name="T68"/>
                <a:gd fmla="*/ 194 h 204" name="T69"/>
                <a:gd fmla="*/ 76 w 176" name="T70"/>
                <a:gd fmla="*/ 188 h 204" name="T71"/>
                <a:gd fmla="*/ 56 w 176" name="T72"/>
                <a:gd fmla="*/ 188 h 204" name="T73"/>
                <a:gd fmla="*/ 50 w 176" name="T74"/>
                <a:gd fmla="*/ 198 h 204" name="T75"/>
                <a:gd fmla="*/ 46 w 176" name="T76"/>
                <a:gd fmla="*/ 202 h 204" name="T77"/>
                <a:gd fmla="*/ 40 w 176" name="T78"/>
                <a:gd fmla="*/ 204 h 204" name="T79"/>
                <a:gd fmla="*/ 30 w 176" name="T80"/>
                <a:gd fmla="*/ 160 h 204" name="T81"/>
                <a:gd fmla="*/ 30 w 176" name="T82"/>
                <a:gd fmla="*/ 150 h 204" name="T83"/>
                <a:gd fmla="*/ 24 w 176" name="T84"/>
                <a:gd fmla="*/ 138 h 204" name="T85"/>
                <a:gd fmla="*/ 10 w 176" name="T86"/>
                <a:gd fmla="*/ 118 h 204" name="T87"/>
                <a:gd fmla="*/ 2 w 176" name="T88"/>
                <a:gd fmla="*/ 102 h 204" name="T8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b="b" l="0" r="r" t="0"/>
              <a:pathLst>
                <a:path h="204" w="176">
                  <a:moveTo>
                    <a:pt x="0" y="96"/>
                  </a:moveTo>
                  <a:lnTo>
                    <a:pt x="2" y="94"/>
                  </a:lnTo>
                  <a:lnTo>
                    <a:pt x="2" y="94"/>
                  </a:lnTo>
                  <a:lnTo>
                    <a:pt x="4" y="94"/>
                  </a:lnTo>
                  <a:lnTo>
                    <a:pt x="6" y="92"/>
                  </a:lnTo>
                  <a:lnTo>
                    <a:pt x="8" y="90"/>
                  </a:lnTo>
                  <a:lnTo>
                    <a:pt x="12" y="88"/>
                  </a:lnTo>
                  <a:lnTo>
                    <a:pt x="18" y="86"/>
                  </a:lnTo>
                  <a:lnTo>
                    <a:pt x="22" y="84"/>
                  </a:lnTo>
                  <a:lnTo>
                    <a:pt x="24" y="84"/>
                  </a:lnTo>
                  <a:lnTo>
                    <a:pt x="26" y="82"/>
                  </a:lnTo>
                  <a:lnTo>
                    <a:pt x="28" y="80"/>
                  </a:lnTo>
                  <a:lnTo>
                    <a:pt x="28" y="76"/>
                  </a:lnTo>
                  <a:lnTo>
                    <a:pt x="28" y="74"/>
                  </a:lnTo>
                  <a:lnTo>
                    <a:pt x="26" y="70"/>
                  </a:lnTo>
                  <a:lnTo>
                    <a:pt x="26" y="68"/>
                  </a:lnTo>
                  <a:lnTo>
                    <a:pt x="24" y="68"/>
                  </a:lnTo>
                  <a:lnTo>
                    <a:pt x="24" y="66"/>
                  </a:lnTo>
                  <a:lnTo>
                    <a:pt x="24" y="62"/>
                  </a:lnTo>
                  <a:lnTo>
                    <a:pt x="24" y="56"/>
                  </a:lnTo>
                  <a:lnTo>
                    <a:pt x="24" y="52"/>
                  </a:lnTo>
                  <a:lnTo>
                    <a:pt x="26" y="48"/>
                  </a:lnTo>
                  <a:lnTo>
                    <a:pt x="26" y="46"/>
                  </a:lnTo>
                  <a:lnTo>
                    <a:pt x="28" y="44"/>
                  </a:lnTo>
                  <a:lnTo>
                    <a:pt x="28" y="40"/>
                  </a:lnTo>
                  <a:lnTo>
                    <a:pt x="26" y="38"/>
                  </a:lnTo>
                  <a:lnTo>
                    <a:pt x="26" y="36"/>
                  </a:lnTo>
                  <a:lnTo>
                    <a:pt x="26" y="36"/>
                  </a:lnTo>
                  <a:lnTo>
                    <a:pt x="16" y="20"/>
                  </a:lnTo>
                  <a:lnTo>
                    <a:pt x="34" y="18"/>
                  </a:lnTo>
                  <a:lnTo>
                    <a:pt x="36" y="18"/>
                  </a:lnTo>
                  <a:lnTo>
                    <a:pt x="38" y="18"/>
                  </a:lnTo>
                  <a:lnTo>
                    <a:pt x="42" y="16"/>
                  </a:lnTo>
                  <a:lnTo>
                    <a:pt x="44" y="12"/>
                  </a:lnTo>
                  <a:lnTo>
                    <a:pt x="46" y="10"/>
                  </a:lnTo>
                  <a:lnTo>
                    <a:pt x="48" y="8"/>
                  </a:lnTo>
                  <a:lnTo>
                    <a:pt x="52" y="6"/>
                  </a:lnTo>
                  <a:lnTo>
                    <a:pt x="54" y="4"/>
                  </a:lnTo>
                  <a:lnTo>
                    <a:pt x="58" y="4"/>
                  </a:lnTo>
                  <a:lnTo>
                    <a:pt x="60" y="6"/>
                  </a:lnTo>
                  <a:lnTo>
                    <a:pt x="62" y="6"/>
                  </a:lnTo>
                  <a:lnTo>
                    <a:pt x="64" y="6"/>
                  </a:lnTo>
                  <a:lnTo>
                    <a:pt x="66" y="4"/>
                  </a:lnTo>
                  <a:lnTo>
                    <a:pt x="66" y="2"/>
                  </a:lnTo>
                  <a:lnTo>
                    <a:pt x="68" y="0"/>
                  </a:lnTo>
                  <a:lnTo>
                    <a:pt x="70" y="0"/>
                  </a:lnTo>
                  <a:lnTo>
                    <a:pt x="72" y="0"/>
                  </a:lnTo>
                  <a:lnTo>
                    <a:pt x="74" y="2"/>
                  </a:lnTo>
                  <a:lnTo>
                    <a:pt x="74" y="6"/>
                  </a:lnTo>
                  <a:lnTo>
                    <a:pt x="72" y="10"/>
                  </a:lnTo>
                  <a:lnTo>
                    <a:pt x="72" y="20"/>
                  </a:lnTo>
                  <a:lnTo>
                    <a:pt x="76" y="32"/>
                  </a:lnTo>
                  <a:lnTo>
                    <a:pt x="86" y="42"/>
                  </a:lnTo>
                  <a:lnTo>
                    <a:pt x="98" y="46"/>
                  </a:lnTo>
                  <a:lnTo>
                    <a:pt x="108" y="44"/>
                  </a:lnTo>
                  <a:lnTo>
                    <a:pt x="108" y="46"/>
                  </a:lnTo>
                  <a:lnTo>
                    <a:pt x="110" y="48"/>
                  </a:lnTo>
                  <a:lnTo>
                    <a:pt x="112" y="52"/>
                  </a:lnTo>
                  <a:lnTo>
                    <a:pt x="114" y="56"/>
                  </a:lnTo>
                  <a:lnTo>
                    <a:pt x="118" y="60"/>
                  </a:lnTo>
                  <a:lnTo>
                    <a:pt x="124" y="62"/>
                  </a:lnTo>
                  <a:lnTo>
                    <a:pt x="124" y="62"/>
                  </a:lnTo>
                  <a:lnTo>
                    <a:pt x="128" y="66"/>
                  </a:lnTo>
                  <a:lnTo>
                    <a:pt x="132" y="68"/>
                  </a:lnTo>
                  <a:lnTo>
                    <a:pt x="136" y="72"/>
                  </a:lnTo>
                  <a:lnTo>
                    <a:pt x="140" y="78"/>
                  </a:lnTo>
                  <a:lnTo>
                    <a:pt x="142" y="82"/>
                  </a:lnTo>
                  <a:lnTo>
                    <a:pt x="144" y="88"/>
                  </a:lnTo>
                  <a:lnTo>
                    <a:pt x="166" y="90"/>
                  </a:lnTo>
                  <a:lnTo>
                    <a:pt x="166" y="92"/>
                  </a:lnTo>
                  <a:lnTo>
                    <a:pt x="166" y="94"/>
                  </a:lnTo>
                  <a:lnTo>
                    <a:pt x="166" y="98"/>
                  </a:lnTo>
                  <a:lnTo>
                    <a:pt x="166" y="102"/>
                  </a:lnTo>
                  <a:lnTo>
                    <a:pt x="168" y="104"/>
                  </a:lnTo>
                  <a:lnTo>
                    <a:pt x="168" y="104"/>
                  </a:lnTo>
                  <a:lnTo>
                    <a:pt x="170" y="106"/>
                  </a:lnTo>
                  <a:lnTo>
                    <a:pt x="172" y="106"/>
                  </a:lnTo>
                  <a:lnTo>
                    <a:pt x="174" y="108"/>
                  </a:lnTo>
                  <a:lnTo>
                    <a:pt x="176" y="112"/>
                  </a:lnTo>
                  <a:lnTo>
                    <a:pt x="176" y="116"/>
                  </a:lnTo>
                  <a:lnTo>
                    <a:pt x="176" y="120"/>
                  </a:lnTo>
                  <a:lnTo>
                    <a:pt x="176" y="132"/>
                  </a:lnTo>
                  <a:lnTo>
                    <a:pt x="176" y="144"/>
                  </a:lnTo>
                  <a:lnTo>
                    <a:pt x="174" y="156"/>
                  </a:lnTo>
                  <a:lnTo>
                    <a:pt x="172" y="162"/>
                  </a:lnTo>
                  <a:lnTo>
                    <a:pt x="170" y="160"/>
                  </a:lnTo>
                  <a:lnTo>
                    <a:pt x="162" y="152"/>
                  </a:lnTo>
                  <a:lnTo>
                    <a:pt x="150" y="148"/>
                  </a:lnTo>
                  <a:lnTo>
                    <a:pt x="136" y="148"/>
                  </a:lnTo>
                  <a:lnTo>
                    <a:pt x="132" y="150"/>
                  </a:lnTo>
                  <a:lnTo>
                    <a:pt x="126" y="158"/>
                  </a:lnTo>
                  <a:lnTo>
                    <a:pt x="116" y="168"/>
                  </a:lnTo>
                  <a:lnTo>
                    <a:pt x="112" y="180"/>
                  </a:lnTo>
                  <a:lnTo>
                    <a:pt x="108" y="192"/>
                  </a:lnTo>
                  <a:lnTo>
                    <a:pt x="108" y="190"/>
                  </a:lnTo>
                  <a:lnTo>
                    <a:pt x="106" y="190"/>
                  </a:lnTo>
                  <a:lnTo>
                    <a:pt x="104" y="188"/>
                  </a:lnTo>
                  <a:lnTo>
                    <a:pt x="102" y="186"/>
                  </a:lnTo>
                  <a:lnTo>
                    <a:pt x="98" y="186"/>
                  </a:lnTo>
                  <a:lnTo>
                    <a:pt x="94" y="188"/>
                  </a:lnTo>
                  <a:lnTo>
                    <a:pt x="88" y="192"/>
                  </a:lnTo>
                  <a:lnTo>
                    <a:pt x="84" y="200"/>
                  </a:lnTo>
                  <a:lnTo>
                    <a:pt x="84" y="200"/>
                  </a:lnTo>
                  <a:lnTo>
                    <a:pt x="82" y="196"/>
                  </a:lnTo>
                  <a:lnTo>
                    <a:pt x="82" y="194"/>
                  </a:lnTo>
                  <a:lnTo>
                    <a:pt x="80" y="192"/>
                  </a:lnTo>
                  <a:lnTo>
                    <a:pt x="78" y="188"/>
                  </a:lnTo>
                  <a:lnTo>
                    <a:pt x="76" y="188"/>
                  </a:lnTo>
                  <a:lnTo>
                    <a:pt x="58" y="184"/>
                  </a:lnTo>
                  <a:lnTo>
                    <a:pt x="58" y="186"/>
                  </a:lnTo>
                  <a:lnTo>
                    <a:pt x="56" y="188"/>
                  </a:lnTo>
                  <a:lnTo>
                    <a:pt x="54" y="192"/>
                  </a:lnTo>
                  <a:lnTo>
                    <a:pt x="52" y="194"/>
                  </a:lnTo>
                  <a:lnTo>
                    <a:pt x="50" y="198"/>
                  </a:lnTo>
                  <a:lnTo>
                    <a:pt x="48" y="198"/>
                  </a:lnTo>
                  <a:lnTo>
                    <a:pt x="46" y="200"/>
                  </a:lnTo>
                  <a:lnTo>
                    <a:pt x="46" y="202"/>
                  </a:lnTo>
                  <a:lnTo>
                    <a:pt x="44" y="202"/>
                  </a:lnTo>
                  <a:lnTo>
                    <a:pt x="42" y="204"/>
                  </a:lnTo>
                  <a:lnTo>
                    <a:pt x="40" y="204"/>
                  </a:lnTo>
                  <a:lnTo>
                    <a:pt x="38" y="202"/>
                  </a:lnTo>
                  <a:lnTo>
                    <a:pt x="34" y="180"/>
                  </a:lnTo>
                  <a:lnTo>
                    <a:pt x="30" y="160"/>
                  </a:lnTo>
                  <a:lnTo>
                    <a:pt x="30" y="158"/>
                  </a:lnTo>
                  <a:lnTo>
                    <a:pt x="30" y="154"/>
                  </a:lnTo>
                  <a:lnTo>
                    <a:pt x="30" y="150"/>
                  </a:lnTo>
                  <a:lnTo>
                    <a:pt x="28" y="144"/>
                  </a:lnTo>
                  <a:lnTo>
                    <a:pt x="26" y="140"/>
                  </a:lnTo>
                  <a:lnTo>
                    <a:pt x="24" y="138"/>
                  </a:lnTo>
                  <a:lnTo>
                    <a:pt x="12" y="122"/>
                  </a:lnTo>
                  <a:lnTo>
                    <a:pt x="12" y="120"/>
                  </a:lnTo>
                  <a:lnTo>
                    <a:pt x="10" y="118"/>
                  </a:lnTo>
                  <a:lnTo>
                    <a:pt x="6" y="114"/>
                  </a:lnTo>
                  <a:lnTo>
                    <a:pt x="4" y="108"/>
                  </a:lnTo>
                  <a:lnTo>
                    <a:pt x="2" y="102"/>
                  </a:lnTo>
                  <a:lnTo>
                    <a:pt x="0" y="9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1" name="Freeform 508"/>
            <p:cNvSpPr/>
            <p:nvPr/>
          </p:nvSpPr>
          <p:spPr bwMode="gray">
            <a:xfrm>
              <a:off x="7359479" y="4709680"/>
              <a:ext cx="329549" cy="451437"/>
            </a:xfrm>
            <a:custGeom>
              <a:gdLst>
                <a:gd fmla="*/ 72 w 178" name="T0"/>
                <a:gd fmla="*/ 216 h 244" name="T1"/>
                <a:gd fmla="*/ 68 w 178" name="T2"/>
                <a:gd fmla="*/ 200 h 244" name="T3"/>
                <a:gd fmla="*/ 58 w 178" name="T4"/>
                <a:gd fmla="*/ 176 h 244" name="T5"/>
                <a:gd fmla="*/ 46 w 178" name="T6"/>
                <a:gd fmla="*/ 148 h 244" name="T7"/>
                <a:gd fmla="*/ 18 w 178" name="T8"/>
                <a:gd fmla="*/ 108 h 244" name="T9"/>
                <a:gd fmla="*/ 4 w 178" name="T10"/>
                <a:gd fmla="*/ 90 h 244" name="T11"/>
                <a:gd fmla="*/ 6 w 178" name="T12"/>
                <a:gd fmla="*/ 84 h 244" name="T13"/>
                <a:gd fmla="*/ 4 w 178" name="T14"/>
                <a:gd fmla="*/ 78 h 244" name="T15"/>
                <a:gd fmla="*/ 0 w 178" name="T16"/>
                <a:gd fmla="*/ 74 h 244" name="T17"/>
                <a:gd fmla="*/ 6 w 178" name="T18"/>
                <a:gd fmla="*/ 64 h 244" name="T19"/>
                <a:gd fmla="*/ 14 w 178" name="T20"/>
                <a:gd fmla="*/ 64 h 244" name="T21"/>
                <a:gd fmla="*/ 28 w 178" name="T22"/>
                <a:gd fmla="*/ 68 h 244" name="T23"/>
                <a:gd fmla="*/ 36 w 178" name="T24"/>
                <a:gd fmla="*/ 66 h 244" name="T25"/>
                <a:gd fmla="*/ 38 w 178" name="T26"/>
                <a:gd fmla="*/ 62 h 244" name="T27"/>
                <a:gd fmla="*/ 42 w 178" name="T28"/>
                <a:gd fmla="*/ 54 h 244" name="T29"/>
                <a:gd fmla="*/ 46 w 178" name="T30"/>
                <a:gd fmla="*/ 48 h 244" name="T31"/>
                <a:gd fmla="*/ 60 w 178" name="T32"/>
                <a:gd fmla="*/ 44 h 244" name="T33"/>
                <a:gd fmla="*/ 82 w 178" name="T34"/>
                <a:gd fmla="*/ 18 h 244" name="T35"/>
                <a:gd fmla="*/ 82 w 178" name="T36"/>
                <a:gd fmla="*/ 8 h 244" name="T37"/>
                <a:gd fmla="*/ 88 w 178" name="T38"/>
                <a:gd fmla="*/ 4 h 244" name="T39"/>
                <a:gd fmla="*/ 100 w 178" name="T40"/>
                <a:gd fmla="*/ 8 h 244" name="T41"/>
                <a:gd fmla="*/ 116 w 178" name="T42"/>
                <a:gd fmla="*/ 14 h 244" name="T43"/>
                <a:gd fmla="*/ 124 w 178" name="T44"/>
                <a:gd fmla="*/ 22 h 244" name="T45"/>
                <a:gd fmla="*/ 126 w 178" name="T46"/>
                <a:gd fmla="*/ 28 h 244" name="T47"/>
                <a:gd fmla="*/ 134 w 178" name="T48"/>
                <a:gd fmla="*/ 36 h 244" name="T49"/>
                <a:gd fmla="*/ 146 w 178" name="T50"/>
                <a:gd fmla="*/ 36 h 244" name="T51"/>
                <a:gd fmla="*/ 158 w 178" name="T52"/>
                <a:gd fmla="*/ 38 h 244" name="T53"/>
                <a:gd fmla="*/ 162 w 178" name="T54"/>
                <a:gd fmla="*/ 42 h 244" name="T55"/>
                <a:gd fmla="*/ 162 w 178" name="T56"/>
                <a:gd fmla="*/ 60 h 244" name="T57"/>
                <a:gd fmla="*/ 156 w 178" name="T58"/>
                <a:gd fmla="*/ 66 h 244" name="T59"/>
                <a:gd fmla="*/ 148 w 178" name="T60"/>
                <a:gd fmla="*/ 64 h 244" name="T61"/>
                <a:gd fmla="*/ 142 w 178" name="T62"/>
                <a:gd fmla="*/ 66 h 244" name="T63"/>
                <a:gd fmla="*/ 128 w 178" name="T64"/>
                <a:gd fmla="*/ 72 h 244" name="T65"/>
                <a:gd fmla="*/ 122 w 178" name="T66"/>
                <a:gd fmla="*/ 82 h 244" name="T67"/>
                <a:gd fmla="*/ 118 w 178" name="T68"/>
                <a:gd fmla="*/ 92 h 244" name="T69"/>
                <a:gd fmla="*/ 114 w 178" name="T70"/>
                <a:gd fmla="*/ 98 h 244" name="T71"/>
                <a:gd fmla="*/ 110 w 178" name="T72"/>
                <a:gd fmla="*/ 116 h 244" name="T73"/>
                <a:gd fmla="*/ 114 w 178" name="T74"/>
                <a:gd fmla="*/ 126 h 244" name="T75"/>
                <a:gd fmla="*/ 116 w 178" name="T76"/>
                <a:gd fmla="*/ 134 h 244" name="T77"/>
                <a:gd fmla="*/ 118 w 178" name="T78"/>
                <a:gd fmla="*/ 134 h 244" name="T79"/>
                <a:gd fmla="*/ 126 w 178" name="T80"/>
                <a:gd fmla="*/ 134 h 244" name="T81"/>
                <a:gd fmla="*/ 126 w 178" name="T82"/>
                <a:gd fmla="*/ 136 h 244" name="T83"/>
                <a:gd fmla="*/ 138 w 178" name="T84"/>
                <a:gd fmla="*/ 140 h 244" name="T85"/>
                <a:gd fmla="*/ 142 w 178" name="T86"/>
                <a:gd fmla="*/ 140 h 244" name="T87"/>
                <a:gd fmla="*/ 150 w 178" name="T88"/>
                <a:gd fmla="*/ 134 h 244" name="T89"/>
                <a:gd fmla="*/ 152 w 178" name="T90"/>
                <a:gd fmla="*/ 156 h 244" name="T91"/>
                <a:gd fmla="*/ 156 w 178" name="T92"/>
                <a:gd fmla="*/ 158 h 244" name="T93"/>
                <a:gd fmla="*/ 164 w 178" name="T94"/>
                <a:gd fmla="*/ 160 h 244" name="T95"/>
                <a:gd fmla="*/ 176 w 178" name="T96"/>
                <a:gd fmla="*/ 176 h 244" name="T97"/>
                <a:gd fmla="*/ 178 w 178" name="T98"/>
                <a:gd fmla="*/ 184 h 244" name="T99"/>
                <a:gd fmla="*/ 174 w 178" name="T100"/>
                <a:gd fmla="*/ 192 h 244" name="T101"/>
                <a:gd fmla="*/ 174 w 178" name="T102"/>
                <a:gd fmla="*/ 206 h 244" name="T103"/>
                <a:gd fmla="*/ 176 w 178" name="T104"/>
                <a:gd fmla="*/ 210 h 244" name="T105"/>
                <a:gd fmla="*/ 178 w 178" name="T106"/>
                <a:gd fmla="*/ 220 h 244" name="T107"/>
                <a:gd fmla="*/ 170 w 178" name="T108"/>
                <a:gd fmla="*/ 224 h 244" name="T109"/>
                <a:gd fmla="*/ 156 w 178" name="T110"/>
                <a:gd fmla="*/ 230 h 244" name="T111"/>
                <a:gd fmla="*/ 148 w 178" name="T112"/>
                <a:gd fmla="*/ 238 h 244" name="T113"/>
                <a:gd fmla="*/ 132 w 178" name="T114"/>
                <a:gd fmla="*/ 244 h 244" name="T115"/>
                <a:gd fmla="*/ 120 w 178" name="T116"/>
                <a:gd fmla="*/ 244 h 244" name="T117"/>
                <a:gd fmla="*/ 112 w 178" name="T118"/>
                <a:gd fmla="*/ 240 h 244" name="T119"/>
                <a:gd fmla="*/ 98 w 178" name="T120"/>
                <a:gd fmla="*/ 234 h 244" name="T121"/>
                <a:gd fmla="*/ 82 w 178" name="T122"/>
                <a:gd fmla="*/ 226 h 244"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244" w="178">
                  <a:moveTo>
                    <a:pt x="82" y="226"/>
                  </a:moveTo>
                  <a:lnTo>
                    <a:pt x="76" y="222"/>
                  </a:lnTo>
                  <a:lnTo>
                    <a:pt x="72" y="216"/>
                  </a:lnTo>
                  <a:lnTo>
                    <a:pt x="70" y="210"/>
                  </a:lnTo>
                  <a:lnTo>
                    <a:pt x="68" y="204"/>
                  </a:lnTo>
                  <a:lnTo>
                    <a:pt x="68" y="200"/>
                  </a:lnTo>
                  <a:lnTo>
                    <a:pt x="66" y="196"/>
                  </a:lnTo>
                  <a:lnTo>
                    <a:pt x="64" y="190"/>
                  </a:lnTo>
                  <a:lnTo>
                    <a:pt x="58" y="176"/>
                  </a:lnTo>
                  <a:lnTo>
                    <a:pt x="52" y="164"/>
                  </a:lnTo>
                  <a:lnTo>
                    <a:pt x="48" y="152"/>
                  </a:lnTo>
                  <a:lnTo>
                    <a:pt x="46" y="148"/>
                  </a:lnTo>
                  <a:lnTo>
                    <a:pt x="40" y="136"/>
                  </a:lnTo>
                  <a:lnTo>
                    <a:pt x="30" y="122"/>
                  </a:lnTo>
                  <a:lnTo>
                    <a:pt x="18" y="108"/>
                  </a:lnTo>
                  <a:lnTo>
                    <a:pt x="10" y="98"/>
                  </a:lnTo>
                  <a:lnTo>
                    <a:pt x="6" y="94"/>
                  </a:lnTo>
                  <a:lnTo>
                    <a:pt x="4" y="90"/>
                  </a:lnTo>
                  <a:lnTo>
                    <a:pt x="4" y="86"/>
                  </a:lnTo>
                  <a:lnTo>
                    <a:pt x="4" y="84"/>
                  </a:lnTo>
                  <a:lnTo>
                    <a:pt x="6" y="84"/>
                  </a:lnTo>
                  <a:lnTo>
                    <a:pt x="6" y="84"/>
                  </a:lnTo>
                  <a:lnTo>
                    <a:pt x="6" y="80"/>
                  </a:lnTo>
                  <a:lnTo>
                    <a:pt x="4" y="78"/>
                  </a:lnTo>
                  <a:lnTo>
                    <a:pt x="4" y="76"/>
                  </a:lnTo>
                  <a:lnTo>
                    <a:pt x="2" y="74"/>
                  </a:lnTo>
                  <a:lnTo>
                    <a:pt x="0" y="74"/>
                  </a:lnTo>
                  <a:lnTo>
                    <a:pt x="2" y="68"/>
                  </a:lnTo>
                  <a:lnTo>
                    <a:pt x="4" y="66"/>
                  </a:lnTo>
                  <a:lnTo>
                    <a:pt x="6" y="64"/>
                  </a:lnTo>
                  <a:lnTo>
                    <a:pt x="8" y="62"/>
                  </a:lnTo>
                  <a:lnTo>
                    <a:pt x="10" y="62"/>
                  </a:lnTo>
                  <a:lnTo>
                    <a:pt x="14" y="64"/>
                  </a:lnTo>
                  <a:lnTo>
                    <a:pt x="16" y="66"/>
                  </a:lnTo>
                  <a:lnTo>
                    <a:pt x="26" y="66"/>
                  </a:lnTo>
                  <a:lnTo>
                    <a:pt x="28" y="68"/>
                  </a:lnTo>
                  <a:lnTo>
                    <a:pt x="30" y="68"/>
                  </a:lnTo>
                  <a:lnTo>
                    <a:pt x="34" y="68"/>
                  </a:lnTo>
                  <a:lnTo>
                    <a:pt x="36" y="66"/>
                  </a:lnTo>
                  <a:lnTo>
                    <a:pt x="36" y="64"/>
                  </a:lnTo>
                  <a:lnTo>
                    <a:pt x="36" y="64"/>
                  </a:lnTo>
                  <a:lnTo>
                    <a:pt x="38" y="62"/>
                  </a:lnTo>
                  <a:lnTo>
                    <a:pt x="40" y="60"/>
                  </a:lnTo>
                  <a:lnTo>
                    <a:pt x="40" y="56"/>
                  </a:lnTo>
                  <a:lnTo>
                    <a:pt x="42" y="54"/>
                  </a:lnTo>
                  <a:lnTo>
                    <a:pt x="42" y="54"/>
                  </a:lnTo>
                  <a:lnTo>
                    <a:pt x="44" y="50"/>
                  </a:lnTo>
                  <a:lnTo>
                    <a:pt x="46" y="48"/>
                  </a:lnTo>
                  <a:lnTo>
                    <a:pt x="46" y="48"/>
                  </a:lnTo>
                  <a:lnTo>
                    <a:pt x="48" y="48"/>
                  </a:lnTo>
                  <a:lnTo>
                    <a:pt x="60" y="44"/>
                  </a:lnTo>
                  <a:lnTo>
                    <a:pt x="70" y="36"/>
                  </a:lnTo>
                  <a:lnTo>
                    <a:pt x="78" y="28"/>
                  </a:lnTo>
                  <a:lnTo>
                    <a:pt x="82" y="18"/>
                  </a:lnTo>
                  <a:lnTo>
                    <a:pt x="84" y="14"/>
                  </a:lnTo>
                  <a:lnTo>
                    <a:pt x="84" y="10"/>
                  </a:lnTo>
                  <a:lnTo>
                    <a:pt x="82" y="8"/>
                  </a:lnTo>
                  <a:lnTo>
                    <a:pt x="82" y="4"/>
                  </a:lnTo>
                  <a:lnTo>
                    <a:pt x="82" y="0"/>
                  </a:lnTo>
                  <a:lnTo>
                    <a:pt x="88" y="4"/>
                  </a:lnTo>
                  <a:lnTo>
                    <a:pt x="94" y="6"/>
                  </a:lnTo>
                  <a:lnTo>
                    <a:pt x="96" y="6"/>
                  </a:lnTo>
                  <a:lnTo>
                    <a:pt x="100" y="8"/>
                  </a:lnTo>
                  <a:lnTo>
                    <a:pt x="104" y="10"/>
                  </a:lnTo>
                  <a:lnTo>
                    <a:pt x="110" y="12"/>
                  </a:lnTo>
                  <a:lnTo>
                    <a:pt x="116" y="14"/>
                  </a:lnTo>
                  <a:lnTo>
                    <a:pt x="122" y="18"/>
                  </a:lnTo>
                  <a:lnTo>
                    <a:pt x="124" y="22"/>
                  </a:lnTo>
                  <a:lnTo>
                    <a:pt x="124" y="22"/>
                  </a:lnTo>
                  <a:lnTo>
                    <a:pt x="124" y="24"/>
                  </a:lnTo>
                  <a:lnTo>
                    <a:pt x="124" y="26"/>
                  </a:lnTo>
                  <a:lnTo>
                    <a:pt x="126" y="28"/>
                  </a:lnTo>
                  <a:lnTo>
                    <a:pt x="126" y="32"/>
                  </a:lnTo>
                  <a:lnTo>
                    <a:pt x="130" y="34"/>
                  </a:lnTo>
                  <a:lnTo>
                    <a:pt x="134" y="36"/>
                  </a:lnTo>
                  <a:lnTo>
                    <a:pt x="140" y="36"/>
                  </a:lnTo>
                  <a:lnTo>
                    <a:pt x="142" y="36"/>
                  </a:lnTo>
                  <a:lnTo>
                    <a:pt x="146" y="36"/>
                  </a:lnTo>
                  <a:lnTo>
                    <a:pt x="150" y="36"/>
                  </a:lnTo>
                  <a:lnTo>
                    <a:pt x="154" y="38"/>
                  </a:lnTo>
                  <a:lnTo>
                    <a:pt x="158" y="38"/>
                  </a:lnTo>
                  <a:lnTo>
                    <a:pt x="158" y="38"/>
                  </a:lnTo>
                  <a:lnTo>
                    <a:pt x="160" y="40"/>
                  </a:lnTo>
                  <a:lnTo>
                    <a:pt x="162" y="42"/>
                  </a:lnTo>
                  <a:lnTo>
                    <a:pt x="162" y="44"/>
                  </a:lnTo>
                  <a:lnTo>
                    <a:pt x="156" y="60"/>
                  </a:lnTo>
                  <a:lnTo>
                    <a:pt x="162" y="60"/>
                  </a:lnTo>
                  <a:lnTo>
                    <a:pt x="162" y="66"/>
                  </a:lnTo>
                  <a:lnTo>
                    <a:pt x="156" y="66"/>
                  </a:lnTo>
                  <a:lnTo>
                    <a:pt x="156" y="66"/>
                  </a:lnTo>
                  <a:lnTo>
                    <a:pt x="154" y="64"/>
                  </a:lnTo>
                  <a:lnTo>
                    <a:pt x="152" y="64"/>
                  </a:lnTo>
                  <a:lnTo>
                    <a:pt x="148" y="64"/>
                  </a:lnTo>
                  <a:lnTo>
                    <a:pt x="146" y="66"/>
                  </a:lnTo>
                  <a:lnTo>
                    <a:pt x="146" y="66"/>
                  </a:lnTo>
                  <a:lnTo>
                    <a:pt x="142" y="66"/>
                  </a:lnTo>
                  <a:lnTo>
                    <a:pt x="138" y="68"/>
                  </a:lnTo>
                  <a:lnTo>
                    <a:pt x="134" y="68"/>
                  </a:lnTo>
                  <a:lnTo>
                    <a:pt x="128" y="72"/>
                  </a:lnTo>
                  <a:lnTo>
                    <a:pt x="124" y="76"/>
                  </a:lnTo>
                  <a:lnTo>
                    <a:pt x="122" y="80"/>
                  </a:lnTo>
                  <a:lnTo>
                    <a:pt x="122" y="82"/>
                  </a:lnTo>
                  <a:lnTo>
                    <a:pt x="122" y="86"/>
                  </a:lnTo>
                  <a:lnTo>
                    <a:pt x="120" y="90"/>
                  </a:lnTo>
                  <a:lnTo>
                    <a:pt x="118" y="92"/>
                  </a:lnTo>
                  <a:lnTo>
                    <a:pt x="118" y="94"/>
                  </a:lnTo>
                  <a:lnTo>
                    <a:pt x="116" y="96"/>
                  </a:lnTo>
                  <a:lnTo>
                    <a:pt x="114" y="98"/>
                  </a:lnTo>
                  <a:lnTo>
                    <a:pt x="112" y="102"/>
                  </a:lnTo>
                  <a:lnTo>
                    <a:pt x="110" y="108"/>
                  </a:lnTo>
                  <a:lnTo>
                    <a:pt x="110" y="116"/>
                  </a:lnTo>
                  <a:lnTo>
                    <a:pt x="114" y="122"/>
                  </a:lnTo>
                  <a:lnTo>
                    <a:pt x="114" y="124"/>
                  </a:lnTo>
                  <a:lnTo>
                    <a:pt x="114" y="126"/>
                  </a:lnTo>
                  <a:lnTo>
                    <a:pt x="116" y="128"/>
                  </a:lnTo>
                  <a:lnTo>
                    <a:pt x="116" y="132"/>
                  </a:lnTo>
                  <a:lnTo>
                    <a:pt x="116" y="134"/>
                  </a:lnTo>
                  <a:lnTo>
                    <a:pt x="116" y="134"/>
                  </a:lnTo>
                  <a:lnTo>
                    <a:pt x="116" y="134"/>
                  </a:lnTo>
                  <a:lnTo>
                    <a:pt x="118" y="134"/>
                  </a:lnTo>
                  <a:lnTo>
                    <a:pt x="120" y="132"/>
                  </a:lnTo>
                  <a:lnTo>
                    <a:pt x="122" y="132"/>
                  </a:lnTo>
                  <a:lnTo>
                    <a:pt x="126" y="134"/>
                  </a:lnTo>
                  <a:lnTo>
                    <a:pt x="126" y="136"/>
                  </a:lnTo>
                  <a:lnTo>
                    <a:pt x="126" y="136"/>
                  </a:lnTo>
                  <a:lnTo>
                    <a:pt x="126" y="136"/>
                  </a:lnTo>
                  <a:lnTo>
                    <a:pt x="128" y="138"/>
                  </a:lnTo>
                  <a:lnTo>
                    <a:pt x="132" y="138"/>
                  </a:lnTo>
                  <a:lnTo>
                    <a:pt x="138" y="140"/>
                  </a:lnTo>
                  <a:lnTo>
                    <a:pt x="140" y="140"/>
                  </a:lnTo>
                  <a:lnTo>
                    <a:pt x="142" y="140"/>
                  </a:lnTo>
                  <a:lnTo>
                    <a:pt x="142" y="140"/>
                  </a:lnTo>
                  <a:lnTo>
                    <a:pt x="144" y="138"/>
                  </a:lnTo>
                  <a:lnTo>
                    <a:pt x="148" y="136"/>
                  </a:lnTo>
                  <a:lnTo>
                    <a:pt x="150" y="134"/>
                  </a:lnTo>
                  <a:lnTo>
                    <a:pt x="152" y="132"/>
                  </a:lnTo>
                  <a:lnTo>
                    <a:pt x="154" y="130"/>
                  </a:lnTo>
                  <a:lnTo>
                    <a:pt x="152" y="156"/>
                  </a:lnTo>
                  <a:lnTo>
                    <a:pt x="152" y="156"/>
                  </a:lnTo>
                  <a:lnTo>
                    <a:pt x="154" y="158"/>
                  </a:lnTo>
                  <a:lnTo>
                    <a:pt x="156" y="158"/>
                  </a:lnTo>
                  <a:lnTo>
                    <a:pt x="160" y="160"/>
                  </a:lnTo>
                  <a:lnTo>
                    <a:pt x="160" y="160"/>
                  </a:lnTo>
                  <a:lnTo>
                    <a:pt x="164" y="160"/>
                  </a:lnTo>
                  <a:lnTo>
                    <a:pt x="166" y="160"/>
                  </a:lnTo>
                  <a:lnTo>
                    <a:pt x="176" y="176"/>
                  </a:lnTo>
                  <a:lnTo>
                    <a:pt x="176" y="176"/>
                  </a:lnTo>
                  <a:lnTo>
                    <a:pt x="176" y="178"/>
                  </a:lnTo>
                  <a:lnTo>
                    <a:pt x="178" y="180"/>
                  </a:lnTo>
                  <a:lnTo>
                    <a:pt x="178" y="184"/>
                  </a:lnTo>
                  <a:lnTo>
                    <a:pt x="176" y="186"/>
                  </a:lnTo>
                  <a:lnTo>
                    <a:pt x="176" y="188"/>
                  </a:lnTo>
                  <a:lnTo>
                    <a:pt x="174" y="192"/>
                  </a:lnTo>
                  <a:lnTo>
                    <a:pt x="174" y="196"/>
                  </a:lnTo>
                  <a:lnTo>
                    <a:pt x="174" y="202"/>
                  </a:lnTo>
                  <a:lnTo>
                    <a:pt x="174" y="206"/>
                  </a:lnTo>
                  <a:lnTo>
                    <a:pt x="174" y="208"/>
                  </a:lnTo>
                  <a:lnTo>
                    <a:pt x="176" y="208"/>
                  </a:lnTo>
                  <a:lnTo>
                    <a:pt x="176" y="210"/>
                  </a:lnTo>
                  <a:lnTo>
                    <a:pt x="178" y="214"/>
                  </a:lnTo>
                  <a:lnTo>
                    <a:pt x="178" y="216"/>
                  </a:lnTo>
                  <a:lnTo>
                    <a:pt x="178" y="220"/>
                  </a:lnTo>
                  <a:lnTo>
                    <a:pt x="176" y="222"/>
                  </a:lnTo>
                  <a:lnTo>
                    <a:pt x="174" y="224"/>
                  </a:lnTo>
                  <a:lnTo>
                    <a:pt x="170" y="224"/>
                  </a:lnTo>
                  <a:lnTo>
                    <a:pt x="166" y="226"/>
                  </a:lnTo>
                  <a:lnTo>
                    <a:pt x="160" y="228"/>
                  </a:lnTo>
                  <a:lnTo>
                    <a:pt x="156" y="230"/>
                  </a:lnTo>
                  <a:lnTo>
                    <a:pt x="154" y="234"/>
                  </a:lnTo>
                  <a:lnTo>
                    <a:pt x="152" y="236"/>
                  </a:lnTo>
                  <a:lnTo>
                    <a:pt x="148" y="238"/>
                  </a:lnTo>
                  <a:lnTo>
                    <a:pt x="142" y="240"/>
                  </a:lnTo>
                  <a:lnTo>
                    <a:pt x="138" y="242"/>
                  </a:lnTo>
                  <a:lnTo>
                    <a:pt x="132" y="244"/>
                  </a:lnTo>
                  <a:lnTo>
                    <a:pt x="130" y="244"/>
                  </a:lnTo>
                  <a:lnTo>
                    <a:pt x="128" y="244"/>
                  </a:lnTo>
                  <a:lnTo>
                    <a:pt x="120" y="244"/>
                  </a:lnTo>
                  <a:lnTo>
                    <a:pt x="118" y="244"/>
                  </a:lnTo>
                  <a:lnTo>
                    <a:pt x="116" y="242"/>
                  </a:lnTo>
                  <a:lnTo>
                    <a:pt x="112" y="240"/>
                  </a:lnTo>
                  <a:lnTo>
                    <a:pt x="108" y="238"/>
                  </a:lnTo>
                  <a:lnTo>
                    <a:pt x="104" y="236"/>
                  </a:lnTo>
                  <a:lnTo>
                    <a:pt x="98" y="234"/>
                  </a:lnTo>
                  <a:lnTo>
                    <a:pt x="96" y="232"/>
                  </a:lnTo>
                  <a:lnTo>
                    <a:pt x="94" y="230"/>
                  </a:lnTo>
                  <a:lnTo>
                    <a:pt x="82" y="22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2" name="Freeform 509"/>
            <p:cNvSpPr/>
            <p:nvPr/>
          </p:nvSpPr>
          <p:spPr bwMode="gray">
            <a:xfrm>
              <a:off x="7589052" y="4376653"/>
              <a:ext cx="325846" cy="318226"/>
            </a:xfrm>
            <a:custGeom>
              <a:gdLst>
                <a:gd fmla="*/ 166 w 176" name="T0"/>
                <a:gd fmla="*/ 50 h 172" name="T1"/>
                <a:gd fmla="*/ 162 w 176" name="T2"/>
                <a:gd fmla="*/ 46 h 172" name="T3"/>
                <a:gd fmla="*/ 152 w 176" name="T4"/>
                <a:gd fmla="*/ 38 h 172" name="T5"/>
                <a:gd fmla="*/ 142 w 176" name="T6"/>
                <a:gd fmla="*/ 34 h 172" name="T7"/>
                <a:gd fmla="*/ 134 w 176" name="T8"/>
                <a:gd fmla="*/ 26 h 172" name="T9"/>
                <a:gd fmla="*/ 126 w 176" name="T10"/>
                <a:gd fmla="*/ 22 h 172" name="T11"/>
                <a:gd fmla="*/ 110 w 176" name="T12"/>
                <a:gd fmla="*/ 26 h 172" name="T13"/>
                <a:gd fmla="*/ 100 w 176" name="T14"/>
                <a:gd fmla="*/ 30 h 172" name="T15"/>
                <a:gd fmla="*/ 84 w 176" name="T16"/>
                <a:gd fmla="*/ 32 h 172" name="T17"/>
                <a:gd fmla="*/ 72 w 176" name="T18"/>
                <a:gd fmla="*/ 30 h 172" name="T19"/>
                <a:gd fmla="*/ 62 w 176" name="T20"/>
                <a:gd fmla="*/ 22 h 172" name="T21"/>
                <a:gd fmla="*/ 54 w 176" name="T22"/>
                <a:gd fmla="*/ 14 h 172" name="T23"/>
                <a:gd fmla="*/ 48 w 176" name="T24"/>
                <a:gd fmla="*/ 6 h 172" name="T25"/>
                <a:gd fmla="*/ 42 w 176" name="T26"/>
                <a:gd fmla="*/ 4 h 172" name="T27"/>
                <a:gd fmla="*/ 42 w 176" name="T28"/>
                <a:gd fmla="*/ 0 h 172" name="T29"/>
                <a:gd fmla="*/ 40 w 176" name="T30"/>
                <a:gd fmla="*/ 2 h 172" name="T31"/>
                <a:gd fmla="*/ 40 w 176" name="T32"/>
                <a:gd fmla="*/ 6 h 172" name="T33"/>
                <a:gd fmla="*/ 38 w 176" name="T34"/>
                <a:gd fmla="*/ 8 h 172" name="T35"/>
                <a:gd fmla="*/ 36 w 176" name="T36"/>
                <a:gd fmla="*/ 12 h 172" name="T37"/>
                <a:gd fmla="*/ 36 w 176" name="T38"/>
                <a:gd fmla="*/ 16 h 172" name="T39"/>
                <a:gd fmla="*/ 36 w 176" name="T40"/>
                <a:gd fmla="*/ 20 h 172" name="T41"/>
                <a:gd fmla="*/ 32 w 176" name="T42"/>
                <a:gd fmla="*/ 18 h 172" name="T43"/>
                <a:gd fmla="*/ 32 w 176" name="T44"/>
                <a:gd fmla="*/ 14 h 172" name="T45"/>
                <a:gd fmla="*/ 34 w 176" name="T46"/>
                <a:gd fmla="*/ 10 h 172" name="T47"/>
                <a:gd fmla="*/ 32 w 176" name="T48"/>
                <a:gd fmla="*/ 6 h 172" name="T49"/>
                <a:gd fmla="*/ 24 w 176" name="T50"/>
                <a:gd fmla="*/ 10 h 172" name="T51"/>
                <a:gd fmla="*/ 18 w 176" name="T52"/>
                <a:gd fmla="*/ 16 h 172" name="T53"/>
                <a:gd fmla="*/ 10 w 176" name="T54"/>
                <a:gd fmla="*/ 20 h 172" name="T55"/>
                <a:gd fmla="*/ 0 w 176" name="T56"/>
                <a:gd fmla="*/ 30 h 172" name="T57"/>
                <a:gd fmla="*/ 0 w 176" name="T58"/>
                <a:gd fmla="*/ 36 h 172" name="T59"/>
                <a:gd fmla="*/ 2 w 176" name="T60"/>
                <a:gd fmla="*/ 48 h 172" name="T61"/>
                <a:gd fmla="*/ 4 w 176" name="T62"/>
                <a:gd fmla="*/ 54 h 172" name="T63"/>
                <a:gd fmla="*/ 2 w 176" name="T64"/>
                <a:gd fmla="*/ 62 h 172" name="T65"/>
                <a:gd fmla="*/ 0 w 176" name="T66"/>
                <a:gd fmla="*/ 72 h 172" name="T67"/>
                <a:gd fmla="*/ 6 w 176" name="T68"/>
                <a:gd fmla="*/ 84 h 172" name="T69"/>
                <a:gd fmla="*/ 48 w 176" name="T70"/>
                <a:gd fmla="*/ 98 h 172" name="T71"/>
                <a:gd fmla="*/ 56 w 176" name="T72"/>
                <a:gd fmla="*/ 98 h 172" name="T73"/>
                <a:gd fmla="*/ 62 w 176" name="T74"/>
                <a:gd fmla="*/ 96 h 172" name="T75"/>
                <a:gd fmla="*/ 66 w 176" name="T76"/>
                <a:gd fmla="*/ 96 h 172" name="T77"/>
                <a:gd fmla="*/ 66 w 176" name="T78"/>
                <a:gd fmla="*/ 102 h 172" name="T79"/>
                <a:gd fmla="*/ 60 w 176" name="T80"/>
                <a:gd fmla="*/ 108 h 172" name="T81"/>
                <a:gd fmla="*/ 60 w 176" name="T82"/>
                <a:gd fmla="*/ 122 h 172" name="T83"/>
                <a:gd fmla="*/ 60 w 176" name="T84"/>
                <a:gd fmla="*/ 140 h 172" name="T85"/>
                <a:gd fmla="*/ 64 w 176" name="T86"/>
                <a:gd fmla="*/ 148 h 172" name="T87"/>
                <a:gd fmla="*/ 68 w 176" name="T88"/>
                <a:gd fmla="*/ 164 h 172" name="T89"/>
                <a:gd fmla="*/ 116 w 176" name="T90"/>
                <a:gd fmla="*/ 152 h 172" name="T91"/>
                <a:gd fmla="*/ 122 w 176" name="T92"/>
                <a:gd fmla="*/ 140 h 172" name="T93"/>
                <a:gd fmla="*/ 116 w 176" name="T94"/>
                <a:gd fmla="*/ 140 h 172" name="T95"/>
                <a:gd fmla="*/ 112 w 176" name="T96"/>
                <a:gd fmla="*/ 136 h 172" name="T97"/>
                <a:gd fmla="*/ 108 w 176" name="T98"/>
                <a:gd fmla="*/ 126 h 172" name="T99"/>
                <a:gd fmla="*/ 104 w 176" name="T100"/>
                <a:gd fmla="*/ 124 h 172" name="T101"/>
                <a:gd fmla="*/ 106 w 176" name="T102"/>
                <a:gd fmla="*/ 118 h 172" name="T103"/>
                <a:gd fmla="*/ 126 w 176" name="T104"/>
                <a:gd fmla="*/ 124 h 172" name="T105"/>
                <a:gd fmla="*/ 144 w 176" name="T106"/>
                <a:gd fmla="*/ 124 h 172" name="T107"/>
                <a:gd fmla="*/ 156 w 176" name="T108"/>
                <a:gd fmla="*/ 122 h 172" name="T109"/>
                <a:gd fmla="*/ 162 w 176" name="T110"/>
                <a:gd fmla="*/ 120 h 172" name="T111"/>
                <a:gd fmla="*/ 156 w 176" name="T112"/>
                <a:gd fmla="*/ 100 h 172" name="T113"/>
                <a:gd fmla="*/ 154 w 176" name="T114"/>
                <a:gd fmla="*/ 90 h 172" name="T115"/>
                <a:gd fmla="*/ 166 w 176" name="T116"/>
                <a:gd fmla="*/ 76 h 172" name="T117"/>
                <a:gd fmla="*/ 168 w 176" name="T118"/>
                <a:gd fmla="*/ 62 h 172" name="T119"/>
                <a:gd fmla="*/ 176 w 176" name="T120"/>
                <a:gd fmla="*/ 58 h 172"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172" w="176">
                  <a:moveTo>
                    <a:pt x="176" y="58"/>
                  </a:moveTo>
                  <a:lnTo>
                    <a:pt x="170" y="54"/>
                  </a:lnTo>
                  <a:lnTo>
                    <a:pt x="166" y="50"/>
                  </a:lnTo>
                  <a:lnTo>
                    <a:pt x="166" y="50"/>
                  </a:lnTo>
                  <a:lnTo>
                    <a:pt x="164" y="48"/>
                  </a:lnTo>
                  <a:lnTo>
                    <a:pt x="162" y="46"/>
                  </a:lnTo>
                  <a:lnTo>
                    <a:pt x="160" y="44"/>
                  </a:lnTo>
                  <a:lnTo>
                    <a:pt x="156" y="40"/>
                  </a:lnTo>
                  <a:lnTo>
                    <a:pt x="152" y="38"/>
                  </a:lnTo>
                  <a:lnTo>
                    <a:pt x="146" y="36"/>
                  </a:lnTo>
                  <a:lnTo>
                    <a:pt x="144" y="34"/>
                  </a:lnTo>
                  <a:lnTo>
                    <a:pt x="142" y="34"/>
                  </a:lnTo>
                  <a:lnTo>
                    <a:pt x="138" y="32"/>
                  </a:lnTo>
                  <a:lnTo>
                    <a:pt x="136" y="28"/>
                  </a:lnTo>
                  <a:lnTo>
                    <a:pt x="134" y="26"/>
                  </a:lnTo>
                  <a:lnTo>
                    <a:pt x="132" y="24"/>
                  </a:lnTo>
                  <a:lnTo>
                    <a:pt x="132" y="24"/>
                  </a:lnTo>
                  <a:lnTo>
                    <a:pt x="126" y="22"/>
                  </a:lnTo>
                  <a:lnTo>
                    <a:pt x="120" y="24"/>
                  </a:lnTo>
                  <a:lnTo>
                    <a:pt x="116" y="24"/>
                  </a:lnTo>
                  <a:lnTo>
                    <a:pt x="110" y="26"/>
                  </a:lnTo>
                  <a:lnTo>
                    <a:pt x="108" y="26"/>
                  </a:lnTo>
                  <a:lnTo>
                    <a:pt x="106" y="28"/>
                  </a:lnTo>
                  <a:lnTo>
                    <a:pt x="100" y="30"/>
                  </a:lnTo>
                  <a:lnTo>
                    <a:pt x="94" y="32"/>
                  </a:lnTo>
                  <a:lnTo>
                    <a:pt x="88" y="32"/>
                  </a:lnTo>
                  <a:lnTo>
                    <a:pt x="84" y="32"/>
                  </a:lnTo>
                  <a:lnTo>
                    <a:pt x="80" y="32"/>
                  </a:lnTo>
                  <a:lnTo>
                    <a:pt x="78" y="32"/>
                  </a:lnTo>
                  <a:lnTo>
                    <a:pt x="72" y="30"/>
                  </a:lnTo>
                  <a:lnTo>
                    <a:pt x="68" y="28"/>
                  </a:lnTo>
                  <a:lnTo>
                    <a:pt x="64" y="24"/>
                  </a:lnTo>
                  <a:lnTo>
                    <a:pt x="62" y="22"/>
                  </a:lnTo>
                  <a:lnTo>
                    <a:pt x="62" y="22"/>
                  </a:lnTo>
                  <a:lnTo>
                    <a:pt x="56" y="18"/>
                  </a:lnTo>
                  <a:lnTo>
                    <a:pt x="54" y="14"/>
                  </a:lnTo>
                  <a:lnTo>
                    <a:pt x="50" y="10"/>
                  </a:lnTo>
                  <a:lnTo>
                    <a:pt x="50" y="8"/>
                  </a:lnTo>
                  <a:lnTo>
                    <a:pt x="48" y="6"/>
                  </a:lnTo>
                  <a:lnTo>
                    <a:pt x="46" y="4"/>
                  </a:lnTo>
                  <a:lnTo>
                    <a:pt x="44" y="4"/>
                  </a:lnTo>
                  <a:lnTo>
                    <a:pt x="42" y="4"/>
                  </a:lnTo>
                  <a:lnTo>
                    <a:pt x="42" y="2"/>
                  </a:lnTo>
                  <a:lnTo>
                    <a:pt x="42" y="2"/>
                  </a:lnTo>
                  <a:lnTo>
                    <a:pt x="42" y="0"/>
                  </a:lnTo>
                  <a:lnTo>
                    <a:pt x="42" y="0"/>
                  </a:lnTo>
                  <a:lnTo>
                    <a:pt x="40" y="0"/>
                  </a:lnTo>
                  <a:lnTo>
                    <a:pt x="40" y="2"/>
                  </a:lnTo>
                  <a:lnTo>
                    <a:pt x="42" y="4"/>
                  </a:lnTo>
                  <a:lnTo>
                    <a:pt x="40" y="4"/>
                  </a:lnTo>
                  <a:lnTo>
                    <a:pt x="40" y="6"/>
                  </a:lnTo>
                  <a:lnTo>
                    <a:pt x="40" y="8"/>
                  </a:lnTo>
                  <a:lnTo>
                    <a:pt x="38" y="8"/>
                  </a:lnTo>
                  <a:lnTo>
                    <a:pt x="38" y="8"/>
                  </a:lnTo>
                  <a:lnTo>
                    <a:pt x="38" y="10"/>
                  </a:lnTo>
                  <a:lnTo>
                    <a:pt x="36" y="12"/>
                  </a:lnTo>
                  <a:lnTo>
                    <a:pt x="36" y="12"/>
                  </a:lnTo>
                  <a:lnTo>
                    <a:pt x="36" y="12"/>
                  </a:lnTo>
                  <a:lnTo>
                    <a:pt x="36" y="14"/>
                  </a:lnTo>
                  <a:lnTo>
                    <a:pt x="36" y="16"/>
                  </a:lnTo>
                  <a:lnTo>
                    <a:pt x="36" y="16"/>
                  </a:lnTo>
                  <a:lnTo>
                    <a:pt x="36" y="18"/>
                  </a:lnTo>
                  <a:lnTo>
                    <a:pt x="36" y="20"/>
                  </a:lnTo>
                  <a:lnTo>
                    <a:pt x="34" y="20"/>
                  </a:lnTo>
                  <a:lnTo>
                    <a:pt x="34" y="20"/>
                  </a:lnTo>
                  <a:lnTo>
                    <a:pt x="32" y="18"/>
                  </a:lnTo>
                  <a:lnTo>
                    <a:pt x="32" y="16"/>
                  </a:lnTo>
                  <a:lnTo>
                    <a:pt x="32" y="16"/>
                  </a:lnTo>
                  <a:lnTo>
                    <a:pt x="32" y="14"/>
                  </a:lnTo>
                  <a:lnTo>
                    <a:pt x="34" y="14"/>
                  </a:lnTo>
                  <a:lnTo>
                    <a:pt x="34" y="12"/>
                  </a:lnTo>
                  <a:lnTo>
                    <a:pt x="34" y="10"/>
                  </a:lnTo>
                  <a:lnTo>
                    <a:pt x="32" y="8"/>
                  </a:lnTo>
                  <a:lnTo>
                    <a:pt x="32" y="6"/>
                  </a:lnTo>
                  <a:lnTo>
                    <a:pt x="32" y="6"/>
                  </a:lnTo>
                  <a:lnTo>
                    <a:pt x="32" y="4"/>
                  </a:lnTo>
                  <a:lnTo>
                    <a:pt x="28" y="6"/>
                  </a:lnTo>
                  <a:lnTo>
                    <a:pt x="24" y="10"/>
                  </a:lnTo>
                  <a:lnTo>
                    <a:pt x="22" y="14"/>
                  </a:lnTo>
                  <a:lnTo>
                    <a:pt x="20" y="16"/>
                  </a:lnTo>
                  <a:lnTo>
                    <a:pt x="18" y="16"/>
                  </a:lnTo>
                  <a:lnTo>
                    <a:pt x="18" y="18"/>
                  </a:lnTo>
                  <a:lnTo>
                    <a:pt x="14" y="18"/>
                  </a:lnTo>
                  <a:lnTo>
                    <a:pt x="10" y="20"/>
                  </a:lnTo>
                  <a:lnTo>
                    <a:pt x="6" y="24"/>
                  </a:lnTo>
                  <a:lnTo>
                    <a:pt x="2" y="26"/>
                  </a:lnTo>
                  <a:lnTo>
                    <a:pt x="0" y="30"/>
                  </a:lnTo>
                  <a:lnTo>
                    <a:pt x="0" y="30"/>
                  </a:lnTo>
                  <a:lnTo>
                    <a:pt x="0" y="32"/>
                  </a:lnTo>
                  <a:lnTo>
                    <a:pt x="0" y="36"/>
                  </a:lnTo>
                  <a:lnTo>
                    <a:pt x="0" y="42"/>
                  </a:lnTo>
                  <a:lnTo>
                    <a:pt x="0" y="46"/>
                  </a:lnTo>
                  <a:lnTo>
                    <a:pt x="2" y="48"/>
                  </a:lnTo>
                  <a:lnTo>
                    <a:pt x="2" y="48"/>
                  </a:lnTo>
                  <a:lnTo>
                    <a:pt x="2" y="50"/>
                  </a:lnTo>
                  <a:lnTo>
                    <a:pt x="4" y="54"/>
                  </a:lnTo>
                  <a:lnTo>
                    <a:pt x="4" y="58"/>
                  </a:lnTo>
                  <a:lnTo>
                    <a:pt x="2" y="60"/>
                  </a:lnTo>
                  <a:lnTo>
                    <a:pt x="2" y="62"/>
                  </a:lnTo>
                  <a:lnTo>
                    <a:pt x="2" y="64"/>
                  </a:lnTo>
                  <a:lnTo>
                    <a:pt x="0" y="68"/>
                  </a:lnTo>
                  <a:lnTo>
                    <a:pt x="0" y="72"/>
                  </a:lnTo>
                  <a:lnTo>
                    <a:pt x="2" y="76"/>
                  </a:lnTo>
                  <a:lnTo>
                    <a:pt x="2" y="80"/>
                  </a:lnTo>
                  <a:lnTo>
                    <a:pt x="6" y="84"/>
                  </a:lnTo>
                  <a:lnTo>
                    <a:pt x="12" y="86"/>
                  </a:lnTo>
                  <a:lnTo>
                    <a:pt x="44" y="90"/>
                  </a:lnTo>
                  <a:lnTo>
                    <a:pt x="48" y="98"/>
                  </a:lnTo>
                  <a:lnTo>
                    <a:pt x="48" y="98"/>
                  </a:lnTo>
                  <a:lnTo>
                    <a:pt x="52" y="98"/>
                  </a:lnTo>
                  <a:lnTo>
                    <a:pt x="56" y="98"/>
                  </a:lnTo>
                  <a:lnTo>
                    <a:pt x="60" y="98"/>
                  </a:lnTo>
                  <a:lnTo>
                    <a:pt x="60" y="98"/>
                  </a:lnTo>
                  <a:lnTo>
                    <a:pt x="62" y="96"/>
                  </a:lnTo>
                  <a:lnTo>
                    <a:pt x="62" y="96"/>
                  </a:lnTo>
                  <a:lnTo>
                    <a:pt x="64" y="96"/>
                  </a:lnTo>
                  <a:lnTo>
                    <a:pt x="66" y="96"/>
                  </a:lnTo>
                  <a:lnTo>
                    <a:pt x="66" y="98"/>
                  </a:lnTo>
                  <a:lnTo>
                    <a:pt x="66" y="102"/>
                  </a:lnTo>
                  <a:lnTo>
                    <a:pt x="66" y="102"/>
                  </a:lnTo>
                  <a:lnTo>
                    <a:pt x="64" y="104"/>
                  </a:lnTo>
                  <a:lnTo>
                    <a:pt x="62" y="106"/>
                  </a:lnTo>
                  <a:lnTo>
                    <a:pt x="60" y="108"/>
                  </a:lnTo>
                  <a:lnTo>
                    <a:pt x="60" y="112"/>
                  </a:lnTo>
                  <a:lnTo>
                    <a:pt x="58" y="116"/>
                  </a:lnTo>
                  <a:lnTo>
                    <a:pt x="60" y="122"/>
                  </a:lnTo>
                  <a:lnTo>
                    <a:pt x="62" y="128"/>
                  </a:lnTo>
                  <a:lnTo>
                    <a:pt x="68" y="132"/>
                  </a:lnTo>
                  <a:lnTo>
                    <a:pt x="60" y="140"/>
                  </a:lnTo>
                  <a:lnTo>
                    <a:pt x="62" y="140"/>
                  </a:lnTo>
                  <a:lnTo>
                    <a:pt x="62" y="144"/>
                  </a:lnTo>
                  <a:lnTo>
                    <a:pt x="64" y="148"/>
                  </a:lnTo>
                  <a:lnTo>
                    <a:pt x="66" y="154"/>
                  </a:lnTo>
                  <a:lnTo>
                    <a:pt x="68" y="160"/>
                  </a:lnTo>
                  <a:lnTo>
                    <a:pt x="68" y="164"/>
                  </a:lnTo>
                  <a:lnTo>
                    <a:pt x="80" y="166"/>
                  </a:lnTo>
                  <a:lnTo>
                    <a:pt x="98" y="172"/>
                  </a:lnTo>
                  <a:lnTo>
                    <a:pt x="116" y="152"/>
                  </a:lnTo>
                  <a:lnTo>
                    <a:pt x="124" y="148"/>
                  </a:lnTo>
                  <a:lnTo>
                    <a:pt x="124" y="140"/>
                  </a:lnTo>
                  <a:lnTo>
                    <a:pt x="122" y="140"/>
                  </a:lnTo>
                  <a:lnTo>
                    <a:pt x="122" y="140"/>
                  </a:lnTo>
                  <a:lnTo>
                    <a:pt x="118" y="140"/>
                  </a:lnTo>
                  <a:lnTo>
                    <a:pt x="116" y="140"/>
                  </a:lnTo>
                  <a:lnTo>
                    <a:pt x="114" y="140"/>
                  </a:lnTo>
                  <a:lnTo>
                    <a:pt x="112" y="138"/>
                  </a:lnTo>
                  <a:lnTo>
                    <a:pt x="112" y="136"/>
                  </a:lnTo>
                  <a:lnTo>
                    <a:pt x="112" y="130"/>
                  </a:lnTo>
                  <a:lnTo>
                    <a:pt x="110" y="128"/>
                  </a:lnTo>
                  <a:lnTo>
                    <a:pt x="108" y="126"/>
                  </a:lnTo>
                  <a:lnTo>
                    <a:pt x="106" y="124"/>
                  </a:lnTo>
                  <a:lnTo>
                    <a:pt x="104" y="124"/>
                  </a:lnTo>
                  <a:lnTo>
                    <a:pt x="104" y="124"/>
                  </a:lnTo>
                  <a:lnTo>
                    <a:pt x="104" y="122"/>
                  </a:lnTo>
                  <a:lnTo>
                    <a:pt x="104" y="118"/>
                  </a:lnTo>
                  <a:lnTo>
                    <a:pt x="106" y="118"/>
                  </a:lnTo>
                  <a:lnTo>
                    <a:pt x="108" y="120"/>
                  </a:lnTo>
                  <a:lnTo>
                    <a:pt x="114" y="122"/>
                  </a:lnTo>
                  <a:lnTo>
                    <a:pt x="126" y="124"/>
                  </a:lnTo>
                  <a:lnTo>
                    <a:pt x="128" y="130"/>
                  </a:lnTo>
                  <a:lnTo>
                    <a:pt x="144" y="128"/>
                  </a:lnTo>
                  <a:lnTo>
                    <a:pt x="144" y="124"/>
                  </a:lnTo>
                  <a:lnTo>
                    <a:pt x="152" y="120"/>
                  </a:lnTo>
                  <a:lnTo>
                    <a:pt x="154" y="120"/>
                  </a:lnTo>
                  <a:lnTo>
                    <a:pt x="156" y="122"/>
                  </a:lnTo>
                  <a:lnTo>
                    <a:pt x="158" y="122"/>
                  </a:lnTo>
                  <a:lnTo>
                    <a:pt x="160" y="120"/>
                  </a:lnTo>
                  <a:lnTo>
                    <a:pt x="162" y="120"/>
                  </a:lnTo>
                  <a:lnTo>
                    <a:pt x="164" y="118"/>
                  </a:lnTo>
                  <a:lnTo>
                    <a:pt x="164" y="116"/>
                  </a:lnTo>
                  <a:lnTo>
                    <a:pt x="156" y="100"/>
                  </a:lnTo>
                  <a:lnTo>
                    <a:pt x="156" y="98"/>
                  </a:lnTo>
                  <a:lnTo>
                    <a:pt x="154" y="96"/>
                  </a:lnTo>
                  <a:lnTo>
                    <a:pt x="154" y="90"/>
                  </a:lnTo>
                  <a:lnTo>
                    <a:pt x="154" y="84"/>
                  </a:lnTo>
                  <a:lnTo>
                    <a:pt x="156" y="78"/>
                  </a:lnTo>
                  <a:lnTo>
                    <a:pt x="166" y="76"/>
                  </a:lnTo>
                  <a:lnTo>
                    <a:pt x="164" y="64"/>
                  </a:lnTo>
                  <a:lnTo>
                    <a:pt x="164" y="64"/>
                  </a:lnTo>
                  <a:lnTo>
                    <a:pt x="168" y="62"/>
                  </a:lnTo>
                  <a:lnTo>
                    <a:pt x="170" y="62"/>
                  </a:lnTo>
                  <a:lnTo>
                    <a:pt x="174" y="60"/>
                  </a:lnTo>
                  <a:lnTo>
                    <a:pt x="176" y="58"/>
                  </a:lnTo>
                  <a:lnTo>
                    <a:pt x="176" y="5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3" name="Freeform 510"/>
            <p:cNvSpPr/>
            <p:nvPr/>
          </p:nvSpPr>
          <p:spPr bwMode="gray">
            <a:xfrm>
              <a:off x="7874167" y="4483961"/>
              <a:ext cx="96273" cy="159113"/>
            </a:xfrm>
            <a:custGeom>
              <a:gdLst>
                <a:gd fmla="*/ 52 w 52" name="T0"/>
                <a:gd fmla="*/ 28 h 86" name="T1"/>
                <a:gd fmla="*/ 52 w 52" name="T2"/>
                <a:gd fmla="*/ 28 h 86" name="T3"/>
                <a:gd fmla="*/ 48 w 52" name="T4"/>
                <a:gd fmla="*/ 26 h 86" name="T5"/>
                <a:gd fmla="*/ 46 w 52" name="T6"/>
                <a:gd fmla="*/ 22 h 86" name="T7"/>
                <a:gd fmla="*/ 40 w 52" name="T8"/>
                <a:gd fmla="*/ 16 h 86" name="T9"/>
                <a:gd fmla="*/ 34 w 52" name="T10"/>
                <a:gd fmla="*/ 12 h 86" name="T11"/>
                <a:gd fmla="*/ 28 w 52" name="T12"/>
                <a:gd fmla="*/ 6 h 86" name="T13"/>
                <a:gd fmla="*/ 22 w 52" name="T14"/>
                <a:gd fmla="*/ 0 h 86" name="T15"/>
                <a:gd fmla="*/ 22 w 52" name="T16"/>
                <a:gd fmla="*/ 0 h 86" name="T17"/>
                <a:gd fmla="*/ 20 w 52" name="T18"/>
                <a:gd fmla="*/ 2 h 86" name="T19"/>
                <a:gd fmla="*/ 16 w 52" name="T20"/>
                <a:gd fmla="*/ 4 h 86" name="T21"/>
                <a:gd fmla="*/ 14 w 52" name="T22"/>
                <a:gd fmla="*/ 4 h 86" name="T23"/>
                <a:gd fmla="*/ 10 w 52" name="T24"/>
                <a:gd fmla="*/ 6 h 86" name="T25"/>
                <a:gd fmla="*/ 10 w 52" name="T26"/>
                <a:gd fmla="*/ 6 h 86" name="T27"/>
                <a:gd fmla="*/ 12 w 52" name="T28"/>
                <a:gd fmla="*/ 18 h 86" name="T29"/>
                <a:gd fmla="*/ 2 w 52" name="T30"/>
                <a:gd fmla="*/ 20 h 86" name="T31"/>
                <a:gd fmla="*/ 0 w 52" name="T32"/>
                <a:gd fmla="*/ 26 h 86" name="T33"/>
                <a:gd fmla="*/ 0 w 52" name="T34"/>
                <a:gd fmla="*/ 32 h 86" name="T35"/>
                <a:gd fmla="*/ 0 w 52" name="T36"/>
                <a:gd fmla="*/ 38 h 86" name="T37"/>
                <a:gd fmla="*/ 2 w 52" name="T38"/>
                <a:gd fmla="*/ 40 h 86" name="T39"/>
                <a:gd fmla="*/ 2 w 52" name="T40"/>
                <a:gd fmla="*/ 42 h 86" name="T41"/>
                <a:gd fmla="*/ 10 w 52" name="T42"/>
                <a:gd fmla="*/ 58 h 86" name="T43"/>
                <a:gd fmla="*/ 14 w 52" name="T44"/>
                <a:gd fmla="*/ 58 h 86" name="T45"/>
                <a:gd fmla="*/ 16 w 52" name="T46"/>
                <a:gd fmla="*/ 60 h 86" name="T47"/>
                <a:gd fmla="*/ 16 w 52" name="T48"/>
                <a:gd fmla="*/ 62 h 86" name="T49"/>
                <a:gd fmla="*/ 18 w 52" name="T50"/>
                <a:gd fmla="*/ 66 h 86" name="T51"/>
                <a:gd fmla="*/ 18 w 52" name="T52"/>
                <a:gd fmla="*/ 70 h 86" name="T53"/>
                <a:gd fmla="*/ 18 w 52" name="T54"/>
                <a:gd fmla="*/ 72 h 86" name="T55"/>
                <a:gd fmla="*/ 16 w 52" name="T56"/>
                <a:gd fmla="*/ 74 h 86" name="T57"/>
                <a:gd fmla="*/ 16 w 52" name="T58"/>
                <a:gd fmla="*/ 78 h 86" name="T59"/>
                <a:gd fmla="*/ 16 w 52" name="T60"/>
                <a:gd fmla="*/ 80 h 86" name="T61"/>
                <a:gd fmla="*/ 16 w 52" name="T62"/>
                <a:gd fmla="*/ 84 h 86" name="T63"/>
                <a:gd fmla="*/ 18 w 52" name="T64"/>
                <a:gd fmla="*/ 86 h 86" name="T65"/>
                <a:gd fmla="*/ 24 w 52" name="T66"/>
                <a:gd fmla="*/ 84 h 86" name="T67"/>
                <a:gd fmla="*/ 26 w 52" name="T68"/>
                <a:gd fmla="*/ 84 h 86" name="T69"/>
                <a:gd fmla="*/ 36 w 52" name="T70"/>
                <a:gd fmla="*/ 82 h 86" name="T71"/>
                <a:gd fmla="*/ 40 w 52" name="T72"/>
                <a:gd fmla="*/ 82 h 86" name="T73"/>
                <a:gd fmla="*/ 46 w 52" name="T74"/>
                <a:gd fmla="*/ 82 h 86" name="T75"/>
                <a:gd fmla="*/ 46 w 52" name="T76"/>
                <a:gd fmla="*/ 82 h 86" name="T77"/>
                <a:gd fmla="*/ 44 w 52" name="T78"/>
                <a:gd fmla="*/ 80 h 86" name="T79"/>
                <a:gd fmla="*/ 42 w 52" name="T80"/>
                <a:gd fmla="*/ 78 h 86" name="T81"/>
                <a:gd fmla="*/ 42 w 52" name="T82"/>
                <a:gd fmla="*/ 74 h 86" name="T83"/>
                <a:gd fmla="*/ 40 w 52" name="T84"/>
                <a:gd fmla="*/ 64 h 86" name="T85"/>
                <a:gd fmla="*/ 36 w 52" name="T86"/>
                <a:gd fmla="*/ 62 h 86" name="T87"/>
                <a:gd fmla="*/ 36 w 52" name="T88"/>
                <a:gd fmla="*/ 62 h 86" name="T89"/>
                <a:gd fmla="*/ 34 w 52" name="T90"/>
                <a:gd fmla="*/ 58 h 86" name="T91"/>
                <a:gd fmla="*/ 32 w 52" name="T92"/>
                <a:gd fmla="*/ 54 h 86" name="T93"/>
                <a:gd fmla="*/ 32 w 52" name="T94"/>
                <a:gd fmla="*/ 50 h 86" name="T95"/>
                <a:gd fmla="*/ 32 w 52" name="T96"/>
                <a:gd fmla="*/ 44 h 86" name="T97"/>
                <a:gd fmla="*/ 34 w 52" name="T98"/>
                <a:gd fmla="*/ 40 h 86" name="T99"/>
                <a:gd fmla="*/ 38 w 52" name="T100"/>
                <a:gd fmla="*/ 40 h 86" name="T101"/>
                <a:gd fmla="*/ 40 w 52" name="T102"/>
                <a:gd fmla="*/ 40 h 86" name="T103"/>
                <a:gd fmla="*/ 42 w 52" name="T104"/>
                <a:gd fmla="*/ 42 h 86" name="T105"/>
                <a:gd fmla="*/ 44 w 52" name="T106"/>
                <a:gd fmla="*/ 42 h 86" name="T107"/>
                <a:gd fmla="*/ 44 w 52" name="T108"/>
                <a:gd fmla="*/ 40 h 86" name="T109"/>
                <a:gd fmla="*/ 46 w 52" name="T110"/>
                <a:gd fmla="*/ 38 h 86" name="T111"/>
                <a:gd fmla="*/ 46 w 52" name="T112"/>
                <a:gd fmla="*/ 38 h 86" name="T113"/>
                <a:gd fmla="*/ 46 w 52" name="T114"/>
                <a:gd fmla="*/ 36 h 86" name="T115"/>
                <a:gd fmla="*/ 48 w 52" name="T116"/>
                <a:gd fmla="*/ 34 h 86" name="T117"/>
                <a:gd fmla="*/ 48 w 52" name="T118"/>
                <a:gd fmla="*/ 32 h 86" name="T119"/>
                <a:gd fmla="*/ 52 w 52" name="T120"/>
                <a:gd fmla="*/ 28 h 86"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86" w="52">
                  <a:moveTo>
                    <a:pt x="52" y="28"/>
                  </a:moveTo>
                  <a:lnTo>
                    <a:pt x="52" y="28"/>
                  </a:lnTo>
                  <a:lnTo>
                    <a:pt x="48" y="26"/>
                  </a:lnTo>
                  <a:lnTo>
                    <a:pt x="46" y="22"/>
                  </a:lnTo>
                  <a:lnTo>
                    <a:pt x="40" y="16"/>
                  </a:lnTo>
                  <a:lnTo>
                    <a:pt x="34" y="12"/>
                  </a:lnTo>
                  <a:lnTo>
                    <a:pt x="28" y="6"/>
                  </a:lnTo>
                  <a:lnTo>
                    <a:pt x="22" y="0"/>
                  </a:lnTo>
                  <a:lnTo>
                    <a:pt x="22" y="0"/>
                  </a:lnTo>
                  <a:lnTo>
                    <a:pt x="20" y="2"/>
                  </a:lnTo>
                  <a:lnTo>
                    <a:pt x="16" y="4"/>
                  </a:lnTo>
                  <a:lnTo>
                    <a:pt x="14" y="4"/>
                  </a:lnTo>
                  <a:lnTo>
                    <a:pt x="10" y="6"/>
                  </a:lnTo>
                  <a:lnTo>
                    <a:pt x="10" y="6"/>
                  </a:lnTo>
                  <a:lnTo>
                    <a:pt x="12" y="18"/>
                  </a:lnTo>
                  <a:lnTo>
                    <a:pt x="2" y="20"/>
                  </a:lnTo>
                  <a:lnTo>
                    <a:pt x="0" y="26"/>
                  </a:lnTo>
                  <a:lnTo>
                    <a:pt x="0" y="32"/>
                  </a:lnTo>
                  <a:lnTo>
                    <a:pt x="0" y="38"/>
                  </a:lnTo>
                  <a:lnTo>
                    <a:pt x="2" y="40"/>
                  </a:lnTo>
                  <a:lnTo>
                    <a:pt x="2" y="42"/>
                  </a:lnTo>
                  <a:lnTo>
                    <a:pt x="10" y="58"/>
                  </a:lnTo>
                  <a:lnTo>
                    <a:pt x="14" y="58"/>
                  </a:lnTo>
                  <a:lnTo>
                    <a:pt x="16" y="60"/>
                  </a:lnTo>
                  <a:lnTo>
                    <a:pt x="16" y="62"/>
                  </a:lnTo>
                  <a:lnTo>
                    <a:pt x="18" y="66"/>
                  </a:lnTo>
                  <a:lnTo>
                    <a:pt x="18" y="70"/>
                  </a:lnTo>
                  <a:lnTo>
                    <a:pt x="18" y="72"/>
                  </a:lnTo>
                  <a:lnTo>
                    <a:pt x="16" y="74"/>
                  </a:lnTo>
                  <a:lnTo>
                    <a:pt x="16" y="78"/>
                  </a:lnTo>
                  <a:lnTo>
                    <a:pt x="16" y="80"/>
                  </a:lnTo>
                  <a:lnTo>
                    <a:pt x="16" y="84"/>
                  </a:lnTo>
                  <a:lnTo>
                    <a:pt x="18" y="86"/>
                  </a:lnTo>
                  <a:lnTo>
                    <a:pt x="24" y="84"/>
                  </a:lnTo>
                  <a:lnTo>
                    <a:pt x="26" y="84"/>
                  </a:lnTo>
                  <a:lnTo>
                    <a:pt x="36" y="82"/>
                  </a:lnTo>
                  <a:lnTo>
                    <a:pt x="40" y="82"/>
                  </a:lnTo>
                  <a:lnTo>
                    <a:pt x="46" y="82"/>
                  </a:lnTo>
                  <a:lnTo>
                    <a:pt x="46" y="82"/>
                  </a:lnTo>
                  <a:lnTo>
                    <a:pt x="44" y="80"/>
                  </a:lnTo>
                  <a:lnTo>
                    <a:pt x="42" y="78"/>
                  </a:lnTo>
                  <a:lnTo>
                    <a:pt x="42" y="74"/>
                  </a:lnTo>
                  <a:lnTo>
                    <a:pt x="40" y="64"/>
                  </a:lnTo>
                  <a:lnTo>
                    <a:pt x="36" y="62"/>
                  </a:lnTo>
                  <a:lnTo>
                    <a:pt x="36" y="62"/>
                  </a:lnTo>
                  <a:lnTo>
                    <a:pt x="34" y="58"/>
                  </a:lnTo>
                  <a:lnTo>
                    <a:pt x="32" y="54"/>
                  </a:lnTo>
                  <a:lnTo>
                    <a:pt x="32" y="50"/>
                  </a:lnTo>
                  <a:lnTo>
                    <a:pt x="32" y="44"/>
                  </a:lnTo>
                  <a:lnTo>
                    <a:pt x="34" y="40"/>
                  </a:lnTo>
                  <a:lnTo>
                    <a:pt x="38" y="40"/>
                  </a:lnTo>
                  <a:lnTo>
                    <a:pt x="40" y="40"/>
                  </a:lnTo>
                  <a:lnTo>
                    <a:pt x="42" y="42"/>
                  </a:lnTo>
                  <a:lnTo>
                    <a:pt x="44" y="42"/>
                  </a:lnTo>
                  <a:lnTo>
                    <a:pt x="44" y="40"/>
                  </a:lnTo>
                  <a:lnTo>
                    <a:pt x="46" y="38"/>
                  </a:lnTo>
                  <a:lnTo>
                    <a:pt x="46" y="38"/>
                  </a:lnTo>
                  <a:lnTo>
                    <a:pt x="46" y="36"/>
                  </a:lnTo>
                  <a:lnTo>
                    <a:pt x="48" y="34"/>
                  </a:lnTo>
                  <a:lnTo>
                    <a:pt x="48" y="32"/>
                  </a:lnTo>
                  <a:lnTo>
                    <a:pt x="52" y="2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4" name="Freeform 511"/>
            <p:cNvSpPr/>
            <p:nvPr/>
          </p:nvSpPr>
          <p:spPr bwMode="gray">
            <a:xfrm>
              <a:off x="7933412" y="4535765"/>
              <a:ext cx="85164" cy="103608"/>
            </a:xfrm>
            <a:custGeom>
              <a:gdLst>
                <a:gd fmla="*/ 20 w 46" name="T0"/>
                <a:gd fmla="*/ 0 h 56" name="T1"/>
                <a:gd fmla="*/ 28 w 46" name="T2"/>
                <a:gd fmla="*/ 4 h 56" name="T3"/>
                <a:gd fmla="*/ 36 w 46" name="T4"/>
                <a:gd fmla="*/ 8 h 56" name="T5"/>
                <a:gd fmla="*/ 46 w 46" name="T6"/>
                <a:gd fmla="*/ 10 h 56" name="T7"/>
                <a:gd fmla="*/ 44 w 46" name="T8"/>
                <a:gd fmla="*/ 16 h 56" name="T9"/>
                <a:gd fmla="*/ 44 w 46" name="T10"/>
                <a:gd fmla="*/ 16 h 56" name="T11"/>
                <a:gd fmla="*/ 42 w 46" name="T12"/>
                <a:gd fmla="*/ 18 h 56" name="T13"/>
                <a:gd fmla="*/ 40 w 46" name="T14"/>
                <a:gd fmla="*/ 20 h 56" name="T15"/>
                <a:gd fmla="*/ 38 w 46" name="T16"/>
                <a:gd fmla="*/ 22 h 56" name="T17"/>
                <a:gd fmla="*/ 38 w 46" name="T18"/>
                <a:gd fmla="*/ 24 h 56" name="T19"/>
                <a:gd fmla="*/ 36 w 46" name="T20"/>
                <a:gd fmla="*/ 26 h 56" name="T21"/>
                <a:gd fmla="*/ 36 w 46" name="T22"/>
                <a:gd fmla="*/ 28 h 56" name="T23"/>
                <a:gd fmla="*/ 38 w 46" name="T24"/>
                <a:gd fmla="*/ 30 h 56" name="T25"/>
                <a:gd fmla="*/ 38 w 46" name="T26"/>
                <a:gd fmla="*/ 30 h 56" name="T27"/>
                <a:gd fmla="*/ 40 w 46" name="T28"/>
                <a:gd fmla="*/ 32 h 56" name="T29"/>
                <a:gd fmla="*/ 42 w 46" name="T30"/>
                <a:gd fmla="*/ 36 h 56" name="T31"/>
                <a:gd fmla="*/ 42 w 46" name="T32"/>
                <a:gd fmla="*/ 38 h 56" name="T33"/>
                <a:gd fmla="*/ 42 w 46" name="T34"/>
                <a:gd fmla="*/ 38 h 56" name="T35"/>
                <a:gd fmla="*/ 40 w 46" name="T36"/>
                <a:gd fmla="*/ 42 h 56" name="T37"/>
                <a:gd fmla="*/ 40 w 46" name="T38"/>
                <a:gd fmla="*/ 44 h 56" name="T39"/>
                <a:gd fmla="*/ 40 w 46" name="T40"/>
                <a:gd fmla="*/ 46 h 56" name="T41"/>
                <a:gd fmla="*/ 40 w 46" name="T42"/>
                <a:gd fmla="*/ 48 h 56" name="T43"/>
                <a:gd fmla="*/ 40 w 46" name="T44"/>
                <a:gd fmla="*/ 50 h 56" name="T45"/>
                <a:gd fmla="*/ 38 w 46" name="T46"/>
                <a:gd fmla="*/ 52 h 56" name="T47"/>
                <a:gd fmla="*/ 36 w 46" name="T48"/>
                <a:gd fmla="*/ 52 h 56" name="T49"/>
                <a:gd fmla="*/ 34 w 46" name="T50"/>
                <a:gd fmla="*/ 52 h 56" name="T51"/>
                <a:gd fmla="*/ 34 w 46" name="T52"/>
                <a:gd fmla="*/ 52 h 56" name="T53"/>
                <a:gd fmla="*/ 32 w 46" name="T54"/>
                <a:gd fmla="*/ 50 h 56" name="T55"/>
                <a:gd fmla="*/ 28 w 46" name="T56"/>
                <a:gd fmla="*/ 50 h 56" name="T57"/>
                <a:gd fmla="*/ 26 w 46" name="T58"/>
                <a:gd fmla="*/ 52 h 56" name="T59"/>
                <a:gd fmla="*/ 24 w 46" name="T60"/>
                <a:gd fmla="*/ 52 h 56" name="T61"/>
                <a:gd fmla="*/ 20 w 46" name="T62"/>
                <a:gd fmla="*/ 50 h 56" name="T63"/>
                <a:gd fmla="*/ 20 w 46" name="T64"/>
                <a:gd fmla="*/ 50 h 56" name="T65"/>
                <a:gd fmla="*/ 18 w 46" name="T66"/>
                <a:gd fmla="*/ 54 h 56" name="T67"/>
                <a:gd fmla="*/ 20 w 46" name="T68"/>
                <a:gd fmla="*/ 56 h 56" name="T69"/>
                <a:gd fmla="*/ 14 w 46" name="T70"/>
                <a:gd fmla="*/ 54 h 56" name="T71"/>
                <a:gd fmla="*/ 14 w 46" name="T72"/>
                <a:gd fmla="*/ 54 h 56" name="T73"/>
                <a:gd fmla="*/ 12 w 46" name="T74"/>
                <a:gd fmla="*/ 52 h 56" name="T75"/>
                <a:gd fmla="*/ 10 w 46" name="T76"/>
                <a:gd fmla="*/ 50 h 56" name="T77"/>
                <a:gd fmla="*/ 10 w 46" name="T78"/>
                <a:gd fmla="*/ 46 h 56" name="T79"/>
                <a:gd fmla="*/ 8 w 46" name="T80"/>
                <a:gd fmla="*/ 36 h 56" name="T81"/>
                <a:gd fmla="*/ 4 w 46" name="T82"/>
                <a:gd fmla="*/ 34 h 56" name="T83"/>
                <a:gd fmla="*/ 4 w 46" name="T84"/>
                <a:gd fmla="*/ 34 h 56" name="T85"/>
                <a:gd fmla="*/ 2 w 46" name="T86"/>
                <a:gd fmla="*/ 30 h 56" name="T87"/>
                <a:gd fmla="*/ 0 w 46" name="T88"/>
                <a:gd fmla="*/ 26 h 56" name="T89"/>
                <a:gd fmla="*/ 0 w 46" name="T90"/>
                <a:gd fmla="*/ 22 h 56" name="T91"/>
                <a:gd fmla="*/ 0 w 46" name="T92"/>
                <a:gd fmla="*/ 16 h 56" name="T93"/>
                <a:gd fmla="*/ 2 w 46" name="T94"/>
                <a:gd fmla="*/ 12 h 56" name="T95"/>
                <a:gd fmla="*/ 6 w 46" name="T96"/>
                <a:gd fmla="*/ 12 h 56" name="T97"/>
                <a:gd fmla="*/ 8 w 46" name="T98"/>
                <a:gd fmla="*/ 12 h 56" name="T99"/>
                <a:gd fmla="*/ 10 w 46" name="T100"/>
                <a:gd fmla="*/ 14 h 56" name="T101"/>
                <a:gd fmla="*/ 12 w 46" name="T102"/>
                <a:gd fmla="*/ 14 h 56" name="T103"/>
                <a:gd fmla="*/ 12 w 46" name="T104"/>
                <a:gd fmla="*/ 12 h 56" name="T105"/>
                <a:gd fmla="*/ 14 w 46" name="T106"/>
                <a:gd fmla="*/ 10 h 56" name="T107"/>
                <a:gd fmla="*/ 14 w 46" name="T108"/>
                <a:gd fmla="*/ 10 h 56" name="T109"/>
                <a:gd fmla="*/ 14 w 46" name="T110"/>
                <a:gd fmla="*/ 8 h 56" name="T111"/>
                <a:gd fmla="*/ 16 w 46" name="T112"/>
                <a:gd fmla="*/ 6 h 56" name="T113"/>
                <a:gd fmla="*/ 16 w 46" name="T114"/>
                <a:gd fmla="*/ 4 h 56" name="T115"/>
                <a:gd fmla="*/ 20 w 46" name="T116"/>
                <a:gd fmla="*/ 0 h 56"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56" w="46">
                  <a:moveTo>
                    <a:pt x="20" y="0"/>
                  </a:moveTo>
                  <a:lnTo>
                    <a:pt x="28" y="4"/>
                  </a:lnTo>
                  <a:lnTo>
                    <a:pt x="36" y="8"/>
                  </a:lnTo>
                  <a:lnTo>
                    <a:pt x="46" y="10"/>
                  </a:lnTo>
                  <a:lnTo>
                    <a:pt x="44" y="16"/>
                  </a:lnTo>
                  <a:lnTo>
                    <a:pt x="44" y="16"/>
                  </a:lnTo>
                  <a:lnTo>
                    <a:pt x="42" y="18"/>
                  </a:lnTo>
                  <a:lnTo>
                    <a:pt x="40" y="20"/>
                  </a:lnTo>
                  <a:lnTo>
                    <a:pt x="38" y="22"/>
                  </a:lnTo>
                  <a:lnTo>
                    <a:pt x="38" y="24"/>
                  </a:lnTo>
                  <a:lnTo>
                    <a:pt x="36" y="26"/>
                  </a:lnTo>
                  <a:lnTo>
                    <a:pt x="36" y="28"/>
                  </a:lnTo>
                  <a:lnTo>
                    <a:pt x="38" y="30"/>
                  </a:lnTo>
                  <a:lnTo>
                    <a:pt x="38" y="30"/>
                  </a:lnTo>
                  <a:lnTo>
                    <a:pt x="40" y="32"/>
                  </a:lnTo>
                  <a:lnTo>
                    <a:pt x="42" y="36"/>
                  </a:lnTo>
                  <a:lnTo>
                    <a:pt x="42" y="38"/>
                  </a:lnTo>
                  <a:lnTo>
                    <a:pt x="42" y="38"/>
                  </a:lnTo>
                  <a:lnTo>
                    <a:pt x="40" y="42"/>
                  </a:lnTo>
                  <a:lnTo>
                    <a:pt x="40" y="44"/>
                  </a:lnTo>
                  <a:lnTo>
                    <a:pt x="40" y="46"/>
                  </a:lnTo>
                  <a:lnTo>
                    <a:pt x="40" y="48"/>
                  </a:lnTo>
                  <a:lnTo>
                    <a:pt x="40" y="50"/>
                  </a:lnTo>
                  <a:lnTo>
                    <a:pt x="38" y="52"/>
                  </a:lnTo>
                  <a:lnTo>
                    <a:pt x="36" y="52"/>
                  </a:lnTo>
                  <a:lnTo>
                    <a:pt x="34" y="52"/>
                  </a:lnTo>
                  <a:lnTo>
                    <a:pt x="34" y="52"/>
                  </a:lnTo>
                  <a:lnTo>
                    <a:pt x="32" y="50"/>
                  </a:lnTo>
                  <a:lnTo>
                    <a:pt x="28" y="50"/>
                  </a:lnTo>
                  <a:lnTo>
                    <a:pt x="26" y="52"/>
                  </a:lnTo>
                  <a:lnTo>
                    <a:pt x="24" y="52"/>
                  </a:lnTo>
                  <a:lnTo>
                    <a:pt x="20" y="50"/>
                  </a:lnTo>
                  <a:lnTo>
                    <a:pt x="20" y="50"/>
                  </a:lnTo>
                  <a:lnTo>
                    <a:pt x="18" y="54"/>
                  </a:lnTo>
                  <a:lnTo>
                    <a:pt x="20" y="56"/>
                  </a:lnTo>
                  <a:lnTo>
                    <a:pt x="14" y="54"/>
                  </a:lnTo>
                  <a:lnTo>
                    <a:pt x="14" y="54"/>
                  </a:lnTo>
                  <a:lnTo>
                    <a:pt x="12" y="52"/>
                  </a:lnTo>
                  <a:lnTo>
                    <a:pt x="10" y="50"/>
                  </a:lnTo>
                  <a:lnTo>
                    <a:pt x="10" y="46"/>
                  </a:lnTo>
                  <a:lnTo>
                    <a:pt x="8" y="36"/>
                  </a:lnTo>
                  <a:lnTo>
                    <a:pt x="4" y="34"/>
                  </a:lnTo>
                  <a:lnTo>
                    <a:pt x="4" y="34"/>
                  </a:lnTo>
                  <a:lnTo>
                    <a:pt x="2" y="30"/>
                  </a:lnTo>
                  <a:lnTo>
                    <a:pt x="0" y="26"/>
                  </a:lnTo>
                  <a:lnTo>
                    <a:pt x="0" y="22"/>
                  </a:lnTo>
                  <a:lnTo>
                    <a:pt x="0" y="16"/>
                  </a:lnTo>
                  <a:lnTo>
                    <a:pt x="2" y="12"/>
                  </a:lnTo>
                  <a:lnTo>
                    <a:pt x="6" y="12"/>
                  </a:lnTo>
                  <a:lnTo>
                    <a:pt x="8" y="12"/>
                  </a:lnTo>
                  <a:lnTo>
                    <a:pt x="10" y="14"/>
                  </a:lnTo>
                  <a:lnTo>
                    <a:pt x="12" y="14"/>
                  </a:lnTo>
                  <a:lnTo>
                    <a:pt x="12" y="12"/>
                  </a:lnTo>
                  <a:lnTo>
                    <a:pt x="14" y="10"/>
                  </a:lnTo>
                  <a:lnTo>
                    <a:pt x="14" y="10"/>
                  </a:lnTo>
                  <a:lnTo>
                    <a:pt x="14" y="8"/>
                  </a:lnTo>
                  <a:lnTo>
                    <a:pt x="16" y="6"/>
                  </a:lnTo>
                  <a:lnTo>
                    <a:pt x="16" y="4"/>
                  </a:lnTo>
                  <a:lnTo>
                    <a:pt x="2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5" name="Freeform 512"/>
            <p:cNvSpPr/>
            <p:nvPr/>
          </p:nvSpPr>
          <p:spPr bwMode="gray">
            <a:xfrm>
              <a:off x="8000062" y="4554267"/>
              <a:ext cx="85164" cy="77706"/>
            </a:xfrm>
            <a:custGeom>
              <a:gdLst>
                <a:gd fmla="*/ 46 w 46" name="T0"/>
                <a:gd fmla="*/ 18 h 42" name="T1"/>
                <a:gd fmla="*/ 38 w 46" name="T2"/>
                <a:gd fmla="*/ 12 h 42" name="T3"/>
                <a:gd fmla="*/ 32 w 46" name="T4"/>
                <a:gd fmla="*/ 8 h 42" name="T5"/>
                <a:gd fmla="*/ 20 w 46" name="T6"/>
                <a:gd fmla="*/ 4 h 42" name="T7"/>
                <a:gd fmla="*/ 10 w 46" name="T8"/>
                <a:gd fmla="*/ 0 h 42" name="T9"/>
                <a:gd fmla="*/ 8 w 46" name="T10"/>
                <a:gd fmla="*/ 2 h 42" name="T11"/>
                <a:gd fmla="*/ 8 w 46" name="T12"/>
                <a:gd fmla="*/ 6 h 42" name="T13"/>
                <a:gd fmla="*/ 8 w 46" name="T14"/>
                <a:gd fmla="*/ 6 h 42" name="T15"/>
                <a:gd fmla="*/ 6 w 46" name="T16"/>
                <a:gd fmla="*/ 8 h 42" name="T17"/>
                <a:gd fmla="*/ 4 w 46" name="T18"/>
                <a:gd fmla="*/ 10 h 42" name="T19"/>
                <a:gd fmla="*/ 2 w 46" name="T20"/>
                <a:gd fmla="*/ 12 h 42" name="T21"/>
                <a:gd fmla="*/ 2 w 46" name="T22"/>
                <a:gd fmla="*/ 14 h 42" name="T23"/>
                <a:gd fmla="*/ 0 w 46" name="T24"/>
                <a:gd fmla="*/ 16 h 42" name="T25"/>
                <a:gd fmla="*/ 0 w 46" name="T26"/>
                <a:gd fmla="*/ 18 h 42" name="T27"/>
                <a:gd fmla="*/ 2 w 46" name="T28"/>
                <a:gd fmla="*/ 20 h 42" name="T29"/>
                <a:gd fmla="*/ 2 w 46" name="T30"/>
                <a:gd fmla="*/ 20 h 42" name="T31"/>
                <a:gd fmla="*/ 4 w 46" name="T32"/>
                <a:gd fmla="*/ 22 h 42" name="T33"/>
                <a:gd fmla="*/ 6 w 46" name="T34"/>
                <a:gd fmla="*/ 26 h 42" name="T35"/>
                <a:gd fmla="*/ 6 w 46" name="T36"/>
                <a:gd fmla="*/ 28 h 42" name="T37"/>
                <a:gd fmla="*/ 6 w 46" name="T38"/>
                <a:gd fmla="*/ 28 h 42" name="T39"/>
                <a:gd fmla="*/ 4 w 46" name="T40"/>
                <a:gd fmla="*/ 32 h 42" name="T41"/>
                <a:gd fmla="*/ 4 w 46" name="T42"/>
                <a:gd fmla="*/ 34 h 42" name="T43"/>
                <a:gd fmla="*/ 4 w 46" name="T44"/>
                <a:gd fmla="*/ 36 h 42" name="T45"/>
                <a:gd fmla="*/ 4 w 46" name="T46"/>
                <a:gd fmla="*/ 38 h 42" name="T47"/>
                <a:gd fmla="*/ 4 w 46" name="T48"/>
                <a:gd fmla="*/ 40 h 42" name="T49"/>
                <a:gd fmla="*/ 2 w 46" name="T50"/>
                <a:gd fmla="*/ 40 h 42" name="T51"/>
                <a:gd fmla="*/ 2 w 46" name="T52"/>
                <a:gd fmla="*/ 42 h 42" name="T53"/>
                <a:gd fmla="*/ 4 w 46" name="T54"/>
                <a:gd fmla="*/ 42 h 42" name="T55"/>
                <a:gd fmla="*/ 8 w 46" name="T56"/>
                <a:gd fmla="*/ 42 h 42" name="T57"/>
                <a:gd fmla="*/ 8 w 46" name="T58"/>
                <a:gd fmla="*/ 42 h 42" name="T59"/>
                <a:gd fmla="*/ 10 w 46" name="T60"/>
                <a:gd fmla="*/ 40 h 42" name="T61"/>
                <a:gd fmla="*/ 10 w 46" name="T62"/>
                <a:gd fmla="*/ 40 h 42" name="T63"/>
                <a:gd fmla="*/ 12 w 46" name="T64"/>
                <a:gd fmla="*/ 40 h 42" name="T65"/>
                <a:gd fmla="*/ 14 w 46" name="T66"/>
                <a:gd fmla="*/ 40 h 42" name="T67"/>
                <a:gd fmla="*/ 16 w 46" name="T68"/>
                <a:gd fmla="*/ 40 h 42" name="T69"/>
                <a:gd fmla="*/ 16 w 46" name="T70"/>
                <a:gd fmla="*/ 40 h 42" name="T71"/>
                <a:gd fmla="*/ 18 w 46" name="T72"/>
                <a:gd fmla="*/ 40 h 42" name="T73"/>
                <a:gd fmla="*/ 20 w 46" name="T74"/>
                <a:gd fmla="*/ 40 h 42" name="T75"/>
                <a:gd fmla="*/ 22 w 46" name="T76"/>
                <a:gd fmla="*/ 42 h 42" name="T77"/>
                <a:gd fmla="*/ 24 w 46" name="T78"/>
                <a:gd fmla="*/ 42 h 42" name="T79"/>
                <a:gd fmla="*/ 26 w 46" name="T80"/>
                <a:gd fmla="*/ 42 h 42" name="T81"/>
                <a:gd fmla="*/ 26 w 46" name="T82"/>
                <a:gd fmla="*/ 42 h 42" name="T83"/>
                <a:gd fmla="*/ 28 w 46" name="T84"/>
                <a:gd fmla="*/ 42 h 42" name="T85"/>
                <a:gd fmla="*/ 28 w 46" name="T86"/>
                <a:gd fmla="*/ 40 h 42" name="T87"/>
                <a:gd fmla="*/ 30 w 46" name="T88"/>
                <a:gd fmla="*/ 38 h 42" name="T89"/>
                <a:gd fmla="*/ 30 w 46" name="T90"/>
                <a:gd fmla="*/ 36 h 42" name="T91"/>
                <a:gd fmla="*/ 32 w 46" name="T92"/>
                <a:gd fmla="*/ 32 h 42" name="T93"/>
                <a:gd fmla="*/ 34 w 46" name="T94"/>
                <a:gd fmla="*/ 28 h 42" name="T95"/>
                <a:gd fmla="*/ 36 w 46" name="T96"/>
                <a:gd fmla="*/ 26 h 42" name="T97"/>
                <a:gd fmla="*/ 40 w 46" name="T98"/>
                <a:gd fmla="*/ 26 h 42" name="T99"/>
                <a:gd fmla="*/ 42 w 46" name="T100"/>
                <a:gd fmla="*/ 22 h 42" name="T101"/>
                <a:gd fmla="*/ 46 w 46" name="T102"/>
                <a:gd fmla="*/ 18 h 42" name="T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b="b" l="0" r="r" t="0"/>
              <a:pathLst>
                <a:path h="42" w="46">
                  <a:moveTo>
                    <a:pt x="46" y="18"/>
                  </a:moveTo>
                  <a:lnTo>
                    <a:pt x="38" y="12"/>
                  </a:lnTo>
                  <a:lnTo>
                    <a:pt x="32" y="8"/>
                  </a:lnTo>
                  <a:lnTo>
                    <a:pt x="20" y="4"/>
                  </a:lnTo>
                  <a:lnTo>
                    <a:pt x="10" y="0"/>
                  </a:lnTo>
                  <a:lnTo>
                    <a:pt x="8" y="2"/>
                  </a:lnTo>
                  <a:lnTo>
                    <a:pt x="8" y="6"/>
                  </a:lnTo>
                  <a:lnTo>
                    <a:pt x="8" y="6"/>
                  </a:lnTo>
                  <a:lnTo>
                    <a:pt x="6" y="8"/>
                  </a:lnTo>
                  <a:lnTo>
                    <a:pt x="4" y="10"/>
                  </a:lnTo>
                  <a:lnTo>
                    <a:pt x="2" y="12"/>
                  </a:lnTo>
                  <a:lnTo>
                    <a:pt x="2" y="14"/>
                  </a:lnTo>
                  <a:lnTo>
                    <a:pt x="0" y="16"/>
                  </a:lnTo>
                  <a:lnTo>
                    <a:pt x="0" y="18"/>
                  </a:lnTo>
                  <a:lnTo>
                    <a:pt x="2" y="20"/>
                  </a:lnTo>
                  <a:lnTo>
                    <a:pt x="2" y="20"/>
                  </a:lnTo>
                  <a:lnTo>
                    <a:pt x="4" y="22"/>
                  </a:lnTo>
                  <a:lnTo>
                    <a:pt x="6" y="26"/>
                  </a:lnTo>
                  <a:lnTo>
                    <a:pt x="6" y="28"/>
                  </a:lnTo>
                  <a:lnTo>
                    <a:pt x="6" y="28"/>
                  </a:lnTo>
                  <a:lnTo>
                    <a:pt x="4" y="32"/>
                  </a:lnTo>
                  <a:lnTo>
                    <a:pt x="4" y="34"/>
                  </a:lnTo>
                  <a:lnTo>
                    <a:pt x="4" y="36"/>
                  </a:lnTo>
                  <a:lnTo>
                    <a:pt x="4" y="38"/>
                  </a:lnTo>
                  <a:lnTo>
                    <a:pt x="4" y="40"/>
                  </a:lnTo>
                  <a:lnTo>
                    <a:pt x="2" y="40"/>
                  </a:lnTo>
                  <a:lnTo>
                    <a:pt x="2" y="42"/>
                  </a:lnTo>
                  <a:lnTo>
                    <a:pt x="4" y="42"/>
                  </a:lnTo>
                  <a:lnTo>
                    <a:pt x="8" y="42"/>
                  </a:lnTo>
                  <a:lnTo>
                    <a:pt x="8" y="42"/>
                  </a:lnTo>
                  <a:lnTo>
                    <a:pt x="10" y="40"/>
                  </a:lnTo>
                  <a:lnTo>
                    <a:pt x="10" y="40"/>
                  </a:lnTo>
                  <a:lnTo>
                    <a:pt x="12" y="40"/>
                  </a:lnTo>
                  <a:lnTo>
                    <a:pt x="14" y="40"/>
                  </a:lnTo>
                  <a:lnTo>
                    <a:pt x="16" y="40"/>
                  </a:lnTo>
                  <a:lnTo>
                    <a:pt x="16" y="40"/>
                  </a:lnTo>
                  <a:lnTo>
                    <a:pt x="18" y="40"/>
                  </a:lnTo>
                  <a:lnTo>
                    <a:pt x="20" y="40"/>
                  </a:lnTo>
                  <a:lnTo>
                    <a:pt x="22" y="42"/>
                  </a:lnTo>
                  <a:lnTo>
                    <a:pt x="24" y="42"/>
                  </a:lnTo>
                  <a:lnTo>
                    <a:pt x="26" y="42"/>
                  </a:lnTo>
                  <a:lnTo>
                    <a:pt x="26" y="42"/>
                  </a:lnTo>
                  <a:lnTo>
                    <a:pt x="28" y="42"/>
                  </a:lnTo>
                  <a:lnTo>
                    <a:pt x="28" y="40"/>
                  </a:lnTo>
                  <a:lnTo>
                    <a:pt x="30" y="38"/>
                  </a:lnTo>
                  <a:lnTo>
                    <a:pt x="30" y="36"/>
                  </a:lnTo>
                  <a:lnTo>
                    <a:pt x="32" y="32"/>
                  </a:lnTo>
                  <a:lnTo>
                    <a:pt x="34" y="28"/>
                  </a:lnTo>
                  <a:lnTo>
                    <a:pt x="36" y="26"/>
                  </a:lnTo>
                  <a:lnTo>
                    <a:pt x="40" y="26"/>
                  </a:lnTo>
                  <a:lnTo>
                    <a:pt x="42" y="22"/>
                  </a:lnTo>
                  <a:lnTo>
                    <a:pt x="46" y="1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6" name="Freeform 513"/>
            <p:cNvSpPr/>
            <p:nvPr/>
          </p:nvSpPr>
          <p:spPr bwMode="gray">
            <a:xfrm>
              <a:off x="7440940" y="4372952"/>
              <a:ext cx="274007" cy="447736"/>
            </a:xfrm>
            <a:custGeom>
              <a:gdLst>
                <a:gd fmla="*/ 128 w 148" name="T0"/>
                <a:gd fmla="*/ 204 h 242" name="T1"/>
                <a:gd fmla="*/ 126 w 148" name="T2"/>
                <a:gd fmla="*/ 212 h 242" name="T3"/>
                <a:gd fmla="*/ 114 w 148" name="T4"/>
                <a:gd fmla="*/ 240 h 242" name="T5"/>
                <a:gd fmla="*/ 118 w 148" name="T6"/>
                <a:gd fmla="*/ 226 h 242" name="T7"/>
                <a:gd fmla="*/ 114 w 148" name="T8"/>
                <a:gd fmla="*/ 220 h 242" name="T9"/>
                <a:gd fmla="*/ 106 w 148" name="T10"/>
                <a:gd fmla="*/ 218 h 242" name="T11"/>
                <a:gd fmla="*/ 96 w 148" name="T12"/>
                <a:gd fmla="*/ 218 h 242" name="T13"/>
                <a:gd fmla="*/ 82 w 148" name="T14"/>
                <a:gd fmla="*/ 214 h 242" name="T15"/>
                <a:gd fmla="*/ 80 w 148" name="T16"/>
                <a:gd fmla="*/ 206 h 242" name="T17"/>
                <a:gd fmla="*/ 78 w 148" name="T18"/>
                <a:gd fmla="*/ 200 h 242" name="T19"/>
                <a:gd fmla="*/ 60 w 148" name="T20"/>
                <a:gd fmla="*/ 192 h 242" name="T21"/>
                <a:gd fmla="*/ 50 w 148" name="T22"/>
                <a:gd fmla="*/ 188 h 242" name="T23"/>
                <a:gd fmla="*/ 36 w 148" name="T24"/>
                <a:gd fmla="*/ 180 h 242" name="T25"/>
                <a:gd fmla="*/ 26 w 148" name="T26"/>
                <a:gd fmla="*/ 172 h 242" name="T27"/>
                <a:gd fmla="*/ 26 w 148" name="T28"/>
                <a:gd fmla="*/ 172 h 242" name="T29"/>
                <a:gd fmla="*/ 14 w 148" name="T30"/>
                <a:gd fmla="*/ 168 h 242" name="T31"/>
                <a:gd fmla="*/ 2 w 148" name="T32"/>
                <a:gd fmla="*/ 166 h 242" name="T33"/>
                <a:gd fmla="*/ 4 w 148" name="T34"/>
                <a:gd fmla="*/ 160 h 242" name="T35"/>
                <a:gd fmla="*/ 14 w 148" name="T36"/>
                <a:gd fmla="*/ 142 h 242" name="T37"/>
                <a:gd fmla="*/ 18 w 148" name="T38"/>
                <a:gd fmla="*/ 122 h 242" name="T39"/>
                <a:gd fmla="*/ 18 w 148" name="T40"/>
                <a:gd fmla="*/ 92 h 242" name="T41"/>
                <a:gd fmla="*/ 20 w 148" name="T42"/>
                <a:gd fmla="*/ 72 h 242" name="T43"/>
                <a:gd fmla="*/ 18 w 148" name="T44"/>
                <a:gd fmla="*/ 66 h 242" name="T45"/>
                <a:gd fmla="*/ 18 w 148" name="T46"/>
                <a:gd fmla="*/ 56 h 242" name="T47"/>
                <a:gd fmla="*/ 34 w 148" name="T48"/>
                <a:gd fmla="*/ 50 h 242" name="T49"/>
                <a:gd fmla="*/ 68 w 148" name="T50"/>
                <a:gd fmla="*/ 22 h 242" name="T51"/>
                <a:gd fmla="*/ 78 w 148" name="T52"/>
                <a:gd fmla="*/ 12 h 242" name="T53"/>
                <a:gd fmla="*/ 86 w 148" name="T54"/>
                <a:gd fmla="*/ 8 h 242" name="T55"/>
                <a:gd fmla="*/ 94 w 148" name="T56"/>
                <a:gd fmla="*/ 6 h 242" name="T57"/>
                <a:gd fmla="*/ 102 w 148" name="T58"/>
                <a:gd fmla="*/ 2 h 242" name="T59"/>
                <a:gd fmla="*/ 112 w 148" name="T60"/>
                <a:gd fmla="*/ 0 h 242" name="T61"/>
                <a:gd fmla="*/ 116 w 148" name="T62"/>
                <a:gd fmla="*/ 2 h 242" name="T63"/>
                <a:gd fmla="*/ 114 w 148" name="T64"/>
                <a:gd fmla="*/ 6 h 242" name="T65"/>
                <a:gd fmla="*/ 106 w 148" name="T66"/>
                <a:gd fmla="*/ 10 h 242" name="T67"/>
                <a:gd fmla="*/ 98 w 148" name="T68"/>
                <a:gd fmla="*/ 20 h 242" name="T69"/>
                <a:gd fmla="*/ 86 w 148" name="T70"/>
                <a:gd fmla="*/ 26 h 242" name="T71"/>
                <a:gd fmla="*/ 80 w 148" name="T72"/>
                <a:gd fmla="*/ 32 h 242" name="T73"/>
                <a:gd fmla="*/ 80 w 148" name="T74"/>
                <a:gd fmla="*/ 44 h 242" name="T75"/>
                <a:gd fmla="*/ 82 w 148" name="T76"/>
                <a:gd fmla="*/ 50 h 242" name="T77"/>
                <a:gd fmla="*/ 84 w 148" name="T78"/>
                <a:gd fmla="*/ 60 h 242" name="T79"/>
                <a:gd fmla="*/ 82 w 148" name="T80"/>
                <a:gd fmla="*/ 66 h 242" name="T81"/>
                <a:gd fmla="*/ 82 w 148" name="T82"/>
                <a:gd fmla="*/ 78 h 242" name="T83"/>
                <a:gd fmla="*/ 92 w 148" name="T84"/>
                <a:gd fmla="*/ 88 h 242" name="T85"/>
                <a:gd fmla="*/ 128 w 148" name="T86"/>
                <a:gd fmla="*/ 100 h 242" name="T87"/>
                <a:gd fmla="*/ 140 w 148" name="T88"/>
                <a:gd fmla="*/ 100 h 242" name="T89"/>
                <a:gd fmla="*/ 142 w 148" name="T90"/>
                <a:gd fmla="*/ 98 h 242" name="T91"/>
                <a:gd fmla="*/ 146 w 148" name="T92"/>
                <a:gd fmla="*/ 100 h 242" name="T93"/>
                <a:gd fmla="*/ 144 w 148" name="T94"/>
                <a:gd fmla="*/ 106 h 242" name="T95"/>
                <a:gd fmla="*/ 140 w 148" name="T96"/>
                <a:gd fmla="*/ 114 h 242" name="T97"/>
                <a:gd fmla="*/ 142 w 148" name="T98"/>
                <a:gd fmla="*/ 130 h 242" name="T99"/>
                <a:gd fmla="*/ 142 w 148" name="T100"/>
                <a:gd fmla="*/ 142 h 242" name="T101"/>
                <a:gd fmla="*/ 146 w 148" name="T102"/>
                <a:gd fmla="*/ 156 h 242" name="T103"/>
                <a:gd fmla="*/ 146 w 148" name="T104"/>
                <a:gd fmla="*/ 166 h 242" name="T105"/>
                <a:gd fmla="*/ 144 w 148" name="T106"/>
                <a:gd fmla="*/ 160 h 242" name="T107"/>
                <a:gd fmla="*/ 120 w 148" name="T108"/>
                <a:gd fmla="*/ 168 h 242" name="T109"/>
                <a:gd fmla="*/ 128 w 148" name="T110"/>
                <a:gd fmla="*/ 178 h 242" name="T111"/>
                <a:gd fmla="*/ 122 w 148" name="T112"/>
                <a:gd fmla="*/ 174 h 242" name="T113"/>
                <a:gd fmla="*/ 120 w 148" name="T114"/>
                <a:gd fmla="*/ 186 h 242" name="T115"/>
                <a:gd fmla="*/ 124 w 148" name="T116"/>
                <a:gd fmla="*/ 194 h 242"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241" w="148">
                  <a:moveTo>
                    <a:pt x="124" y="194"/>
                  </a:moveTo>
                  <a:lnTo>
                    <a:pt x="126" y="200"/>
                  </a:lnTo>
                  <a:lnTo>
                    <a:pt x="128" y="204"/>
                  </a:lnTo>
                  <a:lnTo>
                    <a:pt x="128" y="208"/>
                  </a:lnTo>
                  <a:lnTo>
                    <a:pt x="126" y="212"/>
                  </a:lnTo>
                  <a:lnTo>
                    <a:pt x="126" y="212"/>
                  </a:lnTo>
                  <a:lnTo>
                    <a:pt x="118" y="242"/>
                  </a:lnTo>
                  <a:lnTo>
                    <a:pt x="116" y="240"/>
                  </a:lnTo>
                  <a:lnTo>
                    <a:pt x="114" y="240"/>
                  </a:lnTo>
                  <a:lnTo>
                    <a:pt x="112" y="242"/>
                  </a:lnTo>
                  <a:lnTo>
                    <a:pt x="112" y="242"/>
                  </a:lnTo>
                  <a:lnTo>
                    <a:pt x="118" y="226"/>
                  </a:lnTo>
                  <a:lnTo>
                    <a:pt x="118" y="224"/>
                  </a:lnTo>
                  <a:lnTo>
                    <a:pt x="116" y="222"/>
                  </a:lnTo>
                  <a:lnTo>
                    <a:pt x="114" y="220"/>
                  </a:lnTo>
                  <a:lnTo>
                    <a:pt x="114" y="220"/>
                  </a:lnTo>
                  <a:lnTo>
                    <a:pt x="110" y="220"/>
                  </a:lnTo>
                  <a:lnTo>
                    <a:pt x="106" y="218"/>
                  </a:lnTo>
                  <a:lnTo>
                    <a:pt x="102" y="218"/>
                  </a:lnTo>
                  <a:lnTo>
                    <a:pt x="98" y="218"/>
                  </a:lnTo>
                  <a:lnTo>
                    <a:pt x="96" y="218"/>
                  </a:lnTo>
                  <a:lnTo>
                    <a:pt x="90" y="218"/>
                  </a:lnTo>
                  <a:lnTo>
                    <a:pt x="86" y="216"/>
                  </a:lnTo>
                  <a:lnTo>
                    <a:pt x="82" y="214"/>
                  </a:lnTo>
                  <a:lnTo>
                    <a:pt x="82" y="210"/>
                  </a:lnTo>
                  <a:lnTo>
                    <a:pt x="80" y="208"/>
                  </a:lnTo>
                  <a:lnTo>
                    <a:pt x="80" y="206"/>
                  </a:lnTo>
                  <a:lnTo>
                    <a:pt x="80" y="204"/>
                  </a:lnTo>
                  <a:lnTo>
                    <a:pt x="80" y="204"/>
                  </a:lnTo>
                  <a:lnTo>
                    <a:pt x="78" y="200"/>
                  </a:lnTo>
                  <a:lnTo>
                    <a:pt x="72" y="196"/>
                  </a:lnTo>
                  <a:lnTo>
                    <a:pt x="66" y="194"/>
                  </a:lnTo>
                  <a:lnTo>
                    <a:pt x="60" y="192"/>
                  </a:lnTo>
                  <a:lnTo>
                    <a:pt x="56" y="190"/>
                  </a:lnTo>
                  <a:lnTo>
                    <a:pt x="52" y="188"/>
                  </a:lnTo>
                  <a:lnTo>
                    <a:pt x="50" y="188"/>
                  </a:lnTo>
                  <a:lnTo>
                    <a:pt x="46" y="186"/>
                  </a:lnTo>
                  <a:lnTo>
                    <a:pt x="40" y="184"/>
                  </a:lnTo>
                  <a:lnTo>
                    <a:pt x="36" y="180"/>
                  </a:lnTo>
                  <a:lnTo>
                    <a:pt x="32" y="178"/>
                  </a:lnTo>
                  <a:lnTo>
                    <a:pt x="28" y="174"/>
                  </a:lnTo>
                  <a:lnTo>
                    <a:pt x="26" y="172"/>
                  </a:lnTo>
                  <a:lnTo>
                    <a:pt x="26" y="172"/>
                  </a:lnTo>
                  <a:lnTo>
                    <a:pt x="26" y="172"/>
                  </a:lnTo>
                  <a:lnTo>
                    <a:pt x="26" y="172"/>
                  </a:lnTo>
                  <a:lnTo>
                    <a:pt x="26" y="172"/>
                  </a:lnTo>
                  <a:lnTo>
                    <a:pt x="20" y="170"/>
                  </a:lnTo>
                  <a:lnTo>
                    <a:pt x="14" y="168"/>
                  </a:lnTo>
                  <a:lnTo>
                    <a:pt x="10" y="168"/>
                  </a:lnTo>
                  <a:lnTo>
                    <a:pt x="4" y="166"/>
                  </a:lnTo>
                  <a:lnTo>
                    <a:pt x="2" y="166"/>
                  </a:lnTo>
                  <a:lnTo>
                    <a:pt x="0" y="166"/>
                  </a:lnTo>
                  <a:lnTo>
                    <a:pt x="2" y="162"/>
                  </a:lnTo>
                  <a:lnTo>
                    <a:pt x="4" y="160"/>
                  </a:lnTo>
                  <a:lnTo>
                    <a:pt x="4" y="160"/>
                  </a:lnTo>
                  <a:lnTo>
                    <a:pt x="10" y="154"/>
                  </a:lnTo>
                  <a:lnTo>
                    <a:pt x="14" y="142"/>
                  </a:lnTo>
                  <a:lnTo>
                    <a:pt x="16" y="136"/>
                  </a:lnTo>
                  <a:lnTo>
                    <a:pt x="18" y="130"/>
                  </a:lnTo>
                  <a:lnTo>
                    <a:pt x="18" y="122"/>
                  </a:lnTo>
                  <a:lnTo>
                    <a:pt x="18" y="114"/>
                  </a:lnTo>
                  <a:lnTo>
                    <a:pt x="18" y="104"/>
                  </a:lnTo>
                  <a:lnTo>
                    <a:pt x="18" y="92"/>
                  </a:lnTo>
                  <a:lnTo>
                    <a:pt x="18" y="80"/>
                  </a:lnTo>
                  <a:lnTo>
                    <a:pt x="20" y="74"/>
                  </a:lnTo>
                  <a:lnTo>
                    <a:pt x="20" y="72"/>
                  </a:lnTo>
                  <a:lnTo>
                    <a:pt x="20" y="70"/>
                  </a:lnTo>
                  <a:lnTo>
                    <a:pt x="18" y="68"/>
                  </a:lnTo>
                  <a:lnTo>
                    <a:pt x="18" y="66"/>
                  </a:lnTo>
                  <a:lnTo>
                    <a:pt x="20" y="62"/>
                  </a:lnTo>
                  <a:lnTo>
                    <a:pt x="18" y="58"/>
                  </a:lnTo>
                  <a:lnTo>
                    <a:pt x="18" y="56"/>
                  </a:lnTo>
                  <a:lnTo>
                    <a:pt x="20" y="56"/>
                  </a:lnTo>
                  <a:lnTo>
                    <a:pt x="20" y="54"/>
                  </a:lnTo>
                  <a:lnTo>
                    <a:pt x="34" y="50"/>
                  </a:lnTo>
                  <a:lnTo>
                    <a:pt x="44" y="34"/>
                  </a:lnTo>
                  <a:lnTo>
                    <a:pt x="50" y="24"/>
                  </a:lnTo>
                  <a:lnTo>
                    <a:pt x="68" y="22"/>
                  </a:lnTo>
                  <a:lnTo>
                    <a:pt x="76" y="14"/>
                  </a:lnTo>
                  <a:lnTo>
                    <a:pt x="76" y="14"/>
                  </a:lnTo>
                  <a:lnTo>
                    <a:pt x="78" y="12"/>
                  </a:lnTo>
                  <a:lnTo>
                    <a:pt x="80" y="10"/>
                  </a:lnTo>
                  <a:lnTo>
                    <a:pt x="84" y="8"/>
                  </a:lnTo>
                  <a:lnTo>
                    <a:pt x="86" y="8"/>
                  </a:lnTo>
                  <a:lnTo>
                    <a:pt x="88" y="8"/>
                  </a:lnTo>
                  <a:lnTo>
                    <a:pt x="92" y="8"/>
                  </a:lnTo>
                  <a:lnTo>
                    <a:pt x="94" y="6"/>
                  </a:lnTo>
                  <a:lnTo>
                    <a:pt x="96" y="6"/>
                  </a:lnTo>
                  <a:lnTo>
                    <a:pt x="98" y="4"/>
                  </a:lnTo>
                  <a:lnTo>
                    <a:pt x="102" y="2"/>
                  </a:lnTo>
                  <a:lnTo>
                    <a:pt x="106" y="2"/>
                  </a:lnTo>
                  <a:lnTo>
                    <a:pt x="110" y="0"/>
                  </a:lnTo>
                  <a:lnTo>
                    <a:pt x="112" y="0"/>
                  </a:lnTo>
                  <a:lnTo>
                    <a:pt x="114" y="0"/>
                  </a:lnTo>
                  <a:lnTo>
                    <a:pt x="114" y="2"/>
                  </a:lnTo>
                  <a:lnTo>
                    <a:pt x="116" y="2"/>
                  </a:lnTo>
                  <a:lnTo>
                    <a:pt x="116" y="4"/>
                  </a:lnTo>
                  <a:lnTo>
                    <a:pt x="114" y="4"/>
                  </a:lnTo>
                  <a:lnTo>
                    <a:pt x="114" y="6"/>
                  </a:lnTo>
                  <a:lnTo>
                    <a:pt x="112" y="6"/>
                  </a:lnTo>
                  <a:lnTo>
                    <a:pt x="110" y="8"/>
                  </a:lnTo>
                  <a:lnTo>
                    <a:pt x="106" y="10"/>
                  </a:lnTo>
                  <a:lnTo>
                    <a:pt x="102" y="14"/>
                  </a:lnTo>
                  <a:lnTo>
                    <a:pt x="98" y="18"/>
                  </a:lnTo>
                  <a:lnTo>
                    <a:pt x="98" y="20"/>
                  </a:lnTo>
                  <a:lnTo>
                    <a:pt x="94" y="20"/>
                  </a:lnTo>
                  <a:lnTo>
                    <a:pt x="90" y="22"/>
                  </a:lnTo>
                  <a:lnTo>
                    <a:pt x="86" y="26"/>
                  </a:lnTo>
                  <a:lnTo>
                    <a:pt x="82" y="28"/>
                  </a:lnTo>
                  <a:lnTo>
                    <a:pt x="80" y="32"/>
                  </a:lnTo>
                  <a:lnTo>
                    <a:pt x="80" y="32"/>
                  </a:lnTo>
                  <a:lnTo>
                    <a:pt x="80" y="34"/>
                  </a:lnTo>
                  <a:lnTo>
                    <a:pt x="80" y="38"/>
                  </a:lnTo>
                  <a:lnTo>
                    <a:pt x="80" y="44"/>
                  </a:lnTo>
                  <a:lnTo>
                    <a:pt x="80" y="48"/>
                  </a:lnTo>
                  <a:lnTo>
                    <a:pt x="82" y="50"/>
                  </a:lnTo>
                  <a:lnTo>
                    <a:pt x="82" y="50"/>
                  </a:lnTo>
                  <a:lnTo>
                    <a:pt x="82" y="52"/>
                  </a:lnTo>
                  <a:lnTo>
                    <a:pt x="84" y="56"/>
                  </a:lnTo>
                  <a:lnTo>
                    <a:pt x="84" y="60"/>
                  </a:lnTo>
                  <a:lnTo>
                    <a:pt x="82" y="62"/>
                  </a:lnTo>
                  <a:lnTo>
                    <a:pt x="82" y="64"/>
                  </a:lnTo>
                  <a:lnTo>
                    <a:pt x="82" y="66"/>
                  </a:lnTo>
                  <a:lnTo>
                    <a:pt x="80" y="70"/>
                  </a:lnTo>
                  <a:lnTo>
                    <a:pt x="80" y="74"/>
                  </a:lnTo>
                  <a:lnTo>
                    <a:pt x="82" y="78"/>
                  </a:lnTo>
                  <a:lnTo>
                    <a:pt x="82" y="82"/>
                  </a:lnTo>
                  <a:lnTo>
                    <a:pt x="86" y="86"/>
                  </a:lnTo>
                  <a:lnTo>
                    <a:pt x="92" y="88"/>
                  </a:lnTo>
                  <a:lnTo>
                    <a:pt x="124" y="92"/>
                  </a:lnTo>
                  <a:lnTo>
                    <a:pt x="128" y="100"/>
                  </a:lnTo>
                  <a:lnTo>
                    <a:pt x="128" y="100"/>
                  </a:lnTo>
                  <a:lnTo>
                    <a:pt x="132" y="100"/>
                  </a:lnTo>
                  <a:lnTo>
                    <a:pt x="136" y="100"/>
                  </a:lnTo>
                  <a:lnTo>
                    <a:pt x="140" y="100"/>
                  </a:lnTo>
                  <a:lnTo>
                    <a:pt x="140" y="100"/>
                  </a:lnTo>
                  <a:lnTo>
                    <a:pt x="142" y="98"/>
                  </a:lnTo>
                  <a:lnTo>
                    <a:pt x="142" y="98"/>
                  </a:lnTo>
                  <a:lnTo>
                    <a:pt x="144" y="98"/>
                  </a:lnTo>
                  <a:lnTo>
                    <a:pt x="146" y="98"/>
                  </a:lnTo>
                  <a:lnTo>
                    <a:pt x="146" y="100"/>
                  </a:lnTo>
                  <a:lnTo>
                    <a:pt x="146" y="104"/>
                  </a:lnTo>
                  <a:lnTo>
                    <a:pt x="146" y="104"/>
                  </a:lnTo>
                  <a:lnTo>
                    <a:pt x="144" y="106"/>
                  </a:lnTo>
                  <a:lnTo>
                    <a:pt x="142" y="108"/>
                  </a:lnTo>
                  <a:lnTo>
                    <a:pt x="140" y="110"/>
                  </a:lnTo>
                  <a:lnTo>
                    <a:pt x="140" y="114"/>
                  </a:lnTo>
                  <a:lnTo>
                    <a:pt x="138" y="118"/>
                  </a:lnTo>
                  <a:lnTo>
                    <a:pt x="140" y="124"/>
                  </a:lnTo>
                  <a:lnTo>
                    <a:pt x="142" y="130"/>
                  </a:lnTo>
                  <a:lnTo>
                    <a:pt x="148" y="134"/>
                  </a:lnTo>
                  <a:lnTo>
                    <a:pt x="140" y="142"/>
                  </a:lnTo>
                  <a:lnTo>
                    <a:pt x="142" y="142"/>
                  </a:lnTo>
                  <a:lnTo>
                    <a:pt x="142" y="146"/>
                  </a:lnTo>
                  <a:lnTo>
                    <a:pt x="144" y="150"/>
                  </a:lnTo>
                  <a:lnTo>
                    <a:pt x="146" y="156"/>
                  </a:lnTo>
                  <a:lnTo>
                    <a:pt x="148" y="162"/>
                  </a:lnTo>
                  <a:lnTo>
                    <a:pt x="148" y="166"/>
                  </a:lnTo>
                  <a:lnTo>
                    <a:pt x="146" y="166"/>
                  </a:lnTo>
                  <a:lnTo>
                    <a:pt x="146" y="166"/>
                  </a:lnTo>
                  <a:lnTo>
                    <a:pt x="146" y="164"/>
                  </a:lnTo>
                  <a:lnTo>
                    <a:pt x="144" y="160"/>
                  </a:lnTo>
                  <a:lnTo>
                    <a:pt x="142" y="156"/>
                  </a:lnTo>
                  <a:lnTo>
                    <a:pt x="118" y="160"/>
                  </a:lnTo>
                  <a:lnTo>
                    <a:pt x="120" y="168"/>
                  </a:lnTo>
                  <a:lnTo>
                    <a:pt x="126" y="168"/>
                  </a:lnTo>
                  <a:lnTo>
                    <a:pt x="130" y="178"/>
                  </a:lnTo>
                  <a:lnTo>
                    <a:pt x="128" y="178"/>
                  </a:lnTo>
                  <a:lnTo>
                    <a:pt x="126" y="176"/>
                  </a:lnTo>
                  <a:lnTo>
                    <a:pt x="124" y="176"/>
                  </a:lnTo>
                  <a:lnTo>
                    <a:pt x="122" y="174"/>
                  </a:lnTo>
                  <a:lnTo>
                    <a:pt x="120" y="174"/>
                  </a:lnTo>
                  <a:lnTo>
                    <a:pt x="120" y="176"/>
                  </a:lnTo>
                  <a:lnTo>
                    <a:pt x="120" y="186"/>
                  </a:lnTo>
                  <a:lnTo>
                    <a:pt x="120" y="186"/>
                  </a:lnTo>
                  <a:lnTo>
                    <a:pt x="122" y="188"/>
                  </a:lnTo>
                  <a:lnTo>
                    <a:pt x="124" y="19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7" name="Freeform 514"/>
            <p:cNvSpPr/>
            <p:nvPr/>
          </p:nvSpPr>
          <p:spPr bwMode="gray">
            <a:xfrm>
              <a:off x="7366884" y="4680077"/>
              <a:ext cx="148112" cy="155413"/>
            </a:xfrm>
            <a:custGeom>
              <a:gdLst>
                <a:gd fmla="*/ 10 w 80" name="T0"/>
                <a:gd fmla="*/ 80 h 84" name="T1"/>
                <a:gd fmla="*/ 10 w 80" name="T2"/>
                <a:gd fmla="*/ 74 h 84" name="T3"/>
                <a:gd fmla="*/ 6 w 80" name="T4"/>
                <a:gd fmla="*/ 74 h 84" name="T5"/>
                <a:gd fmla="*/ 4 w 80" name="T6"/>
                <a:gd fmla="*/ 72 h 84" name="T7"/>
                <a:gd fmla="*/ 2 w 80" name="T8"/>
                <a:gd fmla="*/ 70 h 84" name="T9"/>
                <a:gd fmla="*/ 0 w 80" name="T10"/>
                <a:gd fmla="*/ 68 h 84" name="T11"/>
                <a:gd fmla="*/ 0 w 80" name="T12"/>
                <a:gd fmla="*/ 66 h 84" name="T13"/>
                <a:gd fmla="*/ 6 w 80" name="T14"/>
                <a:gd fmla="*/ 54 h 84" name="T15"/>
                <a:gd fmla="*/ 14 w 80" name="T16"/>
                <a:gd fmla="*/ 44 h 84" name="T17"/>
                <a:gd fmla="*/ 24 w 80" name="T18"/>
                <a:gd fmla="*/ 36 h 84" name="T19"/>
                <a:gd fmla="*/ 28 w 80" name="T20"/>
                <a:gd fmla="*/ 34 h 84" name="T21"/>
                <a:gd fmla="*/ 30 w 80" name="T22"/>
                <a:gd fmla="*/ 22 h 84" name="T23"/>
                <a:gd fmla="*/ 32 w 80" name="T24"/>
                <a:gd fmla="*/ 20 h 84" name="T25"/>
                <a:gd fmla="*/ 34 w 80" name="T26"/>
                <a:gd fmla="*/ 18 h 84" name="T27"/>
                <a:gd fmla="*/ 36 w 80" name="T28"/>
                <a:gd fmla="*/ 18 h 84" name="T29"/>
                <a:gd fmla="*/ 38 w 80" name="T30"/>
                <a:gd fmla="*/ 16 h 84" name="T31"/>
                <a:gd fmla="*/ 38 w 80" name="T32"/>
                <a:gd fmla="*/ 12 h 84" name="T33"/>
                <a:gd fmla="*/ 38 w 80" name="T34"/>
                <a:gd fmla="*/ 8 h 84" name="T35"/>
                <a:gd fmla="*/ 38 w 80" name="T36"/>
                <a:gd fmla="*/ 6 h 84" name="T37"/>
                <a:gd fmla="*/ 40 w 80" name="T38"/>
                <a:gd fmla="*/ 2 h 84" name="T39"/>
                <a:gd fmla="*/ 40 w 80" name="T40"/>
                <a:gd fmla="*/ 0 h 84" name="T41"/>
                <a:gd fmla="*/ 42 w 80" name="T42"/>
                <a:gd fmla="*/ 0 h 84" name="T43"/>
                <a:gd fmla="*/ 44 w 80" name="T44"/>
                <a:gd fmla="*/ 0 h 84" name="T45"/>
                <a:gd fmla="*/ 50 w 80" name="T46"/>
                <a:gd fmla="*/ 2 h 84" name="T47"/>
                <a:gd fmla="*/ 54 w 80" name="T48"/>
                <a:gd fmla="*/ 2 h 84" name="T49"/>
                <a:gd fmla="*/ 60 w 80" name="T50"/>
                <a:gd fmla="*/ 4 h 84" name="T51"/>
                <a:gd fmla="*/ 66 w 80" name="T52"/>
                <a:gd fmla="*/ 6 h 84" name="T53"/>
                <a:gd fmla="*/ 66 w 80" name="T54"/>
                <a:gd fmla="*/ 6 h 84" name="T55"/>
                <a:gd fmla="*/ 66 w 80" name="T56"/>
                <a:gd fmla="*/ 6 h 84" name="T57"/>
                <a:gd fmla="*/ 66 w 80" name="T58"/>
                <a:gd fmla="*/ 6 h 84" name="T59"/>
                <a:gd fmla="*/ 68 w 80" name="T60"/>
                <a:gd fmla="*/ 6 h 84" name="T61"/>
                <a:gd fmla="*/ 70 w 80" name="T62"/>
                <a:gd fmla="*/ 10 h 84" name="T63"/>
                <a:gd fmla="*/ 74 w 80" name="T64"/>
                <a:gd fmla="*/ 12 h 84" name="T65"/>
                <a:gd fmla="*/ 78 w 80" name="T66"/>
                <a:gd fmla="*/ 16 h 84" name="T67"/>
                <a:gd fmla="*/ 78 w 80" name="T68"/>
                <a:gd fmla="*/ 18 h 84" name="T69"/>
                <a:gd fmla="*/ 78 w 80" name="T70"/>
                <a:gd fmla="*/ 20 h 84" name="T71"/>
                <a:gd fmla="*/ 78 w 80" name="T72"/>
                <a:gd fmla="*/ 24 h 84" name="T73"/>
                <a:gd fmla="*/ 80 w 80" name="T74"/>
                <a:gd fmla="*/ 26 h 84" name="T75"/>
                <a:gd fmla="*/ 80 w 80" name="T76"/>
                <a:gd fmla="*/ 30 h 84" name="T77"/>
                <a:gd fmla="*/ 78 w 80" name="T78"/>
                <a:gd fmla="*/ 34 h 84" name="T79"/>
                <a:gd fmla="*/ 74 w 80" name="T80"/>
                <a:gd fmla="*/ 44 h 84" name="T81"/>
                <a:gd fmla="*/ 66 w 80" name="T82"/>
                <a:gd fmla="*/ 52 h 84" name="T83"/>
                <a:gd fmla="*/ 56 w 80" name="T84"/>
                <a:gd fmla="*/ 60 h 84" name="T85"/>
                <a:gd fmla="*/ 44 w 80" name="T86"/>
                <a:gd fmla="*/ 64 h 84" name="T87"/>
                <a:gd fmla="*/ 42 w 80" name="T88"/>
                <a:gd fmla="*/ 64 h 84" name="T89"/>
                <a:gd fmla="*/ 42 w 80" name="T90"/>
                <a:gd fmla="*/ 64 h 84" name="T91"/>
                <a:gd fmla="*/ 40 w 80" name="T92"/>
                <a:gd fmla="*/ 66 h 84" name="T93"/>
                <a:gd fmla="*/ 38 w 80" name="T94"/>
                <a:gd fmla="*/ 70 h 84" name="T95"/>
                <a:gd fmla="*/ 38 w 80" name="T96"/>
                <a:gd fmla="*/ 70 h 84" name="T97"/>
                <a:gd fmla="*/ 36 w 80" name="T98"/>
                <a:gd fmla="*/ 72 h 84" name="T99"/>
                <a:gd fmla="*/ 36 w 80" name="T100"/>
                <a:gd fmla="*/ 76 h 84" name="T101"/>
                <a:gd fmla="*/ 34 w 80" name="T102"/>
                <a:gd fmla="*/ 78 h 84" name="T103"/>
                <a:gd fmla="*/ 32 w 80" name="T104"/>
                <a:gd fmla="*/ 80 h 84" name="T105"/>
                <a:gd fmla="*/ 32 w 80" name="T106"/>
                <a:gd fmla="*/ 80 h 84" name="T107"/>
                <a:gd fmla="*/ 32 w 80" name="T108"/>
                <a:gd fmla="*/ 82 h 84" name="T109"/>
                <a:gd fmla="*/ 30 w 80" name="T110"/>
                <a:gd fmla="*/ 84 h 84" name="T111"/>
                <a:gd fmla="*/ 26 w 80" name="T112"/>
                <a:gd fmla="*/ 84 h 84" name="T113"/>
                <a:gd fmla="*/ 24 w 80" name="T114"/>
                <a:gd fmla="*/ 84 h 84" name="T115"/>
                <a:gd fmla="*/ 22 w 80" name="T116"/>
                <a:gd fmla="*/ 82 h 84" name="T117"/>
                <a:gd fmla="*/ 12 w 80" name="T118"/>
                <a:gd fmla="*/ 82 h 84" name="T119"/>
                <a:gd fmla="*/ 10 w 80" name="T120"/>
                <a:gd fmla="*/ 80 h 84"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84" w="80">
                  <a:moveTo>
                    <a:pt x="10" y="80"/>
                  </a:moveTo>
                  <a:lnTo>
                    <a:pt x="10" y="74"/>
                  </a:lnTo>
                  <a:lnTo>
                    <a:pt x="6" y="74"/>
                  </a:lnTo>
                  <a:lnTo>
                    <a:pt x="4" y="72"/>
                  </a:lnTo>
                  <a:lnTo>
                    <a:pt x="2" y="70"/>
                  </a:lnTo>
                  <a:lnTo>
                    <a:pt x="0" y="68"/>
                  </a:lnTo>
                  <a:lnTo>
                    <a:pt x="0" y="66"/>
                  </a:lnTo>
                  <a:lnTo>
                    <a:pt x="6" y="54"/>
                  </a:lnTo>
                  <a:lnTo>
                    <a:pt x="14" y="44"/>
                  </a:lnTo>
                  <a:lnTo>
                    <a:pt x="24" y="36"/>
                  </a:lnTo>
                  <a:lnTo>
                    <a:pt x="28" y="34"/>
                  </a:lnTo>
                  <a:lnTo>
                    <a:pt x="30" y="22"/>
                  </a:lnTo>
                  <a:lnTo>
                    <a:pt x="32" y="20"/>
                  </a:lnTo>
                  <a:lnTo>
                    <a:pt x="34" y="18"/>
                  </a:lnTo>
                  <a:lnTo>
                    <a:pt x="36" y="18"/>
                  </a:lnTo>
                  <a:lnTo>
                    <a:pt x="38" y="16"/>
                  </a:lnTo>
                  <a:lnTo>
                    <a:pt x="38" y="12"/>
                  </a:lnTo>
                  <a:lnTo>
                    <a:pt x="38" y="8"/>
                  </a:lnTo>
                  <a:lnTo>
                    <a:pt x="38" y="6"/>
                  </a:lnTo>
                  <a:lnTo>
                    <a:pt x="40" y="2"/>
                  </a:lnTo>
                  <a:lnTo>
                    <a:pt x="40" y="0"/>
                  </a:lnTo>
                  <a:lnTo>
                    <a:pt x="42" y="0"/>
                  </a:lnTo>
                  <a:lnTo>
                    <a:pt x="44" y="0"/>
                  </a:lnTo>
                  <a:lnTo>
                    <a:pt x="50" y="2"/>
                  </a:lnTo>
                  <a:lnTo>
                    <a:pt x="54" y="2"/>
                  </a:lnTo>
                  <a:lnTo>
                    <a:pt x="60" y="4"/>
                  </a:lnTo>
                  <a:lnTo>
                    <a:pt x="66" y="6"/>
                  </a:lnTo>
                  <a:lnTo>
                    <a:pt x="66" y="6"/>
                  </a:lnTo>
                  <a:lnTo>
                    <a:pt x="66" y="6"/>
                  </a:lnTo>
                  <a:lnTo>
                    <a:pt x="66" y="6"/>
                  </a:lnTo>
                  <a:lnTo>
                    <a:pt x="68" y="6"/>
                  </a:lnTo>
                  <a:lnTo>
                    <a:pt x="70" y="10"/>
                  </a:lnTo>
                  <a:lnTo>
                    <a:pt x="74" y="12"/>
                  </a:lnTo>
                  <a:lnTo>
                    <a:pt x="78" y="16"/>
                  </a:lnTo>
                  <a:lnTo>
                    <a:pt x="78" y="18"/>
                  </a:lnTo>
                  <a:lnTo>
                    <a:pt x="78" y="20"/>
                  </a:lnTo>
                  <a:lnTo>
                    <a:pt x="78" y="24"/>
                  </a:lnTo>
                  <a:lnTo>
                    <a:pt x="80" y="26"/>
                  </a:lnTo>
                  <a:lnTo>
                    <a:pt x="80" y="30"/>
                  </a:lnTo>
                  <a:lnTo>
                    <a:pt x="78" y="34"/>
                  </a:lnTo>
                  <a:lnTo>
                    <a:pt x="74" y="44"/>
                  </a:lnTo>
                  <a:lnTo>
                    <a:pt x="66" y="52"/>
                  </a:lnTo>
                  <a:lnTo>
                    <a:pt x="56" y="60"/>
                  </a:lnTo>
                  <a:lnTo>
                    <a:pt x="44" y="64"/>
                  </a:lnTo>
                  <a:lnTo>
                    <a:pt x="42" y="64"/>
                  </a:lnTo>
                  <a:lnTo>
                    <a:pt x="42" y="64"/>
                  </a:lnTo>
                  <a:lnTo>
                    <a:pt x="40" y="66"/>
                  </a:lnTo>
                  <a:lnTo>
                    <a:pt x="38" y="70"/>
                  </a:lnTo>
                  <a:lnTo>
                    <a:pt x="38" y="70"/>
                  </a:lnTo>
                  <a:lnTo>
                    <a:pt x="36" y="72"/>
                  </a:lnTo>
                  <a:lnTo>
                    <a:pt x="36" y="76"/>
                  </a:lnTo>
                  <a:lnTo>
                    <a:pt x="34" y="78"/>
                  </a:lnTo>
                  <a:lnTo>
                    <a:pt x="32" y="80"/>
                  </a:lnTo>
                  <a:lnTo>
                    <a:pt x="32" y="80"/>
                  </a:lnTo>
                  <a:lnTo>
                    <a:pt x="32" y="82"/>
                  </a:lnTo>
                  <a:lnTo>
                    <a:pt x="30" y="84"/>
                  </a:lnTo>
                  <a:lnTo>
                    <a:pt x="26" y="84"/>
                  </a:lnTo>
                  <a:lnTo>
                    <a:pt x="24" y="84"/>
                  </a:lnTo>
                  <a:lnTo>
                    <a:pt x="22" y="82"/>
                  </a:lnTo>
                  <a:lnTo>
                    <a:pt x="12" y="82"/>
                  </a:lnTo>
                  <a:lnTo>
                    <a:pt x="10" y="8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8" name="Freeform 515"/>
            <p:cNvSpPr/>
            <p:nvPr/>
          </p:nvSpPr>
          <p:spPr bwMode="gray">
            <a:xfrm>
              <a:off x="7570538" y="5309128"/>
              <a:ext cx="496174" cy="1221099"/>
            </a:xfrm>
            <a:custGeom>
              <a:gdLst>
                <a:gd fmla="*/ 82 w 268" name="T0"/>
                <a:gd fmla="*/ 28 h 660" name="T1"/>
                <a:gd fmla="*/ 78 w 268" name="T2"/>
                <a:gd fmla="*/ 38 h 660" name="T3"/>
                <a:gd fmla="*/ 68 w 268" name="T4"/>
                <a:gd fmla="*/ 58 h 660" name="T5"/>
                <a:gd fmla="*/ 52 w 268" name="T6"/>
                <a:gd fmla="*/ 90 h 660" name="T7"/>
                <a:gd fmla="*/ 46 w 268" name="T8"/>
                <a:gd fmla="*/ 126 h 660" name="T9"/>
                <a:gd fmla="*/ 44 w 268" name="T10"/>
                <a:gd fmla="*/ 238 h 660" name="T11"/>
                <a:gd fmla="*/ 32 w 268" name="T12"/>
                <a:gd fmla="*/ 256 h 660" name="T13"/>
                <a:gd fmla="*/ 22 w 268" name="T14"/>
                <a:gd fmla="*/ 282 h 660" name="T15"/>
                <a:gd fmla="*/ 24 w 268" name="T16"/>
                <a:gd fmla="*/ 310 h 660" name="T17"/>
                <a:gd fmla="*/ 20 w 268" name="T18"/>
                <a:gd fmla="*/ 332 h 660" name="T19"/>
                <a:gd fmla="*/ 20 w 268" name="T20"/>
                <a:gd fmla="*/ 370 h 660" name="T21"/>
                <a:gd fmla="*/ 18 w 268" name="T22"/>
                <a:gd fmla="*/ 382 h 660" name="T23"/>
                <a:gd fmla="*/ 22 w 268" name="T24"/>
                <a:gd fmla="*/ 390 h 660" name="T25"/>
                <a:gd fmla="*/ 20 w 268" name="T26"/>
                <a:gd fmla="*/ 428 h 660" name="T27"/>
                <a:gd fmla="*/ 10 w 268" name="T28"/>
                <a:gd fmla="*/ 438 h 660" name="T29"/>
                <a:gd fmla="*/ 2 w 268" name="T30"/>
                <a:gd fmla="*/ 466 h 660" name="T31"/>
                <a:gd fmla="*/ 2 w 268" name="T32"/>
                <a:gd fmla="*/ 530 h 660" name="T33"/>
                <a:gd fmla="*/ 2 w 268" name="T34"/>
                <a:gd fmla="*/ 554 h 660" name="T35"/>
                <a:gd fmla="*/ 54 w 268" name="T36"/>
                <a:gd fmla="*/ 570 h 660" name="T37"/>
                <a:gd fmla="*/ 56 w 268" name="T38"/>
                <a:gd fmla="*/ 588 h 660" name="T39"/>
                <a:gd fmla="*/ 114 w 268" name="T40"/>
                <a:gd fmla="*/ 660 h 660" name="T41"/>
                <a:gd fmla="*/ 106 w 268" name="T42"/>
                <a:gd fmla="*/ 624 h 660" name="T43"/>
                <a:gd fmla="*/ 82 w 268" name="T44"/>
                <a:gd fmla="*/ 616 h 660" name="T45"/>
                <a:gd fmla="*/ 56 w 268" name="T46"/>
                <a:gd fmla="*/ 568 h 660" name="T47"/>
                <a:gd fmla="*/ 54 w 268" name="T48"/>
                <a:gd fmla="*/ 534 h 660" name="T49"/>
                <a:gd fmla="*/ 78 w 268" name="T50"/>
                <a:gd fmla="*/ 506 h 660" name="T51"/>
                <a:gd fmla="*/ 92 w 268" name="T52"/>
                <a:gd fmla="*/ 492 h 660" name="T53"/>
                <a:gd fmla="*/ 96 w 268" name="T54"/>
                <a:gd fmla="*/ 482 h 660" name="T55"/>
                <a:gd fmla="*/ 96 w 268" name="T56"/>
                <a:gd fmla="*/ 466 h 660" name="T57"/>
                <a:gd fmla="*/ 82 w 268" name="T58"/>
                <a:gd fmla="*/ 456 h 660" name="T59"/>
                <a:gd fmla="*/ 74 w 268" name="T60"/>
                <a:gd fmla="*/ 436 h 660" name="T61"/>
                <a:gd fmla="*/ 82 w 268" name="T62"/>
                <a:gd fmla="*/ 424 h 660" name="T63"/>
                <a:gd fmla="*/ 88 w 268" name="T64"/>
                <a:gd fmla="*/ 424 h 660" name="T65"/>
                <a:gd fmla="*/ 124 w 268" name="T66"/>
                <a:gd fmla="*/ 368 h 660" name="T67"/>
                <a:gd fmla="*/ 112 w 268" name="T68"/>
                <a:gd fmla="*/ 346 h 660" name="T69"/>
                <a:gd fmla="*/ 112 w 268" name="T70"/>
                <a:gd fmla="*/ 334 h 660" name="T71"/>
                <a:gd fmla="*/ 142 w 268" name="T72"/>
                <a:gd fmla="*/ 314 h 660" name="T73"/>
                <a:gd fmla="*/ 148 w 268" name="T74"/>
                <a:gd fmla="*/ 300 h 660" name="T75"/>
                <a:gd fmla="*/ 164 w 268" name="T76"/>
                <a:gd fmla="*/ 294 h 660" name="T77"/>
                <a:gd fmla="*/ 210 w 268" name="T78"/>
                <a:gd fmla="*/ 282 h 660" name="T79"/>
                <a:gd fmla="*/ 218 w 268" name="T80"/>
                <a:gd fmla="*/ 250 h 660" name="T81"/>
                <a:gd fmla="*/ 206 w 268" name="T82"/>
                <a:gd fmla="*/ 216 h 660" name="T83"/>
                <a:gd fmla="*/ 200 w 268" name="T84"/>
                <a:gd fmla="*/ 202 h 660" name="T85"/>
                <a:gd fmla="*/ 200 w 268" name="T86"/>
                <a:gd fmla="*/ 180 h 660" name="T87"/>
                <a:gd fmla="*/ 214 w 268" name="T88"/>
                <a:gd fmla="*/ 134 h 660" name="T89"/>
                <a:gd fmla="*/ 220 w 268" name="T90"/>
                <a:gd fmla="*/ 120 h 660" name="T91"/>
                <a:gd fmla="*/ 230 w 268" name="T92"/>
                <a:gd fmla="*/ 110 h 660" name="T93"/>
                <a:gd fmla="*/ 262 w 268" name="T94"/>
                <a:gd fmla="*/ 84 h 660" name="T95"/>
                <a:gd fmla="*/ 268 w 268" name="T96"/>
                <a:gd fmla="*/ 68 h 660" name="T97"/>
                <a:gd fmla="*/ 262 w 268" name="T98"/>
                <a:gd fmla="*/ 62 h 660" name="T99"/>
                <a:gd fmla="*/ 258 w 268" name="T100"/>
                <a:gd fmla="*/ 58 h 660" name="T101"/>
                <a:gd fmla="*/ 252 w 268" name="T102"/>
                <a:gd fmla="*/ 58 h 660" name="T103"/>
                <a:gd fmla="*/ 250 w 268" name="T104"/>
                <a:gd fmla="*/ 72 h 660" name="T105"/>
                <a:gd fmla="*/ 246 w 268" name="T106"/>
                <a:gd fmla="*/ 86 h 660" name="T107"/>
                <a:gd fmla="*/ 176 w 268" name="T108"/>
                <a:gd fmla="*/ 34 h 660" name="T109"/>
                <a:gd fmla="*/ 146 w 268" name="T110"/>
                <a:gd fmla="*/ 18 h 660" name="T111"/>
                <a:gd fmla="*/ 144 w 268" name="T112"/>
                <a:gd fmla="*/ 6 h 660" name="T113"/>
                <a:gd fmla="*/ 138 w 268" name="T114"/>
                <a:gd fmla="*/ 2 h 660" name="T115"/>
                <a:gd fmla="*/ 120 w 268" name="T116"/>
                <a:gd fmla="*/ 16 h 660" name="T117"/>
                <a:gd fmla="*/ 118 w 268" name="T118"/>
                <a:gd fmla="*/ 8 h 660" name="T119"/>
                <a:gd fmla="*/ 94 w 268" name="T120"/>
                <a:gd fmla="*/ 0 h 660" name="T121"/>
                <a:gd fmla="*/ 86 w 268" name="T122"/>
                <a:gd fmla="*/ 14 h 660"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660" w="268">
                  <a:moveTo>
                    <a:pt x="82" y="18"/>
                  </a:moveTo>
                  <a:lnTo>
                    <a:pt x="82" y="20"/>
                  </a:lnTo>
                  <a:lnTo>
                    <a:pt x="82" y="22"/>
                  </a:lnTo>
                  <a:lnTo>
                    <a:pt x="82" y="28"/>
                  </a:lnTo>
                  <a:lnTo>
                    <a:pt x="82" y="32"/>
                  </a:lnTo>
                  <a:lnTo>
                    <a:pt x="82" y="36"/>
                  </a:lnTo>
                  <a:lnTo>
                    <a:pt x="80" y="36"/>
                  </a:lnTo>
                  <a:lnTo>
                    <a:pt x="78" y="38"/>
                  </a:lnTo>
                  <a:lnTo>
                    <a:pt x="76" y="40"/>
                  </a:lnTo>
                  <a:lnTo>
                    <a:pt x="72" y="44"/>
                  </a:lnTo>
                  <a:lnTo>
                    <a:pt x="70" y="50"/>
                  </a:lnTo>
                  <a:lnTo>
                    <a:pt x="68" y="58"/>
                  </a:lnTo>
                  <a:lnTo>
                    <a:pt x="66" y="62"/>
                  </a:lnTo>
                  <a:lnTo>
                    <a:pt x="62" y="70"/>
                  </a:lnTo>
                  <a:lnTo>
                    <a:pt x="56" y="80"/>
                  </a:lnTo>
                  <a:lnTo>
                    <a:pt x="52" y="90"/>
                  </a:lnTo>
                  <a:lnTo>
                    <a:pt x="50" y="98"/>
                  </a:lnTo>
                  <a:lnTo>
                    <a:pt x="48" y="104"/>
                  </a:lnTo>
                  <a:lnTo>
                    <a:pt x="48" y="112"/>
                  </a:lnTo>
                  <a:lnTo>
                    <a:pt x="46" y="126"/>
                  </a:lnTo>
                  <a:lnTo>
                    <a:pt x="48" y="144"/>
                  </a:lnTo>
                  <a:lnTo>
                    <a:pt x="46" y="234"/>
                  </a:lnTo>
                  <a:lnTo>
                    <a:pt x="46" y="236"/>
                  </a:lnTo>
                  <a:lnTo>
                    <a:pt x="44" y="238"/>
                  </a:lnTo>
                  <a:lnTo>
                    <a:pt x="40" y="242"/>
                  </a:lnTo>
                  <a:lnTo>
                    <a:pt x="38" y="246"/>
                  </a:lnTo>
                  <a:lnTo>
                    <a:pt x="34" y="250"/>
                  </a:lnTo>
                  <a:lnTo>
                    <a:pt x="32" y="256"/>
                  </a:lnTo>
                  <a:lnTo>
                    <a:pt x="30" y="260"/>
                  </a:lnTo>
                  <a:lnTo>
                    <a:pt x="28" y="262"/>
                  </a:lnTo>
                  <a:lnTo>
                    <a:pt x="24" y="280"/>
                  </a:lnTo>
                  <a:lnTo>
                    <a:pt x="22" y="282"/>
                  </a:lnTo>
                  <a:lnTo>
                    <a:pt x="22" y="284"/>
                  </a:lnTo>
                  <a:lnTo>
                    <a:pt x="24" y="292"/>
                  </a:lnTo>
                  <a:lnTo>
                    <a:pt x="22" y="302"/>
                  </a:lnTo>
                  <a:lnTo>
                    <a:pt x="24" y="310"/>
                  </a:lnTo>
                  <a:lnTo>
                    <a:pt x="22" y="322"/>
                  </a:lnTo>
                  <a:lnTo>
                    <a:pt x="18" y="324"/>
                  </a:lnTo>
                  <a:lnTo>
                    <a:pt x="18" y="332"/>
                  </a:lnTo>
                  <a:lnTo>
                    <a:pt x="20" y="332"/>
                  </a:lnTo>
                  <a:lnTo>
                    <a:pt x="20" y="336"/>
                  </a:lnTo>
                  <a:lnTo>
                    <a:pt x="20" y="348"/>
                  </a:lnTo>
                  <a:lnTo>
                    <a:pt x="20" y="360"/>
                  </a:lnTo>
                  <a:lnTo>
                    <a:pt x="20" y="370"/>
                  </a:lnTo>
                  <a:lnTo>
                    <a:pt x="20" y="374"/>
                  </a:lnTo>
                  <a:lnTo>
                    <a:pt x="18" y="378"/>
                  </a:lnTo>
                  <a:lnTo>
                    <a:pt x="18" y="380"/>
                  </a:lnTo>
                  <a:lnTo>
                    <a:pt x="18" y="382"/>
                  </a:lnTo>
                  <a:lnTo>
                    <a:pt x="18" y="384"/>
                  </a:lnTo>
                  <a:lnTo>
                    <a:pt x="20" y="386"/>
                  </a:lnTo>
                  <a:lnTo>
                    <a:pt x="20" y="388"/>
                  </a:lnTo>
                  <a:lnTo>
                    <a:pt x="22" y="390"/>
                  </a:lnTo>
                  <a:lnTo>
                    <a:pt x="22" y="396"/>
                  </a:lnTo>
                  <a:lnTo>
                    <a:pt x="22" y="408"/>
                  </a:lnTo>
                  <a:lnTo>
                    <a:pt x="22" y="420"/>
                  </a:lnTo>
                  <a:lnTo>
                    <a:pt x="20" y="428"/>
                  </a:lnTo>
                  <a:lnTo>
                    <a:pt x="20" y="430"/>
                  </a:lnTo>
                  <a:lnTo>
                    <a:pt x="16" y="432"/>
                  </a:lnTo>
                  <a:lnTo>
                    <a:pt x="14" y="434"/>
                  </a:lnTo>
                  <a:lnTo>
                    <a:pt x="10" y="438"/>
                  </a:lnTo>
                  <a:lnTo>
                    <a:pt x="6" y="442"/>
                  </a:lnTo>
                  <a:lnTo>
                    <a:pt x="4" y="446"/>
                  </a:lnTo>
                  <a:lnTo>
                    <a:pt x="2" y="452"/>
                  </a:lnTo>
                  <a:lnTo>
                    <a:pt x="2" y="466"/>
                  </a:lnTo>
                  <a:lnTo>
                    <a:pt x="2" y="486"/>
                  </a:lnTo>
                  <a:lnTo>
                    <a:pt x="2" y="506"/>
                  </a:lnTo>
                  <a:lnTo>
                    <a:pt x="2" y="524"/>
                  </a:lnTo>
                  <a:lnTo>
                    <a:pt x="2" y="530"/>
                  </a:lnTo>
                  <a:lnTo>
                    <a:pt x="0" y="532"/>
                  </a:lnTo>
                  <a:lnTo>
                    <a:pt x="0" y="536"/>
                  </a:lnTo>
                  <a:lnTo>
                    <a:pt x="2" y="542"/>
                  </a:lnTo>
                  <a:lnTo>
                    <a:pt x="2" y="554"/>
                  </a:lnTo>
                  <a:lnTo>
                    <a:pt x="14" y="568"/>
                  </a:lnTo>
                  <a:lnTo>
                    <a:pt x="52" y="568"/>
                  </a:lnTo>
                  <a:lnTo>
                    <a:pt x="54" y="568"/>
                  </a:lnTo>
                  <a:lnTo>
                    <a:pt x="54" y="570"/>
                  </a:lnTo>
                  <a:lnTo>
                    <a:pt x="54" y="572"/>
                  </a:lnTo>
                  <a:lnTo>
                    <a:pt x="54" y="574"/>
                  </a:lnTo>
                  <a:lnTo>
                    <a:pt x="54" y="580"/>
                  </a:lnTo>
                  <a:lnTo>
                    <a:pt x="56" y="588"/>
                  </a:lnTo>
                  <a:lnTo>
                    <a:pt x="56" y="612"/>
                  </a:lnTo>
                  <a:lnTo>
                    <a:pt x="60" y="638"/>
                  </a:lnTo>
                  <a:lnTo>
                    <a:pt x="100" y="640"/>
                  </a:lnTo>
                  <a:lnTo>
                    <a:pt x="114" y="660"/>
                  </a:lnTo>
                  <a:lnTo>
                    <a:pt x="116" y="654"/>
                  </a:lnTo>
                  <a:lnTo>
                    <a:pt x="118" y="648"/>
                  </a:lnTo>
                  <a:lnTo>
                    <a:pt x="118" y="638"/>
                  </a:lnTo>
                  <a:lnTo>
                    <a:pt x="106" y="624"/>
                  </a:lnTo>
                  <a:lnTo>
                    <a:pt x="94" y="614"/>
                  </a:lnTo>
                  <a:lnTo>
                    <a:pt x="92" y="616"/>
                  </a:lnTo>
                  <a:lnTo>
                    <a:pt x="88" y="616"/>
                  </a:lnTo>
                  <a:lnTo>
                    <a:pt x="82" y="616"/>
                  </a:lnTo>
                  <a:lnTo>
                    <a:pt x="74" y="612"/>
                  </a:lnTo>
                  <a:lnTo>
                    <a:pt x="66" y="604"/>
                  </a:lnTo>
                  <a:lnTo>
                    <a:pt x="60" y="590"/>
                  </a:lnTo>
                  <a:lnTo>
                    <a:pt x="56" y="568"/>
                  </a:lnTo>
                  <a:lnTo>
                    <a:pt x="56" y="564"/>
                  </a:lnTo>
                  <a:lnTo>
                    <a:pt x="54" y="554"/>
                  </a:lnTo>
                  <a:lnTo>
                    <a:pt x="52" y="544"/>
                  </a:lnTo>
                  <a:lnTo>
                    <a:pt x="54" y="534"/>
                  </a:lnTo>
                  <a:lnTo>
                    <a:pt x="62" y="526"/>
                  </a:lnTo>
                  <a:lnTo>
                    <a:pt x="74" y="508"/>
                  </a:lnTo>
                  <a:lnTo>
                    <a:pt x="74" y="508"/>
                  </a:lnTo>
                  <a:lnTo>
                    <a:pt x="78" y="506"/>
                  </a:lnTo>
                  <a:lnTo>
                    <a:pt x="80" y="502"/>
                  </a:lnTo>
                  <a:lnTo>
                    <a:pt x="84" y="500"/>
                  </a:lnTo>
                  <a:lnTo>
                    <a:pt x="88" y="496"/>
                  </a:lnTo>
                  <a:lnTo>
                    <a:pt x="92" y="492"/>
                  </a:lnTo>
                  <a:lnTo>
                    <a:pt x="94" y="490"/>
                  </a:lnTo>
                  <a:lnTo>
                    <a:pt x="94" y="486"/>
                  </a:lnTo>
                  <a:lnTo>
                    <a:pt x="94" y="484"/>
                  </a:lnTo>
                  <a:lnTo>
                    <a:pt x="96" y="482"/>
                  </a:lnTo>
                  <a:lnTo>
                    <a:pt x="96" y="478"/>
                  </a:lnTo>
                  <a:lnTo>
                    <a:pt x="96" y="474"/>
                  </a:lnTo>
                  <a:lnTo>
                    <a:pt x="96" y="470"/>
                  </a:lnTo>
                  <a:lnTo>
                    <a:pt x="96" y="466"/>
                  </a:lnTo>
                  <a:lnTo>
                    <a:pt x="94" y="462"/>
                  </a:lnTo>
                  <a:lnTo>
                    <a:pt x="90" y="460"/>
                  </a:lnTo>
                  <a:lnTo>
                    <a:pt x="86" y="458"/>
                  </a:lnTo>
                  <a:lnTo>
                    <a:pt x="82" y="456"/>
                  </a:lnTo>
                  <a:lnTo>
                    <a:pt x="78" y="452"/>
                  </a:lnTo>
                  <a:lnTo>
                    <a:pt x="76" y="448"/>
                  </a:lnTo>
                  <a:lnTo>
                    <a:pt x="74" y="444"/>
                  </a:lnTo>
                  <a:lnTo>
                    <a:pt x="74" y="436"/>
                  </a:lnTo>
                  <a:lnTo>
                    <a:pt x="74" y="432"/>
                  </a:lnTo>
                  <a:lnTo>
                    <a:pt x="76" y="428"/>
                  </a:lnTo>
                  <a:lnTo>
                    <a:pt x="78" y="426"/>
                  </a:lnTo>
                  <a:lnTo>
                    <a:pt x="82" y="424"/>
                  </a:lnTo>
                  <a:lnTo>
                    <a:pt x="84" y="424"/>
                  </a:lnTo>
                  <a:lnTo>
                    <a:pt x="86" y="424"/>
                  </a:lnTo>
                  <a:lnTo>
                    <a:pt x="88" y="424"/>
                  </a:lnTo>
                  <a:lnTo>
                    <a:pt x="88" y="424"/>
                  </a:lnTo>
                  <a:lnTo>
                    <a:pt x="104" y="402"/>
                  </a:lnTo>
                  <a:lnTo>
                    <a:pt x="112" y="382"/>
                  </a:lnTo>
                  <a:lnTo>
                    <a:pt x="112" y="370"/>
                  </a:lnTo>
                  <a:lnTo>
                    <a:pt x="124" y="368"/>
                  </a:lnTo>
                  <a:lnTo>
                    <a:pt x="124" y="354"/>
                  </a:lnTo>
                  <a:lnTo>
                    <a:pt x="112" y="348"/>
                  </a:lnTo>
                  <a:lnTo>
                    <a:pt x="112" y="348"/>
                  </a:lnTo>
                  <a:lnTo>
                    <a:pt x="112" y="346"/>
                  </a:lnTo>
                  <a:lnTo>
                    <a:pt x="110" y="344"/>
                  </a:lnTo>
                  <a:lnTo>
                    <a:pt x="110" y="340"/>
                  </a:lnTo>
                  <a:lnTo>
                    <a:pt x="110" y="336"/>
                  </a:lnTo>
                  <a:lnTo>
                    <a:pt x="112" y="334"/>
                  </a:lnTo>
                  <a:lnTo>
                    <a:pt x="114" y="332"/>
                  </a:lnTo>
                  <a:lnTo>
                    <a:pt x="118" y="332"/>
                  </a:lnTo>
                  <a:lnTo>
                    <a:pt x="138" y="334"/>
                  </a:lnTo>
                  <a:lnTo>
                    <a:pt x="142" y="314"/>
                  </a:lnTo>
                  <a:lnTo>
                    <a:pt x="142" y="312"/>
                  </a:lnTo>
                  <a:lnTo>
                    <a:pt x="144" y="310"/>
                  </a:lnTo>
                  <a:lnTo>
                    <a:pt x="144" y="306"/>
                  </a:lnTo>
                  <a:lnTo>
                    <a:pt x="148" y="300"/>
                  </a:lnTo>
                  <a:lnTo>
                    <a:pt x="150" y="296"/>
                  </a:lnTo>
                  <a:lnTo>
                    <a:pt x="154" y="294"/>
                  </a:lnTo>
                  <a:lnTo>
                    <a:pt x="160" y="292"/>
                  </a:lnTo>
                  <a:lnTo>
                    <a:pt x="164" y="294"/>
                  </a:lnTo>
                  <a:lnTo>
                    <a:pt x="172" y="294"/>
                  </a:lnTo>
                  <a:lnTo>
                    <a:pt x="184" y="294"/>
                  </a:lnTo>
                  <a:lnTo>
                    <a:pt x="198" y="290"/>
                  </a:lnTo>
                  <a:lnTo>
                    <a:pt x="210" y="282"/>
                  </a:lnTo>
                  <a:lnTo>
                    <a:pt x="218" y="266"/>
                  </a:lnTo>
                  <a:lnTo>
                    <a:pt x="220" y="262"/>
                  </a:lnTo>
                  <a:lnTo>
                    <a:pt x="220" y="256"/>
                  </a:lnTo>
                  <a:lnTo>
                    <a:pt x="218" y="250"/>
                  </a:lnTo>
                  <a:lnTo>
                    <a:pt x="216" y="242"/>
                  </a:lnTo>
                  <a:lnTo>
                    <a:pt x="214" y="234"/>
                  </a:lnTo>
                  <a:lnTo>
                    <a:pt x="208" y="218"/>
                  </a:lnTo>
                  <a:lnTo>
                    <a:pt x="206" y="216"/>
                  </a:lnTo>
                  <a:lnTo>
                    <a:pt x="206" y="214"/>
                  </a:lnTo>
                  <a:lnTo>
                    <a:pt x="204" y="210"/>
                  </a:lnTo>
                  <a:lnTo>
                    <a:pt x="202" y="206"/>
                  </a:lnTo>
                  <a:lnTo>
                    <a:pt x="200" y="202"/>
                  </a:lnTo>
                  <a:lnTo>
                    <a:pt x="200" y="196"/>
                  </a:lnTo>
                  <a:lnTo>
                    <a:pt x="202" y="194"/>
                  </a:lnTo>
                  <a:lnTo>
                    <a:pt x="202" y="190"/>
                  </a:lnTo>
                  <a:lnTo>
                    <a:pt x="200" y="180"/>
                  </a:lnTo>
                  <a:lnTo>
                    <a:pt x="200" y="168"/>
                  </a:lnTo>
                  <a:lnTo>
                    <a:pt x="200" y="158"/>
                  </a:lnTo>
                  <a:lnTo>
                    <a:pt x="202" y="152"/>
                  </a:lnTo>
                  <a:lnTo>
                    <a:pt x="214" y="134"/>
                  </a:lnTo>
                  <a:lnTo>
                    <a:pt x="214" y="132"/>
                  </a:lnTo>
                  <a:lnTo>
                    <a:pt x="214" y="128"/>
                  </a:lnTo>
                  <a:lnTo>
                    <a:pt x="218" y="124"/>
                  </a:lnTo>
                  <a:lnTo>
                    <a:pt x="220" y="120"/>
                  </a:lnTo>
                  <a:lnTo>
                    <a:pt x="224" y="116"/>
                  </a:lnTo>
                  <a:lnTo>
                    <a:pt x="228" y="112"/>
                  </a:lnTo>
                  <a:lnTo>
                    <a:pt x="230" y="110"/>
                  </a:lnTo>
                  <a:lnTo>
                    <a:pt x="230" y="110"/>
                  </a:lnTo>
                  <a:lnTo>
                    <a:pt x="238" y="104"/>
                  </a:lnTo>
                  <a:lnTo>
                    <a:pt x="246" y="98"/>
                  </a:lnTo>
                  <a:lnTo>
                    <a:pt x="254" y="90"/>
                  </a:lnTo>
                  <a:lnTo>
                    <a:pt x="262" y="84"/>
                  </a:lnTo>
                  <a:lnTo>
                    <a:pt x="264" y="82"/>
                  </a:lnTo>
                  <a:lnTo>
                    <a:pt x="266" y="76"/>
                  </a:lnTo>
                  <a:lnTo>
                    <a:pt x="268" y="72"/>
                  </a:lnTo>
                  <a:lnTo>
                    <a:pt x="268" y="68"/>
                  </a:lnTo>
                  <a:lnTo>
                    <a:pt x="268" y="64"/>
                  </a:lnTo>
                  <a:lnTo>
                    <a:pt x="266" y="62"/>
                  </a:lnTo>
                  <a:lnTo>
                    <a:pt x="264" y="62"/>
                  </a:lnTo>
                  <a:lnTo>
                    <a:pt x="262" y="62"/>
                  </a:lnTo>
                  <a:lnTo>
                    <a:pt x="262" y="60"/>
                  </a:lnTo>
                  <a:lnTo>
                    <a:pt x="260" y="60"/>
                  </a:lnTo>
                  <a:lnTo>
                    <a:pt x="258" y="60"/>
                  </a:lnTo>
                  <a:lnTo>
                    <a:pt x="258" y="58"/>
                  </a:lnTo>
                  <a:lnTo>
                    <a:pt x="258" y="58"/>
                  </a:lnTo>
                  <a:lnTo>
                    <a:pt x="258" y="56"/>
                  </a:lnTo>
                  <a:lnTo>
                    <a:pt x="260" y="56"/>
                  </a:lnTo>
                  <a:lnTo>
                    <a:pt x="252" y="58"/>
                  </a:lnTo>
                  <a:lnTo>
                    <a:pt x="252" y="60"/>
                  </a:lnTo>
                  <a:lnTo>
                    <a:pt x="250" y="66"/>
                  </a:lnTo>
                  <a:lnTo>
                    <a:pt x="250" y="70"/>
                  </a:lnTo>
                  <a:lnTo>
                    <a:pt x="250" y="72"/>
                  </a:lnTo>
                  <a:lnTo>
                    <a:pt x="250" y="74"/>
                  </a:lnTo>
                  <a:lnTo>
                    <a:pt x="248" y="78"/>
                  </a:lnTo>
                  <a:lnTo>
                    <a:pt x="246" y="82"/>
                  </a:lnTo>
                  <a:lnTo>
                    <a:pt x="246" y="86"/>
                  </a:lnTo>
                  <a:lnTo>
                    <a:pt x="246" y="88"/>
                  </a:lnTo>
                  <a:lnTo>
                    <a:pt x="194" y="88"/>
                  </a:lnTo>
                  <a:lnTo>
                    <a:pt x="210" y="52"/>
                  </a:lnTo>
                  <a:lnTo>
                    <a:pt x="176" y="34"/>
                  </a:lnTo>
                  <a:lnTo>
                    <a:pt x="170" y="28"/>
                  </a:lnTo>
                  <a:lnTo>
                    <a:pt x="154" y="22"/>
                  </a:lnTo>
                  <a:lnTo>
                    <a:pt x="150" y="20"/>
                  </a:lnTo>
                  <a:lnTo>
                    <a:pt x="146" y="18"/>
                  </a:lnTo>
                  <a:lnTo>
                    <a:pt x="144" y="16"/>
                  </a:lnTo>
                  <a:lnTo>
                    <a:pt x="144" y="14"/>
                  </a:lnTo>
                  <a:lnTo>
                    <a:pt x="144" y="10"/>
                  </a:lnTo>
                  <a:lnTo>
                    <a:pt x="144" y="6"/>
                  </a:lnTo>
                  <a:lnTo>
                    <a:pt x="144" y="6"/>
                  </a:lnTo>
                  <a:lnTo>
                    <a:pt x="142" y="4"/>
                  </a:lnTo>
                  <a:lnTo>
                    <a:pt x="140" y="2"/>
                  </a:lnTo>
                  <a:lnTo>
                    <a:pt x="138" y="2"/>
                  </a:lnTo>
                  <a:lnTo>
                    <a:pt x="134" y="0"/>
                  </a:lnTo>
                  <a:lnTo>
                    <a:pt x="132" y="2"/>
                  </a:lnTo>
                  <a:lnTo>
                    <a:pt x="130" y="4"/>
                  </a:lnTo>
                  <a:lnTo>
                    <a:pt x="120" y="16"/>
                  </a:lnTo>
                  <a:lnTo>
                    <a:pt x="120" y="16"/>
                  </a:lnTo>
                  <a:lnTo>
                    <a:pt x="120" y="14"/>
                  </a:lnTo>
                  <a:lnTo>
                    <a:pt x="120" y="12"/>
                  </a:lnTo>
                  <a:lnTo>
                    <a:pt x="118" y="8"/>
                  </a:lnTo>
                  <a:lnTo>
                    <a:pt x="116" y="6"/>
                  </a:lnTo>
                  <a:lnTo>
                    <a:pt x="114" y="4"/>
                  </a:lnTo>
                  <a:lnTo>
                    <a:pt x="108" y="4"/>
                  </a:lnTo>
                  <a:lnTo>
                    <a:pt x="94" y="0"/>
                  </a:lnTo>
                  <a:lnTo>
                    <a:pt x="94" y="2"/>
                  </a:lnTo>
                  <a:lnTo>
                    <a:pt x="92" y="6"/>
                  </a:lnTo>
                  <a:lnTo>
                    <a:pt x="90" y="10"/>
                  </a:lnTo>
                  <a:lnTo>
                    <a:pt x="86" y="14"/>
                  </a:lnTo>
                  <a:lnTo>
                    <a:pt x="82" y="1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59" name="Freeform 516"/>
            <p:cNvSpPr/>
            <p:nvPr/>
          </p:nvSpPr>
          <p:spPr bwMode="gray">
            <a:xfrm>
              <a:off x="7563133" y="4587570"/>
              <a:ext cx="984943" cy="1058286"/>
            </a:xfrm>
            <a:custGeom>
              <a:gdLst>
                <a:gd fmla="*/ 324 w 532" name="T0"/>
                <a:gd fmla="*/ 492 h 572" name="T1"/>
                <a:gd fmla="*/ 418 w 532" name="T2"/>
                <a:gd fmla="*/ 404 h 572" name="T3"/>
                <a:gd fmla="*/ 474 w 532" name="T4"/>
                <a:gd fmla="*/ 284 h 572" name="T5"/>
                <a:gd fmla="*/ 532 w 532" name="T6"/>
                <a:gd fmla="*/ 162 h 572" name="T7"/>
                <a:gd fmla="*/ 478 w 532" name="T8"/>
                <a:gd fmla="*/ 116 h 572" name="T9"/>
                <a:gd fmla="*/ 382 w 532" name="T10"/>
                <a:gd fmla="*/ 96 h 572" name="T11"/>
                <a:gd fmla="*/ 384 w 532" name="T12"/>
                <a:gd fmla="*/ 80 h 572" name="T13"/>
                <a:gd fmla="*/ 366 w 532" name="T14"/>
                <a:gd fmla="*/ 76 h 572" name="T15"/>
                <a:gd fmla="*/ 336 w 532" name="T16"/>
                <a:gd fmla="*/ 72 h 572" name="T17"/>
                <a:gd fmla="*/ 306 w 532" name="T18"/>
                <a:gd fmla="*/ 84 h 572" name="T19"/>
                <a:gd fmla="*/ 282 w 532" name="T20"/>
                <a:gd fmla="*/ 96 h 572" name="T21"/>
                <a:gd fmla="*/ 300 w 532" name="T22"/>
                <a:gd fmla="*/ 76 h 572" name="T23"/>
                <a:gd fmla="*/ 322 w 532" name="T24"/>
                <a:gd fmla="*/ 50 h 572" name="T25"/>
                <a:gd fmla="*/ 282 w 532" name="T26"/>
                <a:gd fmla="*/ 0 h 572" name="T27"/>
                <a:gd fmla="*/ 264 w 532" name="T28"/>
                <a:gd fmla="*/ 20 h 572" name="T29"/>
                <a:gd fmla="*/ 254 w 532" name="T30"/>
                <a:gd fmla="*/ 22 h 572" name="T31"/>
                <a:gd fmla="*/ 244 w 532" name="T32"/>
                <a:gd fmla="*/ 22 h 572" name="T33"/>
                <a:gd fmla="*/ 234 w 532" name="T34"/>
                <a:gd fmla="*/ 24 h 572" name="T35"/>
                <a:gd fmla="*/ 218 w 532" name="T36"/>
                <a:gd fmla="*/ 22 h 572" name="T37"/>
                <a:gd fmla="*/ 202 w 532" name="T38"/>
                <a:gd fmla="*/ 26 h 572" name="T39"/>
                <a:gd fmla="*/ 184 w 532" name="T40"/>
                <a:gd fmla="*/ 24 h 572" name="T41"/>
                <a:gd fmla="*/ 176 w 532" name="T42"/>
                <a:gd fmla="*/ 2 h 572" name="T43"/>
                <a:gd fmla="*/ 156 w 532" name="T44"/>
                <a:gd fmla="*/ 14 h 572" name="T45"/>
                <a:gd fmla="*/ 120 w 532" name="T46"/>
                <a:gd fmla="*/ 6 h 572" name="T47"/>
                <a:gd fmla="*/ 120 w 532" name="T48"/>
                <a:gd fmla="*/ 10 h 572" name="T49"/>
                <a:gd fmla="*/ 130 w 532" name="T50"/>
                <a:gd fmla="*/ 26 h 572" name="T51"/>
                <a:gd fmla="*/ 90 w 532" name="T52"/>
                <a:gd fmla="*/ 52 h 572" name="T53"/>
                <a:gd fmla="*/ 76 w 532" name="T54"/>
                <a:gd fmla="*/ 44 h 572" name="T55"/>
                <a:gd fmla="*/ 62 w 532" name="T56"/>
                <a:gd fmla="*/ 62 h 572" name="T57"/>
                <a:gd fmla="*/ 52 w 532" name="T58"/>
                <a:gd fmla="*/ 70 h 572" name="T59"/>
                <a:gd fmla="*/ 60 w 532" name="T60"/>
                <a:gd fmla="*/ 96 h 572" name="T61"/>
                <a:gd fmla="*/ 36 w 532" name="T62"/>
                <a:gd fmla="*/ 132 h 572" name="T63"/>
                <a:gd fmla="*/ 10 w 532" name="T64"/>
                <a:gd fmla="*/ 146 h 572" name="T65"/>
                <a:gd fmla="*/ 2 w 532" name="T66"/>
                <a:gd fmla="*/ 164 h 572" name="T67"/>
                <a:gd fmla="*/ 4 w 532" name="T68"/>
                <a:gd fmla="*/ 194 h 572" name="T69"/>
                <a:gd fmla="*/ 12 w 532" name="T70"/>
                <a:gd fmla="*/ 198 h 572" name="T71"/>
                <a:gd fmla="*/ 26 w 532" name="T72"/>
                <a:gd fmla="*/ 206 h 572" name="T73"/>
                <a:gd fmla="*/ 42 w 532" name="T74"/>
                <a:gd fmla="*/ 198 h 572" name="T75"/>
                <a:gd fmla="*/ 50 w 532" name="T76"/>
                <a:gd fmla="*/ 226 h 572" name="T77"/>
                <a:gd fmla="*/ 78 w 532" name="T78"/>
                <a:gd fmla="*/ 224 h 572" name="T79"/>
                <a:gd fmla="*/ 96 w 532" name="T80"/>
                <a:gd fmla="*/ 210 h 572" name="T81"/>
                <a:gd fmla="*/ 110 w 532" name="T82"/>
                <a:gd fmla="*/ 206 h 572" name="T83"/>
                <a:gd fmla="*/ 124 w 532" name="T84"/>
                <a:gd fmla="*/ 248 h 572" name="T85"/>
                <a:gd fmla="*/ 156 w 532" name="T86"/>
                <a:gd fmla="*/ 266 h 572" name="T87"/>
                <a:gd fmla="*/ 182 w 532" name="T88"/>
                <a:gd fmla="*/ 288 h 572" name="T89"/>
                <a:gd fmla="*/ 206 w 532" name="T90"/>
                <a:gd fmla="*/ 310 h 572" name="T91"/>
                <a:gd fmla="*/ 214 w 532" name="T92"/>
                <a:gd fmla="*/ 326 h 572" name="T93"/>
                <a:gd fmla="*/ 214 w 532" name="T94"/>
                <a:gd fmla="*/ 372 h 572" name="T95"/>
                <a:gd fmla="*/ 220 w 532" name="T96"/>
                <a:gd fmla="*/ 416 h 572" name="T97"/>
                <a:gd fmla="*/ 242 w 532" name="T98"/>
                <a:gd fmla="*/ 422 h 572" name="T99"/>
                <a:gd fmla="*/ 254 w 532" name="T100"/>
                <a:gd fmla="*/ 436 h 572" name="T101"/>
                <a:gd fmla="*/ 264 w 532" name="T102"/>
                <a:gd fmla="*/ 450 h 572" name="T103"/>
                <a:gd fmla="*/ 270 w 532" name="T104"/>
                <a:gd fmla="*/ 466 h 572" name="T105"/>
                <a:gd fmla="*/ 232 w 532" name="T106"/>
                <a:gd fmla="*/ 500 h 572" name="T107"/>
                <a:gd fmla="*/ 216 w 532" name="T108"/>
                <a:gd fmla="*/ 524 h 572" name="T109"/>
                <a:gd fmla="*/ 240 w 532" name="T110"/>
                <a:gd fmla="*/ 538 h 572" name="T111"/>
                <a:gd fmla="*/ 264 w 532" name="T112"/>
                <a:gd fmla="*/ 552 h 572"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572" w="532">
                  <a:moveTo>
                    <a:pt x="290" y="562"/>
                  </a:moveTo>
                  <a:lnTo>
                    <a:pt x="292" y="556"/>
                  </a:lnTo>
                  <a:lnTo>
                    <a:pt x="294" y="552"/>
                  </a:lnTo>
                  <a:lnTo>
                    <a:pt x="296" y="548"/>
                  </a:lnTo>
                  <a:lnTo>
                    <a:pt x="304" y="536"/>
                  </a:lnTo>
                  <a:lnTo>
                    <a:pt x="314" y="518"/>
                  </a:lnTo>
                  <a:lnTo>
                    <a:pt x="324" y="492"/>
                  </a:lnTo>
                  <a:lnTo>
                    <a:pt x="336" y="458"/>
                  </a:lnTo>
                  <a:lnTo>
                    <a:pt x="342" y="452"/>
                  </a:lnTo>
                  <a:lnTo>
                    <a:pt x="354" y="440"/>
                  </a:lnTo>
                  <a:lnTo>
                    <a:pt x="370" y="426"/>
                  </a:lnTo>
                  <a:lnTo>
                    <a:pt x="392" y="414"/>
                  </a:lnTo>
                  <a:lnTo>
                    <a:pt x="416" y="406"/>
                  </a:lnTo>
                  <a:lnTo>
                    <a:pt x="418" y="404"/>
                  </a:lnTo>
                  <a:lnTo>
                    <a:pt x="426" y="400"/>
                  </a:lnTo>
                  <a:lnTo>
                    <a:pt x="434" y="394"/>
                  </a:lnTo>
                  <a:lnTo>
                    <a:pt x="446" y="382"/>
                  </a:lnTo>
                  <a:lnTo>
                    <a:pt x="456" y="366"/>
                  </a:lnTo>
                  <a:lnTo>
                    <a:pt x="466" y="344"/>
                  </a:lnTo>
                  <a:lnTo>
                    <a:pt x="472" y="318"/>
                  </a:lnTo>
                  <a:lnTo>
                    <a:pt x="474" y="284"/>
                  </a:lnTo>
                  <a:lnTo>
                    <a:pt x="514" y="216"/>
                  </a:lnTo>
                  <a:lnTo>
                    <a:pt x="516" y="214"/>
                  </a:lnTo>
                  <a:lnTo>
                    <a:pt x="524" y="204"/>
                  </a:lnTo>
                  <a:lnTo>
                    <a:pt x="530" y="190"/>
                  </a:lnTo>
                  <a:lnTo>
                    <a:pt x="532" y="170"/>
                  </a:lnTo>
                  <a:lnTo>
                    <a:pt x="532" y="168"/>
                  </a:lnTo>
                  <a:lnTo>
                    <a:pt x="532" y="162"/>
                  </a:lnTo>
                  <a:lnTo>
                    <a:pt x="532" y="154"/>
                  </a:lnTo>
                  <a:lnTo>
                    <a:pt x="528" y="146"/>
                  </a:lnTo>
                  <a:lnTo>
                    <a:pt x="518" y="138"/>
                  </a:lnTo>
                  <a:lnTo>
                    <a:pt x="502" y="132"/>
                  </a:lnTo>
                  <a:lnTo>
                    <a:pt x="498" y="130"/>
                  </a:lnTo>
                  <a:lnTo>
                    <a:pt x="490" y="124"/>
                  </a:lnTo>
                  <a:lnTo>
                    <a:pt x="478" y="116"/>
                  </a:lnTo>
                  <a:lnTo>
                    <a:pt x="464" y="110"/>
                  </a:lnTo>
                  <a:lnTo>
                    <a:pt x="448" y="110"/>
                  </a:lnTo>
                  <a:lnTo>
                    <a:pt x="398" y="94"/>
                  </a:lnTo>
                  <a:lnTo>
                    <a:pt x="394" y="92"/>
                  </a:lnTo>
                  <a:lnTo>
                    <a:pt x="390" y="94"/>
                  </a:lnTo>
                  <a:lnTo>
                    <a:pt x="386" y="94"/>
                  </a:lnTo>
                  <a:lnTo>
                    <a:pt x="382" y="96"/>
                  </a:lnTo>
                  <a:lnTo>
                    <a:pt x="380" y="98"/>
                  </a:lnTo>
                  <a:lnTo>
                    <a:pt x="378" y="98"/>
                  </a:lnTo>
                  <a:lnTo>
                    <a:pt x="380" y="94"/>
                  </a:lnTo>
                  <a:lnTo>
                    <a:pt x="382" y="90"/>
                  </a:lnTo>
                  <a:lnTo>
                    <a:pt x="382" y="86"/>
                  </a:lnTo>
                  <a:lnTo>
                    <a:pt x="384" y="82"/>
                  </a:lnTo>
                  <a:lnTo>
                    <a:pt x="384" y="80"/>
                  </a:lnTo>
                  <a:lnTo>
                    <a:pt x="382" y="78"/>
                  </a:lnTo>
                  <a:lnTo>
                    <a:pt x="380" y="76"/>
                  </a:lnTo>
                  <a:lnTo>
                    <a:pt x="376" y="76"/>
                  </a:lnTo>
                  <a:lnTo>
                    <a:pt x="374" y="76"/>
                  </a:lnTo>
                  <a:lnTo>
                    <a:pt x="370" y="76"/>
                  </a:lnTo>
                  <a:lnTo>
                    <a:pt x="368" y="76"/>
                  </a:lnTo>
                  <a:lnTo>
                    <a:pt x="366" y="76"/>
                  </a:lnTo>
                  <a:lnTo>
                    <a:pt x="362" y="76"/>
                  </a:lnTo>
                  <a:lnTo>
                    <a:pt x="358" y="74"/>
                  </a:lnTo>
                  <a:lnTo>
                    <a:pt x="352" y="74"/>
                  </a:lnTo>
                  <a:lnTo>
                    <a:pt x="346" y="72"/>
                  </a:lnTo>
                  <a:lnTo>
                    <a:pt x="340" y="72"/>
                  </a:lnTo>
                  <a:lnTo>
                    <a:pt x="338" y="72"/>
                  </a:lnTo>
                  <a:lnTo>
                    <a:pt x="336" y="72"/>
                  </a:lnTo>
                  <a:lnTo>
                    <a:pt x="330" y="72"/>
                  </a:lnTo>
                  <a:lnTo>
                    <a:pt x="324" y="76"/>
                  </a:lnTo>
                  <a:lnTo>
                    <a:pt x="318" y="78"/>
                  </a:lnTo>
                  <a:lnTo>
                    <a:pt x="314" y="80"/>
                  </a:lnTo>
                  <a:lnTo>
                    <a:pt x="310" y="82"/>
                  </a:lnTo>
                  <a:lnTo>
                    <a:pt x="306" y="84"/>
                  </a:lnTo>
                  <a:lnTo>
                    <a:pt x="306" y="84"/>
                  </a:lnTo>
                  <a:lnTo>
                    <a:pt x="298" y="90"/>
                  </a:lnTo>
                  <a:lnTo>
                    <a:pt x="292" y="94"/>
                  </a:lnTo>
                  <a:lnTo>
                    <a:pt x="286" y="98"/>
                  </a:lnTo>
                  <a:lnTo>
                    <a:pt x="282" y="98"/>
                  </a:lnTo>
                  <a:lnTo>
                    <a:pt x="278" y="98"/>
                  </a:lnTo>
                  <a:lnTo>
                    <a:pt x="278" y="98"/>
                  </a:lnTo>
                  <a:lnTo>
                    <a:pt x="282" y="96"/>
                  </a:lnTo>
                  <a:lnTo>
                    <a:pt x="286" y="94"/>
                  </a:lnTo>
                  <a:lnTo>
                    <a:pt x="290" y="90"/>
                  </a:lnTo>
                  <a:lnTo>
                    <a:pt x="292" y="86"/>
                  </a:lnTo>
                  <a:lnTo>
                    <a:pt x="294" y="84"/>
                  </a:lnTo>
                  <a:lnTo>
                    <a:pt x="294" y="84"/>
                  </a:lnTo>
                  <a:lnTo>
                    <a:pt x="298" y="80"/>
                  </a:lnTo>
                  <a:lnTo>
                    <a:pt x="300" y="76"/>
                  </a:lnTo>
                  <a:lnTo>
                    <a:pt x="304" y="72"/>
                  </a:lnTo>
                  <a:lnTo>
                    <a:pt x="308" y="68"/>
                  </a:lnTo>
                  <a:lnTo>
                    <a:pt x="312" y="66"/>
                  </a:lnTo>
                  <a:lnTo>
                    <a:pt x="314" y="64"/>
                  </a:lnTo>
                  <a:lnTo>
                    <a:pt x="316" y="62"/>
                  </a:lnTo>
                  <a:lnTo>
                    <a:pt x="320" y="56"/>
                  </a:lnTo>
                  <a:lnTo>
                    <a:pt x="322" y="50"/>
                  </a:lnTo>
                  <a:lnTo>
                    <a:pt x="322" y="46"/>
                  </a:lnTo>
                  <a:lnTo>
                    <a:pt x="322" y="46"/>
                  </a:lnTo>
                  <a:lnTo>
                    <a:pt x="312" y="26"/>
                  </a:lnTo>
                  <a:lnTo>
                    <a:pt x="296" y="8"/>
                  </a:lnTo>
                  <a:lnTo>
                    <a:pt x="290" y="4"/>
                  </a:lnTo>
                  <a:lnTo>
                    <a:pt x="282" y="0"/>
                  </a:lnTo>
                  <a:lnTo>
                    <a:pt x="282" y="0"/>
                  </a:lnTo>
                  <a:lnTo>
                    <a:pt x="276" y="4"/>
                  </a:lnTo>
                  <a:lnTo>
                    <a:pt x="274" y="8"/>
                  </a:lnTo>
                  <a:lnTo>
                    <a:pt x="270" y="8"/>
                  </a:lnTo>
                  <a:lnTo>
                    <a:pt x="270" y="10"/>
                  </a:lnTo>
                  <a:lnTo>
                    <a:pt x="268" y="14"/>
                  </a:lnTo>
                  <a:lnTo>
                    <a:pt x="266" y="18"/>
                  </a:lnTo>
                  <a:lnTo>
                    <a:pt x="264" y="20"/>
                  </a:lnTo>
                  <a:lnTo>
                    <a:pt x="264" y="22"/>
                  </a:lnTo>
                  <a:lnTo>
                    <a:pt x="262" y="24"/>
                  </a:lnTo>
                  <a:lnTo>
                    <a:pt x="260" y="24"/>
                  </a:lnTo>
                  <a:lnTo>
                    <a:pt x="260" y="24"/>
                  </a:lnTo>
                  <a:lnTo>
                    <a:pt x="258" y="24"/>
                  </a:lnTo>
                  <a:lnTo>
                    <a:pt x="256" y="24"/>
                  </a:lnTo>
                  <a:lnTo>
                    <a:pt x="254" y="22"/>
                  </a:lnTo>
                  <a:lnTo>
                    <a:pt x="252" y="22"/>
                  </a:lnTo>
                  <a:lnTo>
                    <a:pt x="252" y="22"/>
                  </a:lnTo>
                  <a:lnTo>
                    <a:pt x="250" y="22"/>
                  </a:lnTo>
                  <a:lnTo>
                    <a:pt x="248" y="22"/>
                  </a:lnTo>
                  <a:lnTo>
                    <a:pt x="248" y="22"/>
                  </a:lnTo>
                  <a:lnTo>
                    <a:pt x="246" y="22"/>
                  </a:lnTo>
                  <a:lnTo>
                    <a:pt x="244" y="22"/>
                  </a:lnTo>
                  <a:lnTo>
                    <a:pt x="242" y="24"/>
                  </a:lnTo>
                  <a:lnTo>
                    <a:pt x="242" y="24"/>
                  </a:lnTo>
                  <a:lnTo>
                    <a:pt x="240" y="24"/>
                  </a:lnTo>
                  <a:lnTo>
                    <a:pt x="238" y="24"/>
                  </a:lnTo>
                  <a:lnTo>
                    <a:pt x="236" y="24"/>
                  </a:lnTo>
                  <a:lnTo>
                    <a:pt x="236" y="24"/>
                  </a:lnTo>
                  <a:lnTo>
                    <a:pt x="234" y="24"/>
                  </a:lnTo>
                  <a:lnTo>
                    <a:pt x="232" y="22"/>
                  </a:lnTo>
                  <a:lnTo>
                    <a:pt x="230" y="22"/>
                  </a:lnTo>
                  <a:lnTo>
                    <a:pt x="230" y="22"/>
                  </a:lnTo>
                  <a:lnTo>
                    <a:pt x="228" y="22"/>
                  </a:lnTo>
                  <a:lnTo>
                    <a:pt x="226" y="24"/>
                  </a:lnTo>
                  <a:lnTo>
                    <a:pt x="224" y="24"/>
                  </a:lnTo>
                  <a:lnTo>
                    <a:pt x="218" y="22"/>
                  </a:lnTo>
                  <a:lnTo>
                    <a:pt x="218" y="26"/>
                  </a:lnTo>
                  <a:lnTo>
                    <a:pt x="218" y="28"/>
                  </a:lnTo>
                  <a:lnTo>
                    <a:pt x="218" y="28"/>
                  </a:lnTo>
                  <a:lnTo>
                    <a:pt x="214" y="28"/>
                  </a:lnTo>
                  <a:lnTo>
                    <a:pt x="212" y="26"/>
                  </a:lnTo>
                  <a:lnTo>
                    <a:pt x="206" y="26"/>
                  </a:lnTo>
                  <a:lnTo>
                    <a:pt x="202" y="26"/>
                  </a:lnTo>
                  <a:lnTo>
                    <a:pt x="194" y="28"/>
                  </a:lnTo>
                  <a:lnTo>
                    <a:pt x="192" y="28"/>
                  </a:lnTo>
                  <a:lnTo>
                    <a:pt x="184" y="30"/>
                  </a:lnTo>
                  <a:lnTo>
                    <a:pt x="184" y="30"/>
                  </a:lnTo>
                  <a:lnTo>
                    <a:pt x="184" y="30"/>
                  </a:lnTo>
                  <a:lnTo>
                    <a:pt x="184" y="28"/>
                  </a:lnTo>
                  <a:lnTo>
                    <a:pt x="184" y="24"/>
                  </a:lnTo>
                  <a:lnTo>
                    <a:pt x="184" y="20"/>
                  </a:lnTo>
                  <a:lnTo>
                    <a:pt x="184" y="18"/>
                  </a:lnTo>
                  <a:lnTo>
                    <a:pt x="184" y="14"/>
                  </a:lnTo>
                  <a:lnTo>
                    <a:pt x="184" y="10"/>
                  </a:lnTo>
                  <a:lnTo>
                    <a:pt x="184" y="6"/>
                  </a:lnTo>
                  <a:lnTo>
                    <a:pt x="182" y="2"/>
                  </a:lnTo>
                  <a:lnTo>
                    <a:pt x="176" y="2"/>
                  </a:lnTo>
                  <a:lnTo>
                    <a:pt x="176" y="2"/>
                  </a:lnTo>
                  <a:lnTo>
                    <a:pt x="176" y="4"/>
                  </a:lnTo>
                  <a:lnTo>
                    <a:pt x="174" y="6"/>
                  </a:lnTo>
                  <a:lnTo>
                    <a:pt x="172" y="8"/>
                  </a:lnTo>
                  <a:lnTo>
                    <a:pt x="166" y="6"/>
                  </a:lnTo>
                  <a:lnTo>
                    <a:pt x="156" y="10"/>
                  </a:lnTo>
                  <a:lnTo>
                    <a:pt x="156" y="14"/>
                  </a:lnTo>
                  <a:lnTo>
                    <a:pt x="142" y="16"/>
                  </a:lnTo>
                  <a:lnTo>
                    <a:pt x="138" y="10"/>
                  </a:lnTo>
                  <a:lnTo>
                    <a:pt x="136" y="10"/>
                  </a:lnTo>
                  <a:lnTo>
                    <a:pt x="134" y="10"/>
                  </a:lnTo>
                  <a:lnTo>
                    <a:pt x="128" y="8"/>
                  </a:lnTo>
                  <a:lnTo>
                    <a:pt x="124" y="8"/>
                  </a:lnTo>
                  <a:lnTo>
                    <a:pt x="120" y="6"/>
                  </a:lnTo>
                  <a:lnTo>
                    <a:pt x="116" y="4"/>
                  </a:lnTo>
                  <a:lnTo>
                    <a:pt x="116" y="6"/>
                  </a:lnTo>
                  <a:lnTo>
                    <a:pt x="116" y="8"/>
                  </a:lnTo>
                  <a:lnTo>
                    <a:pt x="116" y="8"/>
                  </a:lnTo>
                  <a:lnTo>
                    <a:pt x="116" y="10"/>
                  </a:lnTo>
                  <a:lnTo>
                    <a:pt x="118" y="10"/>
                  </a:lnTo>
                  <a:lnTo>
                    <a:pt x="120" y="10"/>
                  </a:lnTo>
                  <a:lnTo>
                    <a:pt x="122" y="12"/>
                  </a:lnTo>
                  <a:lnTo>
                    <a:pt x="124" y="14"/>
                  </a:lnTo>
                  <a:lnTo>
                    <a:pt x="124" y="18"/>
                  </a:lnTo>
                  <a:lnTo>
                    <a:pt x="124" y="22"/>
                  </a:lnTo>
                  <a:lnTo>
                    <a:pt x="126" y="24"/>
                  </a:lnTo>
                  <a:lnTo>
                    <a:pt x="128" y="26"/>
                  </a:lnTo>
                  <a:lnTo>
                    <a:pt x="130" y="26"/>
                  </a:lnTo>
                  <a:lnTo>
                    <a:pt x="134" y="26"/>
                  </a:lnTo>
                  <a:lnTo>
                    <a:pt x="136" y="26"/>
                  </a:lnTo>
                  <a:lnTo>
                    <a:pt x="136" y="34"/>
                  </a:lnTo>
                  <a:lnTo>
                    <a:pt x="128" y="38"/>
                  </a:lnTo>
                  <a:lnTo>
                    <a:pt x="110" y="58"/>
                  </a:lnTo>
                  <a:lnTo>
                    <a:pt x="92" y="52"/>
                  </a:lnTo>
                  <a:lnTo>
                    <a:pt x="90" y="52"/>
                  </a:lnTo>
                  <a:lnTo>
                    <a:pt x="88" y="52"/>
                  </a:lnTo>
                  <a:lnTo>
                    <a:pt x="84" y="50"/>
                  </a:lnTo>
                  <a:lnTo>
                    <a:pt x="80" y="50"/>
                  </a:lnTo>
                  <a:lnTo>
                    <a:pt x="78" y="50"/>
                  </a:lnTo>
                  <a:lnTo>
                    <a:pt x="78" y="50"/>
                  </a:lnTo>
                  <a:lnTo>
                    <a:pt x="78" y="46"/>
                  </a:lnTo>
                  <a:lnTo>
                    <a:pt x="76" y="44"/>
                  </a:lnTo>
                  <a:lnTo>
                    <a:pt x="76" y="42"/>
                  </a:lnTo>
                  <a:lnTo>
                    <a:pt x="76" y="42"/>
                  </a:lnTo>
                  <a:lnTo>
                    <a:pt x="74" y="40"/>
                  </a:lnTo>
                  <a:lnTo>
                    <a:pt x="52" y="44"/>
                  </a:lnTo>
                  <a:lnTo>
                    <a:pt x="52" y="52"/>
                  </a:lnTo>
                  <a:lnTo>
                    <a:pt x="60" y="52"/>
                  </a:lnTo>
                  <a:lnTo>
                    <a:pt x="62" y="62"/>
                  </a:lnTo>
                  <a:lnTo>
                    <a:pt x="62" y="62"/>
                  </a:lnTo>
                  <a:lnTo>
                    <a:pt x="60" y="60"/>
                  </a:lnTo>
                  <a:lnTo>
                    <a:pt x="58" y="60"/>
                  </a:lnTo>
                  <a:lnTo>
                    <a:pt x="56" y="58"/>
                  </a:lnTo>
                  <a:lnTo>
                    <a:pt x="54" y="58"/>
                  </a:lnTo>
                  <a:lnTo>
                    <a:pt x="52" y="60"/>
                  </a:lnTo>
                  <a:lnTo>
                    <a:pt x="52" y="70"/>
                  </a:lnTo>
                  <a:lnTo>
                    <a:pt x="54" y="70"/>
                  </a:lnTo>
                  <a:lnTo>
                    <a:pt x="54" y="72"/>
                  </a:lnTo>
                  <a:lnTo>
                    <a:pt x="56" y="76"/>
                  </a:lnTo>
                  <a:lnTo>
                    <a:pt x="58" y="80"/>
                  </a:lnTo>
                  <a:lnTo>
                    <a:pt x="60" y="86"/>
                  </a:lnTo>
                  <a:lnTo>
                    <a:pt x="60" y="92"/>
                  </a:lnTo>
                  <a:lnTo>
                    <a:pt x="60" y="96"/>
                  </a:lnTo>
                  <a:lnTo>
                    <a:pt x="52" y="126"/>
                  </a:lnTo>
                  <a:lnTo>
                    <a:pt x="50" y="132"/>
                  </a:lnTo>
                  <a:lnTo>
                    <a:pt x="44" y="132"/>
                  </a:lnTo>
                  <a:lnTo>
                    <a:pt x="44" y="132"/>
                  </a:lnTo>
                  <a:lnTo>
                    <a:pt x="42" y="130"/>
                  </a:lnTo>
                  <a:lnTo>
                    <a:pt x="38" y="130"/>
                  </a:lnTo>
                  <a:lnTo>
                    <a:pt x="36" y="132"/>
                  </a:lnTo>
                  <a:lnTo>
                    <a:pt x="34" y="132"/>
                  </a:lnTo>
                  <a:lnTo>
                    <a:pt x="32" y="132"/>
                  </a:lnTo>
                  <a:lnTo>
                    <a:pt x="28" y="134"/>
                  </a:lnTo>
                  <a:lnTo>
                    <a:pt x="22" y="134"/>
                  </a:lnTo>
                  <a:lnTo>
                    <a:pt x="18" y="138"/>
                  </a:lnTo>
                  <a:lnTo>
                    <a:pt x="14" y="142"/>
                  </a:lnTo>
                  <a:lnTo>
                    <a:pt x="10" y="146"/>
                  </a:lnTo>
                  <a:lnTo>
                    <a:pt x="10" y="148"/>
                  </a:lnTo>
                  <a:lnTo>
                    <a:pt x="10" y="152"/>
                  </a:lnTo>
                  <a:lnTo>
                    <a:pt x="8" y="156"/>
                  </a:lnTo>
                  <a:lnTo>
                    <a:pt x="6" y="158"/>
                  </a:lnTo>
                  <a:lnTo>
                    <a:pt x="6" y="160"/>
                  </a:lnTo>
                  <a:lnTo>
                    <a:pt x="4" y="162"/>
                  </a:lnTo>
                  <a:lnTo>
                    <a:pt x="2" y="164"/>
                  </a:lnTo>
                  <a:lnTo>
                    <a:pt x="0" y="168"/>
                  </a:lnTo>
                  <a:lnTo>
                    <a:pt x="0" y="174"/>
                  </a:lnTo>
                  <a:lnTo>
                    <a:pt x="0" y="182"/>
                  </a:lnTo>
                  <a:lnTo>
                    <a:pt x="2" y="188"/>
                  </a:lnTo>
                  <a:lnTo>
                    <a:pt x="2" y="190"/>
                  </a:lnTo>
                  <a:lnTo>
                    <a:pt x="4" y="192"/>
                  </a:lnTo>
                  <a:lnTo>
                    <a:pt x="4" y="194"/>
                  </a:lnTo>
                  <a:lnTo>
                    <a:pt x="6" y="198"/>
                  </a:lnTo>
                  <a:lnTo>
                    <a:pt x="6" y="200"/>
                  </a:lnTo>
                  <a:lnTo>
                    <a:pt x="4" y="200"/>
                  </a:lnTo>
                  <a:lnTo>
                    <a:pt x="4" y="200"/>
                  </a:lnTo>
                  <a:lnTo>
                    <a:pt x="6" y="200"/>
                  </a:lnTo>
                  <a:lnTo>
                    <a:pt x="10" y="198"/>
                  </a:lnTo>
                  <a:lnTo>
                    <a:pt x="12" y="198"/>
                  </a:lnTo>
                  <a:lnTo>
                    <a:pt x="14" y="200"/>
                  </a:lnTo>
                  <a:lnTo>
                    <a:pt x="16" y="202"/>
                  </a:lnTo>
                  <a:lnTo>
                    <a:pt x="16" y="202"/>
                  </a:lnTo>
                  <a:lnTo>
                    <a:pt x="16" y="202"/>
                  </a:lnTo>
                  <a:lnTo>
                    <a:pt x="18" y="204"/>
                  </a:lnTo>
                  <a:lnTo>
                    <a:pt x="22" y="204"/>
                  </a:lnTo>
                  <a:lnTo>
                    <a:pt x="26" y="206"/>
                  </a:lnTo>
                  <a:lnTo>
                    <a:pt x="30" y="206"/>
                  </a:lnTo>
                  <a:lnTo>
                    <a:pt x="30" y="206"/>
                  </a:lnTo>
                  <a:lnTo>
                    <a:pt x="30" y="206"/>
                  </a:lnTo>
                  <a:lnTo>
                    <a:pt x="34" y="204"/>
                  </a:lnTo>
                  <a:lnTo>
                    <a:pt x="36" y="202"/>
                  </a:lnTo>
                  <a:lnTo>
                    <a:pt x="38" y="200"/>
                  </a:lnTo>
                  <a:lnTo>
                    <a:pt x="42" y="198"/>
                  </a:lnTo>
                  <a:lnTo>
                    <a:pt x="42" y="196"/>
                  </a:lnTo>
                  <a:lnTo>
                    <a:pt x="42" y="222"/>
                  </a:lnTo>
                  <a:lnTo>
                    <a:pt x="42" y="222"/>
                  </a:lnTo>
                  <a:lnTo>
                    <a:pt x="42" y="224"/>
                  </a:lnTo>
                  <a:lnTo>
                    <a:pt x="44" y="224"/>
                  </a:lnTo>
                  <a:lnTo>
                    <a:pt x="48" y="226"/>
                  </a:lnTo>
                  <a:lnTo>
                    <a:pt x="50" y="226"/>
                  </a:lnTo>
                  <a:lnTo>
                    <a:pt x="54" y="226"/>
                  </a:lnTo>
                  <a:lnTo>
                    <a:pt x="58" y="226"/>
                  </a:lnTo>
                  <a:lnTo>
                    <a:pt x="64" y="226"/>
                  </a:lnTo>
                  <a:lnTo>
                    <a:pt x="70" y="226"/>
                  </a:lnTo>
                  <a:lnTo>
                    <a:pt x="74" y="224"/>
                  </a:lnTo>
                  <a:lnTo>
                    <a:pt x="74" y="224"/>
                  </a:lnTo>
                  <a:lnTo>
                    <a:pt x="78" y="224"/>
                  </a:lnTo>
                  <a:lnTo>
                    <a:pt x="80" y="222"/>
                  </a:lnTo>
                  <a:lnTo>
                    <a:pt x="84" y="218"/>
                  </a:lnTo>
                  <a:lnTo>
                    <a:pt x="86" y="216"/>
                  </a:lnTo>
                  <a:lnTo>
                    <a:pt x="86" y="214"/>
                  </a:lnTo>
                  <a:lnTo>
                    <a:pt x="90" y="212"/>
                  </a:lnTo>
                  <a:lnTo>
                    <a:pt x="94" y="210"/>
                  </a:lnTo>
                  <a:lnTo>
                    <a:pt x="96" y="210"/>
                  </a:lnTo>
                  <a:lnTo>
                    <a:pt x="100" y="212"/>
                  </a:lnTo>
                  <a:lnTo>
                    <a:pt x="102" y="212"/>
                  </a:lnTo>
                  <a:lnTo>
                    <a:pt x="102" y="212"/>
                  </a:lnTo>
                  <a:lnTo>
                    <a:pt x="104" y="210"/>
                  </a:lnTo>
                  <a:lnTo>
                    <a:pt x="106" y="208"/>
                  </a:lnTo>
                  <a:lnTo>
                    <a:pt x="108" y="206"/>
                  </a:lnTo>
                  <a:lnTo>
                    <a:pt x="110" y="206"/>
                  </a:lnTo>
                  <a:lnTo>
                    <a:pt x="112" y="206"/>
                  </a:lnTo>
                  <a:lnTo>
                    <a:pt x="112" y="208"/>
                  </a:lnTo>
                  <a:lnTo>
                    <a:pt x="112" y="212"/>
                  </a:lnTo>
                  <a:lnTo>
                    <a:pt x="112" y="216"/>
                  </a:lnTo>
                  <a:lnTo>
                    <a:pt x="112" y="226"/>
                  </a:lnTo>
                  <a:lnTo>
                    <a:pt x="114" y="238"/>
                  </a:lnTo>
                  <a:lnTo>
                    <a:pt x="124" y="248"/>
                  </a:lnTo>
                  <a:lnTo>
                    <a:pt x="136" y="252"/>
                  </a:lnTo>
                  <a:lnTo>
                    <a:pt x="146" y="250"/>
                  </a:lnTo>
                  <a:lnTo>
                    <a:pt x="148" y="252"/>
                  </a:lnTo>
                  <a:lnTo>
                    <a:pt x="148" y="254"/>
                  </a:lnTo>
                  <a:lnTo>
                    <a:pt x="150" y="258"/>
                  </a:lnTo>
                  <a:lnTo>
                    <a:pt x="152" y="262"/>
                  </a:lnTo>
                  <a:lnTo>
                    <a:pt x="156" y="266"/>
                  </a:lnTo>
                  <a:lnTo>
                    <a:pt x="162" y="268"/>
                  </a:lnTo>
                  <a:lnTo>
                    <a:pt x="164" y="268"/>
                  </a:lnTo>
                  <a:lnTo>
                    <a:pt x="166" y="272"/>
                  </a:lnTo>
                  <a:lnTo>
                    <a:pt x="170" y="274"/>
                  </a:lnTo>
                  <a:lnTo>
                    <a:pt x="174" y="278"/>
                  </a:lnTo>
                  <a:lnTo>
                    <a:pt x="178" y="284"/>
                  </a:lnTo>
                  <a:lnTo>
                    <a:pt x="182" y="288"/>
                  </a:lnTo>
                  <a:lnTo>
                    <a:pt x="182" y="294"/>
                  </a:lnTo>
                  <a:lnTo>
                    <a:pt x="206" y="296"/>
                  </a:lnTo>
                  <a:lnTo>
                    <a:pt x="206" y="298"/>
                  </a:lnTo>
                  <a:lnTo>
                    <a:pt x="204" y="300"/>
                  </a:lnTo>
                  <a:lnTo>
                    <a:pt x="204" y="304"/>
                  </a:lnTo>
                  <a:lnTo>
                    <a:pt x="204" y="308"/>
                  </a:lnTo>
                  <a:lnTo>
                    <a:pt x="206" y="310"/>
                  </a:lnTo>
                  <a:lnTo>
                    <a:pt x="206" y="310"/>
                  </a:lnTo>
                  <a:lnTo>
                    <a:pt x="208" y="312"/>
                  </a:lnTo>
                  <a:lnTo>
                    <a:pt x="210" y="312"/>
                  </a:lnTo>
                  <a:lnTo>
                    <a:pt x="212" y="314"/>
                  </a:lnTo>
                  <a:lnTo>
                    <a:pt x="214" y="318"/>
                  </a:lnTo>
                  <a:lnTo>
                    <a:pt x="214" y="322"/>
                  </a:lnTo>
                  <a:lnTo>
                    <a:pt x="214" y="326"/>
                  </a:lnTo>
                  <a:lnTo>
                    <a:pt x="214" y="338"/>
                  </a:lnTo>
                  <a:lnTo>
                    <a:pt x="214" y="350"/>
                  </a:lnTo>
                  <a:lnTo>
                    <a:pt x="214" y="362"/>
                  </a:lnTo>
                  <a:lnTo>
                    <a:pt x="210" y="368"/>
                  </a:lnTo>
                  <a:lnTo>
                    <a:pt x="212" y="368"/>
                  </a:lnTo>
                  <a:lnTo>
                    <a:pt x="212" y="370"/>
                  </a:lnTo>
                  <a:lnTo>
                    <a:pt x="214" y="372"/>
                  </a:lnTo>
                  <a:lnTo>
                    <a:pt x="214" y="374"/>
                  </a:lnTo>
                  <a:lnTo>
                    <a:pt x="214" y="380"/>
                  </a:lnTo>
                  <a:lnTo>
                    <a:pt x="216" y="384"/>
                  </a:lnTo>
                  <a:lnTo>
                    <a:pt x="216" y="396"/>
                  </a:lnTo>
                  <a:lnTo>
                    <a:pt x="218" y="408"/>
                  </a:lnTo>
                  <a:lnTo>
                    <a:pt x="218" y="416"/>
                  </a:lnTo>
                  <a:lnTo>
                    <a:pt x="220" y="416"/>
                  </a:lnTo>
                  <a:lnTo>
                    <a:pt x="220" y="418"/>
                  </a:lnTo>
                  <a:lnTo>
                    <a:pt x="222" y="420"/>
                  </a:lnTo>
                  <a:lnTo>
                    <a:pt x="226" y="420"/>
                  </a:lnTo>
                  <a:lnTo>
                    <a:pt x="236" y="424"/>
                  </a:lnTo>
                  <a:lnTo>
                    <a:pt x="238" y="422"/>
                  </a:lnTo>
                  <a:lnTo>
                    <a:pt x="240" y="422"/>
                  </a:lnTo>
                  <a:lnTo>
                    <a:pt x="242" y="422"/>
                  </a:lnTo>
                  <a:lnTo>
                    <a:pt x="244" y="422"/>
                  </a:lnTo>
                  <a:lnTo>
                    <a:pt x="246" y="422"/>
                  </a:lnTo>
                  <a:lnTo>
                    <a:pt x="248" y="424"/>
                  </a:lnTo>
                  <a:lnTo>
                    <a:pt x="248" y="424"/>
                  </a:lnTo>
                  <a:lnTo>
                    <a:pt x="250" y="428"/>
                  </a:lnTo>
                  <a:lnTo>
                    <a:pt x="252" y="432"/>
                  </a:lnTo>
                  <a:lnTo>
                    <a:pt x="254" y="436"/>
                  </a:lnTo>
                  <a:lnTo>
                    <a:pt x="256" y="442"/>
                  </a:lnTo>
                  <a:lnTo>
                    <a:pt x="256" y="446"/>
                  </a:lnTo>
                  <a:lnTo>
                    <a:pt x="256" y="448"/>
                  </a:lnTo>
                  <a:lnTo>
                    <a:pt x="256" y="448"/>
                  </a:lnTo>
                  <a:lnTo>
                    <a:pt x="260" y="450"/>
                  </a:lnTo>
                  <a:lnTo>
                    <a:pt x="264" y="450"/>
                  </a:lnTo>
                  <a:lnTo>
                    <a:pt x="264" y="450"/>
                  </a:lnTo>
                  <a:lnTo>
                    <a:pt x="266" y="452"/>
                  </a:lnTo>
                  <a:lnTo>
                    <a:pt x="266" y="452"/>
                  </a:lnTo>
                  <a:lnTo>
                    <a:pt x="268" y="452"/>
                  </a:lnTo>
                  <a:lnTo>
                    <a:pt x="270" y="454"/>
                  </a:lnTo>
                  <a:lnTo>
                    <a:pt x="270" y="458"/>
                  </a:lnTo>
                  <a:lnTo>
                    <a:pt x="270" y="462"/>
                  </a:lnTo>
                  <a:lnTo>
                    <a:pt x="270" y="466"/>
                  </a:lnTo>
                  <a:lnTo>
                    <a:pt x="266" y="472"/>
                  </a:lnTo>
                  <a:lnTo>
                    <a:pt x="264" y="474"/>
                  </a:lnTo>
                  <a:lnTo>
                    <a:pt x="258" y="480"/>
                  </a:lnTo>
                  <a:lnTo>
                    <a:pt x="248" y="488"/>
                  </a:lnTo>
                  <a:lnTo>
                    <a:pt x="240" y="494"/>
                  </a:lnTo>
                  <a:lnTo>
                    <a:pt x="234" y="500"/>
                  </a:lnTo>
                  <a:lnTo>
                    <a:pt x="232" y="500"/>
                  </a:lnTo>
                  <a:lnTo>
                    <a:pt x="230" y="502"/>
                  </a:lnTo>
                  <a:lnTo>
                    <a:pt x="228" y="506"/>
                  </a:lnTo>
                  <a:lnTo>
                    <a:pt x="224" y="510"/>
                  </a:lnTo>
                  <a:lnTo>
                    <a:pt x="220" y="514"/>
                  </a:lnTo>
                  <a:lnTo>
                    <a:pt x="218" y="518"/>
                  </a:lnTo>
                  <a:lnTo>
                    <a:pt x="216" y="522"/>
                  </a:lnTo>
                  <a:lnTo>
                    <a:pt x="216" y="524"/>
                  </a:lnTo>
                  <a:lnTo>
                    <a:pt x="216" y="524"/>
                  </a:lnTo>
                  <a:lnTo>
                    <a:pt x="218" y="524"/>
                  </a:lnTo>
                  <a:lnTo>
                    <a:pt x="220" y="522"/>
                  </a:lnTo>
                  <a:lnTo>
                    <a:pt x="224" y="524"/>
                  </a:lnTo>
                  <a:lnTo>
                    <a:pt x="226" y="526"/>
                  </a:lnTo>
                  <a:lnTo>
                    <a:pt x="230" y="530"/>
                  </a:lnTo>
                  <a:lnTo>
                    <a:pt x="240" y="538"/>
                  </a:lnTo>
                  <a:lnTo>
                    <a:pt x="240" y="540"/>
                  </a:lnTo>
                  <a:lnTo>
                    <a:pt x="244" y="540"/>
                  </a:lnTo>
                  <a:lnTo>
                    <a:pt x="248" y="542"/>
                  </a:lnTo>
                  <a:lnTo>
                    <a:pt x="254" y="544"/>
                  </a:lnTo>
                  <a:lnTo>
                    <a:pt x="258" y="546"/>
                  </a:lnTo>
                  <a:lnTo>
                    <a:pt x="262" y="548"/>
                  </a:lnTo>
                  <a:lnTo>
                    <a:pt x="264" y="552"/>
                  </a:lnTo>
                  <a:lnTo>
                    <a:pt x="278" y="568"/>
                  </a:lnTo>
                  <a:lnTo>
                    <a:pt x="282" y="572"/>
                  </a:lnTo>
                  <a:lnTo>
                    <a:pt x="290" y="56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0" name="Freeform 517"/>
            <p:cNvSpPr/>
            <p:nvPr/>
          </p:nvSpPr>
          <p:spPr bwMode="gray">
            <a:xfrm>
              <a:off x="7503888" y="5146315"/>
              <a:ext cx="277709" cy="1398713"/>
            </a:xfrm>
            <a:custGeom>
              <a:gdLst>
                <a:gd fmla="*/ 130 w 150" name="T0"/>
                <a:gd fmla="*/ 742 h 756" name="T1"/>
                <a:gd fmla="*/ 102 w 150" name="T2"/>
                <a:gd fmla="*/ 748 h 756" name="T3"/>
                <a:gd fmla="*/ 92 w 150" name="T4"/>
                <a:gd fmla="*/ 748 h 756" name="T5"/>
                <a:gd fmla="*/ 54 w 150" name="T6"/>
                <a:gd fmla="*/ 716 h 756" name="T7"/>
                <a:gd fmla="*/ 70 w 150" name="T8"/>
                <a:gd fmla="*/ 688 h 756" name="T9"/>
                <a:gd fmla="*/ 58 w 150" name="T10"/>
                <a:gd fmla="*/ 678 h 756" name="T11"/>
                <a:gd fmla="*/ 42 w 150" name="T12"/>
                <a:gd fmla="*/ 678 h 756" name="T13"/>
                <a:gd fmla="*/ 34 w 150" name="T14"/>
                <a:gd fmla="*/ 686 h 756" name="T15"/>
                <a:gd fmla="*/ 0 w 150" name="T16"/>
                <a:gd fmla="*/ 622 h 756" name="T17"/>
                <a:gd fmla="*/ 8 w 150" name="T18"/>
                <a:gd fmla="*/ 540 h 756" name="T19"/>
                <a:gd fmla="*/ 30 w 150" name="T20"/>
                <a:gd fmla="*/ 452 h 756" name="T21"/>
                <a:gd fmla="*/ 28 w 150" name="T22"/>
                <a:gd fmla="*/ 398 h 756" name="T23"/>
                <a:gd fmla="*/ 48 w 150" name="T24"/>
                <a:gd fmla="*/ 368 h 756" name="T25"/>
                <a:gd fmla="*/ 46 w 150" name="T26"/>
                <a:gd fmla="*/ 336 h 756" name="T27"/>
                <a:gd fmla="*/ 38 w 150" name="T28"/>
                <a:gd fmla="*/ 352 h 756" name="T29"/>
                <a:gd fmla="*/ 36 w 150" name="T30"/>
                <a:gd fmla="*/ 372 h 756" name="T31"/>
                <a:gd fmla="*/ 30 w 150" name="T32"/>
                <a:gd fmla="*/ 380 h 756" name="T33"/>
                <a:gd fmla="*/ 50 w 150" name="T34"/>
                <a:gd fmla="*/ 260 h 756" name="T35"/>
                <a:gd fmla="*/ 56 w 150" name="T36"/>
                <a:gd fmla="*/ 214 h 756" name="T37"/>
                <a:gd fmla="*/ 66 w 150" name="T38"/>
                <a:gd fmla="*/ 184 h 756" name="T39"/>
                <a:gd fmla="*/ 66 w 150" name="T40"/>
                <a:gd fmla="*/ 166 h 756" name="T41"/>
                <a:gd fmla="*/ 68 w 150" name="T42"/>
                <a:gd fmla="*/ 150 h 756" name="T43"/>
                <a:gd fmla="*/ 70 w 150" name="T44"/>
                <a:gd fmla="*/ 134 h 756" name="T45"/>
                <a:gd fmla="*/ 68 w 150" name="T46"/>
                <a:gd fmla="*/ 110 h 756" name="T47"/>
                <a:gd fmla="*/ 72 w 150" name="T48"/>
                <a:gd fmla="*/ 88 h 756" name="T49"/>
                <a:gd fmla="*/ 64 w 150" name="T50"/>
                <a:gd fmla="*/ 30 h 756" name="T51"/>
                <a:gd fmla="*/ 46 w 150" name="T52"/>
                <a:gd fmla="*/ 10 h 756" name="T53"/>
                <a:gd fmla="*/ 60 w 150" name="T54"/>
                <a:gd fmla="*/ 6 h 756" name="T55"/>
                <a:gd fmla="*/ 74 w 150" name="T56"/>
                <a:gd fmla="*/ 8 h 756" name="T57"/>
                <a:gd fmla="*/ 100 w 150" name="T58"/>
                <a:gd fmla="*/ 46 h 756" name="T59"/>
                <a:gd fmla="*/ 110 w 150" name="T60"/>
                <a:gd fmla="*/ 106 h 756" name="T61"/>
                <a:gd fmla="*/ 116 w 150" name="T62"/>
                <a:gd fmla="*/ 108 h 756" name="T63"/>
                <a:gd fmla="*/ 118 w 150" name="T64"/>
                <a:gd fmla="*/ 116 h 756" name="T65"/>
                <a:gd fmla="*/ 114 w 150" name="T66"/>
                <a:gd fmla="*/ 126 h 756" name="T67"/>
                <a:gd fmla="*/ 104 w 150" name="T68"/>
                <a:gd fmla="*/ 146 h 756" name="T69"/>
                <a:gd fmla="*/ 88 w 150" name="T70"/>
                <a:gd fmla="*/ 178 h 756" name="T71"/>
                <a:gd fmla="*/ 82 w 150" name="T72"/>
                <a:gd fmla="*/ 214 h 756" name="T73"/>
                <a:gd fmla="*/ 80 w 150" name="T74"/>
                <a:gd fmla="*/ 326 h 756" name="T75"/>
                <a:gd fmla="*/ 68 w 150" name="T76"/>
                <a:gd fmla="*/ 344 h 756" name="T77"/>
                <a:gd fmla="*/ 58 w 150" name="T78"/>
                <a:gd fmla="*/ 370 h 756" name="T79"/>
                <a:gd fmla="*/ 60 w 150" name="T80"/>
                <a:gd fmla="*/ 398 h 756" name="T81"/>
                <a:gd fmla="*/ 56 w 150" name="T82"/>
                <a:gd fmla="*/ 420 h 756" name="T83"/>
                <a:gd fmla="*/ 56 w 150" name="T84"/>
                <a:gd fmla="*/ 458 h 756" name="T85"/>
                <a:gd fmla="*/ 54 w 150" name="T86"/>
                <a:gd fmla="*/ 470 h 756" name="T87"/>
                <a:gd fmla="*/ 58 w 150" name="T88"/>
                <a:gd fmla="*/ 478 h 756" name="T89"/>
                <a:gd fmla="*/ 56 w 150" name="T90"/>
                <a:gd fmla="*/ 516 h 756" name="T91"/>
                <a:gd fmla="*/ 46 w 150" name="T92"/>
                <a:gd fmla="*/ 526 h 756" name="T93"/>
                <a:gd fmla="*/ 38 w 150" name="T94"/>
                <a:gd fmla="*/ 554 h 756" name="T95"/>
                <a:gd fmla="*/ 38 w 150" name="T96"/>
                <a:gd fmla="*/ 618 h 756" name="T97"/>
                <a:gd fmla="*/ 38 w 150" name="T98"/>
                <a:gd fmla="*/ 642 h 756" name="T99"/>
                <a:gd fmla="*/ 90 w 150" name="T100"/>
                <a:gd fmla="*/ 658 h 756" name="T101"/>
                <a:gd fmla="*/ 92 w 150" name="T102"/>
                <a:gd fmla="*/ 676 h 756" name="T103"/>
                <a:gd fmla="*/ 150 w 150" name="T104"/>
                <a:gd fmla="*/ 748 h 756" name="T10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b="b" l="0" r="r" t="0"/>
              <a:pathLst>
                <a:path h="756" w="150">
                  <a:moveTo>
                    <a:pt x="150" y="748"/>
                  </a:moveTo>
                  <a:lnTo>
                    <a:pt x="144" y="752"/>
                  </a:lnTo>
                  <a:lnTo>
                    <a:pt x="136" y="748"/>
                  </a:lnTo>
                  <a:lnTo>
                    <a:pt x="130" y="742"/>
                  </a:lnTo>
                  <a:lnTo>
                    <a:pt x="122" y="744"/>
                  </a:lnTo>
                  <a:lnTo>
                    <a:pt x="112" y="750"/>
                  </a:lnTo>
                  <a:lnTo>
                    <a:pt x="106" y="756"/>
                  </a:lnTo>
                  <a:lnTo>
                    <a:pt x="102" y="748"/>
                  </a:lnTo>
                  <a:lnTo>
                    <a:pt x="104" y="738"/>
                  </a:lnTo>
                  <a:lnTo>
                    <a:pt x="102" y="732"/>
                  </a:lnTo>
                  <a:lnTo>
                    <a:pt x="92" y="736"/>
                  </a:lnTo>
                  <a:lnTo>
                    <a:pt x="92" y="748"/>
                  </a:lnTo>
                  <a:lnTo>
                    <a:pt x="76" y="748"/>
                  </a:lnTo>
                  <a:lnTo>
                    <a:pt x="70" y="728"/>
                  </a:lnTo>
                  <a:lnTo>
                    <a:pt x="54" y="730"/>
                  </a:lnTo>
                  <a:lnTo>
                    <a:pt x="54" y="716"/>
                  </a:lnTo>
                  <a:lnTo>
                    <a:pt x="66" y="712"/>
                  </a:lnTo>
                  <a:lnTo>
                    <a:pt x="72" y="694"/>
                  </a:lnTo>
                  <a:lnTo>
                    <a:pt x="72" y="690"/>
                  </a:lnTo>
                  <a:lnTo>
                    <a:pt x="70" y="688"/>
                  </a:lnTo>
                  <a:lnTo>
                    <a:pt x="66" y="684"/>
                  </a:lnTo>
                  <a:lnTo>
                    <a:pt x="62" y="682"/>
                  </a:lnTo>
                  <a:lnTo>
                    <a:pt x="60" y="680"/>
                  </a:lnTo>
                  <a:lnTo>
                    <a:pt x="58" y="678"/>
                  </a:lnTo>
                  <a:lnTo>
                    <a:pt x="56" y="676"/>
                  </a:lnTo>
                  <a:lnTo>
                    <a:pt x="50" y="676"/>
                  </a:lnTo>
                  <a:lnTo>
                    <a:pt x="46" y="676"/>
                  </a:lnTo>
                  <a:lnTo>
                    <a:pt x="42" y="678"/>
                  </a:lnTo>
                  <a:lnTo>
                    <a:pt x="38" y="680"/>
                  </a:lnTo>
                  <a:lnTo>
                    <a:pt x="36" y="682"/>
                  </a:lnTo>
                  <a:lnTo>
                    <a:pt x="34" y="684"/>
                  </a:lnTo>
                  <a:lnTo>
                    <a:pt x="34" y="686"/>
                  </a:lnTo>
                  <a:lnTo>
                    <a:pt x="34" y="686"/>
                  </a:lnTo>
                  <a:lnTo>
                    <a:pt x="2" y="654"/>
                  </a:lnTo>
                  <a:lnTo>
                    <a:pt x="0" y="642"/>
                  </a:lnTo>
                  <a:lnTo>
                    <a:pt x="0" y="622"/>
                  </a:lnTo>
                  <a:lnTo>
                    <a:pt x="0" y="600"/>
                  </a:lnTo>
                  <a:lnTo>
                    <a:pt x="4" y="576"/>
                  </a:lnTo>
                  <a:lnTo>
                    <a:pt x="6" y="554"/>
                  </a:lnTo>
                  <a:lnTo>
                    <a:pt x="8" y="540"/>
                  </a:lnTo>
                  <a:lnTo>
                    <a:pt x="8" y="534"/>
                  </a:lnTo>
                  <a:lnTo>
                    <a:pt x="26" y="510"/>
                  </a:lnTo>
                  <a:lnTo>
                    <a:pt x="30" y="484"/>
                  </a:lnTo>
                  <a:lnTo>
                    <a:pt x="30" y="452"/>
                  </a:lnTo>
                  <a:lnTo>
                    <a:pt x="16" y="432"/>
                  </a:lnTo>
                  <a:lnTo>
                    <a:pt x="34" y="414"/>
                  </a:lnTo>
                  <a:lnTo>
                    <a:pt x="36" y="398"/>
                  </a:lnTo>
                  <a:lnTo>
                    <a:pt x="28" y="398"/>
                  </a:lnTo>
                  <a:lnTo>
                    <a:pt x="32" y="388"/>
                  </a:lnTo>
                  <a:lnTo>
                    <a:pt x="38" y="388"/>
                  </a:lnTo>
                  <a:lnTo>
                    <a:pt x="46" y="384"/>
                  </a:lnTo>
                  <a:lnTo>
                    <a:pt x="48" y="368"/>
                  </a:lnTo>
                  <a:lnTo>
                    <a:pt x="48" y="358"/>
                  </a:lnTo>
                  <a:lnTo>
                    <a:pt x="50" y="348"/>
                  </a:lnTo>
                  <a:lnTo>
                    <a:pt x="54" y="332"/>
                  </a:lnTo>
                  <a:lnTo>
                    <a:pt x="46" y="336"/>
                  </a:lnTo>
                  <a:lnTo>
                    <a:pt x="42" y="344"/>
                  </a:lnTo>
                  <a:lnTo>
                    <a:pt x="40" y="346"/>
                  </a:lnTo>
                  <a:lnTo>
                    <a:pt x="40" y="348"/>
                  </a:lnTo>
                  <a:lnTo>
                    <a:pt x="38" y="352"/>
                  </a:lnTo>
                  <a:lnTo>
                    <a:pt x="38" y="356"/>
                  </a:lnTo>
                  <a:lnTo>
                    <a:pt x="38" y="362"/>
                  </a:lnTo>
                  <a:lnTo>
                    <a:pt x="38" y="368"/>
                  </a:lnTo>
                  <a:lnTo>
                    <a:pt x="36" y="372"/>
                  </a:lnTo>
                  <a:lnTo>
                    <a:pt x="34" y="376"/>
                  </a:lnTo>
                  <a:lnTo>
                    <a:pt x="32" y="378"/>
                  </a:lnTo>
                  <a:lnTo>
                    <a:pt x="30" y="378"/>
                  </a:lnTo>
                  <a:lnTo>
                    <a:pt x="30" y="380"/>
                  </a:lnTo>
                  <a:lnTo>
                    <a:pt x="28" y="352"/>
                  </a:lnTo>
                  <a:lnTo>
                    <a:pt x="40" y="314"/>
                  </a:lnTo>
                  <a:lnTo>
                    <a:pt x="46" y="282"/>
                  </a:lnTo>
                  <a:lnTo>
                    <a:pt x="50" y="260"/>
                  </a:lnTo>
                  <a:lnTo>
                    <a:pt x="50" y="244"/>
                  </a:lnTo>
                  <a:lnTo>
                    <a:pt x="50" y="240"/>
                  </a:lnTo>
                  <a:lnTo>
                    <a:pt x="50" y="228"/>
                  </a:lnTo>
                  <a:lnTo>
                    <a:pt x="56" y="214"/>
                  </a:lnTo>
                  <a:lnTo>
                    <a:pt x="60" y="200"/>
                  </a:lnTo>
                  <a:lnTo>
                    <a:pt x="64" y="190"/>
                  </a:lnTo>
                  <a:lnTo>
                    <a:pt x="66" y="186"/>
                  </a:lnTo>
                  <a:lnTo>
                    <a:pt x="66" y="184"/>
                  </a:lnTo>
                  <a:lnTo>
                    <a:pt x="66" y="182"/>
                  </a:lnTo>
                  <a:lnTo>
                    <a:pt x="66" y="176"/>
                  </a:lnTo>
                  <a:lnTo>
                    <a:pt x="66" y="172"/>
                  </a:lnTo>
                  <a:lnTo>
                    <a:pt x="66" y="166"/>
                  </a:lnTo>
                  <a:lnTo>
                    <a:pt x="66" y="164"/>
                  </a:lnTo>
                  <a:lnTo>
                    <a:pt x="68" y="160"/>
                  </a:lnTo>
                  <a:lnTo>
                    <a:pt x="68" y="154"/>
                  </a:lnTo>
                  <a:lnTo>
                    <a:pt x="68" y="150"/>
                  </a:lnTo>
                  <a:lnTo>
                    <a:pt x="70" y="146"/>
                  </a:lnTo>
                  <a:lnTo>
                    <a:pt x="70" y="142"/>
                  </a:lnTo>
                  <a:lnTo>
                    <a:pt x="70" y="140"/>
                  </a:lnTo>
                  <a:lnTo>
                    <a:pt x="70" y="134"/>
                  </a:lnTo>
                  <a:lnTo>
                    <a:pt x="70" y="128"/>
                  </a:lnTo>
                  <a:lnTo>
                    <a:pt x="70" y="122"/>
                  </a:lnTo>
                  <a:lnTo>
                    <a:pt x="70" y="116"/>
                  </a:lnTo>
                  <a:lnTo>
                    <a:pt x="68" y="110"/>
                  </a:lnTo>
                  <a:lnTo>
                    <a:pt x="70" y="106"/>
                  </a:lnTo>
                  <a:lnTo>
                    <a:pt x="70" y="100"/>
                  </a:lnTo>
                  <a:lnTo>
                    <a:pt x="72" y="96"/>
                  </a:lnTo>
                  <a:lnTo>
                    <a:pt x="72" y="88"/>
                  </a:lnTo>
                  <a:lnTo>
                    <a:pt x="74" y="74"/>
                  </a:lnTo>
                  <a:lnTo>
                    <a:pt x="72" y="56"/>
                  </a:lnTo>
                  <a:lnTo>
                    <a:pt x="68" y="36"/>
                  </a:lnTo>
                  <a:lnTo>
                    <a:pt x="64" y="30"/>
                  </a:lnTo>
                  <a:lnTo>
                    <a:pt x="60" y="22"/>
                  </a:lnTo>
                  <a:lnTo>
                    <a:pt x="54" y="16"/>
                  </a:lnTo>
                  <a:lnTo>
                    <a:pt x="48" y="12"/>
                  </a:lnTo>
                  <a:lnTo>
                    <a:pt x="46" y="10"/>
                  </a:lnTo>
                  <a:lnTo>
                    <a:pt x="46" y="10"/>
                  </a:lnTo>
                  <a:lnTo>
                    <a:pt x="50" y="8"/>
                  </a:lnTo>
                  <a:lnTo>
                    <a:pt x="54" y="8"/>
                  </a:lnTo>
                  <a:lnTo>
                    <a:pt x="60" y="6"/>
                  </a:lnTo>
                  <a:lnTo>
                    <a:pt x="66" y="2"/>
                  </a:lnTo>
                  <a:lnTo>
                    <a:pt x="72" y="0"/>
                  </a:lnTo>
                  <a:lnTo>
                    <a:pt x="72" y="2"/>
                  </a:lnTo>
                  <a:lnTo>
                    <a:pt x="74" y="8"/>
                  </a:lnTo>
                  <a:lnTo>
                    <a:pt x="80" y="18"/>
                  </a:lnTo>
                  <a:lnTo>
                    <a:pt x="90" y="34"/>
                  </a:lnTo>
                  <a:lnTo>
                    <a:pt x="98" y="46"/>
                  </a:lnTo>
                  <a:lnTo>
                    <a:pt x="100" y="46"/>
                  </a:lnTo>
                  <a:lnTo>
                    <a:pt x="100" y="48"/>
                  </a:lnTo>
                  <a:lnTo>
                    <a:pt x="102" y="52"/>
                  </a:lnTo>
                  <a:lnTo>
                    <a:pt x="102" y="60"/>
                  </a:lnTo>
                  <a:lnTo>
                    <a:pt x="110" y="106"/>
                  </a:lnTo>
                  <a:lnTo>
                    <a:pt x="112" y="106"/>
                  </a:lnTo>
                  <a:lnTo>
                    <a:pt x="112" y="106"/>
                  </a:lnTo>
                  <a:lnTo>
                    <a:pt x="114" y="108"/>
                  </a:lnTo>
                  <a:lnTo>
                    <a:pt x="116" y="108"/>
                  </a:lnTo>
                  <a:lnTo>
                    <a:pt x="118" y="106"/>
                  </a:lnTo>
                  <a:lnTo>
                    <a:pt x="118" y="108"/>
                  </a:lnTo>
                  <a:lnTo>
                    <a:pt x="118" y="110"/>
                  </a:lnTo>
                  <a:lnTo>
                    <a:pt x="118" y="116"/>
                  </a:lnTo>
                  <a:lnTo>
                    <a:pt x="118" y="120"/>
                  </a:lnTo>
                  <a:lnTo>
                    <a:pt x="118" y="124"/>
                  </a:lnTo>
                  <a:lnTo>
                    <a:pt x="116" y="124"/>
                  </a:lnTo>
                  <a:lnTo>
                    <a:pt x="114" y="126"/>
                  </a:lnTo>
                  <a:lnTo>
                    <a:pt x="112" y="128"/>
                  </a:lnTo>
                  <a:lnTo>
                    <a:pt x="108" y="132"/>
                  </a:lnTo>
                  <a:lnTo>
                    <a:pt x="106" y="138"/>
                  </a:lnTo>
                  <a:lnTo>
                    <a:pt x="104" y="146"/>
                  </a:lnTo>
                  <a:lnTo>
                    <a:pt x="102" y="150"/>
                  </a:lnTo>
                  <a:lnTo>
                    <a:pt x="98" y="158"/>
                  </a:lnTo>
                  <a:lnTo>
                    <a:pt x="92" y="168"/>
                  </a:lnTo>
                  <a:lnTo>
                    <a:pt x="88" y="178"/>
                  </a:lnTo>
                  <a:lnTo>
                    <a:pt x="86" y="186"/>
                  </a:lnTo>
                  <a:lnTo>
                    <a:pt x="84" y="192"/>
                  </a:lnTo>
                  <a:lnTo>
                    <a:pt x="84" y="200"/>
                  </a:lnTo>
                  <a:lnTo>
                    <a:pt x="82" y="214"/>
                  </a:lnTo>
                  <a:lnTo>
                    <a:pt x="84" y="232"/>
                  </a:lnTo>
                  <a:lnTo>
                    <a:pt x="82" y="322"/>
                  </a:lnTo>
                  <a:lnTo>
                    <a:pt x="82" y="324"/>
                  </a:lnTo>
                  <a:lnTo>
                    <a:pt x="80" y="326"/>
                  </a:lnTo>
                  <a:lnTo>
                    <a:pt x="76" y="330"/>
                  </a:lnTo>
                  <a:lnTo>
                    <a:pt x="74" y="334"/>
                  </a:lnTo>
                  <a:lnTo>
                    <a:pt x="70" y="338"/>
                  </a:lnTo>
                  <a:lnTo>
                    <a:pt x="68" y="344"/>
                  </a:lnTo>
                  <a:lnTo>
                    <a:pt x="66" y="348"/>
                  </a:lnTo>
                  <a:lnTo>
                    <a:pt x="64" y="350"/>
                  </a:lnTo>
                  <a:lnTo>
                    <a:pt x="60" y="368"/>
                  </a:lnTo>
                  <a:lnTo>
                    <a:pt x="58" y="370"/>
                  </a:lnTo>
                  <a:lnTo>
                    <a:pt x="58" y="372"/>
                  </a:lnTo>
                  <a:lnTo>
                    <a:pt x="60" y="380"/>
                  </a:lnTo>
                  <a:lnTo>
                    <a:pt x="58" y="390"/>
                  </a:lnTo>
                  <a:lnTo>
                    <a:pt x="60" y="398"/>
                  </a:lnTo>
                  <a:lnTo>
                    <a:pt x="58" y="410"/>
                  </a:lnTo>
                  <a:lnTo>
                    <a:pt x="54" y="412"/>
                  </a:lnTo>
                  <a:lnTo>
                    <a:pt x="54" y="420"/>
                  </a:lnTo>
                  <a:lnTo>
                    <a:pt x="56" y="420"/>
                  </a:lnTo>
                  <a:lnTo>
                    <a:pt x="56" y="424"/>
                  </a:lnTo>
                  <a:lnTo>
                    <a:pt x="56" y="436"/>
                  </a:lnTo>
                  <a:lnTo>
                    <a:pt x="56" y="448"/>
                  </a:lnTo>
                  <a:lnTo>
                    <a:pt x="56" y="458"/>
                  </a:lnTo>
                  <a:lnTo>
                    <a:pt x="56" y="462"/>
                  </a:lnTo>
                  <a:lnTo>
                    <a:pt x="54" y="466"/>
                  </a:lnTo>
                  <a:lnTo>
                    <a:pt x="54" y="468"/>
                  </a:lnTo>
                  <a:lnTo>
                    <a:pt x="54" y="470"/>
                  </a:lnTo>
                  <a:lnTo>
                    <a:pt x="54" y="472"/>
                  </a:lnTo>
                  <a:lnTo>
                    <a:pt x="56" y="474"/>
                  </a:lnTo>
                  <a:lnTo>
                    <a:pt x="56" y="476"/>
                  </a:lnTo>
                  <a:lnTo>
                    <a:pt x="58" y="478"/>
                  </a:lnTo>
                  <a:lnTo>
                    <a:pt x="58" y="484"/>
                  </a:lnTo>
                  <a:lnTo>
                    <a:pt x="58" y="496"/>
                  </a:lnTo>
                  <a:lnTo>
                    <a:pt x="58" y="508"/>
                  </a:lnTo>
                  <a:lnTo>
                    <a:pt x="56" y="516"/>
                  </a:lnTo>
                  <a:lnTo>
                    <a:pt x="56" y="518"/>
                  </a:lnTo>
                  <a:lnTo>
                    <a:pt x="52" y="520"/>
                  </a:lnTo>
                  <a:lnTo>
                    <a:pt x="50" y="522"/>
                  </a:lnTo>
                  <a:lnTo>
                    <a:pt x="46" y="526"/>
                  </a:lnTo>
                  <a:lnTo>
                    <a:pt x="42" y="530"/>
                  </a:lnTo>
                  <a:lnTo>
                    <a:pt x="40" y="534"/>
                  </a:lnTo>
                  <a:lnTo>
                    <a:pt x="38" y="540"/>
                  </a:lnTo>
                  <a:lnTo>
                    <a:pt x="38" y="554"/>
                  </a:lnTo>
                  <a:lnTo>
                    <a:pt x="38" y="574"/>
                  </a:lnTo>
                  <a:lnTo>
                    <a:pt x="38" y="594"/>
                  </a:lnTo>
                  <a:lnTo>
                    <a:pt x="38" y="612"/>
                  </a:lnTo>
                  <a:lnTo>
                    <a:pt x="38" y="618"/>
                  </a:lnTo>
                  <a:lnTo>
                    <a:pt x="36" y="620"/>
                  </a:lnTo>
                  <a:lnTo>
                    <a:pt x="36" y="624"/>
                  </a:lnTo>
                  <a:lnTo>
                    <a:pt x="38" y="630"/>
                  </a:lnTo>
                  <a:lnTo>
                    <a:pt x="38" y="642"/>
                  </a:lnTo>
                  <a:lnTo>
                    <a:pt x="50" y="656"/>
                  </a:lnTo>
                  <a:lnTo>
                    <a:pt x="88" y="656"/>
                  </a:lnTo>
                  <a:lnTo>
                    <a:pt x="90" y="656"/>
                  </a:lnTo>
                  <a:lnTo>
                    <a:pt x="90" y="658"/>
                  </a:lnTo>
                  <a:lnTo>
                    <a:pt x="90" y="660"/>
                  </a:lnTo>
                  <a:lnTo>
                    <a:pt x="90" y="662"/>
                  </a:lnTo>
                  <a:lnTo>
                    <a:pt x="90" y="668"/>
                  </a:lnTo>
                  <a:lnTo>
                    <a:pt x="92" y="676"/>
                  </a:lnTo>
                  <a:lnTo>
                    <a:pt x="92" y="700"/>
                  </a:lnTo>
                  <a:lnTo>
                    <a:pt x="96" y="726"/>
                  </a:lnTo>
                  <a:lnTo>
                    <a:pt x="136" y="728"/>
                  </a:lnTo>
                  <a:lnTo>
                    <a:pt x="150" y="74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1" name="Freeform 518"/>
            <p:cNvSpPr/>
            <p:nvPr/>
          </p:nvSpPr>
          <p:spPr bwMode="gray">
            <a:xfrm>
              <a:off x="7837139" y="5238822"/>
              <a:ext cx="203654" cy="233119"/>
            </a:xfrm>
            <a:custGeom>
              <a:gdLst>
                <a:gd fmla="*/ 110 w 110" name="T0"/>
                <a:gd fmla="*/ 94 h 126" name="T1"/>
                <a:gd fmla="*/ 108 w 110" name="T2"/>
                <a:gd fmla="*/ 84 h 126" name="T3"/>
                <a:gd fmla="*/ 104 w 110" name="T4"/>
                <a:gd fmla="*/ 76 h 126" name="T5"/>
                <a:gd fmla="*/ 102 w 110" name="T6"/>
                <a:gd fmla="*/ 72 h 126" name="T7"/>
                <a:gd fmla="*/ 98 w 110" name="T8"/>
                <a:gd fmla="*/ 70 h 126" name="T9"/>
                <a:gd fmla="*/ 92 w 110" name="T10"/>
                <a:gd fmla="*/ 70 h 126" name="T11"/>
                <a:gd fmla="*/ 90 w 110" name="T12"/>
                <a:gd fmla="*/ 72 h 126" name="T13"/>
                <a:gd fmla="*/ 76 w 110" name="T14"/>
                <a:gd fmla="*/ 68 h 126" name="T15"/>
                <a:gd fmla="*/ 72 w 110" name="T16"/>
                <a:gd fmla="*/ 64 h 126" name="T17"/>
                <a:gd fmla="*/ 72 w 110" name="T18"/>
                <a:gd fmla="*/ 54 h 126" name="T19"/>
                <a:gd fmla="*/ 68 w 110" name="T20"/>
                <a:gd fmla="*/ 32 h 126" name="T21"/>
                <a:gd fmla="*/ 68 w 110" name="T22"/>
                <a:gd fmla="*/ 24 h 126" name="T23"/>
                <a:gd fmla="*/ 68 w 110" name="T24"/>
                <a:gd fmla="*/ 18 h 126" name="T25"/>
                <a:gd fmla="*/ 68 w 110" name="T26"/>
                <a:gd fmla="*/ 18 h 126" name="T27"/>
                <a:gd fmla="*/ 64 w 110" name="T28"/>
                <a:gd fmla="*/ 16 h 126" name="T29"/>
                <a:gd fmla="*/ 56 w 110" name="T30"/>
                <a:gd fmla="*/ 8 h 126" name="T31"/>
                <a:gd fmla="*/ 46 w 110" name="T32"/>
                <a:gd fmla="*/ 2 h 126" name="T33"/>
                <a:gd fmla="*/ 36 w 110" name="T34"/>
                <a:gd fmla="*/ 0 h 126" name="T35"/>
                <a:gd fmla="*/ 30 w 110" name="T36"/>
                <a:gd fmla="*/ 4 h 126" name="T37"/>
                <a:gd fmla="*/ 18 w 110" name="T38"/>
                <a:gd fmla="*/ 10 h 126" name="T39"/>
                <a:gd fmla="*/ 8 w 110" name="T40"/>
                <a:gd fmla="*/ 24 h 126" name="T41"/>
                <a:gd fmla="*/ 6 w 110" name="T42"/>
                <a:gd fmla="*/ 28 h 126" name="T43"/>
                <a:gd fmla="*/ 2 w 110" name="T44"/>
                <a:gd fmla="*/ 38 h 126" name="T45"/>
                <a:gd fmla="*/ 0 w 110" name="T46"/>
                <a:gd fmla="*/ 52 h 126" name="T47"/>
                <a:gd fmla="*/ 2 w 110" name="T48"/>
                <a:gd fmla="*/ 56 h 126" name="T49"/>
                <a:gd fmla="*/ 10 w 110" name="T50"/>
                <a:gd fmla="*/ 60 h 126" name="T51"/>
                <a:gd fmla="*/ 32 w 110" name="T52"/>
                <a:gd fmla="*/ 72 h 126" name="T53"/>
                <a:gd fmla="*/ 50 w 110" name="T54"/>
                <a:gd fmla="*/ 126 h 126" name="T55"/>
                <a:gd fmla="*/ 102 w 110" name="T56"/>
                <a:gd fmla="*/ 124 h 126" name="T57"/>
                <a:gd fmla="*/ 104 w 110" name="T58"/>
                <a:gd fmla="*/ 116 h 126" name="T59"/>
                <a:gd fmla="*/ 106 w 110" name="T60"/>
                <a:gd fmla="*/ 110 h 126" name="T61"/>
                <a:gd fmla="*/ 106 w 110" name="T62"/>
                <a:gd fmla="*/ 104 h 126" name="T63"/>
                <a:gd fmla="*/ 108 w 110" name="T64"/>
                <a:gd fmla="*/ 96 h 126" name="T6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b="b" l="0" r="r" t="0"/>
              <a:pathLst>
                <a:path h="125" w="110">
                  <a:moveTo>
                    <a:pt x="108" y="96"/>
                  </a:moveTo>
                  <a:lnTo>
                    <a:pt x="110" y="94"/>
                  </a:lnTo>
                  <a:lnTo>
                    <a:pt x="108" y="90"/>
                  </a:lnTo>
                  <a:lnTo>
                    <a:pt x="108" y="84"/>
                  </a:lnTo>
                  <a:lnTo>
                    <a:pt x="106" y="80"/>
                  </a:lnTo>
                  <a:lnTo>
                    <a:pt x="104" y="76"/>
                  </a:lnTo>
                  <a:lnTo>
                    <a:pt x="102" y="72"/>
                  </a:lnTo>
                  <a:lnTo>
                    <a:pt x="102" y="72"/>
                  </a:lnTo>
                  <a:lnTo>
                    <a:pt x="100" y="70"/>
                  </a:lnTo>
                  <a:lnTo>
                    <a:pt x="98" y="70"/>
                  </a:lnTo>
                  <a:lnTo>
                    <a:pt x="94" y="70"/>
                  </a:lnTo>
                  <a:lnTo>
                    <a:pt x="92" y="70"/>
                  </a:lnTo>
                  <a:lnTo>
                    <a:pt x="90" y="70"/>
                  </a:lnTo>
                  <a:lnTo>
                    <a:pt x="90" y="72"/>
                  </a:lnTo>
                  <a:lnTo>
                    <a:pt x="78" y="68"/>
                  </a:lnTo>
                  <a:lnTo>
                    <a:pt x="76" y="68"/>
                  </a:lnTo>
                  <a:lnTo>
                    <a:pt x="74" y="66"/>
                  </a:lnTo>
                  <a:lnTo>
                    <a:pt x="72" y="64"/>
                  </a:lnTo>
                  <a:lnTo>
                    <a:pt x="72" y="64"/>
                  </a:lnTo>
                  <a:lnTo>
                    <a:pt x="72" y="54"/>
                  </a:lnTo>
                  <a:lnTo>
                    <a:pt x="70" y="42"/>
                  </a:lnTo>
                  <a:lnTo>
                    <a:pt x="68" y="32"/>
                  </a:lnTo>
                  <a:lnTo>
                    <a:pt x="68" y="28"/>
                  </a:lnTo>
                  <a:lnTo>
                    <a:pt x="68" y="24"/>
                  </a:lnTo>
                  <a:lnTo>
                    <a:pt x="68" y="20"/>
                  </a:lnTo>
                  <a:lnTo>
                    <a:pt x="68" y="18"/>
                  </a:lnTo>
                  <a:lnTo>
                    <a:pt x="68" y="18"/>
                  </a:lnTo>
                  <a:lnTo>
                    <a:pt x="68" y="18"/>
                  </a:lnTo>
                  <a:lnTo>
                    <a:pt x="66" y="18"/>
                  </a:lnTo>
                  <a:lnTo>
                    <a:pt x="64" y="16"/>
                  </a:lnTo>
                  <a:lnTo>
                    <a:pt x="60" y="12"/>
                  </a:lnTo>
                  <a:lnTo>
                    <a:pt x="56" y="8"/>
                  </a:lnTo>
                  <a:lnTo>
                    <a:pt x="52" y="6"/>
                  </a:lnTo>
                  <a:lnTo>
                    <a:pt x="46" y="2"/>
                  </a:lnTo>
                  <a:lnTo>
                    <a:pt x="42" y="2"/>
                  </a:lnTo>
                  <a:lnTo>
                    <a:pt x="36" y="0"/>
                  </a:lnTo>
                  <a:lnTo>
                    <a:pt x="34" y="2"/>
                  </a:lnTo>
                  <a:lnTo>
                    <a:pt x="30" y="4"/>
                  </a:lnTo>
                  <a:lnTo>
                    <a:pt x="24" y="6"/>
                  </a:lnTo>
                  <a:lnTo>
                    <a:pt x="18" y="10"/>
                  </a:lnTo>
                  <a:lnTo>
                    <a:pt x="12" y="16"/>
                  </a:lnTo>
                  <a:lnTo>
                    <a:pt x="8" y="24"/>
                  </a:lnTo>
                  <a:lnTo>
                    <a:pt x="6" y="24"/>
                  </a:lnTo>
                  <a:lnTo>
                    <a:pt x="6" y="28"/>
                  </a:lnTo>
                  <a:lnTo>
                    <a:pt x="4" y="32"/>
                  </a:lnTo>
                  <a:lnTo>
                    <a:pt x="2" y="38"/>
                  </a:lnTo>
                  <a:lnTo>
                    <a:pt x="0" y="46"/>
                  </a:lnTo>
                  <a:lnTo>
                    <a:pt x="0" y="52"/>
                  </a:lnTo>
                  <a:lnTo>
                    <a:pt x="0" y="54"/>
                  </a:lnTo>
                  <a:lnTo>
                    <a:pt x="2" y="56"/>
                  </a:lnTo>
                  <a:lnTo>
                    <a:pt x="6" y="58"/>
                  </a:lnTo>
                  <a:lnTo>
                    <a:pt x="10" y="60"/>
                  </a:lnTo>
                  <a:lnTo>
                    <a:pt x="26" y="66"/>
                  </a:lnTo>
                  <a:lnTo>
                    <a:pt x="32" y="72"/>
                  </a:lnTo>
                  <a:lnTo>
                    <a:pt x="66" y="90"/>
                  </a:lnTo>
                  <a:lnTo>
                    <a:pt x="50" y="126"/>
                  </a:lnTo>
                  <a:lnTo>
                    <a:pt x="102" y="126"/>
                  </a:lnTo>
                  <a:lnTo>
                    <a:pt x="102" y="124"/>
                  </a:lnTo>
                  <a:lnTo>
                    <a:pt x="102" y="120"/>
                  </a:lnTo>
                  <a:lnTo>
                    <a:pt x="104" y="116"/>
                  </a:lnTo>
                  <a:lnTo>
                    <a:pt x="106" y="112"/>
                  </a:lnTo>
                  <a:lnTo>
                    <a:pt x="106" y="110"/>
                  </a:lnTo>
                  <a:lnTo>
                    <a:pt x="106" y="108"/>
                  </a:lnTo>
                  <a:lnTo>
                    <a:pt x="106" y="104"/>
                  </a:lnTo>
                  <a:lnTo>
                    <a:pt x="108" y="98"/>
                  </a:lnTo>
                  <a:lnTo>
                    <a:pt x="108" y="9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2" name="Freeform 519"/>
            <p:cNvSpPr/>
            <p:nvPr/>
          </p:nvSpPr>
          <p:spPr bwMode="gray">
            <a:xfrm>
              <a:off x="7237287" y="4358151"/>
              <a:ext cx="96273" cy="129510"/>
            </a:xfrm>
            <a:custGeom>
              <a:gdLst>
                <a:gd fmla="*/ 50 w 52" name="T0"/>
                <a:gd fmla="*/ 64 h 70" name="T1"/>
                <a:gd fmla="*/ 46 w 52" name="T2"/>
                <a:gd fmla="*/ 60 h 70" name="T3"/>
                <a:gd fmla="*/ 44 w 52" name="T4"/>
                <a:gd fmla="*/ 54 h 70" name="T5"/>
                <a:gd fmla="*/ 46 w 52" name="T6"/>
                <a:gd fmla="*/ 46 h 70" name="T7"/>
                <a:gd fmla="*/ 48 w 52" name="T8"/>
                <a:gd fmla="*/ 42 h 70" name="T9"/>
                <a:gd fmla="*/ 48 w 52" name="T10"/>
                <a:gd fmla="*/ 36 h 70" name="T11"/>
                <a:gd fmla="*/ 48 w 52" name="T12"/>
                <a:gd fmla="*/ 32 h 70" name="T13"/>
                <a:gd fmla="*/ 50 w 52" name="T14"/>
                <a:gd fmla="*/ 20 h 70" name="T15"/>
                <a:gd fmla="*/ 52 w 52" name="T16"/>
                <a:gd fmla="*/ 10 h 70" name="T17"/>
                <a:gd fmla="*/ 52 w 52" name="T18"/>
                <a:gd fmla="*/ 6 h 70" name="T19"/>
                <a:gd fmla="*/ 52 w 52" name="T20"/>
                <a:gd fmla="*/ 0 h 70" name="T21"/>
                <a:gd fmla="*/ 48 w 52" name="T22"/>
                <a:gd fmla="*/ 0 h 70" name="T23"/>
                <a:gd fmla="*/ 44 w 52" name="T24"/>
                <a:gd fmla="*/ 0 h 70" name="T25"/>
                <a:gd fmla="*/ 40 w 52" name="T26"/>
                <a:gd fmla="*/ 2 h 70" name="T27"/>
                <a:gd fmla="*/ 36 w 52" name="T28"/>
                <a:gd fmla="*/ 0 h 70" name="T29"/>
                <a:gd fmla="*/ 34 w 52" name="T30"/>
                <a:gd fmla="*/ 2 h 70" name="T31"/>
                <a:gd fmla="*/ 30 w 52" name="T32"/>
                <a:gd fmla="*/ 10 h 70" name="T33"/>
                <a:gd fmla="*/ 28 w 52" name="T34"/>
                <a:gd fmla="*/ 14 h 70" name="T35"/>
                <a:gd fmla="*/ 24 w 52" name="T36"/>
                <a:gd fmla="*/ 20 h 70" name="T37"/>
                <a:gd fmla="*/ 20 w 52" name="T38"/>
                <a:gd fmla="*/ 22 h 70" name="T39"/>
                <a:gd fmla="*/ 16 w 52" name="T40"/>
                <a:gd fmla="*/ 24 h 70" name="T41"/>
                <a:gd fmla="*/ 14 w 52" name="T42"/>
                <a:gd fmla="*/ 28 h 70" name="T43"/>
                <a:gd fmla="*/ 14 w 52" name="T44"/>
                <a:gd fmla="*/ 32 h 70" name="T45"/>
                <a:gd fmla="*/ 10 w 52" name="T46"/>
                <a:gd fmla="*/ 36 h 70" name="T47"/>
                <a:gd fmla="*/ 8 w 52" name="T48"/>
                <a:gd fmla="*/ 38 h 70" name="T49"/>
                <a:gd fmla="*/ 6 w 52" name="T50"/>
                <a:gd fmla="*/ 40 h 70" name="T51"/>
                <a:gd fmla="*/ 6 w 52" name="T52"/>
                <a:gd fmla="*/ 42 h 70" name="T53"/>
                <a:gd fmla="*/ 4 w 52" name="T54"/>
                <a:gd fmla="*/ 44 h 70" name="T55"/>
                <a:gd fmla="*/ 2 w 52" name="T56"/>
                <a:gd fmla="*/ 44 h 70" name="T57"/>
                <a:gd fmla="*/ 0 w 52" name="T58"/>
                <a:gd fmla="*/ 42 h 70" name="T59"/>
                <a:gd fmla="*/ 0 w 52" name="T60"/>
                <a:gd fmla="*/ 44 h 70" name="T61"/>
                <a:gd fmla="*/ 8 w 52" name="T62"/>
                <a:gd fmla="*/ 52 h 70" name="T63"/>
                <a:gd fmla="*/ 12 w 52" name="T64"/>
                <a:gd fmla="*/ 60 h 70" name="T65"/>
                <a:gd fmla="*/ 16 w 52" name="T66"/>
                <a:gd fmla="*/ 64 h 70" name="T67"/>
                <a:gd fmla="*/ 20 w 52" name="T68"/>
                <a:gd fmla="*/ 62 h 70" name="T69"/>
                <a:gd fmla="*/ 26 w 52" name="T70"/>
                <a:gd fmla="*/ 66 h 70" name="T71"/>
                <a:gd fmla="*/ 30 w 52" name="T72"/>
                <a:gd fmla="*/ 66 h 70" name="T73"/>
                <a:gd fmla="*/ 36 w 52" name="T74"/>
                <a:gd fmla="*/ 66 h 70" name="T75"/>
                <a:gd fmla="*/ 40 w 52" name="T76"/>
                <a:gd fmla="*/ 66 h 70" name="T77"/>
                <a:gd fmla="*/ 44 w 52" name="T78"/>
                <a:gd fmla="*/ 68 h 70" name="T79"/>
                <a:gd fmla="*/ 48 w 52" name="T80"/>
                <a:gd fmla="*/ 70 h 70" name="T81"/>
                <a:gd fmla="*/ 50 w 52" name="T82"/>
                <a:gd fmla="*/ 70 h 70" name="T83"/>
                <a:gd fmla="*/ 52 w 52" name="T84"/>
                <a:gd fmla="*/ 70 h 70"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70" w="52">
                  <a:moveTo>
                    <a:pt x="52" y="70"/>
                  </a:moveTo>
                  <a:lnTo>
                    <a:pt x="50" y="64"/>
                  </a:lnTo>
                  <a:lnTo>
                    <a:pt x="46" y="60"/>
                  </a:lnTo>
                  <a:lnTo>
                    <a:pt x="46" y="60"/>
                  </a:lnTo>
                  <a:lnTo>
                    <a:pt x="44" y="58"/>
                  </a:lnTo>
                  <a:lnTo>
                    <a:pt x="44" y="54"/>
                  </a:lnTo>
                  <a:lnTo>
                    <a:pt x="44" y="50"/>
                  </a:lnTo>
                  <a:lnTo>
                    <a:pt x="46" y="46"/>
                  </a:lnTo>
                  <a:lnTo>
                    <a:pt x="46" y="46"/>
                  </a:lnTo>
                  <a:lnTo>
                    <a:pt x="48" y="42"/>
                  </a:lnTo>
                  <a:lnTo>
                    <a:pt x="48" y="40"/>
                  </a:lnTo>
                  <a:lnTo>
                    <a:pt x="48" y="36"/>
                  </a:lnTo>
                  <a:lnTo>
                    <a:pt x="48" y="34"/>
                  </a:lnTo>
                  <a:lnTo>
                    <a:pt x="48" y="32"/>
                  </a:lnTo>
                  <a:lnTo>
                    <a:pt x="48" y="26"/>
                  </a:lnTo>
                  <a:lnTo>
                    <a:pt x="50" y="20"/>
                  </a:lnTo>
                  <a:lnTo>
                    <a:pt x="50" y="14"/>
                  </a:lnTo>
                  <a:lnTo>
                    <a:pt x="52" y="10"/>
                  </a:lnTo>
                  <a:lnTo>
                    <a:pt x="52" y="8"/>
                  </a:lnTo>
                  <a:lnTo>
                    <a:pt x="52" y="6"/>
                  </a:lnTo>
                  <a:lnTo>
                    <a:pt x="52" y="2"/>
                  </a:lnTo>
                  <a:lnTo>
                    <a:pt x="52" y="0"/>
                  </a:lnTo>
                  <a:lnTo>
                    <a:pt x="50" y="0"/>
                  </a:lnTo>
                  <a:lnTo>
                    <a:pt x="48" y="0"/>
                  </a:lnTo>
                  <a:lnTo>
                    <a:pt x="46" y="0"/>
                  </a:lnTo>
                  <a:lnTo>
                    <a:pt x="44" y="0"/>
                  </a:lnTo>
                  <a:lnTo>
                    <a:pt x="42" y="0"/>
                  </a:lnTo>
                  <a:lnTo>
                    <a:pt x="40" y="2"/>
                  </a:lnTo>
                  <a:lnTo>
                    <a:pt x="38" y="0"/>
                  </a:lnTo>
                  <a:lnTo>
                    <a:pt x="36" y="0"/>
                  </a:lnTo>
                  <a:lnTo>
                    <a:pt x="36" y="0"/>
                  </a:lnTo>
                  <a:lnTo>
                    <a:pt x="34" y="2"/>
                  </a:lnTo>
                  <a:lnTo>
                    <a:pt x="32" y="4"/>
                  </a:lnTo>
                  <a:lnTo>
                    <a:pt x="30" y="10"/>
                  </a:lnTo>
                  <a:lnTo>
                    <a:pt x="30" y="10"/>
                  </a:lnTo>
                  <a:lnTo>
                    <a:pt x="28" y="14"/>
                  </a:lnTo>
                  <a:lnTo>
                    <a:pt x="26" y="16"/>
                  </a:lnTo>
                  <a:lnTo>
                    <a:pt x="24" y="20"/>
                  </a:lnTo>
                  <a:lnTo>
                    <a:pt x="20" y="22"/>
                  </a:lnTo>
                  <a:lnTo>
                    <a:pt x="20" y="22"/>
                  </a:lnTo>
                  <a:lnTo>
                    <a:pt x="18" y="22"/>
                  </a:lnTo>
                  <a:lnTo>
                    <a:pt x="16" y="24"/>
                  </a:lnTo>
                  <a:lnTo>
                    <a:pt x="14" y="26"/>
                  </a:lnTo>
                  <a:lnTo>
                    <a:pt x="14" y="28"/>
                  </a:lnTo>
                  <a:lnTo>
                    <a:pt x="14" y="30"/>
                  </a:lnTo>
                  <a:lnTo>
                    <a:pt x="14" y="32"/>
                  </a:lnTo>
                  <a:lnTo>
                    <a:pt x="12" y="34"/>
                  </a:lnTo>
                  <a:lnTo>
                    <a:pt x="10" y="36"/>
                  </a:lnTo>
                  <a:lnTo>
                    <a:pt x="8" y="36"/>
                  </a:lnTo>
                  <a:lnTo>
                    <a:pt x="8" y="38"/>
                  </a:lnTo>
                  <a:lnTo>
                    <a:pt x="6" y="40"/>
                  </a:lnTo>
                  <a:lnTo>
                    <a:pt x="6" y="40"/>
                  </a:lnTo>
                  <a:lnTo>
                    <a:pt x="6" y="40"/>
                  </a:lnTo>
                  <a:lnTo>
                    <a:pt x="6" y="42"/>
                  </a:lnTo>
                  <a:lnTo>
                    <a:pt x="6" y="42"/>
                  </a:lnTo>
                  <a:lnTo>
                    <a:pt x="4" y="44"/>
                  </a:lnTo>
                  <a:lnTo>
                    <a:pt x="2" y="44"/>
                  </a:lnTo>
                  <a:lnTo>
                    <a:pt x="2" y="44"/>
                  </a:lnTo>
                  <a:lnTo>
                    <a:pt x="0" y="42"/>
                  </a:lnTo>
                  <a:lnTo>
                    <a:pt x="0" y="42"/>
                  </a:lnTo>
                  <a:lnTo>
                    <a:pt x="0" y="44"/>
                  </a:lnTo>
                  <a:lnTo>
                    <a:pt x="0" y="44"/>
                  </a:lnTo>
                  <a:lnTo>
                    <a:pt x="8" y="52"/>
                  </a:lnTo>
                  <a:lnTo>
                    <a:pt x="8" y="52"/>
                  </a:lnTo>
                  <a:lnTo>
                    <a:pt x="10" y="56"/>
                  </a:lnTo>
                  <a:lnTo>
                    <a:pt x="12" y="60"/>
                  </a:lnTo>
                  <a:lnTo>
                    <a:pt x="14" y="64"/>
                  </a:lnTo>
                  <a:lnTo>
                    <a:pt x="16" y="64"/>
                  </a:lnTo>
                  <a:lnTo>
                    <a:pt x="18" y="62"/>
                  </a:lnTo>
                  <a:lnTo>
                    <a:pt x="20" y="62"/>
                  </a:lnTo>
                  <a:lnTo>
                    <a:pt x="24" y="64"/>
                  </a:lnTo>
                  <a:lnTo>
                    <a:pt x="26" y="66"/>
                  </a:lnTo>
                  <a:lnTo>
                    <a:pt x="28" y="66"/>
                  </a:lnTo>
                  <a:lnTo>
                    <a:pt x="30" y="66"/>
                  </a:lnTo>
                  <a:lnTo>
                    <a:pt x="34" y="66"/>
                  </a:lnTo>
                  <a:lnTo>
                    <a:pt x="36" y="66"/>
                  </a:lnTo>
                  <a:lnTo>
                    <a:pt x="40" y="66"/>
                  </a:lnTo>
                  <a:lnTo>
                    <a:pt x="40" y="66"/>
                  </a:lnTo>
                  <a:lnTo>
                    <a:pt x="42" y="66"/>
                  </a:lnTo>
                  <a:lnTo>
                    <a:pt x="44" y="68"/>
                  </a:lnTo>
                  <a:lnTo>
                    <a:pt x="48" y="68"/>
                  </a:lnTo>
                  <a:lnTo>
                    <a:pt x="48" y="70"/>
                  </a:lnTo>
                  <a:lnTo>
                    <a:pt x="50" y="70"/>
                  </a:lnTo>
                  <a:lnTo>
                    <a:pt x="50" y="70"/>
                  </a:lnTo>
                  <a:lnTo>
                    <a:pt x="52" y="70"/>
                  </a:lnTo>
                  <a:lnTo>
                    <a:pt x="52" y="7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3" name="Freeform 520"/>
            <p:cNvSpPr/>
            <p:nvPr/>
          </p:nvSpPr>
          <p:spPr bwMode="gray">
            <a:xfrm>
              <a:off x="7126203" y="4269344"/>
              <a:ext cx="111084" cy="136911"/>
            </a:xfrm>
            <a:custGeom>
              <a:gdLst>
                <a:gd fmla="*/ 60 w 60" name="T0"/>
                <a:gd fmla="*/ 40 h 74" name="T1"/>
                <a:gd fmla="*/ 60 w 60" name="T2"/>
                <a:gd fmla="*/ 40 h 74" name="T3"/>
                <a:gd fmla="*/ 58 w 60" name="T4"/>
                <a:gd fmla="*/ 42 h 74" name="T5"/>
                <a:gd fmla="*/ 56 w 60" name="T6"/>
                <a:gd fmla="*/ 46 h 74" name="T7"/>
                <a:gd fmla="*/ 54 w 60" name="T8"/>
                <a:gd fmla="*/ 48 h 74" name="T9"/>
                <a:gd fmla="*/ 50 w 60" name="T10"/>
                <a:gd fmla="*/ 50 h 74" name="T11"/>
                <a:gd fmla="*/ 46 w 60" name="T12"/>
                <a:gd fmla="*/ 52 h 74" name="T13"/>
                <a:gd fmla="*/ 46 w 60" name="T14"/>
                <a:gd fmla="*/ 52 h 74" name="T15"/>
                <a:gd fmla="*/ 44 w 60" name="T16"/>
                <a:gd fmla="*/ 52 h 74" name="T17"/>
                <a:gd fmla="*/ 42 w 60" name="T18"/>
                <a:gd fmla="*/ 54 h 74" name="T19"/>
                <a:gd fmla="*/ 40 w 60" name="T20"/>
                <a:gd fmla="*/ 58 h 74" name="T21"/>
                <a:gd fmla="*/ 40 w 60" name="T22"/>
                <a:gd fmla="*/ 58 h 74" name="T23"/>
                <a:gd fmla="*/ 38 w 60" name="T24"/>
                <a:gd fmla="*/ 60 h 74" name="T25"/>
                <a:gd fmla="*/ 36 w 60" name="T26"/>
                <a:gd fmla="*/ 62 h 74" name="T27"/>
                <a:gd fmla="*/ 32 w 60" name="T28"/>
                <a:gd fmla="*/ 62 h 74" name="T29"/>
                <a:gd fmla="*/ 32 w 60" name="T30"/>
                <a:gd fmla="*/ 62 h 74" name="T31"/>
                <a:gd fmla="*/ 30 w 60" name="T32"/>
                <a:gd fmla="*/ 64 h 74" name="T33"/>
                <a:gd fmla="*/ 26 w 60" name="T34"/>
                <a:gd fmla="*/ 66 h 74" name="T35"/>
                <a:gd fmla="*/ 24 w 60" name="T36"/>
                <a:gd fmla="*/ 68 h 74" name="T37"/>
                <a:gd fmla="*/ 16 w 60" name="T38"/>
                <a:gd fmla="*/ 74 h 74" name="T39"/>
                <a:gd fmla="*/ 10 w 60" name="T40"/>
                <a:gd fmla="*/ 70 h 74" name="T41"/>
                <a:gd fmla="*/ 6 w 60" name="T42"/>
                <a:gd fmla="*/ 66 h 74" name="T43"/>
                <a:gd fmla="*/ 4 w 60" name="T44"/>
                <a:gd fmla="*/ 62 h 74" name="T45"/>
                <a:gd fmla="*/ 0 w 60" name="T46"/>
                <a:gd fmla="*/ 54 h 74" name="T47"/>
                <a:gd fmla="*/ 2 w 60" name="T48"/>
                <a:gd fmla="*/ 54 h 74" name="T49"/>
                <a:gd fmla="*/ 2 w 60" name="T50"/>
                <a:gd fmla="*/ 50 h 74" name="T51"/>
                <a:gd fmla="*/ 4 w 60" name="T52"/>
                <a:gd fmla="*/ 48 h 74" name="T53"/>
                <a:gd fmla="*/ 6 w 60" name="T54"/>
                <a:gd fmla="*/ 44 h 74" name="T55"/>
                <a:gd fmla="*/ 8 w 60" name="T56"/>
                <a:gd fmla="*/ 42 h 74" name="T57"/>
                <a:gd fmla="*/ 8 w 60" name="T58"/>
                <a:gd fmla="*/ 40 h 74" name="T59"/>
                <a:gd fmla="*/ 8 w 60" name="T60"/>
                <a:gd fmla="*/ 38 h 74" name="T61"/>
                <a:gd fmla="*/ 8 w 60" name="T62"/>
                <a:gd fmla="*/ 36 h 74" name="T63"/>
                <a:gd fmla="*/ 6 w 60" name="T64"/>
                <a:gd fmla="*/ 34 h 74" name="T65"/>
                <a:gd fmla="*/ 6 w 60" name="T66"/>
                <a:gd fmla="*/ 32 h 74" name="T67"/>
                <a:gd fmla="*/ 6 w 60" name="T68"/>
                <a:gd fmla="*/ 32 h 74" name="T69"/>
                <a:gd fmla="*/ 6 w 60" name="T70"/>
                <a:gd fmla="*/ 30 h 74" name="T71"/>
                <a:gd fmla="*/ 6 w 60" name="T72"/>
                <a:gd fmla="*/ 28 h 74" name="T73"/>
                <a:gd fmla="*/ 8 w 60" name="T74"/>
                <a:gd fmla="*/ 28 h 74" name="T75"/>
                <a:gd fmla="*/ 32 w 60" name="T76"/>
                <a:gd fmla="*/ 28 h 74" name="T77"/>
                <a:gd fmla="*/ 32 w 60" name="T78"/>
                <a:gd fmla="*/ 18 h 74" name="T79"/>
                <a:gd fmla="*/ 22 w 60" name="T80"/>
                <a:gd fmla="*/ 8 h 74" name="T81"/>
                <a:gd fmla="*/ 26 w 60" name="T82"/>
                <a:gd fmla="*/ 8 h 74" name="T83"/>
                <a:gd fmla="*/ 26 w 60" name="T84"/>
                <a:gd fmla="*/ 0 h 74" name="T85"/>
                <a:gd fmla="*/ 46 w 60" name="T86"/>
                <a:gd fmla="*/ 0 h 74" name="T87"/>
                <a:gd fmla="*/ 46 w 60" name="T88"/>
                <a:gd fmla="*/ 2 h 74" name="T89"/>
                <a:gd fmla="*/ 46 w 60" name="T90"/>
                <a:gd fmla="*/ 32 h 74" name="T91"/>
                <a:gd fmla="*/ 54 w 60" name="T92"/>
                <a:gd fmla="*/ 32 h 74" name="T93"/>
                <a:gd fmla="*/ 54 w 60" name="T94"/>
                <a:gd fmla="*/ 34 h 74" name="T95"/>
                <a:gd fmla="*/ 54 w 60" name="T96"/>
                <a:gd fmla="*/ 34 h 74" name="T97"/>
                <a:gd fmla="*/ 54 w 60" name="T98"/>
                <a:gd fmla="*/ 36 h 74" name="T99"/>
                <a:gd fmla="*/ 56 w 60" name="T100"/>
                <a:gd fmla="*/ 38 h 74" name="T101"/>
                <a:gd fmla="*/ 60 w 60" name="T102"/>
                <a:gd fmla="*/ 40 h 74" name="T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b="b" l="0" r="r" t="0"/>
              <a:pathLst>
                <a:path h="74" w="60">
                  <a:moveTo>
                    <a:pt x="60" y="40"/>
                  </a:moveTo>
                  <a:lnTo>
                    <a:pt x="60" y="40"/>
                  </a:lnTo>
                  <a:lnTo>
                    <a:pt x="58" y="42"/>
                  </a:lnTo>
                  <a:lnTo>
                    <a:pt x="56" y="46"/>
                  </a:lnTo>
                  <a:lnTo>
                    <a:pt x="54" y="48"/>
                  </a:lnTo>
                  <a:lnTo>
                    <a:pt x="50" y="50"/>
                  </a:lnTo>
                  <a:lnTo>
                    <a:pt x="46" y="52"/>
                  </a:lnTo>
                  <a:lnTo>
                    <a:pt x="46" y="52"/>
                  </a:lnTo>
                  <a:lnTo>
                    <a:pt x="44" y="52"/>
                  </a:lnTo>
                  <a:lnTo>
                    <a:pt x="42" y="54"/>
                  </a:lnTo>
                  <a:lnTo>
                    <a:pt x="40" y="58"/>
                  </a:lnTo>
                  <a:lnTo>
                    <a:pt x="40" y="58"/>
                  </a:lnTo>
                  <a:lnTo>
                    <a:pt x="38" y="60"/>
                  </a:lnTo>
                  <a:lnTo>
                    <a:pt x="36" y="62"/>
                  </a:lnTo>
                  <a:lnTo>
                    <a:pt x="32" y="62"/>
                  </a:lnTo>
                  <a:lnTo>
                    <a:pt x="32" y="62"/>
                  </a:lnTo>
                  <a:lnTo>
                    <a:pt x="30" y="64"/>
                  </a:lnTo>
                  <a:lnTo>
                    <a:pt x="26" y="66"/>
                  </a:lnTo>
                  <a:lnTo>
                    <a:pt x="24" y="68"/>
                  </a:lnTo>
                  <a:lnTo>
                    <a:pt x="16" y="74"/>
                  </a:lnTo>
                  <a:lnTo>
                    <a:pt x="10" y="70"/>
                  </a:lnTo>
                  <a:lnTo>
                    <a:pt x="6" y="66"/>
                  </a:lnTo>
                  <a:lnTo>
                    <a:pt x="4" y="62"/>
                  </a:lnTo>
                  <a:lnTo>
                    <a:pt x="0" y="54"/>
                  </a:lnTo>
                  <a:lnTo>
                    <a:pt x="2" y="54"/>
                  </a:lnTo>
                  <a:lnTo>
                    <a:pt x="2" y="50"/>
                  </a:lnTo>
                  <a:lnTo>
                    <a:pt x="4" y="48"/>
                  </a:lnTo>
                  <a:lnTo>
                    <a:pt x="6" y="44"/>
                  </a:lnTo>
                  <a:lnTo>
                    <a:pt x="8" y="42"/>
                  </a:lnTo>
                  <a:lnTo>
                    <a:pt x="8" y="40"/>
                  </a:lnTo>
                  <a:lnTo>
                    <a:pt x="8" y="38"/>
                  </a:lnTo>
                  <a:lnTo>
                    <a:pt x="8" y="36"/>
                  </a:lnTo>
                  <a:lnTo>
                    <a:pt x="6" y="34"/>
                  </a:lnTo>
                  <a:lnTo>
                    <a:pt x="6" y="32"/>
                  </a:lnTo>
                  <a:lnTo>
                    <a:pt x="6" y="32"/>
                  </a:lnTo>
                  <a:lnTo>
                    <a:pt x="6" y="30"/>
                  </a:lnTo>
                  <a:lnTo>
                    <a:pt x="6" y="28"/>
                  </a:lnTo>
                  <a:lnTo>
                    <a:pt x="8" y="28"/>
                  </a:lnTo>
                  <a:lnTo>
                    <a:pt x="32" y="28"/>
                  </a:lnTo>
                  <a:lnTo>
                    <a:pt x="32" y="18"/>
                  </a:lnTo>
                  <a:lnTo>
                    <a:pt x="22" y="8"/>
                  </a:lnTo>
                  <a:lnTo>
                    <a:pt x="26" y="8"/>
                  </a:lnTo>
                  <a:lnTo>
                    <a:pt x="26" y="0"/>
                  </a:lnTo>
                  <a:lnTo>
                    <a:pt x="46" y="0"/>
                  </a:lnTo>
                  <a:lnTo>
                    <a:pt x="46" y="2"/>
                  </a:lnTo>
                  <a:lnTo>
                    <a:pt x="46" y="32"/>
                  </a:lnTo>
                  <a:lnTo>
                    <a:pt x="54" y="32"/>
                  </a:lnTo>
                  <a:lnTo>
                    <a:pt x="54" y="34"/>
                  </a:lnTo>
                  <a:lnTo>
                    <a:pt x="54" y="34"/>
                  </a:lnTo>
                  <a:lnTo>
                    <a:pt x="54" y="36"/>
                  </a:lnTo>
                  <a:lnTo>
                    <a:pt x="56" y="38"/>
                  </a:lnTo>
                  <a:lnTo>
                    <a:pt x="60" y="4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4" name="Freeform 521"/>
            <p:cNvSpPr/>
            <p:nvPr/>
          </p:nvSpPr>
          <p:spPr bwMode="gray">
            <a:xfrm>
              <a:off x="7211367" y="4254543"/>
              <a:ext cx="25920" cy="74006"/>
            </a:xfrm>
            <a:custGeom>
              <a:gdLst>
                <a:gd fmla="*/ 14 w 14" name="T0"/>
                <a:gd fmla="*/ 0 h 40" name="T1"/>
                <a:gd fmla="*/ 14 w 14" name="T2"/>
                <a:gd fmla="*/ 0 h 40" name="T3"/>
                <a:gd fmla="*/ 12 w 14" name="T4"/>
                <a:gd fmla="*/ 0 h 40" name="T5"/>
                <a:gd fmla="*/ 10 w 14" name="T6"/>
                <a:gd fmla="*/ 0 h 40" name="T7"/>
                <a:gd fmla="*/ 10 w 14" name="T8"/>
                <a:gd fmla="*/ 2 h 40" name="T9"/>
                <a:gd fmla="*/ 8 w 14" name="T10"/>
                <a:gd fmla="*/ 2 h 40" name="T11"/>
                <a:gd fmla="*/ 6 w 14" name="T12"/>
                <a:gd fmla="*/ 4 h 40" name="T13"/>
                <a:gd fmla="*/ 6 w 14" name="T14"/>
                <a:gd fmla="*/ 4 h 40" name="T15"/>
                <a:gd fmla="*/ 4 w 14" name="T16"/>
                <a:gd fmla="*/ 6 h 40" name="T17"/>
                <a:gd fmla="*/ 2 w 14" name="T18"/>
                <a:gd fmla="*/ 4 h 40" name="T19"/>
                <a:gd fmla="*/ 0 w 14" name="T20"/>
                <a:gd fmla="*/ 4 h 40" name="T21"/>
                <a:gd fmla="*/ 0 w 14" name="T22"/>
                <a:gd fmla="*/ 6 h 40" name="T23"/>
                <a:gd fmla="*/ 0 w 14" name="T24"/>
                <a:gd fmla="*/ 8 h 40" name="T25"/>
                <a:gd fmla="*/ 0 w 14" name="T26"/>
                <a:gd fmla="*/ 8 h 40" name="T27"/>
                <a:gd fmla="*/ 0 w 14" name="T28"/>
                <a:gd fmla="*/ 40 h 40" name="T29"/>
                <a:gd fmla="*/ 8 w 14" name="T30"/>
                <a:gd fmla="*/ 40 h 40" name="T31"/>
                <a:gd fmla="*/ 8 w 14" name="T32"/>
                <a:gd fmla="*/ 40 h 40" name="T33"/>
                <a:gd fmla="*/ 8 w 14" name="T34"/>
                <a:gd fmla="*/ 38 h 40" name="T35"/>
                <a:gd fmla="*/ 10 w 14" name="T36"/>
                <a:gd fmla="*/ 36 h 40" name="T37"/>
                <a:gd fmla="*/ 12 w 14" name="T38"/>
                <a:gd fmla="*/ 34 h 40" name="T39"/>
                <a:gd fmla="*/ 12 w 14" name="T40"/>
                <a:gd fmla="*/ 32 h 40" name="T41"/>
                <a:gd fmla="*/ 12 w 14" name="T42"/>
                <a:gd fmla="*/ 30 h 40" name="T43"/>
                <a:gd fmla="*/ 12 w 14" name="T44"/>
                <a:gd fmla="*/ 28 h 40" name="T45"/>
                <a:gd fmla="*/ 10 w 14" name="T46"/>
                <a:gd fmla="*/ 24 h 40" name="T47"/>
                <a:gd fmla="*/ 10 w 14" name="T48"/>
                <a:gd fmla="*/ 18 h 40" name="T49"/>
                <a:gd fmla="*/ 10 w 14" name="T50"/>
                <a:gd fmla="*/ 14 h 40" name="T51"/>
                <a:gd fmla="*/ 10 w 14" name="T52"/>
                <a:gd fmla="*/ 12 h 40" name="T53"/>
                <a:gd fmla="*/ 12 w 14" name="T54"/>
                <a:gd fmla="*/ 10 h 40" name="T55"/>
                <a:gd fmla="*/ 12 w 14" name="T56"/>
                <a:gd fmla="*/ 8 h 40" name="T57"/>
                <a:gd fmla="*/ 14 w 14" name="T58"/>
                <a:gd fmla="*/ 4 h 40" name="T59"/>
                <a:gd fmla="*/ 14 w 14" name="T60"/>
                <a:gd fmla="*/ 0 h 40" name="T6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b="b" l="0" r="r" t="0"/>
              <a:pathLst>
                <a:path h="40" w="14">
                  <a:moveTo>
                    <a:pt x="14" y="0"/>
                  </a:moveTo>
                  <a:lnTo>
                    <a:pt x="14" y="0"/>
                  </a:lnTo>
                  <a:lnTo>
                    <a:pt x="12" y="0"/>
                  </a:lnTo>
                  <a:lnTo>
                    <a:pt x="10" y="0"/>
                  </a:lnTo>
                  <a:lnTo>
                    <a:pt x="10" y="2"/>
                  </a:lnTo>
                  <a:lnTo>
                    <a:pt x="8" y="2"/>
                  </a:lnTo>
                  <a:lnTo>
                    <a:pt x="6" y="4"/>
                  </a:lnTo>
                  <a:lnTo>
                    <a:pt x="6" y="4"/>
                  </a:lnTo>
                  <a:lnTo>
                    <a:pt x="4" y="6"/>
                  </a:lnTo>
                  <a:lnTo>
                    <a:pt x="2" y="4"/>
                  </a:lnTo>
                  <a:lnTo>
                    <a:pt x="0" y="4"/>
                  </a:lnTo>
                  <a:lnTo>
                    <a:pt x="0" y="6"/>
                  </a:lnTo>
                  <a:lnTo>
                    <a:pt x="0" y="8"/>
                  </a:lnTo>
                  <a:lnTo>
                    <a:pt x="0" y="8"/>
                  </a:lnTo>
                  <a:lnTo>
                    <a:pt x="0" y="40"/>
                  </a:lnTo>
                  <a:lnTo>
                    <a:pt x="8" y="40"/>
                  </a:lnTo>
                  <a:lnTo>
                    <a:pt x="8" y="40"/>
                  </a:lnTo>
                  <a:lnTo>
                    <a:pt x="8" y="38"/>
                  </a:lnTo>
                  <a:lnTo>
                    <a:pt x="10" y="36"/>
                  </a:lnTo>
                  <a:lnTo>
                    <a:pt x="12" y="34"/>
                  </a:lnTo>
                  <a:lnTo>
                    <a:pt x="12" y="32"/>
                  </a:lnTo>
                  <a:lnTo>
                    <a:pt x="12" y="30"/>
                  </a:lnTo>
                  <a:lnTo>
                    <a:pt x="12" y="28"/>
                  </a:lnTo>
                  <a:lnTo>
                    <a:pt x="10" y="24"/>
                  </a:lnTo>
                  <a:lnTo>
                    <a:pt x="10" y="18"/>
                  </a:lnTo>
                  <a:lnTo>
                    <a:pt x="10" y="14"/>
                  </a:lnTo>
                  <a:lnTo>
                    <a:pt x="10" y="12"/>
                  </a:lnTo>
                  <a:lnTo>
                    <a:pt x="12" y="10"/>
                  </a:lnTo>
                  <a:lnTo>
                    <a:pt x="12" y="8"/>
                  </a:lnTo>
                  <a:lnTo>
                    <a:pt x="14" y="4"/>
                  </a:lnTo>
                  <a:lnTo>
                    <a:pt x="14"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5" name="Freeform 522"/>
            <p:cNvSpPr/>
            <p:nvPr/>
          </p:nvSpPr>
          <p:spPr bwMode="gray">
            <a:xfrm>
              <a:off x="7263206" y="4476561"/>
              <a:ext cx="88867" cy="74006"/>
            </a:xfrm>
            <a:custGeom>
              <a:gdLst>
                <a:gd fmla="*/ 48 w 48" name="T0"/>
                <a:gd fmla="*/ 16 h 40" name="T1"/>
                <a:gd fmla="*/ 46 w 48" name="T2"/>
                <a:gd fmla="*/ 14 h 40" name="T3"/>
                <a:gd fmla="*/ 42 w 48" name="T4"/>
                <a:gd fmla="*/ 12 h 40" name="T5"/>
                <a:gd fmla="*/ 40 w 48" name="T6"/>
                <a:gd fmla="*/ 8 h 40" name="T7"/>
                <a:gd fmla="*/ 38 w 48" name="T8"/>
                <a:gd fmla="*/ 6 h 40" name="T9"/>
                <a:gd fmla="*/ 36 w 48" name="T10"/>
                <a:gd fmla="*/ 6 h 40" name="T11"/>
                <a:gd fmla="*/ 34 w 48" name="T12"/>
                <a:gd fmla="*/ 6 h 40" name="T13"/>
                <a:gd fmla="*/ 30 w 48" name="T14"/>
                <a:gd fmla="*/ 4 h 40" name="T15"/>
                <a:gd fmla="*/ 26 w 48" name="T16"/>
                <a:gd fmla="*/ 2 h 40" name="T17"/>
                <a:gd fmla="*/ 22 w 48" name="T18"/>
                <a:gd fmla="*/ 2 h 40" name="T19"/>
                <a:gd fmla="*/ 16 w 48" name="T20"/>
                <a:gd fmla="*/ 2 h 40" name="T21"/>
                <a:gd fmla="*/ 12 w 48" name="T22"/>
                <a:gd fmla="*/ 2 h 40" name="T23"/>
                <a:gd fmla="*/ 6 w 48" name="T24"/>
                <a:gd fmla="*/ 0 h 40" name="T25"/>
                <a:gd fmla="*/ 2 w 48" name="T26"/>
                <a:gd fmla="*/ 0 h 40" name="T27"/>
                <a:gd fmla="*/ 2 w 48" name="T28"/>
                <a:gd fmla="*/ 2 h 40" name="T29"/>
                <a:gd fmla="*/ 2 w 48" name="T30"/>
                <a:gd fmla="*/ 6 h 40" name="T31"/>
                <a:gd fmla="*/ 2 w 48" name="T32"/>
                <a:gd fmla="*/ 10 h 40" name="T33"/>
                <a:gd fmla="*/ 2 w 48" name="T34"/>
                <a:gd fmla="*/ 16 h 40" name="T35"/>
                <a:gd fmla="*/ 8 w 48" name="T36"/>
                <a:gd fmla="*/ 24 h 40" name="T37"/>
                <a:gd fmla="*/ 8 w 48" name="T38"/>
                <a:gd fmla="*/ 20 h 40" name="T39"/>
                <a:gd fmla="*/ 6 w 48" name="T40"/>
                <a:gd fmla="*/ 18 h 40" name="T41"/>
                <a:gd fmla="*/ 8 w 48" name="T42"/>
                <a:gd fmla="*/ 16 h 40" name="T43"/>
                <a:gd fmla="*/ 14 w 48" name="T44"/>
                <a:gd fmla="*/ 20 h 40" name="T45"/>
                <a:gd fmla="*/ 24 w 48" name="T46"/>
                <a:gd fmla="*/ 30 h 40" name="T47"/>
                <a:gd fmla="*/ 22 w 48" name="T48"/>
                <a:gd fmla="*/ 32 h 40" name="T49"/>
                <a:gd fmla="*/ 24 w 48" name="T50"/>
                <a:gd fmla="*/ 36 h 40" name="T51"/>
                <a:gd fmla="*/ 24 w 48" name="T52"/>
                <a:gd fmla="*/ 36 h 40" name="T53"/>
                <a:gd fmla="*/ 26 w 48" name="T54"/>
                <a:gd fmla="*/ 34 h 40" name="T55"/>
                <a:gd fmla="*/ 26 w 48" name="T56"/>
                <a:gd fmla="*/ 34 h 40" name="T57"/>
                <a:gd fmla="*/ 28 w 48" name="T58"/>
                <a:gd fmla="*/ 34 h 40" name="T59"/>
                <a:gd fmla="*/ 28 w 48" name="T60"/>
                <a:gd fmla="*/ 36 h 40" name="T61"/>
                <a:gd fmla="*/ 32 w 48" name="T62"/>
                <a:gd fmla="*/ 40 h 40" name="T63"/>
                <a:gd fmla="*/ 36 w 48" name="T64"/>
                <a:gd fmla="*/ 38 h 40" name="T65"/>
                <a:gd fmla="*/ 40 w 48" name="T66"/>
                <a:gd fmla="*/ 32 h 40" name="T67"/>
                <a:gd fmla="*/ 40 w 48" name="T68"/>
                <a:gd fmla="*/ 28 h 40" name="T69"/>
                <a:gd fmla="*/ 44 w 48" name="T70"/>
                <a:gd fmla="*/ 22 h 40"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40" w="48">
                  <a:moveTo>
                    <a:pt x="48" y="16"/>
                  </a:moveTo>
                  <a:lnTo>
                    <a:pt x="48" y="16"/>
                  </a:lnTo>
                  <a:lnTo>
                    <a:pt x="48" y="16"/>
                  </a:lnTo>
                  <a:lnTo>
                    <a:pt x="46" y="14"/>
                  </a:lnTo>
                  <a:lnTo>
                    <a:pt x="44" y="14"/>
                  </a:lnTo>
                  <a:lnTo>
                    <a:pt x="42" y="12"/>
                  </a:lnTo>
                  <a:lnTo>
                    <a:pt x="40" y="10"/>
                  </a:lnTo>
                  <a:lnTo>
                    <a:pt x="40" y="8"/>
                  </a:lnTo>
                  <a:lnTo>
                    <a:pt x="38" y="6"/>
                  </a:lnTo>
                  <a:lnTo>
                    <a:pt x="38" y="6"/>
                  </a:lnTo>
                  <a:lnTo>
                    <a:pt x="38" y="6"/>
                  </a:lnTo>
                  <a:lnTo>
                    <a:pt x="36" y="6"/>
                  </a:lnTo>
                  <a:lnTo>
                    <a:pt x="36" y="6"/>
                  </a:lnTo>
                  <a:lnTo>
                    <a:pt x="34" y="6"/>
                  </a:lnTo>
                  <a:lnTo>
                    <a:pt x="34" y="6"/>
                  </a:lnTo>
                  <a:lnTo>
                    <a:pt x="30" y="4"/>
                  </a:lnTo>
                  <a:lnTo>
                    <a:pt x="28" y="4"/>
                  </a:lnTo>
                  <a:lnTo>
                    <a:pt x="26" y="2"/>
                  </a:lnTo>
                  <a:lnTo>
                    <a:pt x="26" y="2"/>
                  </a:lnTo>
                  <a:lnTo>
                    <a:pt x="22" y="2"/>
                  </a:lnTo>
                  <a:lnTo>
                    <a:pt x="20" y="2"/>
                  </a:lnTo>
                  <a:lnTo>
                    <a:pt x="16" y="2"/>
                  </a:lnTo>
                  <a:lnTo>
                    <a:pt x="14" y="2"/>
                  </a:lnTo>
                  <a:lnTo>
                    <a:pt x="12" y="2"/>
                  </a:lnTo>
                  <a:lnTo>
                    <a:pt x="10" y="0"/>
                  </a:lnTo>
                  <a:lnTo>
                    <a:pt x="6" y="0"/>
                  </a:lnTo>
                  <a:lnTo>
                    <a:pt x="4" y="0"/>
                  </a:lnTo>
                  <a:lnTo>
                    <a:pt x="2" y="0"/>
                  </a:lnTo>
                  <a:lnTo>
                    <a:pt x="0" y="0"/>
                  </a:lnTo>
                  <a:lnTo>
                    <a:pt x="2" y="2"/>
                  </a:lnTo>
                  <a:lnTo>
                    <a:pt x="2" y="4"/>
                  </a:lnTo>
                  <a:lnTo>
                    <a:pt x="2" y="6"/>
                  </a:lnTo>
                  <a:lnTo>
                    <a:pt x="2" y="8"/>
                  </a:lnTo>
                  <a:lnTo>
                    <a:pt x="2" y="10"/>
                  </a:lnTo>
                  <a:lnTo>
                    <a:pt x="2" y="12"/>
                  </a:lnTo>
                  <a:lnTo>
                    <a:pt x="2" y="16"/>
                  </a:lnTo>
                  <a:lnTo>
                    <a:pt x="4" y="20"/>
                  </a:lnTo>
                  <a:lnTo>
                    <a:pt x="8" y="24"/>
                  </a:lnTo>
                  <a:lnTo>
                    <a:pt x="10" y="22"/>
                  </a:lnTo>
                  <a:lnTo>
                    <a:pt x="8" y="20"/>
                  </a:lnTo>
                  <a:lnTo>
                    <a:pt x="8" y="18"/>
                  </a:lnTo>
                  <a:lnTo>
                    <a:pt x="6" y="18"/>
                  </a:lnTo>
                  <a:lnTo>
                    <a:pt x="8" y="16"/>
                  </a:lnTo>
                  <a:lnTo>
                    <a:pt x="8" y="16"/>
                  </a:lnTo>
                  <a:lnTo>
                    <a:pt x="10" y="18"/>
                  </a:lnTo>
                  <a:lnTo>
                    <a:pt x="14" y="20"/>
                  </a:lnTo>
                  <a:lnTo>
                    <a:pt x="18" y="24"/>
                  </a:lnTo>
                  <a:lnTo>
                    <a:pt x="24" y="30"/>
                  </a:lnTo>
                  <a:lnTo>
                    <a:pt x="22" y="30"/>
                  </a:lnTo>
                  <a:lnTo>
                    <a:pt x="22" y="32"/>
                  </a:lnTo>
                  <a:lnTo>
                    <a:pt x="22" y="34"/>
                  </a:lnTo>
                  <a:lnTo>
                    <a:pt x="24" y="36"/>
                  </a:lnTo>
                  <a:lnTo>
                    <a:pt x="24" y="36"/>
                  </a:lnTo>
                  <a:lnTo>
                    <a:pt x="24" y="36"/>
                  </a:lnTo>
                  <a:lnTo>
                    <a:pt x="26" y="36"/>
                  </a:lnTo>
                  <a:lnTo>
                    <a:pt x="26" y="34"/>
                  </a:lnTo>
                  <a:lnTo>
                    <a:pt x="26" y="34"/>
                  </a:lnTo>
                  <a:lnTo>
                    <a:pt x="26" y="34"/>
                  </a:lnTo>
                  <a:lnTo>
                    <a:pt x="28" y="34"/>
                  </a:lnTo>
                  <a:lnTo>
                    <a:pt x="28" y="34"/>
                  </a:lnTo>
                  <a:lnTo>
                    <a:pt x="28" y="36"/>
                  </a:lnTo>
                  <a:lnTo>
                    <a:pt x="28" y="36"/>
                  </a:lnTo>
                  <a:lnTo>
                    <a:pt x="30" y="38"/>
                  </a:lnTo>
                  <a:lnTo>
                    <a:pt x="32" y="40"/>
                  </a:lnTo>
                  <a:lnTo>
                    <a:pt x="34" y="38"/>
                  </a:lnTo>
                  <a:lnTo>
                    <a:pt x="36" y="38"/>
                  </a:lnTo>
                  <a:lnTo>
                    <a:pt x="38" y="36"/>
                  </a:lnTo>
                  <a:lnTo>
                    <a:pt x="40" y="32"/>
                  </a:lnTo>
                  <a:lnTo>
                    <a:pt x="40" y="30"/>
                  </a:lnTo>
                  <a:lnTo>
                    <a:pt x="40" y="28"/>
                  </a:lnTo>
                  <a:lnTo>
                    <a:pt x="42" y="24"/>
                  </a:lnTo>
                  <a:lnTo>
                    <a:pt x="44" y="22"/>
                  </a:lnTo>
                  <a:lnTo>
                    <a:pt x="48" y="1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6" name="Freeform 523"/>
            <p:cNvSpPr/>
            <p:nvPr/>
          </p:nvSpPr>
          <p:spPr bwMode="gray">
            <a:xfrm>
              <a:off x="7326154" y="4509863"/>
              <a:ext cx="151815" cy="55504"/>
            </a:xfrm>
            <a:custGeom>
              <a:gdLst>
                <a:gd fmla="*/ 12 w 82" name="T0"/>
                <a:gd fmla="*/ 6 h 30" name="T1"/>
                <a:gd fmla="*/ 8 w 82" name="T2"/>
                <a:gd fmla="*/ 10 h 30" name="T3"/>
                <a:gd fmla="*/ 6 w 82" name="T4"/>
                <a:gd fmla="*/ 14 h 30" name="T5"/>
                <a:gd fmla="*/ 2 w 82" name="T6"/>
                <a:gd fmla="*/ 20 h 30" name="T7"/>
                <a:gd fmla="*/ 0 w 82" name="T8"/>
                <a:gd fmla="*/ 20 h 30" name="T9"/>
                <a:gd fmla="*/ 6 w 82" name="T10"/>
                <a:gd fmla="*/ 22 h 30" name="T11"/>
                <a:gd fmla="*/ 10 w 82" name="T12"/>
                <a:gd fmla="*/ 20 h 30" name="T13"/>
                <a:gd fmla="*/ 16 w 82" name="T14"/>
                <a:gd fmla="*/ 20 h 30" name="T15"/>
                <a:gd fmla="*/ 28 w 82" name="T16"/>
                <a:gd fmla="*/ 18 h 30" name="T17"/>
                <a:gd fmla="*/ 32 w 82" name="T18"/>
                <a:gd fmla="*/ 18 h 30" name="T19"/>
                <a:gd fmla="*/ 40 w 82" name="T20"/>
                <a:gd fmla="*/ 20 h 30" name="T21"/>
                <a:gd fmla="*/ 42 w 82" name="T22"/>
                <a:gd fmla="*/ 22 h 30" name="T23"/>
                <a:gd fmla="*/ 46 w 82" name="T24"/>
                <a:gd fmla="*/ 26 h 30" name="T25"/>
                <a:gd fmla="*/ 50 w 82" name="T26"/>
                <a:gd fmla="*/ 28 h 30" name="T27"/>
                <a:gd fmla="*/ 56 w 82" name="T28"/>
                <a:gd fmla="*/ 28 h 30" name="T29"/>
                <a:gd fmla="*/ 56 w 82" name="T30"/>
                <a:gd fmla="*/ 26 h 30" name="T31"/>
                <a:gd fmla="*/ 56 w 82" name="T32"/>
                <a:gd fmla="*/ 26 h 30" name="T33"/>
                <a:gd fmla="*/ 54 w 82" name="T34"/>
                <a:gd fmla="*/ 24 h 30" name="T35"/>
                <a:gd fmla="*/ 52 w 82" name="T36"/>
                <a:gd fmla="*/ 22 h 30" name="T37"/>
                <a:gd fmla="*/ 54 w 82" name="T38"/>
                <a:gd fmla="*/ 20 h 30" name="T39"/>
                <a:gd fmla="*/ 60 w 82" name="T40"/>
                <a:gd fmla="*/ 18 h 30" name="T41"/>
                <a:gd fmla="*/ 62 w 82" name="T42"/>
                <a:gd fmla="*/ 14 h 30" name="T43"/>
                <a:gd fmla="*/ 64 w 82" name="T44"/>
                <a:gd fmla="*/ 12 h 30" name="T45"/>
                <a:gd fmla="*/ 68 w 82" name="T46"/>
                <a:gd fmla="*/ 12 h 30" name="T47"/>
                <a:gd fmla="*/ 72 w 82" name="T48"/>
                <a:gd fmla="*/ 12 h 30" name="T49"/>
                <a:gd fmla="*/ 76 w 82" name="T50"/>
                <a:gd fmla="*/ 14 h 30" name="T51"/>
                <a:gd fmla="*/ 80 w 82" name="T52"/>
                <a:gd fmla="*/ 18 h 30" name="T53"/>
                <a:gd fmla="*/ 82 w 82" name="T54"/>
                <a:gd fmla="*/ 14 h 30" name="T55"/>
                <a:gd fmla="*/ 80 w 82" name="T56"/>
                <a:gd fmla="*/ 10 h 30" name="T57"/>
                <a:gd fmla="*/ 78 w 82" name="T58"/>
                <a:gd fmla="*/ 6 h 30" name="T59"/>
                <a:gd fmla="*/ 70 w 82" name="T60"/>
                <a:gd fmla="*/ 4 h 30" name="T61"/>
                <a:gd fmla="*/ 66 w 82" name="T62"/>
                <a:gd fmla="*/ 4 h 30" name="T63"/>
                <a:gd fmla="*/ 62 w 82" name="T64"/>
                <a:gd fmla="*/ 4 h 30" name="T65"/>
                <a:gd fmla="*/ 50 w 82" name="T66"/>
                <a:gd fmla="*/ 8 h 30" name="T67"/>
                <a:gd fmla="*/ 44 w 82" name="T68"/>
                <a:gd fmla="*/ 10 h 30" name="T69"/>
                <a:gd fmla="*/ 40 w 82" name="T70"/>
                <a:gd fmla="*/ 10 h 30" name="T71"/>
                <a:gd fmla="*/ 34 w 82" name="T72"/>
                <a:gd fmla="*/ 8 h 30" name="T73"/>
                <a:gd fmla="*/ 32 w 82" name="T74"/>
                <a:gd fmla="*/ 8 h 30" name="T75"/>
                <a:gd fmla="*/ 30 w 82" name="T76"/>
                <a:gd fmla="*/ 6 h 30" name="T77"/>
                <a:gd fmla="*/ 16 w 82" name="T78"/>
                <a:gd fmla="*/ 0 h 30" name="T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b="b" l="0" r="r" t="0"/>
              <a:pathLst>
                <a:path h="30" w="82">
                  <a:moveTo>
                    <a:pt x="16" y="0"/>
                  </a:moveTo>
                  <a:lnTo>
                    <a:pt x="12" y="6"/>
                  </a:lnTo>
                  <a:lnTo>
                    <a:pt x="10" y="8"/>
                  </a:lnTo>
                  <a:lnTo>
                    <a:pt x="8" y="10"/>
                  </a:lnTo>
                  <a:lnTo>
                    <a:pt x="6" y="14"/>
                  </a:lnTo>
                  <a:lnTo>
                    <a:pt x="6" y="14"/>
                  </a:lnTo>
                  <a:lnTo>
                    <a:pt x="4" y="18"/>
                  </a:lnTo>
                  <a:lnTo>
                    <a:pt x="2" y="20"/>
                  </a:lnTo>
                  <a:lnTo>
                    <a:pt x="0" y="20"/>
                  </a:lnTo>
                  <a:lnTo>
                    <a:pt x="0" y="20"/>
                  </a:lnTo>
                  <a:lnTo>
                    <a:pt x="6" y="22"/>
                  </a:lnTo>
                  <a:lnTo>
                    <a:pt x="6" y="22"/>
                  </a:lnTo>
                  <a:lnTo>
                    <a:pt x="8" y="22"/>
                  </a:lnTo>
                  <a:lnTo>
                    <a:pt x="10" y="20"/>
                  </a:lnTo>
                  <a:lnTo>
                    <a:pt x="12" y="20"/>
                  </a:lnTo>
                  <a:lnTo>
                    <a:pt x="16" y="20"/>
                  </a:lnTo>
                  <a:lnTo>
                    <a:pt x="22" y="18"/>
                  </a:lnTo>
                  <a:lnTo>
                    <a:pt x="28" y="18"/>
                  </a:lnTo>
                  <a:lnTo>
                    <a:pt x="30" y="18"/>
                  </a:lnTo>
                  <a:lnTo>
                    <a:pt x="32" y="18"/>
                  </a:lnTo>
                  <a:lnTo>
                    <a:pt x="36" y="18"/>
                  </a:lnTo>
                  <a:lnTo>
                    <a:pt x="40" y="20"/>
                  </a:lnTo>
                  <a:lnTo>
                    <a:pt x="42" y="22"/>
                  </a:lnTo>
                  <a:lnTo>
                    <a:pt x="42" y="22"/>
                  </a:lnTo>
                  <a:lnTo>
                    <a:pt x="44" y="24"/>
                  </a:lnTo>
                  <a:lnTo>
                    <a:pt x="46" y="26"/>
                  </a:lnTo>
                  <a:lnTo>
                    <a:pt x="50" y="30"/>
                  </a:lnTo>
                  <a:lnTo>
                    <a:pt x="50" y="28"/>
                  </a:lnTo>
                  <a:lnTo>
                    <a:pt x="54" y="28"/>
                  </a:lnTo>
                  <a:lnTo>
                    <a:pt x="56" y="28"/>
                  </a:lnTo>
                  <a:lnTo>
                    <a:pt x="56" y="26"/>
                  </a:lnTo>
                  <a:lnTo>
                    <a:pt x="56" y="26"/>
                  </a:lnTo>
                  <a:lnTo>
                    <a:pt x="56" y="26"/>
                  </a:lnTo>
                  <a:lnTo>
                    <a:pt x="56" y="26"/>
                  </a:lnTo>
                  <a:lnTo>
                    <a:pt x="54" y="24"/>
                  </a:lnTo>
                  <a:lnTo>
                    <a:pt x="54" y="24"/>
                  </a:lnTo>
                  <a:lnTo>
                    <a:pt x="52" y="22"/>
                  </a:lnTo>
                  <a:lnTo>
                    <a:pt x="52" y="22"/>
                  </a:lnTo>
                  <a:lnTo>
                    <a:pt x="54" y="20"/>
                  </a:lnTo>
                  <a:lnTo>
                    <a:pt x="54" y="20"/>
                  </a:lnTo>
                  <a:lnTo>
                    <a:pt x="58" y="18"/>
                  </a:lnTo>
                  <a:lnTo>
                    <a:pt x="60" y="18"/>
                  </a:lnTo>
                  <a:lnTo>
                    <a:pt x="62" y="16"/>
                  </a:lnTo>
                  <a:lnTo>
                    <a:pt x="62" y="14"/>
                  </a:lnTo>
                  <a:lnTo>
                    <a:pt x="64" y="14"/>
                  </a:lnTo>
                  <a:lnTo>
                    <a:pt x="64" y="12"/>
                  </a:lnTo>
                  <a:lnTo>
                    <a:pt x="66" y="12"/>
                  </a:lnTo>
                  <a:lnTo>
                    <a:pt x="68" y="12"/>
                  </a:lnTo>
                  <a:lnTo>
                    <a:pt x="70" y="10"/>
                  </a:lnTo>
                  <a:lnTo>
                    <a:pt x="72" y="12"/>
                  </a:lnTo>
                  <a:lnTo>
                    <a:pt x="76" y="14"/>
                  </a:lnTo>
                  <a:lnTo>
                    <a:pt x="76" y="14"/>
                  </a:lnTo>
                  <a:lnTo>
                    <a:pt x="78" y="16"/>
                  </a:lnTo>
                  <a:lnTo>
                    <a:pt x="80" y="18"/>
                  </a:lnTo>
                  <a:lnTo>
                    <a:pt x="82" y="14"/>
                  </a:lnTo>
                  <a:lnTo>
                    <a:pt x="82" y="14"/>
                  </a:lnTo>
                  <a:lnTo>
                    <a:pt x="80" y="12"/>
                  </a:lnTo>
                  <a:lnTo>
                    <a:pt x="80" y="10"/>
                  </a:lnTo>
                  <a:lnTo>
                    <a:pt x="82" y="8"/>
                  </a:lnTo>
                  <a:lnTo>
                    <a:pt x="78" y="6"/>
                  </a:lnTo>
                  <a:lnTo>
                    <a:pt x="74" y="4"/>
                  </a:lnTo>
                  <a:lnTo>
                    <a:pt x="70" y="4"/>
                  </a:lnTo>
                  <a:lnTo>
                    <a:pt x="68" y="4"/>
                  </a:lnTo>
                  <a:lnTo>
                    <a:pt x="66" y="4"/>
                  </a:lnTo>
                  <a:lnTo>
                    <a:pt x="64" y="4"/>
                  </a:lnTo>
                  <a:lnTo>
                    <a:pt x="62" y="4"/>
                  </a:lnTo>
                  <a:lnTo>
                    <a:pt x="56" y="6"/>
                  </a:lnTo>
                  <a:lnTo>
                    <a:pt x="50" y="8"/>
                  </a:lnTo>
                  <a:lnTo>
                    <a:pt x="46" y="8"/>
                  </a:lnTo>
                  <a:lnTo>
                    <a:pt x="44" y="10"/>
                  </a:lnTo>
                  <a:lnTo>
                    <a:pt x="42" y="10"/>
                  </a:lnTo>
                  <a:lnTo>
                    <a:pt x="40" y="10"/>
                  </a:lnTo>
                  <a:lnTo>
                    <a:pt x="36" y="8"/>
                  </a:lnTo>
                  <a:lnTo>
                    <a:pt x="34" y="8"/>
                  </a:lnTo>
                  <a:lnTo>
                    <a:pt x="32" y="8"/>
                  </a:lnTo>
                  <a:lnTo>
                    <a:pt x="32" y="8"/>
                  </a:lnTo>
                  <a:lnTo>
                    <a:pt x="32" y="6"/>
                  </a:lnTo>
                  <a:lnTo>
                    <a:pt x="30" y="6"/>
                  </a:lnTo>
                  <a:lnTo>
                    <a:pt x="26" y="4"/>
                  </a:lnTo>
                  <a:lnTo>
                    <a:pt x="1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7" name="Freeform 524"/>
            <p:cNvSpPr/>
            <p:nvPr/>
          </p:nvSpPr>
          <p:spPr bwMode="gray">
            <a:xfrm>
              <a:off x="6544864" y="3910415"/>
              <a:ext cx="714639" cy="458837"/>
            </a:xfrm>
            <a:custGeom>
              <a:gdLst>
                <a:gd fmla="*/ 380 w 386" name="T0"/>
                <a:gd fmla="*/ 178 h 248" name="T1"/>
                <a:gd fmla="*/ 384 w 386" name="T2"/>
                <a:gd fmla="*/ 170 h 248" name="T3"/>
                <a:gd fmla="*/ 386 w 386" name="T4"/>
                <a:gd fmla="*/ 164 h 248" name="T5"/>
                <a:gd fmla="*/ 374 w 386" name="T6"/>
                <a:gd fmla="*/ 162 h 248" name="T7"/>
                <a:gd fmla="*/ 356 w 386" name="T8"/>
                <a:gd fmla="*/ 162 h 248" name="T9"/>
                <a:gd fmla="*/ 346 w 386" name="T10"/>
                <a:gd fmla="*/ 166 h 248" name="T11"/>
                <a:gd fmla="*/ 340 w 386" name="T12"/>
                <a:gd fmla="*/ 164 h 248" name="T13"/>
                <a:gd fmla="*/ 334 w 386" name="T14"/>
                <a:gd fmla="*/ 170 h 248" name="T15"/>
                <a:gd fmla="*/ 332 w 386" name="T16"/>
                <a:gd fmla="*/ 184 h 248" name="T17"/>
                <a:gd fmla="*/ 326 w 386" name="T18"/>
                <a:gd fmla="*/ 192 h 248" name="T19"/>
                <a:gd fmla="*/ 314 w 386" name="T20"/>
                <a:gd fmla="*/ 196 h 248" name="T21"/>
                <a:gd fmla="*/ 302 w 386" name="T22"/>
                <a:gd fmla="*/ 198 h 248" name="T23"/>
                <a:gd fmla="*/ 268 w 386" name="T24"/>
                <a:gd fmla="*/ 190 h 248" name="T25"/>
                <a:gd fmla="*/ 258 w 386" name="T26"/>
                <a:gd fmla="*/ 184 h 248" name="T27"/>
                <a:gd fmla="*/ 254 w 386" name="T28"/>
                <a:gd fmla="*/ 162 h 248" name="T29"/>
                <a:gd fmla="*/ 244 w 386" name="T30"/>
                <a:gd fmla="*/ 136 h 248" name="T31"/>
                <a:gd fmla="*/ 244 w 386" name="T32"/>
                <a:gd fmla="*/ 116 h 248" name="T33"/>
                <a:gd fmla="*/ 232 w 386" name="T34"/>
                <a:gd fmla="*/ 90 h 248" name="T35"/>
                <a:gd fmla="*/ 208 w 386" name="T36"/>
                <a:gd fmla="*/ 62 h 248" name="T37"/>
                <a:gd fmla="*/ 194 w 386" name="T38"/>
                <a:gd fmla="*/ 50 h 248" name="T39"/>
                <a:gd fmla="*/ 184 w 386" name="T40"/>
                <a:gd fmla="*/ 54 h 248" name="T41"/>
                <a:gd fmla="*/ 164 w 386" name="T42"/>
                <a:gd fmla="*/ 48 h 248" name="T43"/>
                <a:gd fmla="*/ 142 w 386" name="T44"/>
                <a:gd fmla="*/ 12 h 248" name="T45"/>
                <a:gd fmla="*/ 126 w 386" name="T46"/>
                <a:gd fmla="*/ 10 h 248" name="T47"/>
                <a:gd fmla="*/ 100 w 386" name="T48"/>
                <a:gd fmla="*/ 20 h 248" name="T49"/>
                <a:gd fmla="*/ 54 w 386" name="T50"/>
                <a:gd fmla="*/ 14 h 248" name="T51"/>
                <a:gd fmla="*/ 26 w 386" name="T52"/>
                <a:gd fmla="*/ 0 h 248" name="T53"/>
                <a:gd fmla="*/ 6 w 386" name="T54"/>
                <a:gd fmla="*/ 22 h 248" name="T55"/>
                <a:gd fmla="*/ 22 w 386" name="T56"/>
                <a:gd fmla="*/ 58 h 248" name="T57"/>
                <a:gd fmla="*/ 30 w 386" name="T58"/>
                <a:gd fmla="*/ 80 h 248" name="T59"/>
                <a:gd fmla="*/ 44 w 386" name="T60"/>
                <a:gd fmla="*/ 88 h 248" name="T61"/>
                <a:gd fmla="*/ 58 w 386" name="T62"/>
                <a:gd fmla="*/ 108 h 248" name="T63"/>
                <a:gd fmla="*/ 82 w 386" name="T64"/>
                <a:gd fmla="*/ 142 h 248" name="T65"/>
                <a:gd fmla="*/ 94 w 386" name="T66"/>
                <a:gd fmla="*/ 148 h 248" name="T67"/>
                <a:gd fmla="*/ 94 w 386" name="T68"/>
                <a:gd fmla="*/ 140 h 248" name="T69"/>
                <a:gd fmla="*/ 80 w 386" name="T70"/>
                <a:gd fmla="*/ 116 h 248" name="T71"/>
                <a:gd fmla="*/ 52 w 386" name="T72"/>
                <a:gd fmla="*/ 72 h 248" name="T73"/>
                <a:gd fmla="*/ 30 w 386" name="T74"/>
                <a:gd fmla="*/ 24 h 248" name="T75"/>
                <a:gd fmla="*/ 30 w 386" name="T76"/>
                <a:gd fmla="*/ 16 h 248" name="T77"/>
                <a:gd fmla="*/ 42 w 386" name="T78"/>
                <a:gd fmla="*/ 18 h 248" name="T79"/>
                <a:gd fmla="*/ 68 w 386" name="T80"/>
                <a:gd fmla="*/ 66 h 248" name="T81"/>
                <a:gd fmla="*/ 84 w 386" name="T82"/>
                <a:gd fmla="*/ 80 h 248" name="T83"/>
                <a:gd fmla="*/ 96 w 386" name="T84"/>
                <a:gd fmla="*/ 90 h 248" name="T85"/>
                <a:gd fmla="*/ 116 w 386" name="T86"/>
                <a:gd fmla="*/ 116 h 248" name="T87"/>
                <a:gd fmla="*/ 142 w 386" name="T88"/>
                <a:gd fmla="*/ 148 h 248" name="T89"/>
                <a:gd fmla="*/ 150 w 386" name="T90"/>
                <a:gd fmla="*/ 198 h 248" name="T91"/>
                <a:gd fmla="*/ 174 w 386" name="T92"/>
                <a:gd fmla="*/ 204 h 248" name="T93"/>
                <a:gd fmla="*/ 226 w 386" name="T94"/>
                <a:gd fmla="*/ 224 h 248" name="T95"/>
                <a:gd fmla="*/ 272 w 386" name="T96"/>
                <a:gd fmla="*/ 240 h 248" name="T97"/>
                <a:gd fmla="*/ 304 w 386" name="T98"/>
                <a:gd fmla="*/ 240 h 248" name="T99"/>
                <a:gd fmla="*/ 314 w 386" name="T100"/>
                <a:gd fmla="*/ 244 h 248" name="T101"/>
                <a:gd fmla="*/ 318 w 386" name="T102"/>
                <a:gd fmla="*/ 242 h 248" name="T103"/>
                <a:gd fmla="*/ 322 w 386" name="T104"/>
                <a:gd fmla="*/ 232 h 248" name="T105"/>
                <a:gd fmla="*/ 320 w 386" name="T106"/>
                <a:gd fmla="*/ 226 h 248" name="T107"/>
                <a:gd fmla="*/ 346 w 386" name="T108"/>
                <a:gd fmla="*/ 222 h 248" name="T109"/>
                <a:gd fmla="*/ 340 w 386" name="T110"/>
                <a:gd fmla="*/ 194 h 248" name="T111"/>
                <a:gd fmla="*/ 360 w 386" name="T112"/>
                <a:gd fmla="*/ 190 h 248" name="T113"/>
                <a:gd fmla="*/ 366 w 386" name="T114"/>
                <a:gd fmla="*/ 190 h 248" name="T115"/>
                <a:gd fmla="*/ 374 w 386" name="T116"/>
                <a:gd fmla="*/ 186 h 248"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248" w="386">
                  <a:moveTo>
                    <a:pt x="374" y="186"/>
                  </a:moveTo>
                  <a:lnTo>
                    <a:pt x="378" y="182"/>
                  </a:lnTo>
                  <a:lnTo>
                    <a:pt x="378" y="178"/>
                  </a:lnTo>
                  <a:lnTo>
                    <a:pt x="380" y="178"/>
                  </a:lnTo>
                  <a:lnTo>
                    <a:pt x="382" y="174"/>
                  </a:lnTo>
                  <a:lnTo>
                    <a:pt x="382" y="172"/>
                  </a:lnTo>
                  <a:lnTo>
                    <a:pt x="384" y="172"/>
                  </a:lnTo>
                  <a:lnTo>
                    <a:pt x="384" y="170"/>
                  </a:lnTo>
                  <a:lnTo>
                    <a:pt x="386" y="168"/>
                  </a:lnTo>
                  <a:lnTo>
                    <a:pt x="386" y="166"/>
                  </a:lnTo>
                  <a:lnTo>
                    <a:pt x="386" y="164"/>
                  </a:lnTo>
                  <a:lnTo>
                    <a:pt x="386" y="164"/>
                  </a:lnTo>
                  <a:lnTo>
                    <a:pt x="384" y="164"/>
                  </a:lnTo>
                  <a:lnTo>
                    <a:pt x="382" y="162"/>
                  </a:lnTo>
                  <a:lnTo>
                    <a:pt x="376" y="162"/>
                  </a:lnTo>
                  <a:lnTo>
                    <a:pt x="374" y="162"/>
                  </a:lnTo>
                  <a:lnTo>
                    <a:pt x="372" y="162"/>
                  </a:lnTo>
                  <a:lnTo>
                    <a:pt x="366" y="162"/>
                  </a:lnTo>
                  <a:lnTo>
                    <a:pt x="362" y="162"/>
                  </a:lnTo>
                  <a:lnTo>
                    <a:pt x="356" y="162"/>
                  </a:lnTo>
                  <a:lnTo>
                    <a:pt x="352" y="164"/>
                  </a:lnTo>
                  <a:lnTo>
                    <a:pt x="350" y="164"/>
                  </a:lnTo>
                  <a:lnTo>
                    <a:pt x="348" y="164"/>
                  </a:lnTo>
                  <a:lnTo>
                    <a:pt x="346" y="166"/>
                  </a:lnTo>
                  <a:lnTo>
                    <a:pt x="342" y="164"/>
                  </a:lnTo>
                  <a:lnTo>
                    <a:pt x="342" y="164"/>
                  </a:lnTo>
                  <a:lnTo>
                    <a:pt x="340" y="164"/>
                  </a:lnTo>
                  <a:lnTo>
                    <a:pt x="340" y="164"/>
                  </a:lnTo>
                  <a:lnTo>
                    <a:pt x="338" y="164"/>
                  </a:lnTo>
                  <a:lnTo>
                    <a:pt x="336" y="166"/>
                  </a:lnTo>
                  <a:lnTo>
                    <a:pt x="334" y="170"/>
                  </a:lnTo>
                  <a:lnTo>
                    <a:pt x="334" y="170"/>
                  </a:lnTo>
                  <a:lnTo>
                    <a:pt x="334" y="174"/>
                  </a:lnTo>
                  <a:lnTo>
                    <a:pt x="332" y="178"/>
                  </a:lnTo>
                  <a:lnTo>
                    <a:pt x="332" y="182"/>
                  </a:lnTo>
                  <a:lnTo>
                    <a:pt x="332" y="184"/>
                  </a:lnTo>
                  <a:lnTo>
                    <a:pt x="332" y="186"/>
                  </a:lnTo>
                  <a:lnTo>
                    <a:pt x="332" y="188"/>
                  </a:lnTo>
                  <a:lnTo>
                    <a:pt x="328" y="190"/>
                  </a:lnTo>
                  <a:lnTo>
                    <a:pt x="326" y="192"/>
                  </a:lnTo>
                  <a:lnTo>
                    <a:pt x="324" y="192"/>
                  </a:lnTo>
                  <a:lnTo>
                    <a:pt x="322" y="192"/>
                  </a:lnTo>
                  <a:lnTo>
                    <a:pt x="318" y="194"/>
                  </a:lnTo>
                  <a:lnTo>
                    <a:pt x="314" y="196"/>
                  </a:lnTo>
                  <a:lnTo>
                    <a:pt x="314" y="196"/>
                  </a:lnTo>
                  <a:lnTo>
                    <a:pt x="312" y="196"/>
                  </a:lnTo>
                  <a:lnTo>
                    <a:pt x="308" y="198"/>
                  </a:lnTo>
                  <a:lnTo>
                    <a:pt x="302" y="198"/>
                  </a:lnTo>
                  <a:lnTo>
                    <a:pt x="294" y="198"/>
                  </a:lnTo>
                  <a:lnTo>
                    <a:pt x="284" y="196"/>
                  </a:lnTo>
                  <a:lnTo>
                    <a:pt x="276" y="194"/>
                  </a:lnTo>
                  <a:lnTo>
                    <a:pt x="268" y="190"/>
                  </a:lnTo>
                  <a:lnTo>
                    <a:pt x="262" y="188"/>
                  </a:lnTo>
                  <a:lnTo>
                    <a:pt x="262" y="186"/>
                  </a:lnTo>
                  <a:lnTo>
                    <a:pt x="260" y="186"/>
                  </a:lnTo>
                  <a:lnTo>
                    <a:pt x="258" y="184"/>
                  </a:lnTo>
                  <a:lnTo>
                    <a:pt x="256" y="180"/>
                  </a:lnTo>
                  <a:lnTo>
                    <a:pt x="256" y="176"/>
                  </a:lnTo>
                  <a:lnTo>
                    <a:pt x="254" y="172"/>
                  </a:lnTo>
                  <a:lnTo>
                    <a:pt x="254" y="162"/>
                  </a:lnTo>
                  <a:lnTo>
                    <a:pt x="250" y="152"/>
                  </a:lnTo>
                  <a:lnTo>
                    <a:pt x="244" y="142"/>
                  </a:lnTo>
                  <a:lnTo>
                    <a:pt x="244" y="140"/>
                  </a:lnTo>
                  <a:lnTo>
                    <a:pt x="244" y="136"/>
                  </a:lnTo>
                  <a:lnTo>
                    <a:pt x="244" y="132"/>
                  </a:lnTo>
                  <a:lnTo>
                    <a:pt x="242" y="126"/>
                  </a:lnTo>
                  <a:lnTo>
                    <a:pt x="242" y="122"/>
                  </a:lnTo>
                  <a:lnTo>
                    <a:pt x="244" y="116"/>
                  </a:lnTo>
                  <a:lnTo>
                    <a:pt x="244" y="112"/>
                  </a:lnTo>
                  <a:lnTo>
                    <a:pt x="242" y="96"/>
                  </a:lnTo>
                  <a:lnTo>
                    <a:pt x="240" y="96"/>
                  </a:lnTo>
                  <a:lnTo>
                    <a:pt x="232" y="90"/>
                  </a:lnTo>
                  <a:lnTo>
                    <a:pt x="222" y="80"/>
                  </a:lnTo>
                  <a:lnTo>
                    <a:pt x="210" y="64"/>
                  </a:lnTo>
                  <a:lnTo>
                    <a:pt x="210" y="64"/>
                  </a:lnTo>
                  <a:lnTo>
                    <a:pt x="208" y="62"/>
                  </a:lnTo>
                  <a:lnTo>
                    <a:pt x="206" y="58"/>
                  </a:lnTo>
                  <a:lnTo>
                    <a:pt x="202" y="56"/>
                  </a:lnTo>
                  <a:lnTo>
                    <a:pt x="198" y="52"/>
                  </a:lnTo>
                  <a:lnTo>
                    <a:pt x="194" y="50"/>
                  </a:lnTo>
                  <a:lnTo>
                    <a:pt x="190" y="50"/>
                  </a:lnTo>
                  <a:lnTo>
                    <a:pt x="188" y="52"/>
                  </a:lnTo>
                  <a:lnTo>
                    <a:pt x="186" y="52"/>
                  </a:lnTo>
                  <a:lnTo>
                    <a:pt x="184" y="54"/>
                  </a:lnTo>
                  <a:lnTo>
                    <a:pt x="180" y="54"/>
                  </a:lnTo>
                  <a:lnTo>
                    <a:pt x="174" y="54"/>
                  </a:lnTo>
                  <a:lnTo>
                    <a:pt x="168" y="50"/>
                  </a:lnTo>
                  <a:lnTo>
                    <a:pt x="164" y="48"/>
                  </a:lnTo>
                  <a:lnTo>
                    <a:pt x="156" y="42"/>
                  </a:lnTo>
                  <a:lnTo>
                    <a:pt x="148" y="30"/>
                  </a:lnTo>
                  <a:lnTo>
                    <a:pt x="144" y="14"/>
                  </a:lnTo>
                  <a:lnTo>
                    <a:pt x="142" y="12"/>
                  </a:lnTo>
                  <a:lnTo>
                    <a:pt x="140" y="12"/>
                  </a:lnTo>
                  <a:lnTo>
                    <a:pt x="136" y="10"/>
                  </a:lnTo>
                  <a:lnTo>
                    <a:pt x="130" y="10"/>
                  </a:lnTo>
                  <a:lnTo>
                    <a:pt x="126" y="10"/>
                  </a:lnTo>
                  <a:lnTo>
                    <a:pt x="120" y="10"/>
                  </a:lnTo>
                  <a:lnTo>
                    <a:pt x="116" y="14"/>
                  </a:lnTo>
                  <a:lnTo>
                    <a:pt x="112" y="16"/>
                  </a:lnTo>
                  <a:lnTo>
                    <a:pt x="100" y="20"/>
                  </a:lnTo>
                  <a:lnTo>
                    <a:pt x="82" y="20"/>
                  </a:lnTo>
                  <a:lnTo>
                    <a:pt x="78" y="20"/>
                  </a:lnTo>
                  <a:lnTo>
                    <a:pt x="68" y="18"/>
                  </a:lnTo>
                  <a:lnTo>
                    <a:pt x="54" y="14"/>
                  </a:lnTo>
                  <a:lnTo>
                    <a:pt x="42" y="10"/>
                  </a:lnTo>
                  <a:lnTo>
                    <a:pt x="32" y="4"/>
                  </a:lnTo>
                  <a:lnTo>
                    <a:pt x="30" y="2"/>
                  </a:lnTo>
                  <a:lnTo>
                    <a:pt x="26" y="0"/>
                  </a:lnTo>
                  <a:lnTo>
                    <a:pt x="14" y="2"/>
                  </a:lnTo>
                  <a:lnTo>
                    <a:pt x="0" y="10"/>
                  </a:lnTo>
                  <a:lnTo>
                    <a:pt x="2" y="14"/>
                  </a:lnTo>
                  <a:lnTo>
                    <a:pt x="6" y="22"/>
                  </a:lnTo>
                  <a:lnTo>
                    <a:pt x="12" y="36"/>
                  </a:lnTo>
                  <a:lnTo>
                    <a:pt x="18" y="48"/>
                  </a:lnTo>
                  <a:lnTo>
                    <a:pt x="22" y="58"/>
                  </a:lnTo>
                  <a:lnTo>
                    <a:pt x="22" y="58"/>
                  </a:lnTo>
                  <a:lnTo>
                    <a:pt x="24" y="62"/>
                  </a:lnTo>
                  <a:lnTo>
                    <a:pt x="26" y="68"/>
                  </a:lnTo>
                  <a:lnTo>
                    <a:pt x="28" y="74"/>
                  </a:lnTo>
                  <a:lnTo>
                    <a:pt x="30" y="80"/>
                  </a:lnTo>
                  <a:lnTo>
                    <a:pt x="32" y="82"/>
                  </a:lnTo>
                  <a:lnTo>
                    <a:pt x="34" y="82"/>
                  </a:lnTo>
                  <a:lnTo>
                    <a:pt x="38" y="84"/>
                  </a:lnTo>
                  <a:lnTo>
                    <a:pt x="44" y="88"/>
                  </a:lnTo>
                  <a:lnTo>
                    <a:pt x="48" y="92"/>
                  </a:lnTo>
                  <a:lnTo>
                    <a:pt x="52" y="98"/>
                  </a:lnTo>
                  <a:lnTo>
                    <a:pt x="56" y="106"/>
                  </a:lnTo>
                  <a:lnTo>
                    <a:pt x="58" y="108"/>
                  </a:lnTo>
                  <a:lnTo>
                    <a:pt x="62" y="118"/>
                  </a:lnTo>
                  <a:lnTo>
                    <a:pt x="68" y="128"/>
                  </a:lnTo>
                  <a:lnTo>
                    <a:pt x="76" y="136"/>
                  </a:lnTo>
                  <a:lnTo>
                    <a:pt x="82" y="142"/>
                  </a:lnTo>
                  <a:lnTo>
                    <a:pt x="84" y="144"/>
                  </a:lnTo>
                  <a:lnTo>
                    <a:pt x="88" y="146"/>
                  </a:lnTo>
                  <a:lnTo>
                    <a:pt x="92" y="148"/>
                  </a:lnTo>
                  <a:lnTo>
                    <a:pt x="94" y="148"/>
                  </a:lnTo>
                  <a:lnTo>
                    <a:pt x="96" y="148"/>
                  </a:lnTo>
                  <a:lnTo>
                    <a:pt x="98" y="148"/>
                  </a:lnTo>
                  <a:lnTo>
                    <a:pt x="98" y="144"/>
                  </a:lnTo>
                  <a:lnTo>
                    <a:pt x="94" y="140"/>
                  </a:lnTo>
                  <a:lnTo>
                    <a:pt x="90" y="134"/>
                  </a:lnTo>
                  <a:lnTo>
                    <a:pt x="86" y="126"/>
                  </a:lnTo>
                  <a:lnTo>
                    <a:pt x="82" y="120"/>
                  </a:lnTo>
                  <a:lnTo>
                    <a:pt x="80" y="116"/>
                  </a:lnTo>
                  <a:lnTo>
                    <a:pt x="74" y="108"/>
                  </a:lnTo>
                  <a:lnTo>
                    <a:pt x="68" y="94"/>
                  </a:lnTo>
                  <a:lnTo>
                    <a:pt x="62" y="82"/>
                  </a:lnTo>
                  <a:lnTo>
                    <a:pt x="52" y="72"/>
                  </a:lnTo>
                  <a:lnTo>
                    <a:pt x="42" y="58"/>
                  </a:lnTo>
                  <a:lnTo>
                    <a:pt x="34" y="42"/>
                  </a:lnTo>
                  <a:lnTo>
                    <a:pt x="30" y="24"/>
                  </a:lnTo>
                  <a:lnTo>
                    <a:pt x="30" y="24"/>
                  </a:lnTo>
                  <a:lnTo>
                    <a:pt x="30" y="22"/>
                  </a:lnTo>
                  <a:lnTo>
                    <a:pt x="30" y="20"/>
                  </a:lnTo>
                  <a:lnTo>
                    <a:pt x="30" y="18"/>
                  </a:lnTo>
                  <a:lnTo>
                    <a:pt x="30" y="16"/>
                  </a:lnTo>
                  <a:lnTo>
                    <a:pt x="32" y="14"/>
                  </a:lnTo>
                  <a:lnTo>
                    <a:pt x="34" y="14"/>
                  </a:lnTo>
                  <a:lnTo>
                    <a:pt x="38" y="16"/>
                  </a:lnTo>
                  <a:lnTo>
                    <a:pt x="42" y="18"/>
                  </a:lnTo>
                  <a:lnTo>
                    <a:pt x="44" y="24"/>
                  </a:lnTo>
                  <a:lnTo>
                    <a:pt x="50" y="36"/>
                  </a:lnTo>
                  <a:lnTo>
                    <a:pt x="58" y="52"/>
                  </a:lnTo>
                  <a:lnTo>
                    <a:pt x="68" y="66"/>
                  </a:lnTo>
                  <a:lnTo>
                    <a:pt x="78" y="78"/>
                  </a:lnTo>
                  <a:lnTo>
                    <a:pt x="78" y="78"/>
                  </a:lnTo>
                  <a:lnTo>
                    <a:pt x="80" y="78"/>
                  </a:lnTo>
                  <a:lnTo>
                    <a:pt x="84" y="80"/>
                  </a:lnTo>
                  <a:lnTo>
                    <a:pt x="88" y="80"/>
                  </a:lnTo>
                  <a:lnTo>
                    <a:pt x="92" y="84"/>
                  </a:lnTo>
                  <a:lnTo>
                    <a:pt x="94" y="86"/>
                  </a:lnTo>
                  <a:lnTo>
                    <a:pt x="96" y="90"/>
                  </a:lnTo>
                  <a:lnTo>
                    <a:pt x="98" y="96"/>
                  </a:lnTo>
                  <a:lnTo>
                    <a:pt x="100" y="98"/>
                  </a:lnTo>
                  <a:lnTo>
                    <a:pt x="106" y="106"/>
                  </a:lnTo>
                  <a:lnTo>
                    <a:pt x="116" y="116"/>
                  </a:lnTo>
                  <a:lnTo>
                    <a:pt x="124" y="126"/>
                  </a:lnTo>
                  <a:lnTo>
                    <a:pt x="134" y="136"/>
                  </a:lnTo>
                  <a:lnTo>
                    <a:pt x="140" y="142"/>
                  </a:lnTo>
                  <a:lnTo>
                    <a:pt x="142" y="148"/>
                  </a:lnTo>
                  <a:lnTo>
                    <a:pt x="144" y="160"/>
                  </a:lnTo>
                  <a:lnTo>
                    <a:pt x="148" y="176"/>
                  </a:lnTo>
                  <a:lnTo>
                    <a:pt x="148" y="198"/>
                  </a:lnTo>
                  <a:lnTo>
                    <a:pt x="150" y="198"/>
                  </a:lnTo>
                  <a:lnTo>
                    <a:pt x="154" y="200"/>
                  </a:lnTo>
                  <a:lnTo>
                    <a:pt x="160" y="202"/>
                  </a:lnTo>
                  <a:lnTo>
                    <a:pt x="170" y="204"/>
                  </a:lnTo>
                  <a:lnTo>
                    <a:pt x="174" y="204"/>
                  </a:lnTo>
                  <a:lnTo>
                    <a:pt x="186" y="208"/>
                  </a:lnTo>
                  <a:lnTo>
                    <a:pt x="198" y="216"/>
                  </a:lnTo>
                  <a:lnTo>
                    <a:pt x="208" y="224"/>
                  </a:lnTo>
                  <a:lnTo>
                    <a:pt x="226" y="224"/>
                  </a:lnTo>
                  <a:lnTo>
                    <a:pt x="230" y="226"/>
                  </a:lnTo>
                  <a:lnTo>
                    <a:pt x="240" y="230"/>
                  </a:lnTo>
                  <a:lnTo>
                    <a:pt x="254" y="236"/>
                  </a:lnTo>
                  <a:lnTo>
                    <a:pt x="272" y="240"/>
                  </a:lnTo>
                  <a:lnTo>
                    <a:pt x="278" y="240"/>
                  </a:lnTo>
                  <a:lnTo>
                    <a:pt x="290" y="240"/>
                  </a:lnTo>
                  <a:lnTo>
                    <a:pt x="304" y="240"/>
                  </a:lnTo>
                  <a:lnTo>
                    <a:pt x="304" y="240"/>
                  </a:lnTo>
                  <a:lnTo>
                    <a:pt x="306" y="240"/>
                  </a:lnTo>
                  <a:lnTo>
                    <a:pt x="308" y="240"/>
                  </a:lnTo>
                  <a:lnTo>
                    <a:pt x="310" y="242"/>
                  </a:lnTo>
                  <a:lnTo>
                    <a:pt x="314" y="244"/>
                  </a:lnTo>
                  <a:lnTo>
                    <a:pt x="314" y="248"/>
                  </a:lnTo>
                  <a:lnTo>
                    <a:pt x="316" y="248"/>
                  </a:lnTo>
                  <a:lnTo>
                    <a:pt x="316" y="244"/>
                  </a:lnTo>
                  <a:lnTo>
                    <a:pt x="318" y="242"/>
                  </a:lnTo>
                  <a:lnTo>
                    <a:pt x="320" y="238"/>
                  </a:lnTo>
                  <a:lnTo>
                    <a:pt x="322" y="236"/>
                  </a:lnTo>
                  <a:lnTo>
                    <a:pt x="322" y="234"/>
                  </a:lnTo>
                  <a:lnTo>
                    <a:pt x="322" y="232"/>
                  </a:lnTo>
                  <a:lnTo>
                    <a:pt x="322" y="230"/>
                  </a:lnTo>
                  <a:lnTo>
                    <a:pt x="320" y="228"/>
                  </a:lnTo>
                  <a:lnTo>
                    <a:pt x="320" y="226"/>
                  </a:lnTo>
                  <a:lnTo>
                    <a:pt x="320" y="226"/>
                  </a:lnTo>
                  <a:lnTo>
                    <a:pt x="320" y="224"/>
                  </a:lnTo>
                  <a:lnTo>
                    <a:pt x="320" y="222"/>
                  </a:lnTo>
                  <a:lnTo>
                    <a:pt x="322" y="222"/>
                  </a:lnTo>
                  <a:lnTo>
                    <a:pt x="346" y="222"/>
                  </a:lnTo>
                  <a:lnTo>
                    <a:pt x="346" y="212"/>
                  </a:lnTo>
                  <a:lnTo>
                    <a:pt x="336" y="202"/>
                  </a:lnTo>
                  <a:lnTo>
                    <a:pt x="340" y="202"/>
                  </a:lnTo>
                  <a:lnTo>
                    <a:pt x="340" y="194"/>
                  </a:lnTo>
                  <a:lnTo>
                    <a:pt x="360" y="194"/>
                  </a:lnTo>
                  <a:lnTo>
                    <a:pt x="360" y="194"/>
                  </a:lnTo>
                  <a:lnTo>
                    <a:pt x="360" y="192"/>
                  </a:lnTo>
                  <a:lnTo>
                    <a:pt x="360" y="190"/>
                  </a:lnTo>
                  <a:lnTo>
                    <a:pt x="362" y="190"/>
                  </a:lnTo>
                  <a:lnTo>
                    <a:pt x="364" y="192"/>
                  </a:lnTo>
                  <a:lnTo>
                    <a:pt x="366" y="190"/>
                  </a:lnTo>
                  <a:lnTo>
                    <a:pt x="366" y="190"/>
                  </a:lnTo>
                  <a:lnTo>
                    <a:pt x="368" y="188"/>
                  </a:lnTo>
                  <a:lnTo>
                    <a:pt x="370" y="188"/>
                  </a:lnTo>
                  <a:lnTo>
                    <a:pt x="372" y="188"/>
                  </a:lnTo>
                  <a:lnTo>
                    <a:pt x="374" y="186"/>
                  </a:lnTo>
                  <a:lnTo>
                    <a:pt x="374" y="18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8" name="Freeform 525"/>
            <p:cNvSpPr/>
            <p:nvPr/>
          </p:nvSpPr>
          <p:spPr bwMode="gray">
            <a:xfrm>
              <a:off x="7181745" y="4343350"/>
              <a:ext cx="151815" cy="85107"/>
            </a:xfrm>
            <a:custGeom>
              <a:gdLst>
                <a:gd fmla="*/ 80 w 82" name="T0"/>
                <a:gd fmla="*/ 8 h 46" name="T1"/>
                <a:gd fmla="*/ 76 w 82" name="T2"/>
                <a:gd fmla="*/ 8 h 46" name="T3"/>
                <a:gd fmla="*/ 72 w 82" name="T4"/>
                <a:gd fmla="*/ 8 h 46" name="T5"/>
                <a:gd fmla="*/ 68 w 82" name="T6"/>
                <a:gd fmla="*/ 8 h 46" name="T7"/>
                <a:gd fmla="*/ 66 w 82" name="T8"/>
                <a:gd fmla="*/ 8 h 46" name="T9"/>
                <a:gd fmla="*/ 62 w 82" name="T10"/>
                <a:gd fmla="*/ 12 h 46" name="T11"/>
                <a:gd fmla="*/ 60 w 82" name="T12"/>
                <a:gd fmla="*/ 18 h 46" name="T13"/>
                <a:gd fmla="*/ 56 w 82" name="T14"/>
                <a:gd fmla="*/ 24 h 46" name="T15"/>
                <a:gd fmla="*/ 50 w 82" name="T16"/>
                <a:gd fmla="*/ 30 h 46" name="T17"/>
                <a:gd fmla="*/ 48 w 82" name="T18"/>
                <a:gd fmla="*/ 30 h 46" name="T19"/>
                <a:gd fmla="*/ 44 w 82" name="T20"/>
                <a:gd fmla="*/ 34 h 46" name="T21"/>
                <a:gd fmla="*/ 44 w 82" name="T22"/>
                <a:gd fmla="*/ 38 h 46" name="T23"/>
                <a:gd fmla="*/ 42 w 82" name="T24"/>
                <a:gd fmla="*/ 42 h 46" name="T25"/>
                <a:gd fmla="*/ 38 w 82" name="T26"/>
                <a:gd fmla="*/ 44 h 46" name="T27"/>
                <a:gd fmla="*/ 36 w 82" name="T28"/>
                <a:gd fmla="*/ 46 h 46" name="T29"/>
                <a:gd fmla="*/ 34 w 82" name="T30"/>
                <a:gd fmla="*/ 42 h 46" name="T31"/>
                <a:gd fmla="*/ 32 w 82" name="T32"/>
                <a:gd fmla="*/ 42 h 46" name="T33"/>
                <a:gd fmla="*/ 30 w 82" name="T34"/>
                <a:gd fmla="*/ 44 h 46" name="T35"/>
                <a:gd fmla="*/ 30 w 82" name="T36"/>
                <a:gd fmla="*/ 42 h 46" name="T37"/>
                <a:gd fmla="*/ 30 w 82" name="T38"/>
                <a:gd fmla="*/ 36 h 46" name="T39"/>
                <a:gd fmla="*/ 30 w 82" name="T40"/>
                <a:gd fmla="*/ 34 h 46" name="T41"/>
                <a:gd fmla="*/ 26 w 82" name="T42"/>
                <a:gd fmla="*/ 32 h 46" name="T43"/>
                <a:gd fmla="*/ 22 w 82" name="T44"/>
                <a:gd fmla="*/ 30 h 46" name="T45"/>
                <a:gd fmla="*/ 18 w 82" name="T46"/>
                <a:gd fmla="*/ 30 h 46" name="T47"/>
                <a:gd fmla="*/ 16 w 82" name="T48"/>
                <a:gd fmla="*/ 32 h 46" name="T49"/>
                <a:gd fmla="*/ 12 w 82" name="T50"/>
                <a:gd fmla="*/ 30 h 46" name="T51"/>
                <a:gd fmla="*/ 10 w 82" name="T52"/>
                <a:gd fmla="*/ 28 h 46" name="T53"/>
                <a:gd fmla="*/ 2 w 82" name="T54"/>
                <a:gd fmla="*/ 24 h 46" name="T55"/>
                <a:gd fmla="*/ 2 w 82" name="T56"/>
                <a:gd fmla="*/ 22 h 46" name="T57"/>
                <a:gd fmla="*/ 2 w 82" name="T58"/>
                <a:gd fmla="*/ 22 h 46" name="T59"/>
                <a:gd fmla="*/ 6 w 82" name="T60"/>
                <a:gd fmla="*/ 22 h 46" name="T61"/>
                <a:gd fmla="*/ 10 w 82" name="T62"/>
                <a:gd fmla="*/ 18 h 46" name="T63"/>
                <a:gd fmla="*/ 12 w 82" name="T64"/>
                <a:gd fmla="*/ 14 h 46" name="T65"/>
                <a:gd fmla="*/ 16 w 82" name="T66"/>
                <a:gd fmla="*/ 12 h 46" name="T67"/>
                <a:gd fmla="*/ 20 w 82" name="T68"/>
                <a:gd fmla="*/ 10 h 46" name="T69"/>
                <a:gd fmla="*/ 26 w 82" name="T70"/>
                <a:gd fmla="*/ 4 h 46" name="T71"/>
                <a:gd fmla="*/ 28 w 82" name="T72"/>
                <a:gd fmla="*/ 2 h 46" name="T73"/>
                <a:gd fmla="*/ 32 w 82" name="T74"/>
                <a:gd fmla="*/ 0 h 46" name="T75"/>
                <a:gd fmla="*/ 34 w 82" name="T76"/>
                <a:gd fmla="*/ 0 h 46" name="T77"/>
                <a:gd fmla="*/ 40 w 82" name="T78"/>
                <a:gd fmla="*/ 0 h 46" name="T79"/>
                <a:gd fmla="*/ 42 w 82" name="T80"/>
                <a:gd fmla="*/ 0 h 46" name="T81"/>
                <a:gd fmla="*/ 48 w 82" name="T82"/>
                <a:gd fmla="*/ 0 h 46" name="T83"/>
                <a:gd fmla="*/ 58 w 82" name="T84"/>
                <a:gd fmla="*/ 0 h 46" name="T85"/>
                <a:gd fmla="*/ 70 w 82" name="T86"/>
                <a:gd fmla="*/ 2 h 46" name="T87"/>
                <a:gd fmla="*/ 80 w 82" name="T88"/>
                <a:gd fmla="*/ 2 h 46" name="T89"/>
                <a:gd fmla="*/ 82 w 82" name="T90"/>
                <a:gd fmla="*/ 4 h 46" name="T91"/>
                <a:gd fmla="*/ 82 w 82" name="T92"/>
                <a:gd fmla="*/ 6 h 46" name="T9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b="b" l="0" r="r" t="0"/>
              <a:pathLst>
                <a:path h="46" w="82">
                  <a:moveTo>
                    <a:pt x="82" y="8"/>
                  </a:moveTo>
                  <a:lnTo>
                    <a:pt x="80" y="8"/>
                  </a:lnTo>
                  <a:lnTo>
                    <a:pt x="78" y="8"/>
                  </a:lnTo>
                  <a:lnTo>
                    <a:pt x="76" y="8"/>
                  </a:lnTo>
                  <a:lnTo>
                    <a:pt x="74" y="8"/>
                  </a:lnTo>
                  <a:lnTo>
                    <a:pt x="72" y="8"/>
                  </a:lnTo>
                  <a:lnTo>
                    <a:pt x="70" y="10"/>
                  </a:lnTo>
                  <a:lnTo>
                    <a:pt x="68" y="8"/>
                  </a:lnTo>
                  <a:lnTo>
                    <a:pt x="66" y="8"/>
                  </a:lnTo>
                  <a:lnTo>
                    <a:pt x="66" y="8"/>
                  </a:lnTo>
                  <a:lnTo>
                    <a:pt x="64" y="10"/>
                  </a:lnTo>
                  <a:lnTo>
                    <a:pt x="62" y="12"/>
                  </a:lnTo>
                  <a:lnTo>
                    <a:pt x="60" y="18"/>
                  </a:lnTo>
                  <a:lnTo>
                    <a:pt x="60" y="18"/>
                  </a:lnTo>
                  <a:lnTo>
                    <a:pt x="58" y="22"/>
                  </a:lnTo>
                  <a:lnTo>
                    <a:pt x="56" y="24"/>
                  </a:lnTo>
                  <a:lnTo>
                    <a:pt x="54" y="28"/>
                  </a:lnTo>
                  <a:lnTo>
                    <a:pt x="50" y="30"/>
                  </a:lnTo>
                  <a:lnTo>
                    <a:pt x="50" y="30"/>
                  </a:lnTo>
                  <a:lnTo>
                    <a:pt x="48" y="30"/>
                  </a:lnTo>
                  <a:lnTo>
                    <a:pt x="46" y="32"/>
                  </a:lnTo>
                  <a:lnTo>
                    <a:pt x="44" y="34"/>
                  </a:lnTo>
                  <a:lnTo>
                    <a:pt x="44" y="36"/>
                  </a:lnTo>
                  <a:lnTo>
                    <a:pt x="44" y="38"/>
                  </a:lnTo>
                  <a:lnTo>
                    <a:pt x="44" y="40"/>
                  </a:lnTo>
                  <a:lnTo>
                    <a:pt x="42" y="42"/>
                  </a:lnTo>
                  <a:lnTo>
                    <a:pt x="40" y="44"/>
                  </a:lnTo>
                  <a:lnTo>
                    <a:pt x="38" y="44"/>
                  </a:lnTo>
                  <a:lnTo>
                    <a:pt x="38" y="46"/>
                  </a:lnTo>
                  <a:lnTo>
                    <a:pt x="36" y="46"/>
                  </a:lnTo>
                  <a:lnTo>
                    <a:pt x="34" y="44"/>
                  </a:lnTo>
                  <a:lnTo>
                    <a:pt x="34" y="42"/>
                  </a:lnTo>
                  <a:lnTo>
                    <a:pt x="32" y="42"/>
                  </a:lnTo>
                  <a:lnTo>
                    <a:pt x="32" y="42"/>
                  </a:lnTo>
                  <a:lnTo>
                    <a:pt x="32" y="44"/>
                  </a:lnTo>
                  <a:lnTo>
                    <a:pt x="30" y="44"/>
                  </a:lnTo>
                  <a:lnTo>
                    <a:pt x="30" y="42"/>
                  </a:lnTo>
                  <a:lnTo>
                    <a:pt x="30" y="42"/>
                  </a:lnTo>
                  <a:lnTo>
                    <a:pt x="30" y="38"/>
                  </a:lnTo>
                  <a:lnTo>
                    <a:pt x="30" y="36"/>
                  </a:lnTo>
                  <a:lnTo>
                    <a:pt x="30" y="36"/>
                  </a:lnTo>
                  <a:lnTo>
                    <a:pt x="30" y="34"/>
                  </a:lnTo>
                  <a:lnTo>
                    <a:pt x="28" y="32"/>
                  </a:lnTo>
                  <a:lnTo>
                    <a:pt x="26" y="32"/>
                  </a:lnTo>
                  <a:lnTo>
                    <a:pt x="24" y="30"/>
                  </a:lnTo>
                  <a:lnTo>
                    <a:pt x="22" y="30"/>
                  </a:lnTo>
                  <a:lnTo>
                    <a:pt x="20" y="30"/>
                  </a:lnTo>
                  <a:lnTo>
                    <a:pt x="18" y="30"/>
                  </a:lnTo>
                  <a:lnTo>
                    <a:pt x="16" y="32"/>
                  </a:lnTo>
                  <a:lnTo>
                    <a:pt x="16" y="32"/>
                  </a:lnTo>
                  <a:lnTo>
                    <a:pt x="14" y="32"/>
                  </a:lnTo>
                  <a:lnTo>
                    <a:pt x="12" y="30"/>
                  </a:lnTo>
                  <a:lnTo>
                    <a:pt x="12" y="28"/>
                  </a:lnTo>
                  <a:lnTo>
                    <a:pt x="10" y="28"/>
                  </a:lnTo>
                  <a:lnTo>
                    <a:pt x="6" y="24"/>
                  </a:lnTo>
                  <a:lnTo>
                    <a:pt x="2" y="24"/>
                  </a:lnTo>
                  <a:lnTo>
                    <a:pt x="0" y="24"/>
                  </a:lnTo>
                  <a:lnTo>
                    <a:pt x="2" y="22"/>
                  </a:lnTo>
                  <a:lnTo>
                    <a:pt x="2" y="22"/>
                  </a:lnTo>
                  <a:lnTo>
                    <a:pt x="2" y="22"/>
                  </a:lnTo>
                  <a:lnTo>
                    <a:pt x="2" y="22"/>
                  </a:lnTo>
                  <a:lnTo>
                    <a:pt x="6" y="22"/>
                  </a:lnTo>
                  <a:lnTo>
                    <a:pt x="8" y="20"/>
                  </a:lnTo>
                  <a:lnTo>
                    <a:pt x="10" y="18"/>
                  </a:lnTo>
                  <a:lnTo>
                    <a:pt x="10" y="18"/>
                  </a:lnTo>
                  <a:lnTo>
                    <a:pt x="12" y="14"/>
                  </a:lnTo>
                  <a:lnTo>
                    <a:pt x="14" y="12"/>
                  </a:lnTo>
                  <a:lnTo>
                    <a:pt x="16" y="12"/>
                  </a:lnTo>
                  <a:lnTo>
                    <a:pt x="16" y="12"/>
                  </a:lnTo>
                  <a:lnTo>
                    <a:pt x="20" y="10"/>
                  </a:lnTo>
                  <a:lnTo>
                    <a:pt x="24" y="8"/>
                  </a:lnTo>
                  <a:lnTo>
                    <a:pt x="26" y="4"/>
                  </a:lnTo>
                  <a:lnTo>
                    <a:pt x="28" y="2"/>
                  </a:lnTo>
                  <a:lnTo>
                    <a:pt x="28" y="2"/>
                  </a:lnTo>
                  <a:lnTo>
                    <a:pt x="30" y="0"/>
                  </a:lnTo>
                  <a:lnTo>
                    <a:pt x="32" y="0"/>
                  </a:lnTo>
                  <a:lnTo>
                    <a:pt x="34" y="0"/>
                  </a:lnTo>
                  <a:lnTo>
                    <a:pt x="34" y="0"/>
                  </a:lnTo>
                  <a:lnTo>
                    <a:pt x="36" y="0"/>
                  </a:lnTo>
                  <a:lnTo>
                    <a:pt x="40" y="0"/>
                  </a:lnTo>
                  <a:lnTo>
                    <a:pt x="42" y="0"/>
                  </a:lnTo>
                  <a:lnTo>
                    <a:pt x="42" y="0"/>
                  </a:lnTo>
                  <a:lnTo>
                    <a:pt x="44" y="0"/>
                  </a:lnTo>
                  <a:lnTo>
                    <a:pt x="48" y="0"/>
                  </a:lnTo>
                  <a:lnTo>
                    <a:pt x="54" y="0"/>
                  </a:lnTo>
                  <a:lnTo>
                    <a:pt x="58" y="0"/>
                  </a:lnTo>
                  <a:lnTo>
                    <a:pt x="64" y="0"/>
                  </a:lnTo>
                  <a:lnTo>
                    <a:pt x="70" y="2"/>
                  </a:lnTo>
                  <a:lnTo>
                    <a:pt x="76" y="2"/>
                  </a:lnTo>
                  <a:lnTo>
                    <a:pt x="80" y="2"/>
                  </a:lnTo>
                  <a:lnTo>
                    <a:pt x="80" y="4"/>
                  </a:lnTo>
                  <a:lnTo>
                    <a:pt x="82" y="4"/>
                  </a:lnTo>
                  <a:lnTo>
                    <a:pt x="82" y="6"/>
                  </a:lnTo>
                  <a:lnTo>
                    <a:pt x="82" y="6"/>
                  </a:lnTo>
                  <a:lnTo>
                    <a:pt x="82" y="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69" name="Freeform 526"/>
            <p:cNvSpPr/>
            <p:nvPr/>
          </p:nvSpPr>
          <p:spPr bwMode="gray">
            <a:xfrm>
              <a:off x="7159528" y="4387754"/>
              <a:ext cx="81461" cy="44404"/>
            </a:xfrm>
            <a:custGeom>
              <a:gdLst>
                <a:gd fmla="*/ 44 w 44" name="T0"/>
                <a:gd fmla="*/ 20 h 24" name="T1"/>
                <a:gd fmla="*/ 42 w 44" name="T2"/>
                <a:gd fmla="*/ 22 h 24" name="T3"/>
                <a:gd fmla="*/ 40 w 44" name="T4"/>
                <a:gd fmla="*/ 22 h 24" name="T5"/>
                <a:gd fmla="*/ 40 w 44" name="T6"/>
                <a:gd fmla="*/ 24 h 24" name="T7"/>
                <a:gd fmla="*/ 32 w 44" name="T8"/>
                <a:gd fmla="*/ 22 h 24" name="T9"/>
                <a:gd fmla="*/ 26 w 44" name="T10"/>
                <a:gd fmla="*/ 22 h 24" name="T11"/>
                <a:gd fmla="*/ 20 w 44" name="T12"/>
                <a:gd fmla="*/ 20 h 24" name="T13"/>
                <a:gd fmla="*/ 16 w 44" name="T14"/>
                <a:gd fmla="*/ 18 h 24" name="T15"/>
                <a:gd fmla="*/ 12 w 44" name="T16"/>
                <a:gd fmla="*/ 18 h 24" name="T17"/>
                <a:gd fmla="*/ 12 w 44" name="T18"/>
                <a:gd fmla="*/ 16 h 24" name="T19"/>
                <a:gd fmla="*/ 6 w 44" name="T20"/>
                <a:gd fmla="*/ 14 h 24" name="T21"/>
                <a:gd fmla="*/ 2 w 44" name="T22"/>
                <a:gd fmla="*/ 12 h 24" name="T23"/>
                <a:gd fmla="*/ 0 w 44" name="T24"/>
                <a:gd fmla="*/ 10 h 24" name="T25"/>
                <a:gd fmla="*/ 8 w 44" name="T26"/>
                <a:gd fmla="*/ 4 h 24" name="T27"/>
                <a:gd fmla="*/ 10 w 44" name="T28"/>
                <a:gd fmla="*/ 2 h 24" name="T29"/>
                <a:gd fmla="*/ 12 w 44" name="T30"/>
                <a:gd fmla="*/ 0 h 24" name="T31"/>
                <a:gd fmla="*/ 14 w 44" name="T32"/>
                <a:gd fmla="*/ 0 h 24" name="T33"/>
                <a:gd fmla="*/ 16 w 44" name="T34"/>
                <a:gd fmla="*/ 0 h 24" name="T35"/>
                <a:gd fmla="*/ 20 w 44" name="T36"/>
                <a:gd fmla="*/ 2 h 24" name="T37"/>
                <a:gd fmla="*/ 24 w 44" name="T38"/>
                <a:gd fmla="*/ 4 h 24" name="T39"/>
                <a:gd fmla="*/ 24 w 44" name="T40"/>
                <a:gd fmla="*/ 6 h 24" name="T41"/>
                <a:gd fmla="*/ 26 w 44" name="T42"/>
                <a:gd fmla="*/ 6 h 24" name="T43"/>
                <a:gd fmla="*/ 26 w 44" name="T44"/>
                <a:gd fmla="*/ 8 h 24" name="T45"/>
                <a:gd fmla="*/ 30 w 44" name="T46"/>
                <a:gd fmla="*/ 8 h 24" name="T47"/>
                <a:gd fmla="*/ 30 w 44" name="T48"/>
                <a:gd fmla="*/ 8 h 24" name="T49"/>
                <a:gd fmla="*/ 32 w 44" name="T50"/>
                <a:gd fmla="*/ 6 h 24" name="T51"/>
                <a:gd fmla="*/ 34 w 44" name="T52"/>
                <a:gd fmla="*/ 6 h 24" name="T53"/>
                <a:gd fmla="*/ 38 w 44" name="T54"/>
                <a:gd fmla="*/ 6 h 24" name="T55"/>
                <a:gd fmla="*/ 38 w 44" name="T56"/>
                <a:gd fmla="*/ 6 h 24" name="T57"/>
                <a:gd fmla="*/ 40 w 44" name="T58"/>
                <a:gd fmla="*/ 8 h 24" name="T59"/>
                <a:gd fmla="*/ 42 w 44" name="T60"/>
                <a:gd fmla="*/ 10 h 24" name="T61"/>
                <a:gd fmla="*/ 44 w 44" name="T62"/>
                <a:gd fmla="*/ 12 h 24" name="T63"/>
                <a:gd fmla="*/ 44 w 44" name="T64"/>
                <a:gd fmla="*/ 14 h 24" name="T65"/>
                <a:gd fmla="*/ 44 w 44" name="T66"/>
                <a:gd fmla="*/ 16 h 24" name="T67"/>
                <a:gd fmla="*/ 44 w 44" name="T68"/>
                <a:gd fmla="*/ 18 h 24" name="T69"/>
                <a:gd fmla="*/ 44 w 44" name="T70"/>
                <a:gd fmla="*/ 20 h 24"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24" w="44">
                  <a:moveTo>
                    <a:pt x="44" y="20"/>
                  </a:moveTo>
                  <a:lnTo>
                    <a:pt x="42" y="22"/>
                  </a:lnTo>
                  <a:lnTo>
                    <a:pt x="40" y="22"/>
                  </a:lnTo>
                  <a:lnTo>
                    <a:pt x="40" y="24"/>
                  </a:lnTo>
                  <a:lnTo>
                    <a:pt x="32" y="22"/>
                  </a:lnTo>
                  <a:lnTo>
                    <a:pt x="26" y="22"/>
                  </a:lnTo>
                  <a:lnTo>
                    <a:pt x="20" y="20"/>
                  </a:lnTo>
                  <a:lnTo>
                    <a:pt x="16" y="18"/>
                  </a:lnTo>
                  <a:lnTo>
                    <a:pt x="12" y="18"/>
                  </a:lnTo>
                  <a:lnTo>
                    <a:pt x="12" y="16"/>
                  </a:lnTo>
                  <a:lnTo>
                    <a:pt x="6" y="14"/>
                  </a:lnTo>
                  <a:lnTo>
                    <a:pt x="2" y="12"/>
                  </a:lnTo>
                  <a:lnTo>
                    <a:pt x="0" y="10"/>
                  </a:lnTo>
                  <a:lnTo>
                    <a:pt x="8" y="4"/>
                  </a:lnTo>
                  <a:lnTo>
                    <a:pt x="10" y="2"/>
                  </a:lnTo>
                  <a:lnTo>
                    <a:pt x="12" y="0"/>
                  </a:lnTo>
                  <a:lnTo>
                    <a:pt x="14" y="0"/>
                  </a:lnTo>
                  <a:lnTo>
                    <a:pt x="16" y="0"/>
                  </a:lnTo>
                  <a:lnTo>
                    <a:pt x="20" y="2"/>
                  </a:lnTo>
                  <a:lnTo>
                    <a:pt x="24" y="4"/>
                  </a:lnTo>
                  <a:lnTo>
                    <a:pt x="24" y="6"/>
                  </a:lnTo>
                  <a:lnTo>
                    <a:pt x="26" y="6"/>
                  </a:lnTo>
                  <a:lnTo>
                    <a:pt x="26" y="8"/>
                  </a:lnTo>
                  <a:lnTo>
                    <a:pt x="30" y="8"/>
                  </a:lnTo>
                  <a:lnTo>
                    <a:pt x="30" y="8"/>
                  </a:lnTo>
                  <a:lnTo>
                    <a:pt x="32" y="6"/>
                  </a:lnTo>
                  <a:lnTo>
                    <a:pt x="34" y="6"/>
                  </a:lnTo>
                  <a:lnTo>
                    <a:pt x="38" y="6"/>
                  </a:lnTo>
                  <a:lnTo>
                    <a:pt x="38" y="6"/>
                  </a:lnTo>
                  <a:lnTo>
                    <a:pt x="40" y="8"/>
                  </a:lnTo>
                  <a:lnTo>
                    <a:pt x="42" y="10"/>
                  </a:lnTo>
                  <a:lnTo>
                    <a:pt x="44" y="12"/>
                  </a:lnTo>
                  <a:lnTo>
                    <a:pt x="44" y="14"/>
                  </a:lnTo>
                  <a:lnTo>
                    <a:pt x="44" y="16"/>
                  </a:lnTo>
                  <a:lnTo>
                    <a:pt x="44" y="18"/>
                  </a:lnTo>
                  <a:lnTo>
                    <a:pt x="44" y="2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0" name="Freeform 527"/>
            <p:cNvSpPr/>
            <p:nvPr/>
          </p:nvSpPr>
          <p:spPr bwMode="gray">
            <a:xfrm>
              <a:off x="7622377" y="4254543"/>
              <a:ext cx="70353" cy="51804"/>
            </a:xfrm>
            <a:custGeom>
              <a:gdLst>
                <a:gd fmla="*/ 4 w 38" name="T0"/>
                <a:gd fmla="*/ 0 h 28" name="T1"/>
                <a:gd fmla="*/ 6 w 38" name="T2"/>
                <a:gd fmla="*/ 2 h 28" name="T3"/>
                <a:gd fmla="*/ 6 w 38" name="T4"/>
                <a:gd fmla="*/ 6 h 28" name="T5"/>
                <a:gd fmla="*/ 6 w 38" name="T6"/>
                <a:gd fmla="*/ 10 h 28" name="T7"/>
                <a:gd fmla="*/ 4 w 38" name="T8"/>
                <a:gd fmla="*/ 12 h 28" name="T9"/>
                <a:gd fmla="*/ 2 w 38" name="T10"/>
                <a:gd fmla="*/ 14 h 28" name="T11"/>
                <a:gd fmla="*/ 0 w 38" name="T12"/>
                <a:gd fmla="*/ 14 h 28" name="T13"/>
                <a:gd fmla="*/ 0 w 38" name="T14"/>
                <a:gd fmla="*/ 16 h 28" name="T15"/>
                <a:gd fmla="*/ 0 w 38" name="T16"/>
                <a:gd fmla="*/ 20 h 28" name="T17"/>
                <a:gd fmla="*/ 2 w 38" name="T18"/>
                <a:gd fmla="*/ 22 h 28" name="T19"/>
                <a:gd fmla="*/ 2 w 38" name="T20"/>
                <a:gd fmla="*/ 24 h 28" name="T21"/>
                <a:gd fmla="*/ 4 w 38" name="T22"/>
                <a:gd fmla="*/ 26 h 28" name="T23"/>
                <a:gd fmla="*/ 4 w 38" name="T24"/>
                <a:gd fmla="*/ 28 h 28" name="T25"/>
                <a:gd fmla="*/ 4 w 38" name="T26"/>
                <a:gd fmla="*/ 28 h 28" name="T27"/>
                <a:gd fmla="*/ 6 w 38" name="T28"/>
                <a:gd fmla="*/ 28 h 28" name="T29"/>
                <a:gd fmla="*/ 8 w 38" name="T30"/>
                <a:gd fmla="*/ 28 h 28" name="T31"/>
                <a:gd fmla="*/ 12 w 38" name="T32"/>
                <a:gd fmla="*/ 26 h 28" name="T33"/>
                <a:gd fmla="*/ 14 w 38" name="T34"/>
                <a:gd fmla="*/ 24 h 28" name="T35"/>
                <a:gd fmla="*/ 16 w 38" name="T36"/>
                <a:gd fmla="*/ 24 h 28" name="T37"/>
                <a:gd fmla="*/ 18 w 38" name="T38"/>
                <a:gd fmla="*/ 22 h 28" name="T39"/>
                <a:gd fmla="*/ 20 w 38" name="T40"/>
                <a:gd fmla="*/ 22 h 28" name="T41"/>
                <a:gd fmla="*/ 22 w 38" name="T42"/>
                <a:gd fmla="*/ 24 h 28" name="T43"/>
                <a:gd fmla="*/ 22 w 38" name="T44"/>
                <a:gd fmla="*/ 24 h 28" name="T45"/>
                <a:gd fmla="*/ 32 w 38" name="T46"/>
                <a:gd fmla="*/ 22 h 28" name="T47"/>
                <a:gd fmla="*/ 38 w 38" name="T48"/>
                <a:gd fmla="*/ 20 h 28" name="T49"/>
                <a:gd fmla="*/ 38 w 38" name="T50"/>
                <a:gd fmla="*/ 12 h 28" name="T51"/>
                <a:gd fmla="*/ 32 w 38" name="T52"/>
                <a:gd fmla="*/ 10 h 28" name="T53"/>
                <a:gd fmla="*/ 24 w 38" name="T54"/>
                <a:gd fmla="*/ 8 h 28" name="T55"/>
                <a:gd fmla="*/ 30 w 38" name="T56"/>
                <a:gd fmla="*/ 6 h 28" name="T57"/>
                <a:gd fmla="*/ 20 w 38" name="T58"/>
                <a:gd fmla="*/ 6 h 28" name="T59"/>
                <a:gd fmla="*/ 14 w 38" name="T60"/>
                <a:gd fmla="*/ 2 h 28" name="T61"/>
                <a:gd fmla="*/ 4 w 38" name="T62"/>
                <a:gd fmla="*/ 0 h 28"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28" w="38">
                  <a:moveTo>
                    <a:pt x="4" y="0"/>
                  </a:moveTo>
                  <a:lnTo>
                    <a:pt x="6" y="2"/>
                  </a:lnTo>
                  <a:lnTo>
                    <a:pt x="6" y="6"/>
                  </a:lnTo>
                  <a:lnTo>
                    <a:pt x="6" y="10"/>
                  </a:lnTo>
                  <a:lnTo>
                    <a:pt x="4" y="12"/>
                  </a:lnTo>
                  <a:lnTo>
                    <a:pt x="2" y="14"/>
                  </a:lnTo>
                  <a:lnTo>
                    <a:pt x="0" y="14"/>
                  </a:lnTo>
                  <a:lnTo>
                    <a:pt x="0" y="16"/>
                  </a:lnTo>
                  <a:lnTo>
                    <a:pt x="0" y="20"/>
                  </a:lnTo>
                  <a:lnTo>
                    <a:pt x="2" y="22"/>
                  </a:lnTo>
                  <a:lnTo>
                    <a:pt x="2" y="24"/>
                  </a:lnTo>
                  <a:lnTo>
                    <a:pt x="4" y="26"/>
                  </a:lnTo>
                  <a:lnTo>
                    <a:pt x="4" y="28"/>
                  </a:lnTo>
                  <a:lnTo>
                    <a:pt x="4" y="28"/>
                  </a:lnTo>
                  <a:lnTo>
                    <a:pt x="6" y="28"/>
                  </a:lnTo>
                  <a:lnTo>
                    <a:pt x="8" y="28"/>
                  </a:lnTo>
                  <a:lnTo>
                    <a:pt x="12" y="26"/>
                  </a:lnTo>
                  <a:lnTo>
                    <a:pt x="14" y="24"/>
                  </a:lnTo>
                  <a:lnTo>
                    <a:pt x="16" y="24"/>
                  </a:lnTo>
                  <a:lnTo>
                    <a:pt x="18" y="22"/>
                  </a:lnTo>
                  <a:lnTo>
                    <a:pt x="20" y="22"/>
                  </a:lnTo>
                  <a:lnTo>
                    <a:pt x="22" y="24"/>
                  </a:lnTo>
                  <a:lnTo>
                    <a:pt x="22" y="24"/>
                  </a:lnTo>
                  <a:lnTo>
                    <a:pt x="32" y="22"/>
                  </a:lnTo>
                  <a:lnTo>
                    <a:pt x="38" y="20"/>
                  </a:lnTo>
                  <a:lnTo>
                    <a:pt x="38" y="12"/>
                  </a:lnTo>
                  <a:lnTo>
                    <a:pt x="32" y="10"/>
                  </a:lnTo>
                  <a:lnTo>
                    <a:pt x="24" y="8"/>
                  </a:lnTo>
                  <a:lnTo>
                    <a:pt x="30" y="6"/>
                  </a:lnTo>
                  <a:lnTo>
                    <a:pt x="20" y="6"/>
                  </a:lnTo>
                  <a:lnTo>
                    <a:pt x="14" y="2"/>
                  </a:lnTo>
                  <a:lnTo>
                    <a:pt x="4"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1" name="Freeform 528"/>
            <p:cNvSpPr/>
            <p:nvPr/>
          </p:nvSpPr>
          <p:spPr bwMode="gray">
            <a:xfrm>
              <a:off x="7552024" y="4243442"/>
              <a:ext cx="81461" cy="66605"/>
            </a:xfrm>
            <a:custGeom>
              <a:gdLst>
                <a:gd fmla="*/ 12 w 44" name="T0"/>
                <a:gd fmla="*/ 2 h 36" name="T1"/>
                <a:gd fmla="*/ 8 w 44" name="T2"/>
                <a:gd fmla="*/ 6 h 36" name="T3"/>
                <a:gd fmla="*/ 12 w 44" name="T4"/>
                <a:gd fmla="*/ 8 h 36" name="T5"/>
                <a:gd fmla="*/ 14 w 44" name="T6"/>
                <a:gd fmla="*/ 8 h 36" name="T7"/>
                <a:gd fmla="*/ 16 w 44" name="T8"/>
                <a:gd fmla="*/ 8 h 36" name="T9"/>
                <a:gd fmla="*/ 18 w 44" name="T10"/>
                <a:gd fmla="*/ 8 h 36" name="T11"/>
                <a:gd fmla="*/ 22 w 44" name="T12"/>
                <a:gd fmla="*/ 10 h 36" name="T13"/>
                <a:gd fmla="*/ 24 w 44" name="T14"/>
                <a:gd fmla="*/ 10 h 36" name="T15"/>
                <a:gd fmla="*/ 26 w 44" name="T16"/>
                <a:gd fmla="*/ 14 h 36" name="T17"/>
                <a:gd fmla="*/ 26 w 44" name="T18"/>
                <a:gd fmla="*/ 14 h 36" name="T19"/>
                <a:gd fmla="*/ 26 w 44" name="T20"/>
                <a:gd fmla="*/ 16 h 36" name="T21"/>
                <a:gd fmla="*/ 26 w 44" name="T22"/>
                <a:gd fmla="*/ 18 h 36" name="T23"/>
                <a:gd fmla="*/ 26 w 44" name="T24"/>
                <a:gd fmla="*/ 20 h 36" name="T25"/>
                <a:gd fmla="*/ 24 w 44" name="T26"/>
                <a:gd fmla="*/ 22 h 36" name="T27"/>
                <a:gd fmla="*/ 20 w 44" name="T28"/>
                <a:gd fmla="*/ 22 h 36" name="T29"/>
                <a:gd fmla="*/ 10 w 44" name="T30"/>
                <a:gd fmla="*/ 18 h 36" name="T31"/>
                <a:gd fmla="*/ 4 w 44" name="T32"/>
                <a:gd fmla="*/ 18 h 36" name="T33"/>
                <a:gd fmla="*/ 0 w 44" name="T34"/>
                <a:gd fmla="*/ 22 h 36" name="T35"/>
                <a:gd fmla="*/ 6 w 44" name="T36"/>
                <a:gd fmla="*/ 26 h 36" name="T37"/>
                <a:gd fmla="*/ 6 w 44" name="T38"/>
                <a:gd fmla="*/ 26 h 36" name="T39"/>
                <a:gd fmla="*/ 10 w 44" name="T40"/>
                <a:gd fmla="*/ 26 h 36" name="T41"/>
                <a:gd fmla="*/ 14 w 44" name="T42"/>
                <a:gd fmla="*/ 26 h 36" name="T43"/>
                <a:gd fmla="*/ 16 w 44" name="T44"/>
                <a:gd fmla="*/ 26 h 36" name="T45"/>
                <a:gd fmla="*/ 20 w 44" name="T46"/>
                <a:gd fmla="*/ 28 h 36" name="T47"/>
                <a:gd fmla="*/ 20 w 44" name="T48"/>
                <a:gd fmla="*/ 30 h 36" name="T49"/>
                <a:gd fmla="*/ 22 w 44" name="T50"/>
                <a:gd fmla="*/ 32 h 36" name="T51"/>
                <a:gd fmla="*/ 26 w 44" name="T52"/>
                <a:gd fmla="*/ 34 h 36" name="T53"/>
                <a:gd fmla="*/ 30 w 44" name="T54"/>
                <a:gd fmla="*/ 36 h 36" name="T55"/>
                <a:gd fmla="*/ 34 w 44" name="T56"/>
                <a:gd fmla="*/ 36 h 36" name="T57"/>
                <a:gd fmla="*/ 36 w 44" name="T58"/>
                <a:gd fmla="*/ 36 h 36" name="T59"/>
                <a:gd fmla="*/ 40 w 44" name="T60"/>
                <a:gd fmla="*/ 36 h 36" name="T61"/>
                <a:gd fmla="*/ 42 w 44" name="T62"/>
                <a:gd fmla="*/ 36 h 36" name="T63"/>
                <a:gd fmla="*/ 42 w 44" name="T64"/>
                <a:gd fmla="*/ 34 h 36" name="T65"/>
                <a:gd fmla="*/ 42 w 44" name="T66"/>
                <a:gd fmla="*/ 30 h 36" name="T67"/>
                <a:gd fmla="*/ 40 w 44" name="T68"/>
                <a:gd fmla="*/ 30 h 36" name="T69"/>
                <a:gd fmla="*/ 40 w 44" name="T70"/>
                <a:gd fmla="*/ 28 h 36" name="T71"/>
                <a:gd fmla="*/ 38 w 44" name="T72"/>
                <a:gd fmla="*/ 24 h 36" name="T73"/>
                <a:gd fmla="*/ 38 w 44" name="T74"/>
                <a:gd fmla="*/ 22 h 36" name="T75"/>
                <a:gd fmla="*/ 38 w 44" name="T76"/>
                <a:gd fmla="*/ 18 h 36" name="T77"/>
                <a:gd fmla="*/ 40 w 44" name="T78"/>
                <a:gd fmla="*/ 18 h 36" name="T79"/>
                <a:gd fmla="*/ 42 w 44" name="T80"/>
                <a:gd fmla="*/ 16 h 36" name="T81"/>
                <a:gd fmla="*/ 44 w 44" name="T82"/>
                <a:gd fmla="*/ 14 h 36" name="T83"/>
                <a:gd fmla="*/ 44 w 44" name="T84"/>
                <a:gd fmla="*/ 12 h 36" name="T85"/>
                <a:gd fmla="*/ 44 w 44" name="T86"/>
                <a:gd fmla="*/ 8 h 36" name="T87"/>
                <a:gd fmla="*/ 42 w 44" name="T88"/>
                <a:gd fmla="*/ 4 h 36" name="T89"/>
                <a:gd fmla="*/ 28 w 44" name="T90"/>
                <a:gd fmla="*/ 2 h 36" name="T91"/>
                <a:gd fmla="*/ 20 w 44" name="T92"/>
                <a:gd fmla="*/ 0 h 36" name="T93"/>
                <a:gd fmla="*/ 12 w 44" name="T94"/>
                <a:gd fmla="*/ 2 h 36"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36" w="44">
                  <a:moveTo>
                    <a:pt x="12" y="2"/>
                  </a:moveTo>
                  <a:lnTo>
                    <a:pt x="8" y="6"/>
                  </a:lnTo>
                  <a:lnTo>
                    <a:pt x="12" y="8"/>
                  </a:lnTo>
                  <a:lnTo>
                    <a:pt x="14" y="8"/>
                  </a:lnTo>
                  <a:lnTo>
                    <a:pt x="16" y="8"/>
                  </a:lnTo>
                  <a:lnTo>
                    <a:pt x="18" y="8"/>
                  </a:lnTo>
                  <a:lnTo>
                    <a:pt x="22" y="10"/>
                  </a:lnTo>
                  <a:lnTo>
                    <a:pt x="24" y="10"/>
                  </a:lnTo>
                  <a:lnTo>
                    <a:pt x="26" y="14"/>
                  </a:lnTo>
                  <a:lnTo>
                    <a:pt x="26" y="14"/>
                  </a:lnTo>
                  <a:lnTo>
                    <a:pt x="26" y="16"/>
                  </a:lnTo>
                  <a:lnTo>
                    <a:pt x="26" y="18"/>
                  </a:lnTo>
                  <a:lnTo>
                    <a:pt x="26" y="20"/>
                  </a:lnTo>
                  <a:lnTo>
                    <a:pt x="24" y="22"/>
                  </a:lnTo>
                  <a:lnTo>
                    <a:pt x="20" y="22"/>
                  </a:lnTo>
                  <a:lnTo>
                    <a:pt x="10" y="18"/>
                  </a:lnTo>
                  <a:lnTo>
                    <a:pt x="4" y="18"/>
                  </a:lnTo>
                  <a:lnTo>
                    <a:pt x="0" y="22"/>
                  </a:lnTo>
                  <a:lnTo>
                    <a:pt x="6" y="26"/>
                  </a:lnTo>
                  <a:lnTo>
                    <a:pt x="6" y="26"/>
                  </a:lnTo>
                  <a:lnTo>
                    <a:pt x="10" y="26"/>
                  </a:lnTo>
                  <a:lnTo>
                    <a:pt x="14" y="26"/>
                  </a:lnTo>
                  <a:lnTo>
                    <a:pt x="16" y="26"/>
                  </a:lnTo>
                  <a:lnTo>
                    <a:pt x="20" y="28"/>
                  </a:lnTo>
                  <a:lnTo>
                    <a:pt x="20" y="30"/>
                  </a:lnTo>
                  <a:lnTo>
                    <a:pt x="22" y="32"/>
                  </a:lnTo>
                  <a:lnTo>
                    <a:pt x="26" y="34"/>
                  </a:lnTo>
                  <a:lnTo>
                    <a:pt x="30" y="36"/>
                  </a:lnTo>
                  <a:lnTo>
                    <a:pt x="34" y="36"/>
                  </a:lnTo>
                  <a:lnTo>
                    <a:pt x="36" y="36"/>
                  </a:lnTo>
                  <a:lnTo>
                    <a:pt x="40" y="36"/>
                  </a:lnTo>
                  <a:lnTo>
                    <a:pt x="42" y="36"/>
                  </a:lnTo>
                  <a:lnTo>
                    <a:pt x="42" y="34"/>
                  </a:lnTo>
                  <a:lnTo>
                    <a:pt x="42" y="30"/>
                  </a:lnTo>
                  <a:lnTo>
                    <a:pt x="40" y="30"/>
                  </a:lnTo>
                  <a:lnTo>
                    <a:pt x="40" y="28"/>
                  </a:lnTo>
                  <a:lnTo>
                    <a:pt x="38" y="24"/>
                  </a:lnTo>
                  <a:lnTo>
                    <a:pt x="38" y="22"/>
                  </a:lnTo>
                  <a:lnTo>
                    <a:pt x="38" y="18"/>
                  </a:lnTo>
                  <a:lnTo>
                    <a:pt x="40" y="18"/>
                  </a:lnTo>
                  <a:lnTo>
                    <a:pt x="42" y="16"/>
                  </a:lnTo>
                  <a:lnTo>
                    <a:pt x="44" y="14"/>
                  </a:lnTo>
                  <a:lnTo>
                    <a:pt x="44" y="12"/>
                  </a:lnTo>
                  <a:lnTo>
                    <a:pt x="44" y="8"/>
                  </a:lnTo>
                  <a:lnTo>
                    <a:pt x="42" y="4"/>
                  </a:lnTo>
                  <a:lnTo>
                    <a:pt x="28" y="2"/>
                  </a:lnTo>
                  <a:lnTo>
                    <a:pt x="20" y="0"/>
                  </a:lnTo>
                  <a:lnTo>
                    <a:pt x="12"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2" name="Freeform 529"/>
            <p:cNvSpPr/>
            <p:nvPr/>
          </p:nvSpPr>
          <p:spPr bwMode="gray">
            <a:xfrm>
              <a:off x="7300234" y="4158335"/>
              <a:ext cx="259195" cy="99908"/>
            </a:xfrm>
            <a:custGeom>
              <a:gdLst>
                <a:gd fmla="*/ 18 w 140" name="T0"/>
                <a:gd fmla="*/ 2 h 54" name="T1"/>
                <a:gd fmla="*/ 16 w 140" name="T2"/>
                <a:gd fmla="*/ 2 h 54" name="T3"/>
                <a:gd fmla="*/ 14 w 140" name="T4"/>
                <a:gd fmla="*/ 4 h 54" name="T5"/>
                <a:gd fmla="*/ 10 w 140" name="T6"/>
                <a:gd fmla="*/ 6 h 54" name="T7"/>
                <a:gd fmla="*/ 6 w 140" name="T8"/>
                <a:gd fmla="*/ 8 h 54" name="T9"/>
                <a:gd fmla="*/ 2 w 140" name="T10"/>
                <a:gd fmla="*/ 10 h 54" name="T11"/>
                <a:gd fmla="*/ 0 w 140" name="T12"/>
                <a:gd fmla="*/ 14 h 54" name="T13"/>
                <a:gd fmla="*/ 0 w 140" name="T14"/>
                <a:gd fmla="*/ 18 h 54" name="T15"/>
                <a:gd fmla="*/ 0 w 140" name="T16"/>
                <a:gd fmla="*/ 18 h 54" name="T17"/>
                <a:gd fmla="*/ 2 w 140" name="T18"/>
                <a:gd fmla="*/ 20 h 54" name="T19"/>
                <a:gd fmla="*/ 4 w 140" name="T20"/>
                <a:gd fmla="*/ 22 h 54" name="T21"/>
                <a:gd fmla="*/ 8 w 140" name="T22"/>
                <a:gd fmla="*/ 22 h 54" name="T23"/>
                <a:gd fmla="*/ 12 w 140" name="T24"/>
                <a:gd fmla="*/ 22 h 54" name="T25"/>
                <a:gd fmla="*/ 16 w 140" name="T26"/>
                <a:gd fmla="*/ 20 h 54" name="T27"/>
                <a:gd fmla="*/ 20 w 140" name="T28"/>
                <a:gd fmla="*/ 18 h 54" name="T29"/>
                <a:gd fmla="*/ 24 w 140" name="T30"/>
                <a:gd fmla="*/ 16 h 54" name="T31"/>
                <a:gd fmla="*/ 28 w 140" name="T32"/>
                <a:gd fmla="*/ 16 h 54" name="T33"/>
                <a:gd fmla="*/ 32 w 140" name="T34"/>
                <a:gd fmla="*/ 16 h 54" name="T35"/>
                <a:gd fmla="*/ 34 w 140" name="T36"/>
                <a:gd fmla="*/ 18 h 54" name="T37"/>
                <a:gd fmla="*/ 36 w 140" name="T38"/>
                <a:gd fmla="*/ 18 h 54" name="T39"/>
                <a:gd fmla="*/ 40 w 140" name="T40"/>
                <a:gd fmla="*/ 20 h 54" name="T41"/>
                <a:gd fmla="*/ 44 w 140" name="T42"/>
                <a:gd fmla="*/ 22 h 54" name="T43"/>
                <a:gd fmla="*/ 48 w 140" name="T44"/>
                <a:gd fmla="*/ 22 h 54" name="T45"/>
                <a:gd fmla="*/ 50 w 140" name="T46"/>
                <a:gd fmla="*/ 24 h 54" name="T47"/>
                <a:gd fmla="*/ 52 w 140" name="T48"/>
                <a:gd fmla="*/ 24 h 54" name="T49"/>
                <a:gd fmla="*/ 68 w 140" name="T50"/>
                <a:gd fmla="*/ 32 h 54" name="T51"/>
                <a:gd fmla="*/ 68 w 140" name="T52"/>
                <a:gd fmla="*/ 32 h 54" name="T53"/>
                <a:gd fmla="*/ 70 w 140" name="T54"/>
                <a:gd fmla="*/ 34 h 54" name="T55"/>
                <a:gd fmla="*/ 74 w 140" name="T56"/>
                <a:gd fmla="*/ 36 h 54" name="T57"/>
                <a:gd fmla="*/ 80 w 140" name="T58"/>
                <a:gd fmla="*/ 40 h 54" name="T59"/>
                <a:gd fmla="*/ 88 w 140" name="T60"/>
                <a:gd fmla="*/ 40 h 54" name="T61"/>
                <a:gd fmla="*/ 98 w 140" name="T62"/>
                <a:gd fmla="*/ 42 h 54" name="T63"/>
                <a:gd fmla="*/ 98 w 140" name="T64"/>
                <a:gd fmla="*/ 46 h 54" name="T65"/>
                <a:gd fmla="*/ 90 w 140" name="T66"/>
                <a:gd fmla="*/ 50 h 54" name="T67"/>
                <a:gd fmla="*/ 92 w 140" name="T68"/>
                <a:gd fmla="*/ 54 h 54" name="T69"/>
                <a:gd fmla="*/ 94 w 140" name="T70"/>
                <a:gd fmla="*/ 54 h 54" name="T71"/>
                <a:gd fmla="*/ 96 w 140" name="T72"/>
                <a:gd fmla="*/ 54 h 54" name="T73"/>
                <a:gd fmla="*/ 102 w 140" name="T74"/>
                <a:gd fmla="*/ 54 h 54" name="T75"/>
                <a:gd fmla="*/ 108 w 140" name="T76"/>
                <a:gd fmla="*/ 54 h 54" name="T77"/>
                <a:gd fmla="*/ 114 w 140" name="T78"/>
                <a:gd fmla="*/ 54 h 54" name="T79"/>
                <a:gd fmla="*/ 120 w 140" name="T80"/>
                <a:gd fmla="*/ 54 h 54" name="T81"/>
                <a:gd fmla="*/ 122 w 140" name="T82"/>
                <a:gd fmla="*/ 54 h 54" name="T83"/>
                <a:gd fmla="*/ 138 w 140" name="T84"/>
                <a:gd fmla="*/ 52 h 54" name="T85"/>
                <a:gd fmla="*/ 138 w 140" name="T86"/>
                <a:gd fmla="*/ 52 h 54" name="T87"/>
                <a:gd fmla="*/ 138 w 140" name="T88"/>
                <a:gd fmla="*/ 50 h 54" name="T89"/>
                <a:gd fmla="*/ 140 w 140" name="T90"/>
                <a:gd fmla="*/ 48 h 54" name="T91"/>
                <a:gd fmla="*/ 140 w 140" name="T92"/>
                <a:gd fmla="*/ 46 h 54" name="T93"/>
                <a:gd fmla="*/ 138 w 140" name="T94"/>
                <a:gd fmla="*/ 42 h 54" name="T95"/>
                <a:gd fmla="*/ 120 w 140" name="T96"/>
                <a:gd fmla="*/ 34 h 54" name="T97"/>
                <a:gd fmla="*/ 116 w 140" name="T98"/>
                <a:gd fmla="*/ 30 h 54" name="T99"/>
                <a:gd fmla="*/ 86 w 140" name="T100"/>
                <a:gd fmla="*/ 22 h 54" name="T101"/>
                <a:gd fmla="*/ 76 w 140" name="T102"/>
                <a:gd fmla="*/ 20 h 54" name="T103"/>
                <a:gd fmla="*/ 74 w 140" name="T104"/>
                <a:gd fmla="*/ 20 h 54" name="T105"/>
                <a:gd fmla="*/ 70 w 140" name="T106"/>
                <a:gd fmla="*/ 16 h 54" name="T107"/>
                <a:gd fmla="*/ 66 w 140" name="T108"/>
                <a:gd fmla="*/ 14 h 54" name="T109"/>
                <a:gd fmla="*/ 58 w 140" name="T110"/>
                <a:gd fmla="*/ 8 h 54" name="T111"/>
                <a:gd fmla="*/ 32 w 140" name="T112"/>
                <a:gd fmla="*/ 0 h 54" name="T113"/>
                <a:gd fmla="*/ 18 w 140" name="T114"/>
                <a:gd fmla="*/ 2 h 54" name="T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b="b" l="0" r="r" t="0"/>
              <a:pathLst>
                <a:path h="54" w="140">
                  <a:moveTo>
                    <a:pt x="18" y="2"/>
                  </a:moveTo>
                  <a:lnTo>
                    <a:pt x="16" y="2"/>
                  </a:lnTo>
                  <a:lnTo>
                    <a:pt x="14" y="4"/>
                  </a:lnTo>
                  <a:lnTo>
                    <a:pt x="10" y="6"/>
                  </a:lnTo>
                  <a:lnTo>
                    <a:pt x="6" y="8"/>
                  </a:lnTo>
                  <a:lnTo>
                    <a:pt x="2" y="10"/>
                  </a:lnTo>
                  <a:lnTo>
                    <a:pt x="0" y="14"/>
                  </a:lnTo>
                  <a:lnTo>
                    <a:pt x="0" y="18"/>
                  </a:lnTo>
                  <a:lnTo>
                    <a:pt x="0" y="18"/>
                  </a:lnTo>
                  <a:lnTo>
                    <a:pt x="2" y="20"/>
                  </a:lnTo>
                  <a:lnTo>
                    <a:pt x="4" y="22"/>
                  </a:lnTo>
                  <a:lnTo>
                    <a:pt x="8" y="22"/>
                  </a:lnTo>
                  <a:lnTo>
                    <a:pt x="12" y="22"/>
                  </a:lnTo>
                  <a:lnTo>
                    <a:pt x="16" y="20"/>
                  </a:lnTo>
                  <a:lnTo>
                    <a:pt x="20" y="18"/>
                  </a:lnTo>
                  <a:lnTo>
                    <a:pt x="24" y="16"/>
                  </a:lnTo>
                  <a:lnTo>
                    <a:pt x="28" y="16"/>
                  </a:lnTo>
                  <a:lnTo>
                    <a:pt x="32" y="16"/>
                  </a:lnTo>
                  <a:lnTo>
                    <a:pt x="34" y="18"/>
                  </a:lnTo>
                  <a:lnTo>
                    <a:pt x="36" y="18"/>
                  </a:lnTo>
                  <a:lnTo>
                    <a:pt x="40" y="20"/>
                  </a:lnTo>
                  <a:lnTo>
                    <a:pt x="44" y="22"/>
                  </a:lnTo>
                  <a:lnTo>
                    <a:pt x="48" y="22"/>
                  </a:lnTo>
                  <a:lnTo>
                    <a:pt x="50" y="24"/>
                  </a:lnTo>
                  <a:lnTo>
                    <a:pt x="52" y="24"/>
                  </a:lnTo>
                  <a:lnTo>
                    <a:pt x="68" y="32"/>
                  </a:lnTo>
                  <a:lnTo>
                    <a:pt x="68" y="32"/>
                  </a:lnTo>
                  <a:lnTo>
                    <a:pt x="70" y="34"/>
                  </a:lnTo>
                  <a:lnTo>
                    <a:pt x="74" y="36"/>
                  </a:lnTo>
                  <a:lnTo>
                    <a:pt x="80" y="40"/>
                  </a:lnTo>
                  <a:lnTo>
                    <a:pt x="88" y="40"/>
                  </a:lnTo>
                  <a:lnTo>
                    <a:pt x="98" y="42"/>
                  </a:lnTo>
                  <a:lnTo>
                    <a:pt x="98" y="46"/>
                  </a:lnTo>
                  <a:lnTo>
                    <a:pt x="90" y="50"/>
                  </a:lnTo>
                  <a:lnTo>
                    <a:pt x="92" y="54"/>
                  </a:lnTo>
                  <a:lnTo>
                    <a:pt x="94" y="54"/>
                  </a:lnTo>
                  <a:lnTo>
                    <a:pt x="96" y="54"/>
                  </a:lnTo>
                  <a:lnTo>
                    <a:pt x="102" y="54"/>
                  </a:lnTo>
                  <a:lnTo>
                    <a:pt x="108" y="54"/>
                  </a:lnTo>
                  <a:lnTo>
                    <a:pt x="114" y="54"/>
                  </a:lnTo>
                  <a:lnTo>
                    <a:pt x="120" y="54"/>
                  </a:lnTo>
                  <a:lnTo>
                    <a:pt x="122" y="54"/>
                  </a:lnTo>
                  <a:lnTo>
                    <a:pt x="138" y="52"/>
                  </a:lnTo>
                  <a:lnTo>
                    <a:pt x="138" y="52"/>
                  </a:lnTo>
                  <a:lnTo>
                    <a:pt x="138" y="50"/>
                  </a:lnTo>
                  <a:lnTo>
                    <a:pt x="140" y="48"/>
                  </a:lnTo>
                  <a:lnTo>
                    <a:pt x="140" y="46"/>
                  </a:lnTo>
                  <a:lnTo>
                    <a:pt x="138" y="42"/>
                  </a:lnTo>
                  <a:lnTo>
                    <a:pt x="120" y="34"/>
                  </a:lnTo>
                  <a:lnTo>
                    <a:pt x="116" y="30"/>
                  </a:lnTo>
                  <a:lnTo>
                    <a:pt x="86" y="22"/>
                  </a:lnTo>
                  <a:lnTo>
                    <a:pt x="76" y="20"/>
                  </a:lnTo>
                  <a:lnTo>
                    <a:pt x="74" y="20"/>
                  </a:lnTo>
                  <a:lnTo>
                    <a:pt x="70" y="16"/>
                  </a:lnTo>
                  <a:lnTo>
                    <a:pt x="66" y="14"/>
                  </a:lnTo>
                  <a:lnTo>
                    <a:pt x="58" y="8"/>
                  </a:lnTo>
                  <a:lnTo>
                    <a:pt x="32" y="0"/>
                  </a:lnTo>
                  <a:lnTo>
                    <a:pt x="18"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3" name="Freeform 530"/>
            <p:cNvSpPr/>
            <p:nvPr/>
          </p:nvSpPr>
          <p:spPr bwMode="gray">
            <a:xfrm>
              <a:off x="7737164" y="1645832"/>
              <a:ext cx="814614" cy="1217398"/>
            </a:xfrm>
            <a:custGeom>
              <a:gdLst>
                <a:gd fmla="*/ 96 w 440" name="T0"/>
                <a:gd fmla="*/ 110 h 658" name="T1"/>
                <a:gd fmla="*/ 70 w 440" name="T2"/>
                <a:gd fmla="*/ 128 h 658" name="T3"/>
                <a:gd fmla="*/ 50 w 440" name="T4"/>
                <a:gd fmla="*/ 154 h 658" name="T5"/>
                <a:gd fmla="*/ 66 w 440" name="T6"/>
                <a:gd fmla="*/ 176 h 658" name="T7"/>
                <a:gd fmla="*/ 54 w 440" name="T8"/>
                <a:gd fmla="*/ 202 h 658" name="T9"/>
                <a:gd fmla="*/ 22 w 440" name="T10"/>
                <a:gd fmla="*/ 214 h 658" name="T11"/>
                <a:gd fmla="*/ 2 w 440" name="T12"/>
                <a:gd fmla="*/ 226 h 658" name="T13"/>
                <a:gd fmla="*/ 26 w 440" name="T14"/>
                <a:gd fmla="*/ 256 h 658" name="T15"/>
                <a:gd fmla="*/ 52 w 440" name="T16"/>
                <a:gd fmla="*/ 258 h 658" name="T17"/>
                <a:gd fmla="*/ 38 w 440" name="T18"/>
                <a:gd fmla="*/ 272 h 658" name="T19"/>
                <a:gd fmla="*/ 20 w 440" name="T20"/>
                <a:gd fmla="*/ 274 h 658" name="T21"/>
                <a:gd fmla="*/ 24 w 440" name="T22"/>
                <a:gd fmla="*/ 296 h 658" name="T23"/>
                <a:gd fmla="*/ 46 w 440" name="T24"/>
                <a:gd fmla="*/ 318 h 658" name="T25"/>
                <a:gd fmla="*/ 94 w 440" name="T26"/>
                <a:gd fmla="*/ 304 h 658" name="T27"/>
                <a:gd fmla="*/ 120 w 440" name="T28"/>
                <a:gd fmla="*/ 314 h 658" name="T29"/>
                <a:gd fmla="*/ 142 w 440" name="T30"/>
                <a:gd fmla="*/ 378 h 658" name="T31"/>
                <a:gd fmla="*/ 144 w 440" name="T32"/>
                <a:gd fmla="*/ 410 h 658" name="T33"/>
                <a:gd fmla="*/ 142 w 440" name="T34"/>
                <a:gd fmla="*/ 428 h 658" name="T35"/>
                <a:gd fmla="*/ 148 w 440" name="T36"/>
                <a:gd fmla="*/ 434 h 658" name="T37"/>
                <a:gd fmla="*/ 166 w 440" name="T38"/>
                <a:gd fmla="*/ 448 h 658" name="T39"/>
                <a:gd fmla="*/ 162 w 440" name="T40"/>
                <a:gd fmla="*/ 456 h 658" name="T41"/>
                <a:gd fmla="*/ 166 w 440" name="T42"/>
                <a:gd fmla="*/ 470 h 658" name="T43"/>
                <a:gd fmla="*/ 160 w 440" name="T44"/>
                <a:gd fmla="*/ 502 h 658" name="T45"/>
                <a:gd fmla="*/ 150 w 440" name="T46"/>
                <a:gd fmla="*/ 532 h 658" name="T47"/>
                <a:gd fmla="*/ 166 w 440" name="T48"/>
                <a:gd fmla="*/ 598 h 658" name="T49"/>
                <a:gd fmla="*/ 194 w 440" name="T50"/>
                <a:gd fmla="*/ 646 h 658" name="T51"/>
                <a:gd fmla="*/ 214 w 440" name="T52"/>
                <a:gd fmla="*/ 648 h 658" name="T53"/>
                <a:gd fmla="*/ 234 w 440" name="T54"/>
                <a:gd fmla="*/ 652 h 658" name="T55"/>
                <a:gd fmla="*/ 242 w 440" name="T56"/>
                <a:gd fmla="*/ 610 h 658" name="T57"/>
                <a:gd fmla="*/ 258 w 440" name="T58"/>
                <a:gd fmla="*/ 564 h 658" name="T59"/>
                <a:gd fmla="*/ 282 w 440" name="T60"/>
                <a:gd fmla="*/ 556 h 658" name="T61"/>
                <a:gd fmla="*/ 328 w 440" name="T62"/>
                <a:gd fmla="*/ 510 h 658" name="T63"/>
                <a:gd fmla="*/ 348 w 440" name="T64"/>
                <a:gd fmla="*/ 500 h 658" name="T65"/>
                <a:gd fmla="*/ 372 w 440" name="T66"/>
                <a:gd fmla="*/ 486 h 658" name="T67"/>
                <a:gd fmla="*/ 378 w 440" name="T68"/>
                <a:gd fmla="*/ 464 h 658" name="T69"/>
                <a:gd fmla="*/ 340 w 440" name="T70"/>
                <a:gd fmla="*/ 474 h 658" name="T71"/>
                <a:gd fmla="*/ 344 w 440" name="T72"/>
                <a:gd fmla="*/ 468 h 658" name="T73"/>
                <a:gd fmla="*/ 360 w 440" name="T74"/>
                <a:gd fmla="*/ 438 h 658" name="T75"/>
                <a:gd fmla="*/ 370 w 440" name="T76"/>
                <a:gd fmla="*/ 436 h 658" name="T77"/>
                <a:gd fmla="*/ 390 w 440" name="T78"/>
                <a:gd fmla="*/ 426 h 658" name="T79"/>
                <a:gd fmla="*/ 384 w 440" name="T80"/>
                <a:gd fmla="*/ 392 h 658" name="T81"/>
                <a:gd fmla="*/ 402 w 440" name="T82"/>
                <a:gd fmla="*/ 374 h 658" name="T83"/>
                <a:gd fmla="*/ 414 w 440" name="T84"/>
                <a:gd fmla="*/ 322 h 658" name="T85"/>
                <a:gd fmla="*/ 382 w 440" name="T86"/>
                <a:gd fmla="*/ 310 h 658" name="T87"/>
                <a:gd fmla="*/ 380 w 440" name="T88"/>
                <a:gd fmla="*/ 270 h 658" name="T89"/>
                <a:gd fmla="*/ 380 w 440" name="T90"/>
                <a:gd fmla="*/ 210 h 658" name="T91"/>
                <a:gd fmla="*/ 396 w 440" name="T92"/>
                <a:gd fmla="*/ 174 h 658" name="T93"/>
                <a:gd fmla="*/ 414 w 440" name="T94"/>
                <a:gd fmla="*/ 140 h 658" name="T95"/>
                <a:gd fmla="*/ 410 w 440" name="T96"/>
                <a:gd fmla="*/ 130 h 658" name="T97"/>
                <a:gd fmla="*/ 436 w 440" name="T98"/>
                <a:gd fmla="*/ 86 h 658" name="T99"/>
                <a:gd fmla="*/ 408 w 440" name="T100"/>
                <a:gd fmla="*/ 74 h 658" name="T101"/>
                <a:gd fmla="*/ 398 w 440" name="T102"/>
                <a:gd fmla="*/ 108 h 658" name="T103"/>
                <a:gd fmla="*/ 398 w 440" name="T104"/>
                <a:gd fmla="*/ 66 h 658" name="T105"/>
                <a:gd fmla="*/ 368 w 440" name="T106"/>
                <a:gd fmla="*/ 78 h 658" name="T107"/>
                <a:gd fmla="*/ 364 w 440" name="T108"/>
                <a:gd fmla="*/ 60 h 658" name="T109"/>
                <a:gd fmla="*/ 332 w 440" name="T110"/>
                <a:gd fmla="*/ 62 h 658" name="T111"/>
                <a:gd fmla="*/ 368 w 440" name="T112"/>
                <a:gd fmla="*/ 44 h 658" name="T113"/>
                <a:gd fmla="*/ 338 w 440" name="T114"/>
                <a:gd fmla="*/ 18 h 658" name="T115"/>
                <a:gd fmla="*/ 288 w 440" name="T116"/>
                <a:gd fmla="*/ 38 h 658" name="T117"/>
                <a:gd fmla="*/ 318 w 440" name="T118"/>
                <a:gd fmla="*/ 4 h 658" name="T119"/>
                <a:gd fmla="*/ 224 w 440" name="T120"/>
                <a:gd fmla="*/ 42 h 658" name="T121"/>
                <a:gd fmla="*/ 164 w 440" name="T122"/>
                <a:gd fmla="*/ 66 h 658"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658" w="440">
                  <a:moveTo>
                    <a:pt x="104" y="78"/>
                  </a:moveTo>
                  <a:lnTo>
                    <a:pt x="102" y="78"/>
                  </a:lnTo>
                  <a:lnTo>
                    <a:pt x="102" y="80"/>
                  </a:lnTo>
                  <a:lnTo>
                    <a:pt x="98" y="82"/>
                  </a:lnTo>
                  <a:lnTo>
                    <a:pt x="96" y="86"/>
                  </a:lnTo>
                  <a:lnTo>
                    <a:pt x="96" y="88"/>
                  </a:lnTo>
                  <a:lnTo>
                    <a:pt x="94" y="92"/>
                  </a:lnTo>
                  <a:lnTo>
                    <a:pt x="96" y="94"/>
                  </a:lnTo>
                  <a:lnTo>
                    <a:pt x="96" y="96"/>
                  </a:lnTo>
                  <a:lnTo>
                    <a:pt x="96" y="102"/>
                  </a:lnTo>
                  <a:lnTo>
                    <a:pt x="96" y="110"/>
                  </a:lnTo>
                  <a:lnTo>
                    <a:pt x="96" y="110"/>
                  </a:lnTo>
                  <a:lnTo>
                    <a:pt x="96" y="112"/>
                  </a:lnTo>
                  <a:lnTo>
                    <a:pt x="96" y="116"/>
                  </a:lnTo>
                  <a:lnTo>
                    <a:pt x="96" y="118"/>
                  </a:lnTo>
                  <a:lnTo>
                    <a:pt x="94" y="122"/>
                  </a:lnTo>
                  <a:lnTo>
                    <a:pt x="90" y="122"/>
                  </a:lnTo>
                  <a:lnTo>
                    <a:pt x="76" y="122"/>
                  </a:lnTo>
                  <a:lnTo>
                    <a:pt x="74" y="122"/>
                  </a:lnTo>
                  <a:lnTo>
                    <a:pt x="74" y="124"/>
                  </a:lnTo>
                  <a:lnTo>
                    <a:pt x="72" y="126"/>
                  </a:lnTo>
                  <a:lnTo>
                    <a:pt x="70" y="128"/>
                  </a:lnTo>
                  <a:lnTo>
                    <a:pt x="68" y="128"/>
                  </a:lnTo>
                  <a:lnTo>
                    <a:pt x="56" y="130"/>
                  </a:lnTo>
                  <a:lnTo>
                    <a:pt x="56" y="132"/>
                  </a:lnTo>
                  <a:lnTo>
                    <a:pt x="56" y="134"/>
                  </a:lnTo>
                  <a:lnTo>
                    <a:pt x="56" y="138"/>
                  </a:lnTo>
                  <a:lnTo>
                    <a:pt x="52" y="142"/>
                  </a:lnTo>
                  <a:lnTo>
                    <a:pt x="52" y="142"/>
                  </a:lnTo>
                  <a:lnTo>
                    <a:pt x="50" y="144"/>
                  </a:lnTo>
                  <a:lnTo>
                    <a:pt x="48" y="146"/>
                  </a:lnTo>
                  <a:lnTo>
                    <a:pt x="48" y="150"/>
                  </a:lnTo>
                  <a:lnTo>
                    <a:pt x="50" y="154"/>
                  </a:lnTo>
                  <a:lnTo>
                    <a:pt x="50" y="154"/>
                  </a:lnTo>
                  <a:lnTo>
                    <a:pt x="54" y="156"/>
                  </a:lnTo>
                  <a:lnTo>
                    <a:pt x="58" y="156"/>
                  </a:lnTo>
                  <a:lnTo>
                    <a:pt x="62" y="158"/>
                  </a:lnTo>
                  <a:lnTo>
                    <a:pt x="68" y="158"/>
                  </a:lnTo>
                  <a:lnTo>
                    <a:pt x="68" y="160"/>
                  </a:lnTo>
                  <a:lnTo>
                    <a:pt x="68" y="162"/>
                  </a:lnTo>
                  <a:lnTo>
                    <a:pt x="68" y="166"/>
                  </a:lnTo>
                  <a:lnTo>
                    <a:pt x="68" y="168"/>
                  </a:lnTo>
                  <a:lnTo>
                    <a:pt x="66" y="172"/>
                  </a:lnTo>
                  <a:lnTo>
                    <a:pt x="66" y="176"/>
                  </a:lnTo>
                  <a:lnTo>
                    <a:pt x="68" y="180"/>
                  </a:lnTo>
                  <a:lnTo>
                    <a:pt x="68" y="182"/>
                  </a:lnTo>
                  <a:lnTo>
                    <a:pt x="68" y="186"/>
                  </a:lnTo>
                  <a:lnTo>
                    <a:pt x="68" y="190"/>
                  </a:lnTo>
                  <a:lnTo>
                    <a:pt x="66" y="192"/>
                  </a:lnTo>
                  <a:lnTo>
                    <a:pt x="64" y="194"/>
                  </a:lnTo>
                  <a:lnTo>
                    <a:pt x="62" y="194"/>
                  </a:lnTo>
                  <a:lnTo>
                    <a:pt x="58" y="194"/>
                  </a:lnTo>
                  <a:lnTo>
                    <a:pt x="56" y="196"/>
                  </a:lnTo>
                  <a:lnTo>
                    <a:pt x="56" y="200"/>
                  </a:lnTo>
                  <a:lnTo>
                    <a:pt x="54" y="202"/>
                  </a:lnTo>
                  <a:lnTo>
                    <a:pt x="54" y="202"/>
                  </a:lnTo>
                  <a:lnTo>
                    <a:pt x="52" y="202"/>
                  </a:lnTo>
                  <a:lnTo>
                    <a:pt x="48" y="202"/>
                  </a:lnTo>
                  <a:lnTo>
                    <a:pt x="46" y="202"/>
                  </a:lnTo>
                  <a:lnTo>
                    <a:pt x="44" y="202"/>
                  </a:lnTo>
                  <a:lnTo>
                    <a:pt x="42" y="204"/>
                  </a:lnTo>
                  <a:lnTo>
                    <a:pt x="42" y="206"/>
                  </a:lnTo>
                  <a:lnTo>
                    <a:pt x="38" y="208"/>
                  </a:lnTo>
                  <a:lnTo>
                    <a:pt x="32" y="212"/>
                  </a:lnTo>
                  <a:lnTo>
                    <a:pt x="28" y="214"/>
                  </a:lnTo>
                  <a:lnTo>
                    <a:pt x="22" y="214"/>
                  </a:lnTo>
                  <a:lnTo>
                    <a:pt x="22" y="214"/>
                  </a:lnTo>
                  <a:lnTo>
                    <a:pt x="20" y="214"/>
                  </a:lnTo>
                  <a:lnTo>
                    <a:pt x="16" y="214"/>
                  </a:lnTo>
                  <a:lnTo>
                    <a:pt x="14" y="216"/>
                  </a:lnTo>
                  <a:lnTo>
                    <a:pt x="10" y="218"/>
                  </a:lnTo>
                  <a:lnTo>
                    <a:pt x="10" y="220"/>
                  </a:lnTo>
                  <a:lnTo>
                    <a:pt x="8" y="222"/>
                  </a:lnTo>
                  <a:lnTo>
                    <a:pt x="6" y="222"/>
                  </a:lnTo>
                  <a:lnTo>
                    <a:pt x="6" y="224"/>
                  </a:lnTo>
                  <a:lnTo>
                    <a:pt x="4" y="224"/>
                  </a:lnTo>
                  <a:lnTo>
                    <a:pt x="2" y="226"/>
                  </a:lnTo>
                  <a:lnTo>
                    <a:pt x="0" y="230"/>
                  </a:lnTo>
                  <a:lnTo>
                    <a:pt x="2" y="234"/>
                  </a:lnTo>
                  <a:lnTo>
                    <a:pt x="4" y="238"/>
                  </a:lnTo>
                  <a:lnTo>
                    <a:pt x="6" y="240"/>
                  </a:lnTo>
                  <a:lnTo>
                    <a:pt x="10" y="240"/>
                  </a:lnTo>
                  <a:lnTo>
                    <a:pt x="18" y="246"/>
                  </a:lnTo>
                  <a:lnTo>
                    <a:pt x="20" y="248"/>
                  </a:lnTo>
                  <a:lnTo>
                    <a:pt x="22" y="250"/>
                  </a:lnTo>
                  <a:lnTo>
                    <a:pt x="24" y="252"/>
                  </a:lnTo>
                  <a:lnTo>
                    <a:pt x="24" y="254"/>
                  </a:lnTo>
                  <a:lnTo>
                    <a:pt x="26" y="256"/>
                  </a:lnTo>
                  <a:lnTo>
                    <a:pt x="30" y="256"/>
                  </a:lnTo>
                  <a:lnTo>
                    <a:pt x="34" y="256"/>
                  </a:lnTo>
                  <a:lnTo>
                    <a:pt x="40" y="256"/>
                  </a:lnTo>
                  <a:lnTo>
                    <a:pt x="40" y="254"/>
                  </a:lnTo>
                  <a:lnTo>
                    <a:pt x="40" y="252"/>
                  </a:lnTo>
                  <a:lnTo>
                    <a:pt x="42" y="252"/>
                  </a:lnTo>
                  <a:lnTo>
                    <a:pt x="44" y="250"/>
                  </a:lnTo>
                  <a:lnTo>
                    <a:pt x="46" y="252"/>
                  </a:lnTo>
                  <a:lnTo>
                    <a:pt x="48" y="254"/>
                  </a:lnTo>
                  <a:lnTo>
                    <a:pt x="50" y="256"/>
                  </a:lnTo>
                  <a:lnTo>
                    <a:pt x="52" y="258"/>
                  </a:lnTo>
                  <a:lnTo>
                    <a:pt x="52" y="260"/>
                  </a:lnTo>
                  <a:lnTo>
                    <a:pt x="48" y="262"/>
                  </a:lnTo>
                  <a:lnTo>
                    <a:pt x="44" y="264"/>
                  </a:lnTo>
                  <a:lnTo>
                    <a:pt x="42" y="266"/>
                  </a:lnTo>
                  <a:lnTo>
                    <a:pt x="42" y="268"/>
                  </a:lnTo>
                  <a:lnTo>
                    <a:pt x="44" y="270"/>
                  </a:lnTo>
                  <a:lnTo>
                    <a:pt x="44" y="272"/>
                  </a:lnTo>
                  <a:lnTo>
                    <a:pt x="44" y="274"/>
                  </a:lnTo>
                  <a:lnTo>
                    <a:pt x="44" y="274"/>
                  </a:lnTo>
                  <a:lnTo>
                    <a:pt x="42" y="274"/>
                  </a:lnTo>
                  <a:lnTo>
                    <a:pt x="38" y="272"/>
                  </a:lnTo>
                  <a:lnTo>
                    <a:pt x="36" y="270"/>
                  </a:lnTo>
                  <a:lnTo>
                    <a:pt x="32" y="268"/>
                  </a:lnTo>
                  <a:lnTo>
                    <a:pt x="32" y="268"/>
                  </a:lnTo>
                  <a:lnTo>
                    <a:pt x="32" y="270"/>
                  </a:lnTo>
                  <a:lnTo>
                    <a:pt x="30" y="272"/>
                  </a:lnTo>
                  <a:lnTo>
                    <a:pt x="30" y="276"/>
                  </a:lnTo>
                  <a:lnTo>
                    <a:pt x="30" y="278"/>
                  </a:lnTo>
                  <a:lnTo>
                    <a:pt x="28" y="278"/>
                  </a:lnTo>
                  <a:lnTo>
                    <a:pt x="26" y="278"/>
                  </a:lnTo>
                  <a:lnTo>
                    <a:pt x="24" y="276"/>
                  </a:lnTo>
                  <a:lnTo>
                    <a:pt x="20" y="274"/>
                  </a:lnTo>
                  <a:lnTo>
                    <a:pt x="18" y="272"/>
                  </a:lnTo>
                  <a:lnTo>
                    <a:pt x="16" y="274"/>
                  </a:lnTo>
                  <a:lnTo>
                    <a:pt x="12" y="276"/>
                  </a:lnTo>
                  <a:lnTo>
                    <a:pt x="10" y="278"/>
                  </a:lnTo>
                  <a:lnTo>
                    <a:pt x="8" y="280"/>
                  </a:lnTo>
                  <a:lnTo>
                    <a:pt x="10" y="282"/>
                  </a:lnTo>
                  <a:lnTo>
                    <a:pt x="12" y="286"/>
                  </a:lnTo>
                  <a:lnTo>
                    <a:pt x="14" y="290"/>
                  </a:lnTo>
                  <a:lnTo>
                    <a:pt x="18" y="292"/>
                  </a:lnTo>
                  <a:lnTo>
                    <a:pt x="22" y="294"/>
                  </a:lnTo>
                  <a:lnTo>
                    <a:pt x="24" y="296"/>
                  </a:lnTo>
                  <a:lnTo>
                    <a:pt x="26" y="296"/>
                  </a:lnTo>
                  <a:lnTo>
                    <a:pt x="26" y="304"/>
                  </a:lnTo>
                  <a:lnTo>
                    <a:pt x="28" y="304"/>
                  </a:lnTo>
                  <a:lnTo>
                    <a:pt x="30" y="304"/>
                  </a:lnTo>
                  <a:lnTo>
                    <a:pt x="34" y="306"/>
                  </a:lnTo>
                  <a:lnTo>
                    <a:pt x="38" y="308"/>
                  </a:lnTo>
                  <a:lnTo>
                    <a:pt x="40" y="310"/>
                  </a:lnTo>
                  <a:lnTo>
                    <a:pt x="42" y="312"/>
                  </a:lnTo>
                  <a:lnTo>
                    <a:pt x="44" y="314"/>
                  </a:lnTo>
                  <a:lnTo>
                    <a:pt x="44" y="316"/>
                  </a:lnTo>
                  <a:lnTo>
                    <a:pt x="46" y="318"/>
                  </a:lnTo>
                  <a:lnTo>
                    <a:pt x="48" y="318"/>
                  </a:lnTo>
                  <a:lnTo>
                    <a:pt x="50" y="318"/>
                  </a:lnTo>
                  <a:lnTo>
                    <a:pt x="54" y="318"/>
                  </a:lnTo>
                  <a:lnTo>
                    <a:pt x="58" y="316"/>
                  </a:lnTo>
                  <a:lnTo>
                    <a:pt x="66" y="312"/>
                  </a:lnTo>
                  <a:lnTo>
                    <a:pt x="70" y="308"/>
                  </a:lnTo>
                  <a:lnTo>
                    <a:pt x="74" y="306"/>
                  </a:lnTo>
                  <a:lnTo>
                    <a:pt x="78" y="304"/>
                  </a:lnTo>
                  <a:lnTo>
                    <a:pt x="82" y="304"/>
                  </a:lnTo>
                  <a:lnTo>
                    <a:pt x="88" y="304"/>
                  </a:lnTo>
                  <a:lnTo>
                    <a:pt x="94" y="304"/>
                  </a:lnTo>
                  <a:lnTo>
                    <a:pt x="98" y="302"/>
                  </a:lnTo>
                  <a:lnTo>
                    <a:pt x="104" y="302"/>
                  </a:lnTo>
                  <a:lnTo>
                    <a:pt x="108" y="302"/>
                  </a:lnTo>
                  <a:lnTo>
                    <a:pt x="108" y="302"/>
                  </a:lnTo>
                  <a:lnTo>
                    <a:pt x="110" y="302"/>
                  </a:lnTo>
                  <a:lnTo>
                    <a:pt x="112" y="304"/>
                  </a:lnTo>
                  <a:lnTo>
                    <a:pt x="114" y="306"/>
                  </a:lnTo>
                  <a:lnTo>
                    <a:pt x="116" y="310"/>
                  </a:lnTo>
                  <a:lnTo>
                    <a:pt x="118" y="314"/>
                  </a:lnTo>
                  <a:lnTo>
                    <a:pt x="118" y="314"/>
                  </a:lnTo>
                  <a:lnTo>
                    <a:pt x="120" y="314"/>
                  </a:lnTo>
                  <a:lnTo>
                    <a:pt x="124" y="316"/>
                  </a:lnTo>
                  <a:lnTo>
                    <a:pt x="126" y="318"/>
                  </a:lnTo>
                  <a:lnTo>
                    <a:pt x="128" y="324"/>
                  </a:lnTo>
                  <a:lnTo>
                    <a:pt x="132" y="330"/>
                  </a:lnTo>
                  <a:lnTo>
                    <a:pt x="132" y="348"/>
                  </a:lnTo>
                  <a:lnTo>
                    <a:pt x="132" y="350"/>
                  </a:lnTo>
                  <a:lnTo>
                    <a:pt x="134" y="352"/>
                  </a:lnTo>
                  <a:lnTo>
                    <a:pt x="136" y="358"/>
                  </a:lnTo>
                  <a:lnTo>
                    <a:pt x="138" y="364"/>
                  </a:lnTo>
                  <a:lnTo>
                    <a:pt x="140" y="370"/>
                  </a:lnTo>
                  <a:lnTo>
                    <a:pt x="142" y="378"/>
                  </a:lnTo>
                  <a:lnTo>
                    <a:pt x="140" y="384"/>
                  </a:lnTo>
                  <a:lnTo>
                    <a:pt x="140" y="390"/>
                  </a:lnTo>
                  <a:lnTo>
                    <a:pt x="142" y="394"/>
                  </a:lnTo>
                  <a:lnTo>
                    <a:pt x="144" y="398"/>
                  </a:lnTo>
                  <a:lnTo>
                    <a:pt x="148" y="402"/>
                  </a:lnTo>
                  <a:lnTo>
                    <a:pt x="148" y="404"/>
                  </a:lnTo>
                  <a:lnTo>
                    <a:pt x="148" y="406"/>
                  </a:lnTo>
                  <a:lnTo>
                    <a:pt x="146" y="408"/>
                  </a:lnTo>
                  <a:lnTo>
                    <a:pt x="146" y="410"/>
                  </a:lnTo>
                  <a:lnTo>
                    <a:pt x="144" y="410"/>
                  </a:lnTo>
                  <a:lnTo>
                    <a:pt x="144" y="410"/>
                  </a:lnTo>
                  <a:lnTo>
                    <a:pt x="142" y="410"/>
                  </a:lnTo>
                  <a:lnTo>
                    <a:pt x="140" y="410"/>
                  </a:lnTo>
                  <a:lnTo>
                    <a:pt x="140" y="410"/>
                  </a:lnTo>
                  <a:lnTo>
                    <a:pt x="138" y="412"/>
                  </a:lnTo>
                  <a:lnTo>
                    <a:pt x="138" y="416"/>
                  </a:lnTo>
                  <a:lnTo>
                    <a:pt x="140" y="418"/>
                  </a:lnTo>
                  <a:lnTo>
                    <a:pt x="142" y="420"/>
                  </a:lnTo>
                  <a:lnTo>
                    <a:pt x="144" y="422"/>
                  </a:lnTo>
                  <a:lnTo>
                    <a:pt x="144" y="424"/>
                  </a:lnTo>
                  <a:lnTo>
                    <a:pt x="144" y="426"/>
                  </a:lnTo>
                  <a:lnTo>
                    <a:pt x="142" y="428"/>
                  </a:lnTo>
                  <a:lnTo>
                    <a:pt x="138" y="430"/>
                  </a:lnTo>
                  <a:lnTo>
                    <a:pt x="136" y="434"/>
                  </a:lnTo>
                  <a:lnTo>
                    <a:pt x="134" y="436"/>
                  </a:lnTo>
                  <a:lnTo>
                    <a:pt x="132" y="438"/>
                  </a:lnTo>
                  <a:lnTo>
                    <a:pt x="132" y="440"/>
                  </a:lnTo>
                  <a:lnTo>
                    <a:pt x="134" y="440"/>
                  </a:lnTo>
                  <a:lnTo>
                    <a:pt x="138" y="440"/>
                  </a:lnTo>
                  <a:lnTo>
                    <a:pt x="142" y="440"/>
                  </a:lnTo>
                  <a:lnTo>
                    <a:pt x="146" y="438"/>
                  </a:lnTo>
                  <a:lnTo>
                    <a:pt x="146" y="436"/>
                  </a:lnTo>
                  <a:lnTo>
                    <a:pt x="148" y="434"/>
                  </a:lnTo>
                  <a:lnTo>
                    <a:pt x="150" y="430"/>
                  </a:lnTo>
                  <a:lnTo>
                    <a:pt x="152" y="426"/>
                  </a:lnTo>
                  <a:lnTo>
                    <a:pt x="154" y="424"/>
                  </a:lnTo>
                  <a:lnTo>
                    <a:pt x="156" y="424"/>
                  </a:lnTo>
                  <a:lnTo>
                    <a:pt x="158" y="426"/>
                  </a:lnTo>
                  <a:lnTo>
                    <a:pt x="160" y="430"/>
                  </a:lnTo>
                  <a:lnTo>
                    <a:pt x="162" y="434"/>
                  </a:lnTo>
                  <a:lnTo>
                    <a:pt x="162" y="438"/>
                  </a:lnTo>
                  <a:lnTo>
                    <a:pt x="164" y="442"/>
                  </a:lnTo>
                  <a:lnTo>
                    <a:pt x="164" y="446"/>
                  </a:lnTo>
                  <a:lnTo>
                    <a:pt x="166" y="448"/>
                  </a:lnTo>
                  <a:lnTo>
                    <a:pt x="168" y="450"/>
                  </a:lnTo>
                  <a:lnTo>
                    <a:pt x="172" y="450"/>
                  </a:lnTo>
                  <a:lnTo>
                    <a:pt x="176" y="452"/>
                  </a:lnTo>
                  <a:lnTo>
                    <a:pt x="178" y="456"/>
                  </a:lnTo>
                  <a:lnTo>
                    <a:pt x="178" y="460"/>
                  </a:lnTo>
                  <a:lnTo>
                    <a:pt x="178" y="464"/>
                  </a:lnTo>
                  <a:lnTo>
                    <a:pt x="178" y="464"/>
                  </a:lnTo>
                  <a:lnTo>
                    <a:pt x="174" y="464"/>
                  </a:lnTo>
                  <a:lnTo>
                    <a:pt x="170" y="462"/>
                  </a:lnTo>
                  <a:lnTo>
                    <a:pt x="166" y="458"/>
                  </a:lnTo>
                  <a:lnTo>
                    <a:pt x="162" y="456"/>
                  </a:lnTo>
                  <a:lnTo>
                    <a:pt x="156" y="454"/>
                  </a:lnTo>
                  <a:lnTo>
                    <a:pt x="152" y="454"/>
                  </a:lnTo>
                  <a:lnTo>
                    <a:pt x="148" y="454"/>
                  </a:lnTo>
                  <a:lnTo>
                    <a:pt x="148" y="456"/>
                  </a:lnTo>
                  <a:lnTo>
                    <a:pt x="148" y="456"/>
                  </a:lnTo>
                  <a:lnTo>
                    <a:pt x="148" y="458"/>
                  </a:lnTo>
                  <a:lnTo>
                    <a:pt x="150" y="460"/>
                  </a:lnTo>
                  <a:lnTo>
                    <a:pt x="152" y="464"/>
                  </a:lnTo>
                  <a:lnTo>
                    <a:pt x="156" y="466"/>
                  </a:lnTo>
                  <a:lnTo>
                    <a:pt x="162" y="468"/>
                  </a:lnTo>
                  <a:lnTo>
                    <a:pt x="166" y="470"/>
                  </a:lnTo>
                  <a:lnTo>
                    <a:pt x="170" y="470"/>
                  </a:lnTo>
                  <a:lnTo>
                    <a:pt x="172" y="472"/>
                  </a:lnTo>
                  <a:lnTo>
                    <a:pt x="174" y="474"/>
                  </a:lnTo>
                  <a:lnTo>
                    <a:pt x="176" y="476"/>
                  </a:lnTo>
                  <a:lnTo>
                    <a:pt x="176" y="480"/>
                  </a:lnTo>
                  <a:lnTo>
                    <a:pt x="176" y="484"/>
                  </a:lnTo>
                  <a:lnTo>
                    <a:pt x="172" y="490"/>
                  </a:lnTo>
                  <a:lnTo>
                    <a:pt x="168" y="494"/>
                  </a:lnTo>
                  <a:lnTo>
                    <a:pt x="166" y="498"/>
                  </a:lnTo>
                  <a:lnTo>
                    <a:pt x="162" y="500"/>
                  </a:lnTo>
                  <a:lnTo>
                    <a:pt x="160" y="502"/>
                  </a:lnTo>
                  <a:lnTo>
                    <a:pt x="158" y="502"/>
                  </a:lnTo>
                  <a:lnTo>
                    <a:pt x="156" y="504"/>
                  </a:lnTo>
                  <a:lnTo>
                    <a:pt x="158" y="506"/>
                  </a:lnTo>
                  <a:lnTo>
                    <a:pt x="158" y="508"/>
                  </a:lnTo>
                  <a:lnTo>
                    <a:pt x="160" y="508"/>
                  </a:lnTo>
                  <a:lnTo>
                    <a:pt x="162" y="508"/>
                  </a:lnTo>
                  <a:lnTo>
                    <a:pt x="156" y="514"/>
                  </a:lnTo>
                  <a:lnTo>
                    <a:pt x="148" y="526"/>
                  </a:lnTo>
                  <a:lnTo>
                    <a:pt x="148" y="526"/>
                  </a:lnTo>
                  <a:lnTo>
                    <a:pt x="150" y="528"/>
                  </a:lnTo>
                  <a:lnTo>
                    <a:pt x="150" y="532"/>
                  </a:lnTo>
                  <a:lnTo>
                    <a:pt x="152" y="538"/>
                  </a:lnTo>
                  <a:lnTo>
                    <a:pt x="152" y="544"/>
                  </a:lnTo>
                  <a:lnTo>
                    <a:pt x="154" y="550"/>
                  </a:lnTo>
                  <a:lnTo>
                    <a:pt x="154" y="558"/>
                  </a:lnTo>
                  <a:lnTo>
                    <a:pt x="156" y="566"/>
                  </a:lnTo>
                  <a:lnTo>
                    <a:pt x="158" y="572"/>
                  </a:lnTo>
                  <a:lnTo>
                    <a:pt x="160" y="578"/>
                  </a:lnTo>
                  <a:lnTo>
                    <a:pt x="162" y="584"/>
                  </a:lnTo>
                  <a:lnTo>
                    <a:pt x="164" y="588"/>
                  </a:lnTo>
                  <a:lnTo>
                    <a:pt x="166" y="594"/>
                  </a:lnTo>
                  <a:lnTo>
                    <a:pt x="166" y="598"/>
                  </a:lnTo>
                  <a:lnTo>
                    <a:pt x="166" y="600"/>
                  </a:lnTo>
                  <a:lnTo>
                    <a:pt x="178" y="620"/>
                  </a:lnTo>
                  <a:lnTo>
                    <a:pt x="180" y="620"/>
                  </a:lnTo>
                  <a:lnTo>
                    <a:pt x="180" y="624"/>
                  </a:lnTo>
                  <a:lnTo>
                    <a:pt x="180" y="628"/>
                  </a:lnTo>
                  <a:lnTo>
                    <a:pt x="182" y="634"/>
                  </a:lnTo>
                  <a:lnTo>
                    <a:pt x="184" y="638"/>
                  </a:lnTo>
                  <a:lnTo>
                    <a:pt x="184" y="642"/>
                  </a:lnTo>
                  <a:lnTo>
                    <a:pt x="186" y="644"/>
                  </a:lnTo>
                  <a:lnTo>
                    <a:pt x="190" y="646"/>
                  </a:lnTo>
                  <a:lnTo>
                    <a:pt x="194" y="646"/>
                  </a:lnTo>
                  <a:lnTo>
                    <a:pt x="202" y="646"/>
                  </a:lnTo>
                  <a:lnTo>
                    <a:pt x="208" y="644"/>
                  </a:lnTo>
                  <a:lnTo>
                    <a:pt x="212" y="642"/>
                  </a:lnTo>
                  <a:lnTo>
                    <a:pt x="214" y="642"/>
                  </a:lnTo>
                  <a:lnTo>
                    <a:pt x="216" y="640"/>
                  </a:lnTo>
                  <a:lnTo>
                    <a:pt x="218" y="640"/>
                  </a:lnTo>
                  <a:lnTo>
                    <a:pt x="220" y="640"/>
                  </a:lnTo>
                  <a:lnTo>
                    <a:pt x="220" y="642"/>
                  </a:lnTo>
                  <a:lnTo>
                    <a:pt x="218" y="644"/>
                  </a:lnTo>
                  <a:lnTo>
                    <a:pt x="216" y="646"/>
                  </a:lnTo>
                  <a:lnTo>
                    <a:pt x="214" y="648"/>
                  </a:lnTo>
                  <a:lnTo>
                    <a:pt x="212" y="650"/>
                  </a:lnTo>
                  <a:lnTo>
                    <a:pt x="210" y="650"/>
                  </a:lnTo>
                  <a:lnTo>
                    <a:pt x="212" y="652"/>
                  </a:lnTo>
                  <a:lnTo>
                    <a:pt x="214" y="654"/>
                  </a:lnTo>
                  <a:lnTo>
                    <a:pt x="218" y="656"/>
                  </a:lnTo>
                  <a:lnTo>
                    <a:pt x="222" y="656"/>
                  </a:lnTo>
                  <a:lnTo>
                    <a:pt x="226" y="658"/>
                  </a:lnTo>
                  <a:lnTo>
                    <a:pt x="228" y="658"/>
                  </a:lnTo>
                  <a:lnTo>
                    <a:pt x="232" y="658"/>
                  </a:lnTo>
                  <a:lnTo>
                    <a:pt x="234" y="656"/>
                  </a:lnTo>
                  <a:lnTo>
                    <a:pt x="234" y="652"/>
                  </a:lnTo>
                  <a:lnTo>
                    <a:pt x="234" y="644"/>
                  </a:lnTo>
                  <a:lnTo>
                    <a:pt x="234" y="638"/>
                  </a:lnTo>
                  <a:lnTo>
                    <a:pt x="236" y="632"/>
                  </a:lnTo>
                  <a:lnTo>
                    <a:pt x="238" y="630"/>
                  </a:lnTo>
                  <a:lnTo>
                    <a:pt x="240" y="626"/>
                  </a:lnTo>
                  <a:lnTo>
                    <a:pt x="240" y="622"/>
                  </a:lnTo>
                  <a:lnTo>
                    <a:pt x="240" y="618"/>
                  </a:lnTo>
                  <a:lnTo>
                    <a:pt x="238" y="616"/>
                  </a:lnTo>
                  <a:lnTo>
                    <a:pt x="238" y="614"/>
                  </a:lnTo>
                  <a:lnTo>
                    <a:pt x="238" y="612"/>
                  </a:lnTo>
                  <a:lnTo>
                    <a:pt x="242" y="610"/>
                  </a:lnTo>
                  <a:lnTo>
                    <a:pt x="244" y="608"/>
                  </a:lnTo>
                  <a:lnTo>
                    <a:pt x="246" y="608"/>
                  </a:lnTo>
                  <a:lnTo>
                    <a:pt x="246" y="606"/>
                  </a:lnTo>
                  <a:lnTo>
                    <a:pt x="250" y="590"/>
                  </a:lnTo>
                  <a:lnTo>
                    <a:pt x="252" y="576"/>
                  </a:lnTo>
                  <a:lnTo>
                    <a:pt x="252" y="574"/>
                  </a:lnTo>
                  <a:lnTo>
                    <a:pt x="252" y="572"/>
                  </a:lnTo>
                  <a:lnTo>
                    <a:pt x="250" y="570"/>
                  </a:lnTo>
                  <a:lnTo>
                    <a:pt x="252" y="566"/>
                  </a:lnTo>
                  <a:lnTo>
                    <a:pt x="254" y="566"/>
                  </a:lnTo>
                  <a:lnTo>
                    <a:pt x="258" y="564"/>
                  </a:lnTo>
                  <a:lnTo>
                    <a:pt x="260" y="564"/>
                  </a:lnTo>
                  <a:lnTo>
                    <a:pt x="260" y="566"/>
                  </a:lnTo>
                  <a:lnTo>
                    <a:pt x="260" y="566"/>
                  </a:lnTo>
                  <a:lnTo>
                    <a:pt x="262" y="566"/>
                  </a:lnTo>
                  <a:lnTo>
                    <a:pt x="266" y="566"/>
                  </a:lnTo>
                  <a:lnTo>
                    <a:pt x="268" y="564"/>
                  </a:lnTo>
                  <a:lnTo>
                    <a:pt x="270" y="562"/>
                  </a:lnTo>
                  <a:lnTo>
                    <a:pt x="272" y="560"/>
                  </a:lnTo>
                  <a:lnTo>
                    <a:pt x="276" y="558"/>
                  </a:lnTo>
                  <a:lnTo>
                    <a:pt x="280" y="556"/>
                  </a:lnTo>
                  <a:lnTo>
                    <a:pt x="282" y="556"/>
                  </a:lnTo>
                  <a:lnTo>
                    <a:pt x="284" y="556"/>
                  </a:lnTo>
                  <a:lnTo>
                    <a:pt x="286" y="552"/>
                  </a:lnTo>
                  <a:lnTo>
                    <a:pt x="292" y="544"/>
                  </a:lnTo>
                  <a:lnTo>
                    <a:pt x="302" y="534"/>
                  </a:lnTo>
                  <a:lnTo>
                    <a:pt x="310" y="526"/>
                  </a:lnTo>
                  <a:lnTo>
                    <a:pt x="318" y="518"/>
                  </a:lnTo>
                  <a:lnTo>
                    <a:pt x="322" y="516"/>
                  </a:lnTo>
                  <a:lnTo>
                    <a:pt x="324" y="518"/>
                  </a:lnTo>
                  <a:lnTo>
                    <a:pt x="326" y="516"/>
                  </a:lnTo>
                  <a:lnTo>
                    <a:pt x="326" y="512"/>
                  </a:lnTo>
                  <a:lnTo>
                    <a:pt x="328" y="510"/>
                  </a:lnTo>
                  <a:lnTo>
                    <a:pt x="330" y="506"/>
                  </a:lnTo>
                  <a:lnTo>
                    <a:pt x="330" y="504"/>
                  </a:lnTo>
                  <a:lnTo>
                    <a:pt x="332" y="502"/>
                  </a:lnTo>
                  <a:lnTo>
                    <a:pt x="334" y="500"/>
                  </a:lnTo>
                  <a:lnTo>
                    <a:pt x="336" y="498"/>
                  </a:lnTo>
                  <a:lnTo>
                    <a:pt x="338" y="498"/>
                  </a:lnTo>
                  <a:lnTo>
                    <a:pt x="340" y="500"/>
                  </a:lnTo>
                  <a:lnTo>
                    <a:pt x="342" y="504"/>
                  </a:lnTo>
                  <a:lnTo>
                    <a:pt x="346" y="504"/>
                  </a:lnTo>
                  <a:lnTo>
                    <a:pt x="348" y="504"/>
                  </a:lnTo>
                  <a:lnTo>
                    <a:pt x="348" y="500"/>
                  </a:lnTo>
                  <a:lnTo>
                    <a:pt x="350" y="498"/>
                  </a:lnTo>
                  <a:lnTo>
                    <a:pt x="352" y="498"/>
                  </a:lnTo>
                  <a:lnTo>
                    <a:pt x="356" y="498"/>
                  </a:lnTo>
                  <a:lnTo>
                    <a:pt x="358" y="498"/>
                  </a:lnTo>
                  <a:lnTo>
                    <a:pt x="358" y="498"/>
                  </a:lnTo>
                  <a:lnTo>
                    <a:pt x="358" y="498"/>
                  </a:lnTo>
                  <a:lnTo>
                    <a:pt x="360" y="496"/>
                  </a:lnTo>
                  <a:lnTo>
                    <a:pt x="364" y="494"/>
                  </a:lnTo>
                  <a:lnTo>
                    <a:pt x="366" y="490"/>
                  </a:lnTo>
                  <a:lnTo>
                    <a:pt x="370" y="488"/>
                  </a:lnTo>
                  <a:lnTo>
                    <a:pt x="372" y="486"/>
                  </a:lnTo>
                  <a:lnTo>
                    <a:pt x="374" y="484"/>
                  </a:lnTo>
                  <a:lnTo>
                    <a:pt x="380" y="480"/>
                  </a:lnTo>
                  <a:lnTo>
                    <a:pt x="384" y="478"/>
                  </a:lnTo>
                  <a:lnTo>
                    <a:pt x="386" y="476"/>
                  </a:lnTo>
                  <a:lnTo>
                    <a:pt x="390" y="474"/>
                  </a:lnTo>
                  <a:lnTo>
                    <a:pt x="390" y="472"/>
                  </a:lnTo>
                  <a:lnTo>
                    <a:pt x="390" y="470"/>
                  </a:lnTo>
                  <a:lnTo>
                    <a:pt x="388" y="468"/>
                  </a:lnTo>
                  <a:lnTo>
                    <a:pt x="386" y="466"/>
                  </a:lnTo>
                  <a:lnTo>
                    <a:pt x="382" y="464"/>
                  </a:lnTo>
                  <a:lnTo>
                    <a:pt x="378" y="464"/>
                  </a:lnTo>
                  <a:lnTo>
                    <a:pt x="372" y="464"/>
                  </a:lnTo>
                  <a:lnTo>
                    <a:pt x="368" y="464"/>
                  </a:lnTo>
                  <a:lnTo>
                    <a:pt x="364" y="464"/>
                  </a:lnTo>
                  <a:lnTo>
                    <a:pt x="362" y="464"/>
                  </a:lnTo>
                  <a:lnTo>
                    <a:pt x="362" y="466"/>
                  </a:lnTo>
                  <a:lnTo>
                    <a:pt x="360" y="468"/>
                  </a:lnTo>
                  <a:lnTo>
                    <a:pt x="358" y="470"/>
                  </a:lnTo>
                  <a:lnTo>
                    <a:pt x="354" y="472"/>
                  </a:lnTo>
                  <a:lnTo>
                    <a:pt x="348" y="474"/>
                  </a:lnTo>
                  <a:lnTo>
                    <a:pt x="344" y="474"/>
                  </a:lnTo>
                  <a:lnTo>
                    <a:pt x="340" y="474"/>
                  </a:lnTo>
                  <a:lnTo>
                    <a:pt x="338" y="472"/>
                  </a:lnTo>
                  <a:lnTo>
                    <a:pt x="334" y="472"/>
                  </a:lnTo>
                  <a:lnTo>
                    <a:pt x="334" y="472"/>
                  </a:lnTo>
                  <a:lnTo>
                    <a:pt x="334" y="472"/>
                  </a:lnTo>
                  <a:lnTo>
                    <a:pt x="334" y="470"/>
                  </a:lnTo>
                  <a:lnTo>
                    <a:pt x="334" y="468"/>
                  </a:lnTo>
                  <a:lnTo>
                    <a:pt x="334" y="466"/>
                  </a:lnTo>
                  <a:lnTo>
                    <a:pt x="334" y="466"/>
                  </a:lnTo>
                  <a:lnTo>
                    <a:pt x="336" y="466"/>
                  </a:lnTo>
                  <a:lnTo>
                    <a:pt x="340" y="466"/>
                  </a:lnTo>
                  <a:lnTo>
                    <a:pt x="344" y="468"/>
                  </a:lnTo>
                  <a:lnTo>
                    <a:pt x="346" y="468"/>
                  </a:lnTo>
                  <a:lnTo>
                    <a:pt x="348" y="468"/>
                  </a:lnTo>
                  <a:lnTo>
                    <a:pt x="358" y="462"/>
                  </a:lnTo>
                  <a:lnTo>
                    <a:pt x="364" y="450"/>
                  </a:lnTo>
                  <a:lnTo>
                    <a:pt x="356" y="448"/>
                  </a:lnTo>
                  <a:lnTo>
                    <a:pt x="358" y="448"/>
                  </a:lnTo>
                  <a:lnTo>
                    <a:pt x="360" y="446"/>
                  </a:lnTo>
                  <a:lnTo>
                    <a:pt x="362" y="444"/>
                  </a:lnTo>
                  <a:lnTo>
                    <a:pt x="362" y="442"/>
                  </a:lnTo>
                  <a:lnTo>
                    <a:pt x="360" y="438"/>
                  </a:lnTo>
                  <a:lnTo>
                    <a:pt x="360" y="438"/>
                  </a:lnTo>
                  <a:lnTo>
                    <a:pt x="358" y="438"/>
                  </a:lnTo>
                  <a:lnTo>
                    <a:pt x="356" y="436"/>
                  </a:lnTo>
                  <a:lnTo>
                    <a:pt x="356" y="434"/>
                  </a:lnTo>
                  <a:lnTo>
                    <a:pt x="356" y="432"/>
                  </a:lnTo>
                  <a:lnTo>
                    <a:pt x="356" y="430"/>
                  </a:lnTo>
                  <a:lnTo>
                    <a:pt x="358" y="430"/>
                  </a:lnTo>
                  <a:lnTo>
                    <a:pt x="362" y="428"/>
                  </a:lnTo>
                  <a:lnTo>
                    <a:pt x="366" y="428"/>
                  </a:lnTo>
                  <a:lnTo>
                    <a:pt x="366" y="430"/>
                  </a:lnTo>
                  <a:lnTo>
                    <a:pt x="368" y="432"/>
                  </a:lnTo>
                  <a:lnTo>
                    <a:pt x="370" y="436"/>
                  </a:lnTo>
                  <a:lnTo>
                    <a:pt x="372" y="442"/>
                  </a:lnTo>
                  <a:lnTo>
                    <a:pt x="374" y="448"/>
                  </a:lnTo>
                  <a:lnTo>
                    <a:pt x="378" y="452"/>
                  </a:lnTo>
                  <a:lnTo>
                    <a:pt x="378" y="456"/>
                  </a:lnTo>
                  <a:lnTo>
                    <a:pt x="380" y="456"/>
                  </a:lnTo>
                  <a:lnTo>
                    <a:pt x="396" y="458"/>
                  </a:lnTo>
                  <a:lnTo>
                    <a:pt x="394" y="434"/>
                  </a:lnTo>
                  <a:lnTo>
                    <a:pt x="394" y="434"/>
                  </a:lnTo>
                  <a:lnTo>
                    <a:pt x="394" y="432"/>
                  </a:lnTo>
                  <a:lnTo>
                    <a:pt x="392" y="428"/>
                  </a:lnTo>
                  <a:lnTo>
                    <a:pt x="390" y="426"/>
                  </a:lnTo>
                  <a:lnTo>
                    <a:pt x="386" y="422"/>
                  </a:lnTo>
                  <a:lnTo>
                    <a:pt x="384" y="420"/>
                  </a:lnTo>
                  <a:lnTo>
                    <a:pt x="382" y="418"/>
                  </a:lnTo>
                  <a:lnTo>
                    <a:pt x="380" y="414"/>
                  </a:lnTo>
                  <a:lnTo>
                    <a:pt x="380" y="412"/>
                  </a:lnTo>
                  <a:lnTo>
                    <a:pt x="380" y="412"/>
                  </a:lnTo>
                  <a:lnTo>
                    <a:pt x="386" y="412"/>
                  </a:lnTo>
                  <a:lnTo>
                    <a:pt x="386" y="396"/>
                  </a:lnTo>
                  <a:lnTo>
                    <a:pt x="386" y="394"/>
                  </a:lnTo>
                  <a:lnTo>
                    <a:pt x="384" y="394"/>
                  </a:lnTo>
                  <a:lnTo>
                    <a:pt x="384" y="392"/>
                  </a:lnTo>
                  <a:lnTo>
                    <a:pt x="382" y="388"/>
                  </a:lnTo>
                  <a:lnTo>
                    <a:pt x="382" y="386"/>
                  </a:lnTo>
                  <a:lnTo>
                    <a:pt x="382" y="384"/>
                  </a:lnTo>
                  <a:lnTo>
                    <a:pt x="386" y="384"/>
                  </a:lnTo>
                  <a:lnTo>
                    <a:pt x="392" y="382"/>
                  </a:lnTo>
                  <a:lnTo>
                    <a:pt x="396" y="382"/>
                  </a:lnTo>
                  <a:lnTo>
                    <a:pt x="396" y="382"/>
                  </a:lnTo>
                  <a:lnTo>
                    <a:pt x="398" y="380"/>
                  </a:lnTo>
                  <a:lnTo>
                    <a:pt x="400" y="378"/>
                  </a:lnTo>
                  <a:lnTo>
                    <a:pt x="402" y="376"/>
                  </a:lnTo>
                  <a:lnTo>
                    <a:pt x="402" y="374"/>
                  </a:lnTo>
                  <a:lnTo>
                    <a:pt x="402" y="370"/>
                  </a:lnTo>
                  <a:lnTo>
                    <a:pt x="410" y="364"/>
                  </a:lnTo>
                  <a:lnTo>
                    <a:pt x="420" y="350"/>
                  </a:lnTo>
                  <a:lnTo>
                    <a:pt x="426" y="340"/>
                  </a:lnTo>
                  <a:lnTo>
                    <a:pt x="426" y="340"/>
                  </a:lnTo>
                  <a:lnTo>
                    <a:pt x="424" y="336"/>
                  </a:lnTo>
                  <a:lnTo>
                    <a:pt x="424" y="332"/>
                  </a:lnTo>
                  <a:lnTo>
                    <a:pt x="422" y="328"/>
                  </a:lnTo>
                  <a:lnTo>
                    <a:pt x="418" y="324"/>
                  </a:lnTo>
                  <a:lnTo>
                    <a:pt x="414" y="324"/>
                  </a:lnTo>
                  <a:lnTo>
                    <a:pt x="414" y="322"/>
                  </a:lnTo>
                  <a:lnTo>
                    <a:pt x="414" y="320"/>
                  </a:lnTo>
                  <a:lnTo>
                    <a:pt x="412" y="316"/>
                  </a:lnTo>
                  <a:lnTo>
                    <a:pt x="412" y="314"/>
                  </a:lnTo>
                  <a:lnTo>
                    <a:pt x="408" y="310"/>
                  </a:lnTo>
                  <a:lnTo>
                    <a:pt x="406" y="308"/>
                  </a:lnTo>
                  <a:lnTo>
                    <a:pt x="400" y="308"/>
                  </a:lnTo>
                  <a:lnTo>
                    <a:pt x="394" y="308"/>
                  </a:lnTo>
                  <a:lnTo>
                    <a:pt x="388" y="310"/>
                  </a:lnTo>
                  <a:lnTo>
                    <a:pt x="384" y="310"/>
                  </a:lnTo>
                  <a:lnTo>
                    <a:pt x="382" y="310"/>
                  </a:lnTo>
                  <a:lnTo>
                    <a:pt x="382" y="310"/>
                  </a:lnTo>
                  <a:lnTo>
                    <a:pt x="382" y="308"/>
                  </a:lnTo>
                  <a:lnTo>
                    <a:pt x="382" y="306"/>
                  </a:lnTo>
                  <a:lnTo>
                    <a:pt x="382" y="300"/>
                  </a:lnTo>
                  <a:lnTo>
                    <a:pt x="382" y="298"/>
                  </a:lnTo>
                  <a:lnTo>
                    <a:pt x="382" y="292"/>
                  </a:lnTo>
                  <a:lnTo>
                    <a:pt x="382" y="286"/>
                  </a:lnTo>
                  <a:lnTo>
                    <a:pt x="382" y="280"/>
                  </a:lnTo>
                  <a:lnTo>
                    <a:pt x="382" y="276"/>
                  </a:lnTo>
                  <a:lnTo>
                    <a:pt x="380" y="272"/>
                  </a:lnTo>
                  <a:lnTo>
                    <a:pt x="380" y="270"/>
                  </a:lnTo>
                  <a:lnTo>
                    <a:pt x="380" y="270"/>
                  </a:lnTo>
                  <a:lnTo>
                    <a:pt x="378" y="268"/>
                  </a:lnTo>
                  <a:lnTo>
                    <a:pt x="374" y="266"/>
                  </a:lnTo>
                  <a:lnTo>
                    <a:pt x="372" y="264"/>
                  </a:lnTo>
                  <a:lnTo>
                    <a:pt x="370" y="260"/>
                  </a:lnTo>
                  <a:lnTo>
                    <a:pt x="370" y="258"/>
                  </a:lnTo>
                  <a:lnTo>
                    <a:pt x="374" y="256"/>
                  </a:lnTo>
                  <a:lnTo>
                    <a:pt x="374" y="254"/>
                  </a:lnTo>
                  <a:lnTo>
                    <a:pt x="376" y="250"/>
                  </a:lnTo>
                  <a:lnTo>
                    <a:pt x="378" y="242"/>
                  </a:lnTo>
                  <a:lnTo>
                    <a:pt x="380" y="230"/>
                  </a:lnTo>
                  <a:lnTo>
                    <a:pt x="380" y="210"/>
                  </a:lnTo>
                  <a:lnTo>
                    <a:pt x="378" y="188"/>
                  </a:lnTo>
                  <a:lnTo>
                    <a:pt x="378" y="186"/>
                  </a:lnTo>
                  <a:lnTo>
                    <a:pt x="380" y="184"/>
                  </a:lnTo>
                  <a:lnTo>
                    <a:pt x="380" y="180"/>
                  </a:lnTo>
                  <a:lnTo>
                    <a:pt x="382" y="176"/>
                  </a:lnTo>
                  <a:lnTo>
                    <a:pt x="384" y="174"/>
                  </a:lnTo>
                  <a:lnTo>
                    <a:pt x="388" y="172"/>
                  </a:lnTo>
                  <a:lnTo>
                    <a:pt x="392" y="172"/>
                  </a:lnTo>
                  <a:lnTo>
                    <a:pt x="392" y="172"/>
                  </a:lnTo>
                  <a:lnTo>
                    <a:pt x="394" y="174"/>
                  </a:lnTo>
                  <a:lnTo>
                    <a:pt x="396" y="174"/>
                  </a:lnTo>
                  <a:lnTo>
                    <a:pt x="400" y="174"/>
                  </a:lnTo>
                  <a:lnTo>
                    <a:pt x="402" y="174"/>
                  </a:lnTo>
                  <a:lnTo>
                    <a:pt x="406" y="170"/>
                  </a:lnTo>
                  <a:lnTo>
                    <a:pt x="408" y="166"/>
                  </a:lnTo>
                  <a:lnTo>
                    <a:pt x="408" y="162"/>
                  </a:lnTo>
                  <a:lnTo>
                    <a:pt x="408" y="158"/>
                  </a:lnTo>
                  <a:lnTo>
                    <a:pt x="408" y="154"/>
                  </a:lnTo>
                  <a:lnTo>
                    <a:pt x="408" y="150"/>
                  </a:lnTo>
                  <a:lnTo>
                    <a:pt x="408" y="146"/>
                  </a:lnTo>
                  <a:lnTo>
                    <a:pt x="412" y="144"/>
                  </a:lnTo>
                  <a:lnTo>
                    <a:pt x="414" y="140"/>
                  </a:lnTo>
                  <a:lnTo>
                    <a:pt x="416" y="138"/>
                  </a:lnTo>
                  <a:lnTo>
                    <a:pt x="414" y="138"/>
                  </a:lnTo>
                  <a:lnTo>
                    <a:pt x="410" y="138"/>
                  </a:lnTo>
                  <a:lnTo>
                    <a:pt x="406" y="138"/>
                  </a:lnTo>
                  <a:lnTo>
                    <a:pt x="402" y="140"/>
                  </a:lnTo>
                  <a:lnTo>
                    <a:pt x="400" y="140"/>
                  </a:lnTo>
                  <a:lnTo>
                    <a:pt x="398" y="140"/>
                  </a:lnTo>
                  <a:lnTo>
                    <a:pt x="396" y="138"/>
                  </a:lnTo>
                  <a:lnTo>
                    <a:pt x="398" y="136"/>
                  </a:lnTo>
                  <a:lnTo>
                    <a:pt x="404" y="134"/>
                  </a:lnTo>
                  <a:lnTo>
                    <a:pt x="410" y="130"/>
                  </a:lnTo>
                  <a:lnTo>
                    <a:pt x="416" y="128"/>
                  </a:lnTo>
                  <a:lnTo>
                    <a:pt x="422" y="124"/>
                  </a:lnTo>
                  <a:lnTo>
                    <a:pt x="426" y="120"/>
                  </a:lnTo>
                  <a:lnTo>
                    <a:pt x="430" y="114"/>
                  </a:lnTo>
                  <a:lnTo>
                    <a:pt x="434" y="108"/>
                  </a:lnTo>
                  <a:lnTo>
                    <a:pt x="436" y="102"/>
                  </a:lnTo>
                  <a:lnTo>
                    <a:pt x="436" y="98"/>
                  </a:lnTo>
                  <a:lnTo>
                    <a:pt x="436" y="94"/>
                  </a:lnTo>
                  <a:lnTo>
                    <a:pt x="436" y="92"/>
                  </a:lnTo>
                  <a:lnTo>
                    <a:pt x="436" y="90"/>
                  </a:lnTo>
                  <a:lnTo>
                    <a:pt x="436" y="86"/>
                  </a:lnTo>
                  <a:lnTo>
                    <a:pt x="440" y="84"/>
                  </a:lnTo>
                  <a:lnTo>
                    <a:pt x="422" y="72"/>
                  </a:lnTo>
                  <a:lnTo>
                    <a:pt x="422" y="74"/>
                  </a:lnTo>
                  <a:lnTo>
                    <a:pt x="422" y="76"/>
                  </a:lnTo>
                  <a:lnTo>
                    <a:pt x="420" y="78"/>
                  </a:lnTo>
                  <a:lnTo>
                    <a:pt x="418" y="80"/>
                  </a:lnTo>
                  <a:lnTo>
                    <a:pt x="416" y="82"/>
                  </a:lnTo>
                  <a:lnTo>
                    <a:pt x="414" y="78"/>
                  </a:lnTo>
                  <a:lnTo>
                    <a:pt x="412" y="76"/>
                  </a:lnTo>
                  <a:lnTo>
                    <a:pt x="410" y="74"/>
                  </a:lnTo>
                  <a:lnTo>
                    <a:pt x="408" y="74"/>
                  </a:lnTo>
                  <a:lnTo>
                    <a:pt x="406" y="76"/>
                  </a:lnTo>
                  <a:lnTo>
                    <a:pt x="406" y="78"/>
                  </a:lnTo>
                  <a:lnTo>
                    <a:pt x="406" y="82"/>
                  </a:lnTo>
                  <a:lnTo>
                    <a:pt x="408" y="84"/>
                  </a:lnTo>
                  <a:lnTo>
                    <a:pt x="408" y="84"/>
                  </a:lnTo>
                  <a:lnTo>
                    <a:pt x="410" y="86"/>
                  </a:lnTo>
                  <a:lnTo>
                    <a:pt x="410" y="86"/>
                  </a:lnTo>
                  <a:lnTo>
                    <a:pt x="410" y="88"/>
                  </a:lnTo>
                  <a:lnTo>
                    <a:pt x="408" y="92"/>
                  </a:lnTo>
                  <a:lnTo>
                    <a:pt x="406" y="98"/>
                  </a:lnTo>
                  <a:lnTo>
                    <a:pt x="398" y="108"/>
                  </a:lnTo>
                  <a:lnTo>
                    <a:pt x="386" y="118"/>
                  </a:lnTo>
                  <a:lnTo>
                    <a:pt x="372" y="128"/>
                  </a:lnTo>
                  <a:lnTo>
                    <a:pt x="362" y="136"/>
                  </a:lnTo>
                  <a:lnTo>
                    <a:pt x="354" y="140"/>
                  </a:lnTo>
                  <a:lnTo>
                    <a:pt x="356" y="138"/>
                  </a:lnTo>
                  <a:lnTo>
                    <a:pt x="362" y="130"/>
                  </a:lnTo>
                  <a:lnTo>
                    <a:pt x="370" y="120"/>
                  </a:lnTo>
                  <a:lnTo>
                    <a:pt x="378" y="110"/>
                  </a:lnTo>
                  <a:lnTo>
                    <a:pt x="382" y="100"/>
                  </a:lnTo>
                  <a:lnTo>
                    <a:pt x="388" y="88"/>
                  </a:lnTo>
                  <a:lnTo>
                    <a:pt x="398" y="66"/>
                  </a:lnTo>
                  <a:lnTo>
                    <a:pt x="398" y="66"/>
                  </a:lnTo>
                  <a:lnTo>
                    <a:pt x="396" y="64"/>
                  </a:lnTo>
                  <a:lnTo>
                    <a:pt x="394" y="64"/>
                  </a:lnTo>
                  <a:lnTo>
                    <a:pt x="390" y="62"/>
                  </a:lnTo>
                  <a:lnTo>
                    <a:pt x="386" y="64"/>
                  </a:lnTo>
                  <a:lnTo>
                    <a:pt x="382" y="64"/>
                  </a:lnTo>
                  <a:lnTo>
                    <a:pt x="376" y="68"/>
                  </a:lnTo>
                  <a:lnTo>
                    <a:pt x="376" y="70"/>
                  </a:lnTo>
                  <a:lnTo>
                    <a:pt x="374" y="72"/>
                  </a:lnTo>
                  <a:lnTo>
                    <a:pt x="372" y="74"/>
                  </a:lnTo>
                  <a:lnTo>
                    <a:pt x="368" y="78"/>
                  </a:lnTo>
                  <a:lnTo>
                    <a:pt x="366" y="80"/>
                  </a:lnTo>
                  <a:lnTo>
                    <a:pt x="362" y="82"/>
                  </a:lnTo>
                  <a:lnTo>
                    <a:pt x="358" y="84"/>
                  </a:lnTo>
                  <a:lnTo>
                    <a:pt x="356" y="86"/>
                  </a:lnTo>
                  <a:lnTo>
                    <a:pt x="356" y="84"/>
                  </a:lnTo>
                  <a:lnTo>
                    <a:pt x="356" y="82"/>
                  </a:lnTo>
                  <a:lnTo>
                    <a:pt x="356" y="80"/>
                  </a:lnTo>
                  <a:lnTo>
                    <a:pt x="360" y="78"/>
                  </a:lnTo>
                  <a:lnTo>
                    <a:pt x="364" y="74"/>
                  </a:lnTo>
                  <a:lnTo>
                    <a:pt x="368" y="68"/>
                  </a:lnTo>
                  <a:lnTo>
                    <a:pt x="364" y="60"/>
                  </a:lnTo>
                  <a:lnTo>
                    <a:pt x="360" y="60"/>
                  </a:lnTo>
                  <a:lnTo>
                    <a:pt x="352" y="60"/>
                  </a:lnTo>
                  <a:lnTo>
                    <a:pt x="340" y="64"/>
                  </a:lnTo>
                  <a:lnTo>
                    <a:pt x="330" y="72"/>
                  </a:lnTo>
                  <a:lnTo>
                    <a:pt x="326" y="78"/>
                  </a:lnTo>
                  <a:lnTo>
                    <a:pt x="326" y="78"/>
                  </a:lnTo>
                  <a:lnTo>
                    <a:pt x="326" y="76"/>
                  </a:lnTo>
                  <a:lnTo>
                    <a:pt x="326" y="72"/>
                  </a:lnTo>
                  <a:lnTo>
                    <a:pt x="328" y="68"/>
                  </a:lnTo>
                  <a:lnTo>
                    <a:pt x="328" y="64"/>
                  </a:lnTo>
                  <a:lnTo>
                    <a:pt x="332" y="62"/>
                  </a:lnTo>
                  <a:lnTo>
                    <a:pt x="336" y="60"/>
                  </a:lnTo>
                  <a:lnTo>
                    <a:pt x="340" y="58"/>
                  </a:lnTo>
                  <a:lnTo>
                    <a:pt x="346" y="56"/>
                  </a:lnTo>
                  <a:lnTo>
                    <a:pt x="352" y="56"/>
                  </a:lnTo>
                  <a:lnTo>
                    <a:pt x="358" y="54"/>
                  </a:lnTo>
                  <a:lnTo>
                    <a:pt x="360" y="54"/>
                  </a:lnTo>
                  <a:lnTo>
                    <a:pt x="362" y="54"/>
                  </a:lnTo>
                  <a:lnTo>
                    <a:pt x="362" y="52"/>
                  </a:lnTo>
                  <a:lnTo>
                    <a:pt x="364" y="50"/>
                  </a:lnTo>
                  <a:lnTo>
                    <a:pt x="366" y="48"/>
                  </a:lnTo>
                  <a:lnTo>
                    <a:pt x="368" y="44"/>
                  </a:lnTo>
                  <a:lnTo>
                    <a:pt x="368" y="40"/>
                  </a:lnTo>
                  <a:lnTo>
                    <a:pt x="366" y="36"/>
                  </a:lnTo>
                  <a:lnTo>
                    <a:pt x="362" y="32"/>
                  </a:lnTo>
                  <a:lnTo>
                    <a:pt x="358" y="30"/>
                  </a:lnTo>
                  <a:lnTo>
                    <a:pt x="352" y="28"/>
                  </a:lnTo>
                  <a:lnTo>
                    <a:pt x="348" y="28"/>
                  </a:lnTo>
                  <a:lnTo>
                    <a:pt x="348" y="28"/>
                  </a:lnTo>
                  <a:lnTo>
                    <a:pt x="340" y="28"/>
                  </a:lnTo>
                  <a:lnTo>
                    <a:pt x="340" y="18"/>
                  </a:lnTo>
                  <a:lnTo>
                    <a:pt x="340" y="18"/>
                  </a:lnTo>
                  <a:lnTo>
                    <a:pt x="338" y="18"/>
                  </a:lnTo>
                  <a:lnTo>
                    <a:pt x="334" y="18"/>
                  </a:lnTo>
                  <a:lnTo>
                    <a:pt x="330" y="20"/>
                  </a:lnTo>
                  <a:lnTo>
                    <a:pt x="328" y="22"/>
                  </a:lnTo>
                  <a:lnTo>
                    <a:pt x="324" y="24"/>
                  </a:lnTo>
                  <a:lnTo>
                    <a:pt x="324" y="24"/>
                  </a:lnTo>
                  <a:lnTo>
                    <a:pt x="320" y="26"/>
                  </a:lnTo>
                  <a:lnTo>
                    <a:pt x="314" y="26"/>
                  </a:lnTo>
                  <a:lnTo>
                    <a:pt x="308" y="28"/>
                  </a:lnTo>
                  <a:lnTo>
                    <a:pt x="304" y="30"/>
                  </a:lnTo>
                  <a:lnTo>
                    <a:pt x="300" y="32"/>
                  </a:lnTo>
                  <a:lnTo>
                    <a:pt x="288" y="38"/>
                  </a:lnTo>
                  <a:lnTo>
                    <a:pt x="290" y="36"/>
                  </a:lnTo>
                  <a:lnTo>
                    <a:pt x="298" y="30"/>
                  </a:lnTo>
                  <a:lnTo>
                    <a:pt x="306" y="22"/>
                  </a:lnTo>
                  <a:lnTo>
                    <a:pt x="314" y="16"/>
                  </a:lnTo>
                  <a:lnTo>
                    <a:pt x="322" y="14"/>
                  </a:lnTo>
                  <a:lnTo>
                    <a:pt x="322" y="14"/>
                  </a:lnTo>
                  <a:lnTo>
                    <a:pt x="322" y="12"/>
                  </a:lnTo>
                  <a:lnTo>
                    <a:pt x="324" y="10"/>
                  </a:lnTo>
                  <a:lnTo>
                    <a:pt x="322" y="8"/>
                  </a:lnTo>
                  <a:lnTo>
                    <a:pt x="322" y="6"/>
                  </a:lnTo>
                  <a:lnTo>
                    <a:pt x="318" y="4"/>
                  </a:lnTo>
                  <a:lnTo>
                    <a:pt x="312" y="2"/>
                  </a:lnTo>
                  <a:lnTo>
                    <a:pt x="298" y="2"/>
                  </a:lnTo>
                  <a:lnTo>
                    <a:pt x="278" y="0"/>
                  </a:lnTo>
                  <a:lnTo>
                    <a:pt x="258" y="4"/>
                  </a:lnTo>
                  <a:lnTo>
                    <a:pt x="240" y="12"/>
                  </a:lnTo>
                  <a:lnTo>
                    <a:pt x="212" y="30"/>
                  </a:lnTo>
                  <a:lnTo>
                    <a:pt x="212" y="30"/>
                  </a:lnTo>
                  <a:lnTo>
                    <a:pt x="214" y="32"/>
                  </a:lnTo>
                  <a:lnTo>
                    <a:pt x="218" y="34"/>
                  </a:lnTo>
                  <a:lnTo>
                    <a:pt x="220" y="38"/>
                  </a:lnTo>
                  <a:lnTo>
                    <a:pt x="224" y="42"/>
                  </a:lnTo>
                  <a:lnTo>
                    <a:pt x="226" y="48"/>
                  </a:lnTo>
                  <a:lnTo>
                    <a:pt x="228" y="56"/>
                  </a:lnTo>
                  <a:lnTo>
                    <a:pt x="206" y="38"/>
                  </a:lnTo>
                  <a:lnTo>
                    <a:pt x="196" y="40"/>
                  </a:lnTo>
                  <a:lnTo>
                    <a:pt x="202" y="62"/>
                  </a:lnTo>
                  <a:lnTo>
                    <a:pt x="186" y="48"/>
                  </a:lnTo>
                  <a:lnTo>
                    <a:pt x="166" y="54"/>
                  </a:lnTo>
                  <a:lnTo>
                    <a:pt x="164" y="54"/>
                  </a:lnTo>
                  <a:lnTo>
                    <a:pt x="164" y="56"/>
                  </a:lnTo>
                  <a:lnTo>
                    <a:pt x="162" y="60"/>
                  </a:lnTo>
                  <a:lnTo>
                    <a:pt x="164" y="66"/>
                  </a:lnTo>
                  <a:lnTo>
                    <a:pt x="166" y="70"/>
                  </a:lnTo>
                  <a:lnTo>
                    <a:pt x="170" y="76"/>
                  </a:lnTo>
                  <a:lnTo>
                    <a:pt x="152" y="64"/>
                  </a:lnTo>
                  <a:lnTo>
                    <a:pt x="128" y="70"/>
                  </a:lnTo>
                  <a:lnTo>
                    <a:pt x="104" y="7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4" name="Freeform 531"/>
            <p:cNvSpPr/>
            <p:nvPr/>
          </p:nvSpPr>
          <p:spPr bwMode="gray">
            <a:xfrm>
              <a:off x="8466614" y="2104669"/>
              <a:ext cx="70353" cy="85107"/>
            </a:xfrm>
            <a:custGeom>
              <a:gdLst>
                <a:gd fmla="*/ 10 w 38" name="T0"/>
                <a:gd fmla="*/ 0 h 46" name="T1"/>
                <a:gd fmla="*/ 8 w 38" name="T2"/>
                <a:gd fmla="*/ 0 h 46" name="T3"/>
                <a:gd fmla="*/ 8 w 38" name="T4"/>
                <a:gd fmla="*/ 0 h 46" name="T5"/>
                <a:gd fmla="*/ 6 w 38" name="T6"/>
                <a:gd fmla="*/ 2 h 46" name="T7"/>
                <a:gd fmla="*/ 6 w 38" name="T8"/>
                <a:gd fmla="*/ 2 h 46" name="T9"/>
                <a:gd fmla="*/ 4 w 38" name="T10"/>
                <a:gd fmla="*/ 6 h 46" name="T11"/>
                <a:gd fmla="*/ 4 w 38" name="T12"/>
                <a:gd fmla="*/ 10 h 46" name="T13"/>
                <a:gd fmla="*/ 2 w 38" name="T14"/>
                <a:gd fmla="*/ 18 h 46" name="T15"/>
                <a:gd fmla="*/ 2 w 38" name="T16"/>
                <a:gd fmla="*/ 22 h 46" name="T17"/>
                <a:gd fmla="*/ 2 w 38" name="T18"/>
                <a:gd fmla="*/ 24 h 46" name="T19"/>
                <a:gd fmla="*/ 4 w 38" name="T20"/>
                <a:gd fmla="*/ 26 h 46" name="T21"/>
                <a:gd fmla="*/ 6 w 38" name="T22"/>
                <a:gd fmla="*/ 26 h 46" name="T23"/>
                <a:gd fmla="*/ 8 w 38" name="T24"/>
                <a:gd fmla="*/ 28 h 46" name="T25"/>
                <a:gd fmla="*/ 6 w 38" name="T26"/>
                <a:gd fmla="*/ 30 h 46" name="T27"/>
                <a:gd fmla="*/ 4 w 38" name="T28"/>
                <a:gd fmla="*/ 30 h 46" name="T29"/>
                <a:gd fmla="*/ 2 w 38" name="T30"/>
                <a:gd fmla="*/ 32 h 46" name="T31"/>
                <a:gd fmla="*/ 0 w 38" name="T32"/>
                <a:gd fmla="*/ 36 h 46" name="T33"/>
                <a:gd fmla="*/ 0 w 38" name="T34"/>
                <a:gd fmla="*/ 38 h 46" name="T35"/>
                <a:gd fmla="*/ 2 w 38" name="T36"/>
                <a:gd fmla="*/ 40 h 46" name="T37"/>
                <a:gd fmla="*/ 2 w 38" name="T38"/>
                <a:gd fmla="*/ 42 h 46" name="T39"/>
                <a:gd fmla="*/ 2 w 38" name="T40"/>
                <a:gd fmla="*/ 42 h 46" name="T41"/>
                <a:gd fmla="*/ 4 w 38" name="T42"/>
                <a:gd fmla="*/ 42 h 46" name="T43"/>
                <a:gd fmla="*/ 6 w 38" name="T44"/>
                <a:gd fmla="*/ 44 h 46" name="T45"/>
                <a:gd fmla="*/ 8 w 38" name="T46"/>
                <a:gd fmla="*/ 44 h 46" name="T47"/>
                <a:gd fmla="*/ 10 w 38" name="T48"/>
                <a:gd fmla="*/ 44 h 46" name="T49"/>
                <a:gd fmla="*/ 12 w 38" name="T50"/>
                <a:gd fmla="*/ 44 h 46" name="T51"/>
                <a:gd fmla="*/ 12 w 38" name="T52"/>
                <a:gd fmla="*/ 40 h 46" name="T53"/>
                <a:gd fmla="*/ 14 w 38" name="T54"/>
                <a:gd fmla="*/ 38 h 46" name="T55"/>
                <a:gd fmla="*/ 16 w 38" name="T56"/>
                <a:gd fmla="*/ 38 h 46" name="T57"/>
                <a:gd fmla="*/ 18 w 38" name="T58"/>
                <a:gd fmla="*/ 36 h 46" name="T59"/>
                <a:gd fmla="*/ 20 w 38" name="T60"/>
                <a:gd fmla="*/ 38 h 46" name="T61"/>
                <a:gd fmla="*/ 22 w 38" name="T62"/>
                <a:gd fmla="*/ 40 h 46" name="T63"/>
                <a:gd fmla="*/ 26 w 38" name="T64"/>
                <a:gd fmla="*/ 42 h 46" name="T65"/>
                <a:gd fmla="*/ 30 w 38" name="T66"/>
                <a:gd fmla="*/ 44 h 46" name="T67"/>
                <a:gd fmla="*/ 34 w 38" name="T68"/>
                <a:gd fmla="*/ 46 h 46" name="T69"/>
                <a:gd fmla="*/ 36 w 38" name="T70"/>
                <a:gd fmla="*/ 46 h 46" name="T71"/>
                <a:gd fmla="*/ 38 w 38" name="T72"/>
                <a:gd fmla="*/ 46 h 46" name="T73"/>
                <a:gd fmla="*/ 38 w 38" name="T74"/>
                <a:gd fmla="*/ 44 h 46" name="T75"/>
                <a:gd fmla="*/ 38 w 38" name="T76"/>
                <a:gd fmla="*/ 38 h 46" name="T77"/>
                <a:gd fmla="*/ 36 w 38" name="T78"/>
                <a:gd fmla="*/ 34 h 46" name="T79"/>
                <a:gd fmla="*/ 34 w 38" name="T80"/>
                <a:gd fmla="*/ 32 h 46" name="T81"/>
                <a:gd fmla="*/ 34 w 38" name="T82"/>
                <a:gd fmla="*/ 30 h 46" name="T83"/>
                <a:gd fmla="*/ 32 w 38" name="T84"/>
                <a:gd fmla="*/ 28 h 46" name="T85"/>
                <a:gd fmla="*/ 32 w 38" name="T86"/>
                <a:gd fmla="*/ 28 h 46" name="T87"/>
                <a:gd fmla="*/ 32 w 38" name="T88"/>
                <a:gd fmla="*/ 26 h 46" name="T89"/>
                <a:gd fmla="*/ 30 w 38" name="T90"/>
                <a:gd fmla="*/ 24 h 46" name="T91"/>
                <a:gd fmla="*/ 28 w 38" name="T92"/>
                <a:gd fmla="*/ 24 h 46" name="T93"/>
                <a:gd fmla="*/ 26 w 38" name="T94"/>
                <a:gd fmla="*/ 24 h 46" name="T95"/>
                <a:gd fmla="*/ 24 w 38" name="T96"/>
                <a:gd fmla="*/ 24 h 46" name="T97"/>
                <a:gd fmla="*/ 20 w 38" name="T98"/>
                <a:gd fmla="*/ 22 h 46" name="T99"/>
                <a:gd fmla="*/ 18 w 38" name="T100"/>
                <a:gd fmla="*/ 20 h 46" name="T101"/>
                <a:gd fmla="*/ 16 w 38" name="T102"/>
                <a:gd fmla="*/ 18 h 46" name="T103"/>
                <a:gd fmla="*/ 14 w 38" name="T104"/>
                <a:gd fmla="*/ 16 h 46" name="T105"/>
                <a:gd fmla="*/ 14 w 38" name="T106"/>
                <a:gd fmla="*/ 16 h 46" name="T107"/>
                <a:gd fmla="*/ 16 w 38" name="T108"/>
                <a:gd fmla="*/ 14 h 46" name="T109"/>
                <a:gd fmla="*/ 28 w 38" name="T110"/>
                <a:gd fmla="*/ 14 h 46" name="T111"/>
                <a:gd fmla="*/ 28 w 38" name="T112"/>
                <a:gd fmla="*/ 4 h 46" name="T113"/>
                <a:gd fmla="*/ 26 w 38" name="T114"/>
                <a:gd fmla="*/ 6 h 46" name="T115"/>
                <a:gd fmla="*/ 24 w 38" name="T116"/>
                <a:gd fmla="*/ 6 h 46" name="T117"/>
                <a:gd fmla="*/ 20 w 38" name="T118"/>
                <a:gd fmla="*/ 6 h 46" name="T119"/>
                <a:gd fmla="*/ 16 w 38" name="T120"/>
                <a:gd fmla="*/ 4 h 46" name="T121"/>
                <a:gd fmla="*/ 12 w 38" name="T122"/>
                <a:gd fmla="*/ 4 h 46" name="T123"/>
                <a:gd fmla="*/ 10 w 38" name="T124"/>
                <a:gd fmla="*/ 0 h 46"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46" w="38">
                  <a:moveTo>
                    <a:pt x="10" y="0"/>
                  </a:moveTo>
                  <a:lnTo>
                    <a:pt x="8" y="0"/>
                  </a:lnTo>
                  <a:lnTo>
                    <a:pt x="8" y="0"/>
                  </a:lnTo>
                  <a:lnTo>
                    <a:pt x="6" y="2"/>
                  </a:lnTo>
                  <a:lnTo>
                    <a:pt x="6" y="2"/>
                  </a:lnTo>
                  <a:lnTo>
                    <a:pt x="4" y="6"/>
                  </a:lnTo>
                  <a:lnTo>
                    <a:pt x="4" y="10"/>
                  </a:lnTo>
                  <a:lnTo>
                    <a:pt x="2" y="18"/>
                  </a:lnTo>
                  <a:lnTo>
                    <a:pt x="2" y="22"/>
                  </a:lnTo>
                  <a:lnTo>
                    <a:pt x="2" y="24"/>
                  </a:lnTo>
                  <a:lnTo>
                    <a:pt x="4" y="26"/>
                  </a:lnTo>
                  <a:lnTo>
                    <a:pt x="6" y="26"/>
                  </a:lnTo>
                  <a:lnTo>
                    <a:pt x="8" y="28"/>
                  </a:lnTo>
                  <a:lnTo>
                    <a:pt x="6" y="30"/>
                  </a:lnTo>
                  <a:lnTo>
                    <a:pt x="4" y="30"/>
                  </a:lnTo>
                  <a:lnTo>
                    <a:pt x="2" y="32"/>
                  </a:lnTo>
                  <a:lnTo>
                    <a:pt x="0" y="36"/>
                  </a:lnTo>
                  <a:lnTo>
                    <a:pt x="0" y="38"/>
                  </a:lnTo>
                  <a:lnTo>
                    <a:pt x="2" y="40"/>
                  </a:lnTo>
                  <a:lnTo>
                    <a:pt x="2" y="42"/>
                  </a:lnTo>
                  <a:lnTo>
                    <a:pt x="2" y="42"/>
                  </a:lnTo>
                  <a:lnTo>
                    <a:pt x="4" y="42"/>
                  </a:lnTo>
                  <a:lnTo>
                    <a:pt x="6" y="44"/>
                  </a:lnTo>
                  <a:lnTo>
                    <a:pt x="8" y="44"/>
                  </a:lnTo>
                  <a:lnTo>
                    <a:pt x="10" y="44"/>
                  </a:lnTo>
                  <a:lnTo>
                    <a:pt x="12" y="44"/>
                  </a:lnTo>
                  <a:lnTo>
                    <a:pt x="12" y="40"/>
                  </a:lnTo>
                  <a:lnTo>
                    <a:pt x="14" y="38"/>
                  </a:lnTo>
                  <a:lnTo>
                    <a:pt x="16" y="38"/>
                  </a:lnTo>
                  <a:lnTo>
                    <a:pt x="18" y="36"/>
                  </a:lnTo>
                  <a:lnTo>
                    <a:pt x="20" y="38"/>
                  </a:lnTo>
                  <a:lnTo>
                    <a:pt x="22" y="40"/>
                  </a:lnTo>
                  <a:lnTo>
                    <a:pt x="26" y="42"/>
                  </a:lnTo>
                  <a:lnTo>
                    <a:pt x="30" y="44"/>
                  </a:lnTo>
                  <a:lnTo>
                    <a:pt x="34" y="46"/>
                  </a:lnTo>
                  <a:lnTo>
                    <a:pt x="36" y="46"/>
                  </a:lnTo>
                  <a:lnTo>
                    <a:pt x="38" y="46"/>
                  </a:lnTo>
                  <a:lnTo>
                    <a:pt x="38" y="44"/>
                  </a:lnTo>
                  <a:lnTo>
                    <a:pt x="38" y="38"/>
                  </a:lnTo>
                  <a:lnTo>
                    <a:pt x="36" y="34"/>
                  </a:lnTo>
                  <a:lnTo>
                    <a:pt x="34" y="32"/>
                  </a:lnTo>
                  <a:lnTo>
                    <a:pt x="34" y="30"/>
                  </a:lnTo>
                  <a:lnTo>
                    <a:pt x="32" y="28"/>
                  </a:lnTo>
                  <a:lnTo>
                    <a:pt x="32" y="28"/>
                  </a:lnTo>
                  <a:lnTo>
                    <a:pt x="32" y="26"/>
                  </a:lnTo>
                  <a:lnTo>
                    <a:pt x="30" y="24"/>
                  </a:lnTo>
                  <a:lnTo>
                    <a:pt x="28" y="24"/>
                  </a:lnTo>
                  <a:lnTo>
                    <a:pt x="26" y="24"/>
                  </a:lnTo>
                  <a:lnTo>
                    <a:pt x="24" y="24"/>
                  </a:lnTo>
                  <a:lnTo>
                    <a:pt x="20" y="22"/>
                  </a:lnTo>
                  <a:lnTo>
                    <a:pt x="18" y="20"/>
                  </a:lnTo>
                  <a:lnTo>
                    <a:pt x="16" y="18"/>
                  </a:lnTo>
                  <a:lnTo>
                    <a:pt x="14" y="16"/>
                  </a:lnTo>
                  <a:lnTo>
                    <a:pt x="14" y="16"/>
                  </a:lnTo>
                  <a:lnTo>
                    <a:pt x="16" y="14"/>
                  </a:lnTo>
                  <a:lnTo>
                    <a:pt x="28" y="14"/>
                  </a:lnTo>
                  <a:lnTo>
                    <a:pt x="28" y="4"/>
                  </a:lnTo>
                  <a:lnTo>
                    <a:pt x="26" y="6"/>
                  </a:lnTo>
                  <a:lnTo>
                    <a:pt x="24" y="6"/>
                  </a:lnTo>
                  <a:lnTo>
                    <a:pt x="20" y="6"/>
                  </a:lnTo>
                  <a:lnTo>
                    <a:pt x="16" y="4"/>
                  </a:lnTo>
                  <a:lnTo>
                    <a:pt x="12" y="4"/>
                  </a:lnTo>
                  <a:lnTo>
                    <a:pt x="1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5" name="Freeform 532"/>
            <p:cNvSpPr/>
            <p:nvPr/>
          </p:nvSpPr>
          <p:spPr bwMode="gray">
            <a:xfrm>
              <a:off x="7385398" y="2186075"/>
              <a:ext cx="514688" cy="592048"/>
            </a:xfrm>
            <a:custGeom>
              <a:gdLst>
                <a:gd fmla="*/ 94 w 278" name="T0"/>
                <a:gd fmla="*/ 122 h 320" name="T1"/>
                <a:gd fmla="*/ 110 w 278" name="T2"/>
                <a:gd fmla="*/ 128 h 320" name="T3"/>
                <a:gd fmla="*/ 138 w 278" name="T4"/>
                <a:gd fmla="*/ 144 h 320" name="T5"/>
                <a:gd fmla="*/ 146 w 278" name="T6"/>
                <a:gd fmla="*/ 148 h 320" name="T7"/>
                <a:gd fmla="*/ 156 w 278" name="T8"/>
                <a:gd fmla="*/ 182 h 320" name="T9"/>
                <a:gd fmla="*/ 148 w 278" name="T10"/>
                <a:gd fmla="*/ 224 h 320" name="T11"/>
                <a:gd fmla="*/ 132 w 278" name="T12"/>
                <a:gd fmla="*/ 238 h 320" name="T13"/>
                <a:gd fmla="*/ 118 w 278" name="T14"/>
                <a:gd fmla="*/ 238 h 320" name="T15"/>
                <a:gd fmla="*/ 110 w 278" name="T16"/>
                <a:gd fmla="*/ 254 h 320" name="T17"/>
                <a:gd fmla="*/ 134 w 278" name="T18"/>
                <a:gd fmla="*/ 266 h 320" name="T19"/>
                <a:gd fmla="*/ 146 w 278" name="T20"/>
                <a:gd fmla="*/ 258 h 320" name="T21"/>
                <a:gd fmla="*/ 174 w 278" name="T22"/>
                <a:gd fmla="*/ 282 h 320" name="T23"/>
                <a:gd fmla="*/ 192 w 278" name="T24"/>
                <a:gd fmla="*/ 300 h 320" name="T25"/>
                <a:gd fmla="*/ 208 w 278" name="T26"/>
                <a:gd fmla="*/ 312 h 320" name="T27"/>
                <a:gd fmla="*/ 222 w 278" name="T28"/>
                <a:gd fmla="*/ 318 h 320" name="T29"/>
                <a:gd fmla="*/ 216 w 278" name="T30"/>
                <a:gd fmla="*/ 298 h 320" name="T31"/>
                <a:gd fmla="*/ 204 w 278" name="T32"/>
                <a:gd fmla="*/ 286 h 320" name="T33"/>
                <a:gd fmla="*/ 218 w 278" name="T34"/>
                <a:gd fmla="*/ 288 h 320" name="T35"/>
                <a:gd fmla="*/ 238 w 278" name="T36"/>
                <a:gd fmla="*/ 304 h 320" name="T37"/>
                <a:gd fmla="*/ 246 w 278" name="T38"/>
                <a:gd fmla="*/ 302 h 320" name="T39"/>
                <a:gd fmla="*/ 246 w 278" name="T40"/>
                <a:gd fmla="*/ 278 h 320" name="T41"/>
                <a:gd fmla="*/ 230 w 278" name="T42"/>
                <a:gd fmla="*/ 262 h 320" name="T43"/>
                <a:gd fmla="*/ 218 w 278" name="T44"/>
                <a:gd fmla="*/ 252 h 320" name="T45"/>
                <a:gd fmla="*/ 210 w 278" name="T46"/>
                <a:gd fmla="*/ 242 h 320" name="T47"/>
                <a:gd fmla="*/ 206 w 278" name="T48"/>
                <a:gd fmla="*/ 220 h 320" name="T49"/>
                <a:gd fmla="*/ 214 w 278" name="T50"/>
                <a:gd fmla="*/ 208 h 320" name="T51"/>
                <a:gd fmla="*/ 224 w 278" name="T52"/>
                <a:gd fmla="*/ 228 h 320" name="T53"/>
                <a:gd fmla="*/ 232 w 278" name="T54"/>
                <a:gd fmla="*/ 246 h 320" name="T55"/>
                <a:gd fmla="*/ 242 w 278" name="T56"/>
                <a:gd fmla="*/ 248 h 320" name="T57"/>
                <a:gd fmla="*/ 260 w 278" name="T58"/>
                <a:gd fmla="*/ 236 h 320" name="T59"/>
                <a:gd fmla="*/ 274 w 278" name="T60"/>
                <a:gd fmla="*/ 232 h 320" name="T61"/>
                <a:gd fmla="*/ 272 w 278" name="T62"/>
                <a:gd fmla="*/ 220 h 320" name="T63"/>
                <a:gd fmla="*/ 276 w 278" name="T64"/>
                <a:gd fmla="*/ 212 h 320" name="T65"/>
                <a:gd fmla="*/ 270 w 278" name="T66"/>
                <a:gd fmla="*/ 202 h 320" name="T67"/>
                <a:gd fmla="*/ 260 w 278" name="T68"/>
                <a:gd fmla="*/ 200 h 320" name="T69"/>
                <a:gd fmla="*/ 254 w 278" name="T70"/>
                <a:gd fmla="*/ 196 h 320" name="T71"/>
                <a:gd fmla="*/ 216 w 278" name="T72"/>
                <a:gd fmla="*/ 166 h 320" name="T73"/>
                <a:gd fmla="*/ 206 w 278" name="T74"/>
                <a:gd fmla="*/ 168 h 320" name="T75"/>
                <a:gd fmla="*/ 210 w 278" name="T76"/>
                <a:gd fmla="*/ 152 h 320" name="T77"/>
                <a:gd fmla="*/ 222 w 278" name="T78"/>
                <a:gd fmla="*/ 140 h 320" name="T79"/>
                <a:gd fmla="*/ 218 w 278" name="T80"/>
                <a:gd fmla="*/ 126 h 320" name="T81"/>
                <a:gd fmla="*/ 208 w 278" name="T82"/>
                <a:gd fmla="*/ 116 h 320" name="T83"/>
                <a:gd fmla="*/ 196 w 278" name="T84"/>
                <a:gd fmla="*/ 96 h 320" name="T85"/>
                <a:gd fmla="*/ 186 w 278" name="T86"/>
                <a:gd fmla="*/ 94 h 320" name="T87"/>
                <a:gd fmla="*/ 176 w 278" name="T88"/>
                <a:gd fmla="*/ 94 h 320" name="T89"/>
                <a:gd fmla="*/ 180 w 278" name="T90"/>
                <a:gd fmla="*/ 82 h 320" name="T91"/>
                <a:gd fmla="*/ 168 w 278" name="T92"/>
                <a:gd fmla="*/ 78 h 320" name="T93"/>
                <a:gd fmla="*/ 150 w 278" name="T94"/>
                <a:gd fmla="*/ 58 h 320" name="T95"/>
                <a:gd fmla="*/ 108 w 278" name="T96"/>
                <a:gd fmla="*/ 48 h 320" name="T97"/>
                <a:gd fmla="*/ 78 w 278" name="T98"/>
                <a:gd fmla="*/ 44 h 320" name="T99"/>
                <a:gd fmla="*/ 84 w 278" name="T100"/>
                <a:gd fmla="*/ 24 h 320" name="T101"/>
                <a:gd fmla="*/ 80 w 278" name="T102"/>
                <a:gd fmla="*/ 4 h 320" name="T103"/>
                <a:gd fmla="*/ 60 w 278" name="T104"/>
                <a:gd fmla="*/ 16 h 320" name="T105"/>
                <a:gd fmla="*/ 72 w 278" name="T106"/>
                <a:gd fmla="*/ 78 h 320" name="T107"/>
                <a:gd fmla="*/ 72 w 278" name="T108"/>
                <a:gd fmla="*/ 92 h 320" name="T109"/>
                <a:gd fmla="*/ 44 w 278" name="T110"/>
                <a:gd fmla="*/ 38 h 320" name="T111"/>
                <a:gd fmla="*/ 40 w 278" name="T112"/>
                <a:gd fmla="*/ 0 h 320" name="T113"/>
                <a:gd fmla="*/ 2 w 278" name="T114"/>
                <a:gd fmla="*/ 56 h 320" name="T115"/>
                <a:gd fmla="*/ 4 w 278" name="T116"/>
                <a:gd fmla="*/ 68 h 320" name="T117"/>
                <a:gd fmla="*/ 22 w 278" name="T118"/>
                <a:gd fmla="*/ 108 h 320" name="T119"/>
                <a:gd fmla="*/ 36 w 278" name="T120"/>
                <a:gd fmla="*/ 110 h 320"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320" w="278">
                  <a:moveTo>
                    <a:pt x="80" y="124"/>
                  </a:moveTo>
                  <a:lnTo>
                    <a:pt x="92" y="126"/>
                  </a:lnTo>
                  <a:lnTo>
                    <a:pt x="92" y="124"/>
                  </a:lnTo>
                  <a:lnTo>
                    <a:pt x="92" y="124"/>
                  </a:lnTo>
                  <a:lnTo>
                    <a:pt x="92" y="122"/>
                  </a:lnTo>
                  <a:lnTo>
                    <a:pt x="94" y="122"/>
                  </a:lnTo>
                  <a:lnTo>
                    <a:pt x="94" y="122"/>
                  </a:lnTo>
                  <a:lnTo>
                    <a:pt x="98" y="124"/>
                  </a:lnTo>
                  <a:lnTo>
                    <a:pt x="98" y="124"/>
                  </a:lnTo>
                  <a:lnTo>
                    <a:pt x="102" y="126"/>
                  </a:lnTo>
                  <a:lnTo>
                    <a:pt x="106" y="128"/>
                  </a:lnTo>
                  <a:lnTo>
                    <a:pt x="110" y="128"/>
                  </a:lnTo>
                  <a:lnTo>
                    <a:pt x="116" y="130"/>
                  </a:lnTo>
                  <a:lnTo>
                    <a:pt x="134" y="138"/>
                  </a:lnTo>
                  <a:lnTo>
                    <a:pt x="136" y="140"/>
                  </a:lnTo>
                  <a:lnTo>
                    <a:pt x="136" y="140"/>
                  </a:lnTo>
                  <a:lnTo>
                    <a:pt x="138" y="142"/>
                  </a:lnTo>
                  <a:lnTo>
                    <a:pt x="138" y="144"/>
                  </a:lnTo>
                  <a:lnTo>
                    <a:pt x="138" y="146"/>
                  </a:lnTo>
                  <a:lnTo>
                    <a:pt x="136" y="150"/>
                  </a:lnTo>
                  <a:lnTo>
                    <a:pt x="136" y="148"/>
                  </a:lnTo>
                  <a:lnTo>
                    <a:pt x="138" y="148"/>
                  </a:lnTo>
                  <a:lnTo>
                    <a:pt x="142" y="148"/>
                  </a:lnTo>
                  <a:lnTo>
                    <a:pt x="146" y="148"/>
                  </a:lnTo>
                  <a:lnTo>
                    <a:pt x="148" y="150"/>
                  </a:lnTo>
                  <a:lnTo>
                    <a:pt x="152" y="152"/>
                  </a:lnTo>
                  <a:lnTo>
                    <a:pt x="152" y="156"/>
                  </a:lnTo>
                  <a:lnTo>
                    <a:pt x="154" y="160"/>
                  </a:lnTo>
                  <a:lnTo>
                    <a:pt x="156" y="170"/>
                  </a:lnTo>
                  <a:lnTo>
                    <a:pt x="156" y="182"/>
                  </a:lnTo>
                  <a:lnTo>
                    <a:pt x="156" y="196"/>
                  </a:lnTo>
                  <a:lnTo>
                    <a:pt x="150" y="210"/>
                  </a:lnTo>
                  <a:lnTo>
                    <a:pt x="150" y="210"/>
                  </a:lnTo>
                  <a:lnTo>
                    <a:pt x="150" y="214"/>
                  </a:lnTo>
                  <a:lnTo>
                    <a:pt x="150" y="218"/>
                  </a:lnTo>
                  <a:lnTo>
                    <a:pt x="148" y="224"/>
                  </a:lnTo>
                  <a:lnTo>
                    <a:pt x="146" y="230"/>
                  </a:lnTo>
                  <a:lnTo>
                    <a:pt x="140" y="234"/>
                  </a:lnTo>
                  <a:lnTo>
                    <a:pt x="140" y="236"/>
                  </a:lnTo>
                  <a:lnTo>
                    <a:pt x="138" y="236"/>
                  </a:lnTo>
                  <a:lnTo>
                    <a:pt x="136" y="238"/>
                  </a:lnTo>
                  <a:lnTo>
                    <a:pt x="132" y="238"/>
                  </a:lnTo>
                  <a:lnTo>
                    <a:pt x="128" y="238"/>
                  </a:lnTo>
                  <a:lnTo>
                    <a:pt x="126" y="238"/>
                  </a:lnTo>
                  <a:lnTo>
                    <a:pt x="124" y="238"/>
                  </a:lnTo>
                  <a:lnTo>
                    <a:pt x="124" y="236"/>
                  </a:lnTo>
                  <a:lnTo>
                    <a:pt x="120" y="236"/>
                  </a:lnTo>
                  <a:lnTo>
                    <a:pt x="118" y="238"/>
                  </a:lnTo>
                  <a:lnTo>
                    <a:pt x="116" y="240"/>
                  </a:lnTo>
                  <a:lnTo>
                    <a:pt x="112" y="244"/>
                  </a:lnTo>
                  <a:lnTo>
                    <a:pt x="110" y="250"/>
                  </a:lnTo>
                  <a:lnTo>
                    <a:pt x="110" y="250"/>
                  </a:lnTo>
                  <a:lnTo>
                    <a:pt x="110" y="252"/>
                  </a:lnTo>
                  <a:lnTo>
                    <a:pt x="110" y="254"/>
                  </a:lnTo>
                  <a:lnTo>
                    <a:pt x="112" y="256"/>
                  </a:lnTo>
                  <a:lnTo>
                    <a:pt x="114" y="260"/>
                  </a:lnTo>
                  <a:lnTo>
                    <a:pt x="116" y="262"/>
                  </a:lnTo>
                  <a:lnTo>
                    <a:pt x="122" y="264"/>
                  </a:lnTo>
                  <a:lnTo>
                    <a:pt x="126" y="266"/>
                  </a:lnTo>
                  <a:lnTo>
                    <a:pt x="134" y="266"/>
                  </a:lnTo>
                  <a:lnTo>
                    <a:pt x="136" y="266"/>
                  </a:lnTo>
                  <a:lnTo>
                    <a:pt x="138" y="264"/>
                  </a:lnTo>
                  <a:lnTo>
                    <a:pt x="140" y="262"/>
                  </a:lnTo>
                  <a:lnTo>
                    <a:pt x="144" y="262"/>
                  </a:lnTo>
                  <a:lnTo>
                    <a:pt x="146" y="260"/>
                  </a:lnTo>
                  <a:lnTo>
                    <a:pt x="146" y="258"/>
                  </a:lnTo>
                  <a:lnTo>
                    <a:pt x="144" y="256"/>
                  </a:lnTo>
                  <a:lnTo>
                    <a:pt x="162" y="274"/>
                  </a:lnTo>
                  <a:lnTo>
                    <a:pt x="174" y="276"/>
                  </a:lnTo>
                  <a:lnTo>
                    <a:pt x="174" y="276"/>
                  </a:lnTo>
                  <a:lnTo>
                    <a:pt x="174" y="278"/>
                  </a:lnTo>
                  <a:lnTo>
                    <a:pt x="174" y="282"/>
                  </a:lnTo>
                  <a:lnTo>
                    <a:pt x="174" y="284"/>
                  </a:lnTo>
                  <a:lnTo>
                    <a:pt x="176" y="288"/>
                  </a:lnTo>
                  <a:lnTo>
                    <a:pt x="180" y="292"/>
                  </a:lnTo>
                  <a:lnTo>
                    <a:pt x="184" y="296"/>
                  </a:lnTo>
                  <a:lnTo>
                    <a:pt x="192" y="298"/>
                  </a:lnTo>
                  <a:lnTo>
                    <a:pt x="192" y="300"/>
                  </a:lnTo>
                  <a:lnTo>
                    <a:pt x="196" y="300"/>
                  </a:lnTo>
                  <a:lnTo>
                    <a:pt x="200" y="302"/>
                  </a:lnTo>
                  <a:lnTo>
                    <a:pt x="202" y="306"/>
                  </a:lnTo>
                  <a:lnTo>
                    <a:pt x="206" y="310"/>
                  </a:lnTo>
                  <a:lnTo>
                    <a:pt x="206" y="312"/>
                  </a:lnTo>
                  <a:lnTo>
                    <a:pt x="208" y="312"/>
                  </a:lnTo>
                  <a:lnTo>
                    <a:pt x="210" y="314"/>
                  </a:lnTo>
                  <a:lnTo>
                    <a:pt x="212" y="316"/>
                  </a:lnTo>
                  <a:lnTo>
                    <a:pt x="214" y="318"/>
                  </a:lnTo>
                  <a:lnTo>
                    <a:pt x="218" y="320"/>
                  </a:lnTo>
                  <a:lnTo>
                    <a:pt x="220" y="320"/>
                  </a:lnTo>
                  <a:lnTo>
                    <a:pt x="222" y="318"/>
                  </a:lnTo>
                  <a:lnTo>
                    <a:pt x="222" y="316"/>
                  </a:lnTo>
                  <a:lnTo>
                    <a:pt x="222" y="310"/>
                  </a:lnTo>
                  <a:lnTo>
                    <a:pt x="222" y="310"/>
                  </a:lnTo>
                  <a:lnTo>
                    <a:pt x="220" y="306"/>
                  </a:lnTo>
                  <a:lnTo>
                    <a:pt x="218" y="302"/>
                  </a:lnTo>
                  <a:lnTo>
                    <a:pt x="216" y="298"/>
                  </a:lnTo>
                  <a:lnTo>
                    <a:pt x="212" y="294"/>
                  </a:lnTo>
                  <a:lnTo>
                    <a:pt x="210" y="290"/>
                  </a:lnTo>
                  <a:lnTo>
                    <a:pt x="206" y="290"/>
                  </a:lnTo>
                  <a:lnTo>
                    <a:pt x="206" y="288"/>
                  </a:lnTo>
                  <a:lnTo>
                    <a:pt x="206" y="288"/>
                  </a:lnTo>
                  <a:lnTo>
                    <a:pt x="204" y="286"/>
                  </a:lnTo>
                  <a:lnTo>
                    <a:pt x="204" y="286"/>
                  </a:lnTo>
                  <a:lnTo>
                    <a:pt x="206" y="284"/>
                  </a:lnTo>
                  <a:lnTo>
                    <a:pt x="208" y="284"/>
                  </a:lnTo>
                  <a:lnTo>
                    <a:pt x="210" y="284"/>
                  </a:lnTo>
                  <a:lnTo>
                    <a:pt x="214" y="286"/>
                  </a:lnTo>
                  <a:lnTo>
                    <a:pt x="218" y="288"/>
                  </a:lnTo>
                  <a:lnTo>
                    <a:pt x="222" y="290"/>
                  </a:lnTo>
                  <a:lnTo>
                    <a:pt x="228" y="292"/>
                  </a:lnTo>
                  <a:lnTo>
                    <a:pt x="232" y="296"/>
                  </a:lnTo>
                  <a:lnTo>
                    <a:pt x="236" y="300"/>
                  </a:lnTo>
                  <a:lnTo>
                    <a:pt x="238" y="304"/>
                  </a:lnTo>
                  <a:lnTo>
                    <a:pt x="238" y="304"/>
                  </a:lnTo>
                  <a:lnTo>
                    <a:pt x="240" y="306"/>
                  </a:lnTo>
                  <a:lnTo>
                    <a:pt x="240" y="308"/>
                  </a:lnTo>
                  <a:lnTo>
                    <a:pt x="242" y="308"/>
                  </a:lnTo>
                  <a:lnTo>
                    <a:pt x="244" y="306"/>
                  </a:lnTo>
                  <a:lnTo>
                    <a:pt x="246" y="304"/>
                  </a:lnTo>
                  <a:lnTo>
                    <a:pt x="246" y="302"/>
                  </a:lnTo>
                  <a:lnTo>
                    <a:pt x="248" y="300"/>
                  </a:lnTo>
                  <a:lnTo>
                    <a:pt x="248" y="296"/>
                  </a:lnTo>
                  <a:lnTo>
                    <a:pt x="250" y="290"/>
                  </a:lnTo>
                  <a:lnTo>
                    <a:pt x="250" y="286"/>
                  </a:lnTo>
                  <a:lnTo>
                    <a:pt x="248" y="282"/>
                  </a:lnTo>
                  <a:lnTo>
                    <a:pt x="246" y="278"/>
                  </a:lnTo>
                  <a:lnTo>
                    <a:pt x="244" y="276"/>
                  </a:lnTo>
                  <a:lnTo>
                    <a:pt x="242" y="274"/>
                  </a:lnTo>
                  <a:lnTo>
                    <a:pt x="240" y="272"/>
                  </a:lnTo>
                  <a:lnTo>
                    <a:pt x="236" y="268"/>
                  </a:lnTo>
                  <a:lnTo>
                    <a:pt x="232" y="264"/>
                  </a:lnTo>
                  <a:lnTo>
                    <a:pt x="230" y="262"/>
                  </a:lnTo>
                  <a:lnTo>
                    <a:pt x="226" y="260"/>
                  </a:lnTo>
                  <a:lnTo>
                    <a:pt x="224" y="258"/>
                  </a:lnTo>
                  <a:lnTo>
                    <a:pt x="224" y="258"/>
                  </a:lnTo>
                  <a:lnTo>
                    <a:pt x="222" y="258"/>
                  </a:lnTo>
                  <a:lnTo>
                    <a:pt x="220" y="256"/>
                  </a:lnTo>
                  <a:lnTo>
                    <a:pt x="218" y="252"/>
                  </a:lnTo>
                  <a:lnTo>
                    <a:pt x="218" y="250"/>
                  </a:lnTo>
                  <a:lnTo>
                    <a:pt x="218" y="250"/>
                  </a:lnTo>
                  <a:lnTo>
                    <a:pt x="216" y="250"/>
                  </a:lnTo>
                  <a:lnTo>
                    <a:pt x="214" y="248"/>
                  </a:lnTo>
                  <a:lnTo>
                    <a:pt x="212" y="246"/>
                  </a:lnTo>
                  <a:lnTo>
                    <a:pt x="210" y="242"/>
                  </a:lnTo>
                  <a:lnTo>
                    <a:pt x="208" y="238"/>
                  </a:lnTo>
                  <a:lnTo>
                    <a:pt x="208" y="230"/>
                  </a:lnTo>
                  <a:lnTo>
                    <a:pt x="208" y="230"/>
                  </a:lnTo>
                  <a:lnTo>
                    <a:pt x="206" y="226"/>
                  </a:lnTo>
                  <a:lnTo>
                    <a:pt x="206" y="224"/>
                  </a:lnTo>
                  <a:lnTo>
                    <a:pt x="206" y="220"/>
                  </a:lnTo>
                  <a:lnTo>
                    <a:pt x="206" y="216"/>
                  </a:lnTo>
                  <a:lnTo>
                    <a:pt x="208" y="212"/>
                  </a:lnTo>
                  <a:lnTo>
                    <a:pt x="210" y="208"/>
                  </a:lnTo>
                  <a:lnTo>
                    <a:pt x="212" y="208"/>
                  </a:lnTo>
                  <a:lnTo>
                    <a:pt x="214" y="208"/>
                  </a:lnTo>
                  <a:lnTo>
                    <a:pt x="214" y="208"/>
                  </a:lnTo>
                  <a:lnTo>
                    <a:pt x="216" y="210"/>
                  </a:lnTo>
                  <a:lnTo>
                    <a:pt x="220" y="212"/>
                  </a:lnTo>
                  <a:lnTo>
                    <a:pt x="222" y="216"/>
                  </a:lnTo>
                  <a:lnTo>
                    <a:pt x="222" y="220"/>
                  </a:lnTo>
                  <a:lnTo>
                    <a:pt x="224" y="226"/>
                  </a:lnTo>
                  <a:lnTo>
                    <a:pt x="224" y="228"/>
                  </a:lnTo>
                  <a:lnTo>
                    <a:pt x="226" y="230"/>
                  </a:lnTo>
                  <a:lnTo>
                    <a:pt x="228" y="234"/>
                  </a:lnTo>
                  <a:lnTo>
                    <a:pt x="230" y="240"/>
                  </a:lnTo>
                  <a:lnTo>
                    <a:pt x="230" y="244"/>
                  </a:lnTo>
                  <a:lnTo>
                    <a:pt x="232" y="246"/>
                  </a:lnTo>
                  <a:lnTo>
                    <a:pt x="232" y="246"/>
                  </a:lnTo>
                  <a:lnTo>
                    <a:pt x="232" y="248"/>
                  </a:lnTo>
                  <a:lnTo>
                    <a:pt x="232" y="248"/>
                  </a:lnTo>
                  <a:lnTo>
                    <a:pt x="234" y="250"/>
                  </a:lnTo>
                  <a:lnTo>
                    <a:pt x="236" y="250"/>
                  </a:lnTo>
                  <a:lnTo>
                    <a:pt x="238" y="250"/>
                  </a:lnTo>
                  <a:lnTo>
                    <a:pt x="242" y="248"/>
                  </a:lnTo>
                  <a:lnTo>
                    <a:pt x="246" y="244"/>
                  </a:lnTo>
                  <a:lnTo>
                    <a:pt x="248" y="244"/>
                  </a:lnTo>
                  <a:lnTo>
                    <a:pt x="250" y="242"/>
                  </a:lnTo>
                  <a:lnTo>
                    <a:pt x="252" y="240"/>
                  </a:lnTo>
                  <a:lnTo>
                    <a:pt x="256" y="238"/>
                  </a:lnTo>
                  <a:lnTo>
                    <a:pt x="260" y="236"/>
                  </a:lnTo>
                  <a:lnTo>
                    <a:pt x="264" y="234"/>
                  </a:lnTo>
                  <a:lnTo>
                    <a:pt x="266" y="234"/>
                  </a:lnTo>
                  <a:lnTo>
                    <a:pt x="268" y="234"/>
                  </a:lnTo>
                  <a:lnTo>
                    <a:pt x="270" y="234"/>
                  </a:lnTo>
                  <a:lnTo>
                    <a:pt x="272" y="234"/>
                  </a:lnTo>
                  <a:lnTo>
                    <a:pt x="274" y="232"/>
                  </a:lnTo>
                  <a:lnTo>
                    <a:pt x="276" y="230"/>
                  </a:lnTo>
                  <a:lnTo>
                    <a:pt x="278" y="228"/>
                  </a:lnTo>
                  <a:lnTo>
                    <a:pt x="276" y="224"/>
                  </a:lnTo>
                  <a:lnTo>
                    <a:pt x="274" y="220"/>
                  </a:lnTo>
                  <a:lnTo>
                    <a:pt x="274" y="220"/>
                  </a:lnTo>
                  <a:lnTo>
                    <a:pt x="272" y="220"/>
                  </a:lnTo>
                  <a:lnTo>
                    <a:pt x="270" y="220"/>
                  </a:lnTo>
                  <a:lnTo>
                    <a:pt x="268" y="218"/>
                  </a:lnTo>
                  <a:lnTo>
                    <a:pt x="266" y="218"/>
                  </a:lnTo>
                  <a:lnTo>
                    <a:pt x="266" y="214"/>
                  </a:lnTo>
                  <a:lnTo>
                    <a:pt x="276" y="212"/>
                  </a:lnTo>
                  <a:lnTo>
                    <a:pt x="276" y="212"/>
                  </a:lnTo>
                  <a:lnTo>
                    <a:pt x="276" y="210"/>
                  </a:lnTo>
                  <a:lnTo>
                    <a:pt x="276" y="208"/>
                  </a:lnTo>
                  <a:lnTo>
                    <a:pt x="274" y="206"/>
                  </a:lnTo>
                  <a:lnTo>
                    <a:pt x="272" y="204"/>
                  </a:lnTo>
                  <a:lnTo>
                    <a:pt x="272" y="204"/>
                  </a:lnTo>
                  <a:lnTo>
                    <a:pt x="270" y="202"/>
                  </a:lnTo>
                  <a:lnTo>
                    <a:pt x="270" y="200"/>
                  </a:lnTo>
                  <a:lnTo>
                    <a:pt x="268" y="198"/>
                  </a:lnTo>
                  <a:lnTo>
                    <a:pt x="266" y="198"/>
                  </a:lnTo>
                  <a:lnTo>
                    <a:pt x="262" y="198"/>
                  </a:lnTo>
                  <a:lnTo>
                    <a:pt x="262" y="200"/>
                  </a:lnTo>
                  <a:lnTo>
                    <a:pt x="260" y="200"/>
                  </a:lnTo>
                  <a:lnTo>
                    <a:pt x="258" y="200"/>
                  </a:lnTo>
                  <a:lnTo>
                    <a:pt x="256" y="202"/>
                  </a:lnTo>
                  <a:lnTo>
                    <a:pt x="254" y="202"/>
                  </a:lnTo>
                  <a:lnTo>
                    <a:pt x="254" y="200"/>
                  </a:lnTo>
                  <a:lnTo>
                    <a:pt x="254" y="198"/>
                  </a:lnTo>
                  <a:lnTo>
                    <a:pt x="254" y="196"/>
                  </a:lnTo>
                  <a:lnTo>
                    <a:pt x="252" y="194"/>
                  </a:lnTo>
                  <a:lnTo>
                    <a:pt x="252" y="190"/>
                  </a:lnTo>
                  <a:lnTo>
                    <a:pt x="248" y="186"/>
                  </a:lnTo>
                  <a:lnTo>
                    <a:pt x="244" y="182"/>
                  </a:lnTo>
                  <a:lnTo>
                    <a:pt x="228" y="176"/>
                  </a:lnTo>
                  <a:lnTo>
                    <a:pt x="216" y="166"/>
                  </a:lnTo>
                  <a:lnTo>
                    <a:pt x="216" y="166"/>
                  </a:lnTo>
                  <a:lnTo>
                    <a:pt x="214" y="166"/>
                  </a:lnTo>
                  <a:lnTo>
                    <a:pt x="212" y="168"/>
                  </a:lnTo>
                  <a:lnTo>
                    <a:pt x="210" y="168"/>
                  </a:lnTo>
                  <a:lnTo>
                    <a:pt x="208" y="168"/>
                  </a:lnTo>
                  <a:lnTo>
                    <a:pt x="206" y="168"/>
                  </a:lnTo>
                  <a:lnTo>
                    <a:pt x="206" y="166"/>
                  </a:lnTo>
                  <a:lnTo>
                    <a:pt x="206" y="162"/>
                  </a:lnTo>
                  <a:lnTo>
                    <a:pt x="206" y="162"/>
                  </a:lnTo>
                  <a:lnTo>
                    <a:pt x="208" y="158"/>
                  </a:lnTo>
                  <a:lnTo>
                    <a:pt x="208" y="156"/>
                  </a:lnTo>
                  <a:lnTo>
                    <a:pt x="210" y="152"/>
                  </a:lnTo>
                  <a:lnTo>
                    <a:pt x="208" y="150"/>
                  </a:lnTo>
                  <a:lnTo>
                    <a:pt x="218" y="148"/>
                  </a:lnTo>
                  <a:lnTo>
                    <a:pt x="220" y="148"/>
                  </a:lnTo>
                  <a:lnTo>
                    <a:pt x="220" y="146"/>
                  </a:lnTo>
                  <a:lnTo>
                    <a:pt x="222" y="144"/>
                  </a:lnTo>
                  <a:lnTo>
                    <a:pt x="222" y="140"/>
                  </a:lnTo>
                  <a:lnTo>
                    <a:pt x="218" y="136"/>
                  </a:lnTo>
                  <a:lnTo>
                    <a:pt x="218" y="136"/>
                  </a:lnTo>
                  <a:lnTo>
                    <a:pt x="218" y="132"/>
                  </a:lnTo>
                  <a:lnTo>
                    <a:pt x="216" y="130"/>
                  </a:lnTo>
                  <a:lnTo>
                    <a:pt x="218" y="126"/>
                  </a:lnTo>
                  <a:lnTo>
                    <a:pt x="218" y="126"/>
                  </a:lnTo>
                  <a:lnTo>
                    <a:pt x="220" y="124"/>
                  </a:lnTo>
                  <a:lnTo>
                    <a:pt x="220" y="122"/>
                  </a:lnTo>
                  <a:lnTo>
                    <a:pt x="218" y="120"/>
                  </a:lnTo>
                  <a:lnTo>
                    <a:pt x="218" y="118"/>
                  </a:lnTo>
                  <a:lnTo>
                    <a:pt x="214" y="116"/>
                  </a:lnTo>
                  <a:lnTo>
                    <a:pt x="208" y="116"/>
                  </a:lnTo>
                  <a:lnTo>
                    <a:pt x="208" y="104"/>
                  </a:lnTo>
                  <a:lnTo>
                    <a:pt x="206" y="104"/>
                  </a:lnTo>
                  <a:lnTo>
                    <a:pt x="204" y="102"/>
                  </a:lnTo>
                  <a:lnTo>
                    <a:pt x="200" y="102"/>
                  </a:lnTo>
                  <a:lnTo>
                    <a:pt x="196" y="98"/>
                  </a:lnTo>
                  <a:lnTo>
                    <a:pt x="196" y="96"/>
                  </a:lnTo>
                  <a:lnTo>
                    <a:pt x="196" y="96"/>
                  </a:lnTo>
                  <a:lnTo>
                    <a:pt x="194" y="94"/>
                  </a:lnTo>
                  <a:lnTo>
                    <a:pt x="192" y="92"/>
                  </a:lnTo>
                  <a:lnTo>
                    <a:pt x="190" y="92"/>
                  </a:lnTo>
                  <a:lnTo>
                    <a:pt x="186" y="94"/>
                  </a:lnTo>
                  <a:lnTo>
                    <a:pt x="186" y="94"/>
                  </a:lnTo>
                  <a:lnTo>
                    <a:pt x="184" y="94"/>
                  </a:lnTo>
                  <a:lnTo>
                    <a:pt x="182" y="96"/>
                  </a:lnTo>
                  <a:lnTo>
                    <a:pt x="180" y="96"/>
                  </a:lnTo>
                  <a:lnTo>
                    <a:pt x="178" y="96"/>
                  </a:lnTo>
                  <a:lnTo>
                    <a:pt x="176" y="96"/>
                  </a:lnTo>
                  <a:lnTo>
                    <a:pt x="176" y="94"/>
                  </a:lnTo>
                  <a:lnTo>
                    <a:pt x="178" y="90"/>
                  </a:lnTo>
                  <a:lnTo>
                    <a:pt x="178" y="90"/>
                  </a:lnTo>
                  <a:lnTo>
                    <a:pt x="178" y="88"/>
                  </a:lnTo>
                  <a:lnTo>
                    <a:pt x="180" y="86"/>
                  </a:lnTo>
                  <a:lnTo>
                    <a:pt x="180" y="84"/>
                  </a:lnTo>
                  <a:lnTo>
                    <a:pt x="180" y="82"/>
                  </a:lnTo>
                  <a:lnTo>
                    <a:pt x="178" y="78"/>
                  </a:lnTo>
                  <a:lnTo>
                    <a:pt x="176" y="78"/>
                  </a:lnTo>
                  <a:lnTo>
                    <a:pt x="172" y="76"/>
                  </a:lnTo>
                  <a:lnTo>
                    <a:pt x="172" y="76"/>
                  </a:lnTo>
                  <a:lnTo>
                    <a:pt x="170" y="78"/>
                  </a:lnTo>
                  <a:lnTo>
                    <a:pt x="168" y="78"/>
                  </a:lnTo>
                  <a:lnTo>
                    <a:pt x="166" y="78"/>
                  </a:lnTo>
                  <a:lnTo>
                    <a:pt x="164" y="76"/>
                  </a:lnTo>
                  <a:lnTo>
                    <a:pt x="160" y="74"/>
                  </a:lnTo>
                  <a:lnTo>
                    <a:pt x="156" y="70"/>
                  </a:lnTo>
                  <a:lnTo>
                    <a:pt x="152" y="62"/>
                  </a:lnTo>
                  <a:lnTo>
                    <a:pt x="150" y="58"/>
                  </a:lnTo>
                  <a:lnTo>
                    <a:pt x="144" y="54"/>
                  </a:lnTo>
                  <a:lnTo>
                    <a:pt x="132" y="48"/>
                  </a:lnTo>
                  <a:lnTo>
                    <a:pt x="114" y="46"/>
                  </a:lnTo>
                  <a:lnTo>
                    <a:pt x="114" y="46"/>
                  </a:lnTo>
                  <a:lnTo>
                    <a:pt x="112" y="46"/>
                  </a:lnTo>
                  <a:lnTo>
                    <a:pt x="108" y="48"/>
                  </a:lnTo>
                  <a:lnTo>
                    <a:pt x="106" y="48"/>
                  </a:lnTo>
                  <a:lnTo>
                    <a:pt x="102" y="48"/>
                  </a:lnTo>
                  <a:lnTo>
                    <a:pt x="98" y="48"/>
                  </a:lnTo>
                  <a:lnTo>
                    <a:pt x="96" y="44"/>
                  </a:lnTo>
                  <a:lnTo>
                    <a:pt x="94" y="38"/>
                  </a:lnTo>
                  <a:lnTo>
                    <a:pt x="78" y="44"/>
                  </a:lnTo>
                  <a:lnTo>
                    <a:pt x="78" y="42"/>
                  </a:lnTo>
                  <a:lnTo>
                    <a:pt x="80" y="40"/>
                  </a:lnTo>
                  <a:lnTo>
                    <a:pt x="82" y="34"/>
                  </a:lnTo>
                  <a:lnTo>
                    <a:pt x="82" y="28"/>
                  </a:lnTo>
                  <a:lnTo>
                    <a:pt x="82" y="26"/>
                  </a:lnTo>
                  <a:lnTo>
                    <a:pt x="84" y="24"/>
                  </a:lnTo>
                  <a:lnTo>
                    <a:pt x="84" y="20"/>
                  </a:lnTo>
                  <a:lnTo>
                    <a:pt x="84" y="16"/>
                  </a:lnTo>
                  <a:lnTo>
                    <a:pt x="86" y="12"/>
                  </a:lnTo>
                  <a:lnTo>
                    <a:pt x="84" y="8"/>
                  </a:lnTo>
                  <a:lnTo>
                    <a:pt x="82" y="6"/>
                  </a:lnTo>
                  <a:lnTo>
                    <a:pt x="80" y="4"/>
                  </a:lnTo>
                  <a:lnTo>
                    <a:pt x="78" y="4"/>
                  </a:lnTo>
                  <a:lnTo>
                    <a:pt x="76" y="4"/>
                  </a:lnTo>
                  <a:lnTo>
                    <a:pt x="72" y="6"/>
                  </a:lnTo>
                  <a:lnTo>
                    <a:pt x="68" y="8"/>
                  </a:lnTo>
                  <a:lnTo>
                    <a:pt x="64" y="12"/>
                  </a:lnTo>
                  <a:lnTo>
                    <a:pt x="60" y="16"/>
                  </a:lnTo>
                  <a:lnTo>
                    <a:pt x="56" y="24"/>
                  </a:lnTo>
                  <a:lnTo>
                    <a:pt x="56" y="28"/>
                  </a:lnTo>
                  <a:lnTo>
                    <a:pt x="54" y="36"/>
                  </a:lnTo>
                  <a:lnTo>
                    <a:pt x="54" y="46"/>
                  </a:lnTo>
                  <a:lnTo>
                    <a:pt x="56" y="58"/>
                  </a:lnTo>
                  <a:lnTo>
                    <a:pt x="72" y="78"/>
                  </a:lnTo>
                  <a:lnTo>
                    <a:pt x="72" y="78"/>
                  </a:lnTo>
                  <a:lnTo>
                    <a:pt x="72" y="80"/>
                  </a:lnTo>
                  <a:lnTo>
                    <a:pt x="72" y="84"/>
                  </a:lnTo>
                  <a:lnTo>
                    <a:pt x="72" y="86"/>
                  </a:lnTo>
                  <a:lnTo>
                    <a:pt x="72" y="90"/>
                  </a:lnTo>
                  <a:lnTo>
                    <a:pt x="72" y="92"/>
                  </a:lnTo>
                  <a:lnTo>
                    <a:pt x="70" y="92"/>
                  </a:lnTo>
                  <a:lnTo>
                    <a:pt x="68" y="90"/>
                  </a:lnTo>
                  <a:lnTo>
                    <a:pt x="64" y="86"/>
                  </a:lnTo>
                  <a:lnTo>
                    <a:pt x="56" y="76"/>
                  </a:lnTo>
                  <a:lnTo>
                    <a:pt x="48" y="60"/>
                  </a:lnTo>
                  <a:lnTo>
                    <a:pt x="44" y="38"/>
                  </a:lnTo>
                  <a:lnTo>
                    <a:pt x="44" y="32"/>
                  </a:lnTo>
                  <a:lnTo>
                    <a:pt x="46" y="20"/>
                  </a:lnTo>
                  <a:lnTo>
                    <a:pt x="52" y="4"/>
                  </a:lnTo>
                  <a:lnTo>
                    <a:pt x="52" y="2"/>
                  </a:lnTo>
                  <a:lnTo>
                    <a:pt x="48" y="0"/>
                  </a:lnTo>
                  <a:lnTo>
                    <a:pt x="40" y="0"/>
                  </a:lnTo>
                  <a:lnTo>
                    <a:pt x="32" y="4"/>
                  </a:lnTo>
                  <a:lnTo>
                    <a:pt x="18" y="14"/>
                  </a:lnTo>
                  <a:lnTo>
                    <a:pt x="16" y="18"/>
                  </a:lnTo>
                  <a:lnTo>
                    <a:pt x="10" y="30"/>
                  </a:lnTo>
                  <a:lnTo>
                    <a:pt x="4" y="42"/>
                  </a:lnTo>
                  <a:lnTo>
                    <a:pt x="2" y="56"/>
                  </a:lnTo>
                  <a:lnTo>
                    <a:pt x="2" y="56"/>
                  </a:lnTo>
                  <a:lnTo>
                    <a:pt x="2" y="58"/>
                  </a:lnTo>
                  <a:lnTo>
                    <a:pt x="0" y="58"/>
                  </a:lnTo>
                  <a:lnTo>
                    <a:pt x="0" y="60"/>
                  </a:lnTo>
                  <a:lnTo>
                    <a:pt x="2" y="64"/>
                  </a:lnTo>
                  <a:lnTo>
                    <a:pt x="4" y="68"/>
                  </a:lnTo>
                  <a:lnTo>
                    <a:pt x="6" y="72"/>
                  </a:lnTo>
                  <a:lnTo>
                    <a:pt x="12" y="80"/>
                  </a:lnTo>
                  <a:lnTo>
                    <a:pt x="18" y="88"/>
                  </a:lnTo>
                  <a:lnTo>
                    <a:pt x="22" y="98"/>
                  </a:lnTo>
                  <a:lnTo>
                    <a:pt x="24" y="104"/>
                  </a:lnTo>
                  <a:lnTo>
                    <a:pt x="22" y="108"/>
                  </a:lnTo>
                  <a:lnTo>
                    <a:pt x="26" y="112"/>
                  </a:lnTo>
                  <a:lnTo>
                    <a:pt x="26" y="112"/>
                  </a:lnTo>
                  <a:lnTo>
                    <a:pt x="28" y="110"/>
                  </a:lnTo>
                  <a:lnTo>
                    <a:pt x="30" y="108"/>
                  </a:lnTo>
                  <a:lnTo>
                    <a:pt x="32" y="108"/>
                  </a:lnTo>
                  <a:lnTo>
                    <a:pt x="36" y="110"/>
                  </a:lnTo>
                  <a:lnTo>
                    <a:pt x="40" y="112"/>
                  </a:lnTo>
                  <a:lnTo>
                    <a:pt x="48" y="118"/>
                  </a:lnTo>
                  <a:lnTo>
                    <a:pt x="62" y="122"/>
                  </a:lnTo>
                  <a:lnTo>
                    <a:pt x="80" y="12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6" name="Freeform 533"/>
            <p:cNvSpPr/>
            <p:nvPr/>
          </p:nvSpPr>
          <p:spPr bwMode="gray">
            <a:xfrm>
              <a:off x="7266909" y="2626411"/>
              <a:ext cx="148112" cy="107309"/>
            </a:xfrm>
            <a:custGeom>
              <a:gdLst>
                <a:gd fmla="*/ 6 w 80" name="T0"/>
                <a:gd fmla="*/ 36 h 58" name="T1"/>
                <a:gd fmla="*/ 0 w 80" name="T2"/>
                <a:gd fmla="*/ 46 h 58" name="T3"/>
                <a:gd fmla="*/ 2 w 80" name="T4"/>
                <a:gd fmla="*/ 46 h 58" name="T5"/>
                <a:gd fmla="*/ 4 w 80" name="T6"/>
                <a:gd fmla="*/ 44 h 58" name="T7"/>
                <a:gd fmla="*/ 6 w 80" name="T8"/>
                <a:gd fmla="*/ 44 h 58" name="T9"/>
                <a:gd fmla="*/ 10 w 80" name="T10"/>
                <a:gd fmla="*/ 44 h 58" name="T11"/>
                <a:gd fmla="*/ 12 w 80" name="T12"/>
                <a:gd fmla="*/ 44 h 58" name="T13"/>
                <a:gd fmla="*/ 14 w 80" name="T14"/>
                <a:gd fmla="*/ 46 h 58" name="T15"/>
                <a:gd fmla="*/ 16 w 80" name="T16"/>
                <a:gd fmla="*/ 48 h 58" name="T17"/>
                <a:gd fmla="*/ 16 w 80" name="T18"/>
                <a:gd fmla="*/ 50 h 58" name="T19"/>
                <a:gd fmla="*/ 16 w 80" name="T20"/>
                <a:gd fmla="*/ 52 h 58" name="T21"/>
                <a:gd fmla="*/ 18 w 80" name="T22"/>
                <a:gd fmla="*/ 54 h 58" name="T23"/>
                <a:gd fmla="*/ 20 w 80" name="T24"/>
                <a:gd fmla="*/ 56 h 58" name="T25"/>
                <a:gd fmla="*/ 22 w 80" name="T26"/>
                <a:gd fmla="*/ 58 h 58" name="T27"/>
                <a:gd fmla="*/ 26 w 80" name="T28"/>
                <a:gd fmla="*/ 58 h 58" name="T29"/>
                <a:gd fmla="*/ 30 w 80" name="T30"/>
                <a:gd fmla="*/ 58 h 58" name="T31"/>
                <a:gd fmla="*/ 34 w 80" name="T32"/>
                <a:gd fmla="*/ 56 h 58" name="T33"/>
                <a:gd fmla="*/ 54 w 80" name="T34"/>
                <a:gd fmla="*/ 44 h 58" name="T35"/>
                <a:gd fmla="*/ 72 w 80" name="T36"/>
                <a:gd fmla="*/ 48 h 58" name="T37"/>
                <a:gd fmla="*/ 80 w 80" name="T38"/>
                <a:gd fmla="*/ 42 h 58" name="T39"/>
                <a:gd fmla="*/ 80 w 80" name="T40"/>
                <a:gd fmla="*/ 40 h 58" name="T41"/>
                <a:gd fmla="*/ 78 w 80" name="T42"/>
                <a:gd fmla="*/ 38 h 58" name="T43"/>
                <a:gd fmla="*/ 74 w 80" name="T44"/>
                <a:gd fmla="*/ 34 h 58" name="T45"/>
                <a:gd fmla="*/ 70 w 80" name="T46"/>
                <a:gd fmla="*/ 30 h 58" name="T47"/>
                <a:gd fmla="*/ 66 w 80" name="T48"/>
                <a:gd fmla="*/ 26 h 58" name="T49"/>
                <a:gd fmla="*/ 60 w 80" name="T50"/>
                <a:gd fmla="*/ 24 h 58" name="T51"/>
                <a:gd fmla="*/ 60 w 80" name="T52"/>
                <a:gd fmla="*/ 24 h 58" name="T53"/>
                <a:gd fmla="*/ 58 w 80" name="T54"/>
                <a:gd fmla="*/ 22 h 58" name="T55"/>
                <a:gd fmla="*/ 54 w 80" name="T56"/>
                <a:gd fmla="*/ 20 h 58" name="T57"/>
                <a:gd fmla="*/ 50 w 80" name="T58"/>
                <a:gd fmla="*/ 16 h 58" name="T59"/>
                <a:gd fmla="*/ 46 w 80" name="T60"/>
                <a:gd fmla="*/ 14 h 58" name="T61"/>
                <a:gd fmla="*/ 42 w 80" name="T62"/>
                <a:gd fmla="*/ 12 h 58" name="T63"/>
                <a:gd fmla="*/ 38 w 80" name="T64"/>
                <a:gd fmla="*/ 10 h 58" name="T65"/>
                <a:gd fmla="*/ 34 w 80" name="T66"/>
                <a:gd fmla="*/ 10 h 58" name="T67"/>
                <a:gd fmla="*/ 32 w 80" name="T68"/>
                <a:gd fmla="*/ 0 h 58" name="T69"/>
                <a:gd fmla="*/ 22 w 80" name="T70"/>
                <a:gd fmla="*/ 14 h 58" name="T71"/>
                <a:gd fmla="*/ 20 w 80" name="T72"/>
                <a:gd fmla="*/ 14 h 58" name="T73"/>
                <a:gd fmla="*/ 18 w 80" name="T74"/>
                <a:gd fmla="*/ 14 h 58" name="T75"/>
                <a:gd fmla="*/ 16 w 80" name="T76"/>
                <a:gd fmla="*/ 16 h 58" name="T77"/>
                <a:gd fmla="*/ 12 w 80" name="T78"/>
                <a:gd fmla="*/ 18 h 58" name="T79"/>
                <a:gd fmla="*/ 10 w 80" name="T80"/>
                <a:gd fmla="*/ 20 h 58" name="T81"/>
                <a:gd fmla="*/ 6 w 80" name="T82"/>
                <a:gd fmla="*/ 24 h 58" name="T83"/>
                <a:gd fmla="*/ 6 w 80" name="T84"/>
                <a:gd fmla="*/ 30 h 58" name="T85"/>
                <a:gd fmla="*/ 6 w 80" name="T86"/>
                <a:gd fmla="*/ 36 h 58"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57" w="80">
                  <a:moveTo>
                    <a:pt x="6" y="36"/>
                  </a:moveTo>
                  <a:lnTo>
                    <a:pt x="0" y="46"/>
                  </a:lnTo>
                  <a:lnTo>
                    <a:pt x="2" y="46"/>
                  </a:lnTo>
                  <a:lnTo>
                    <a:pt x="4" y="44"/>
                  </a:lnTo>
                  <a:lnTo>
                    <a:pt x="6" y="44"/>
                  </a:lnTo>
                  <a:lnTo>
                    <a:pt x="10" y="44"/>
                  </a:lnTo>
                  <a:lnTo>
                    <a:pt x="12" y="44"/>
                  </a:lnTo>
                  <a:lnTo>
                    <a:pt x="14" y="46"/>
                  </a:lnTo>
                  <a:lnTo>
                    <a:pt x="16" y="48"/>
                  </a:lnTo>
                  <a:lnTo>
                    <a:pt x="16" y="50"/>
                  </a:lnTo>
                  <a:lnTo>
                    <a:pt x="16" y="52"/>
                  </a:lnTo>
                  <a:lnTo>
                    <a:pt x="18" y="54"/>
                  </a:lnTo>
                  <a:lnTo>
                    <a:pt x="20" y="56"/>
                  </a:lnTo>
                  <a:lnTo>
                    <a:pt x="22" y="58"/>
                  </a:lnTo>
                  <a:lnTo>
                    <a:pt x="26" y="58"/>
                  </a:lnTo>
                  <a:lnTo>
                    <a:pt x="30" y="58"/>
                  </a:lnTo>
                  <a:lnTo>
                    <a:pt x="34" y="56"/>
                  </a:lnTo>
                  <a:lnTo>
                    <a:pt x="54" y="44"/>
                  </a:lnTo>
                  <a:lnTo>
                    <a:pt x="72" y="48"/>
                  </a:lnTo>
                  <a:lnTo>
                    <a:pt x="80" y="42"/>
                  </a:lnTo>
                  <a:lnTo>
                    <a:pt x="80" y="40"/>
                  </a:lnTo>
                  <a:lnTo>
                    <a:pt x="78" y="38"/>
                  </a:lnTo>
                  <a:lnTo>
                    <a:pt x="74" y="34"/>
                  </a:lnTo>
                  <a:lnTo>
                    <a:pt x="70" y="30"/>
                  </a:lnTo>
                  <a:lnTo>
                    <a:pt x="66" y="26"/>
                  </a:lnTo>
                  <a:lnTo>
                    <a:pt x="60" y="24"/>
                  </a:lnTo>
                  <a:lnTo>
                    <a:pt x="60" y="24"/>
                  </a:lnTo>
                  <a:lnTo>
                    <a:pt x="58" y="22"/>
                  </a:lnTo>
                  <a:lnTo>
                    <a:pt x="54" y="20"/>
                  </a:lnTo>
                  <a:lnTo>
                    <a:pt x="50" y="16"/>
                  </a:lnTo>
                  <a:lnTo>
                    <a:pt x="46" y="14"/>
                  </a:lnTo>
                  <a:lnTo>
                    <a:pt x="42" y="12"/>
                  </a:lnTo>
                  <a:lnTo>
                    <a:pt x="38" y="10"/>
                  </a:lnTo>
                  <a:lnTo>
                    <a:pt x="34" y="10"/>
                  </a:lnTo>
                  <a:lnTo>
                    <a:pt x="32" y="0"/>
                  </a:lnTo>
                  <a:lnTo>
                    <a:pt x="22" y="14"/>
                  </a:lnTo>
                  <a:lnTo>
                    <a:pt x="20" y="14"/>
                  </a:lnTo>
                  <a:lnTo>
                    <a:pt x="18" y="14"/>
                  </a:lnTo>
                  <a:lnTo>
                    <a:pt x="16" y="16"/>
                  </a:lnTo>
                  <a:lnTo>
                    <a:pt x="12" y="18"/>
                  </a:lnTo>
                  <a:lnTo>
                    <a:pt x="10" y="20"/>
                  </a:lnTo>
                  <a:lnTo>
                    <a:pt x="6" y="24"/>
                  </a:lnTo>
                  <a:lnTo>
                    <a:pt x="6" y="30"/>
                  </a:lnTo>
                  <a:lnTo>
                    <a:pt x="6" y="3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7" name="Freeform 534"/>
            <p:cNvSpPr/>
            <p:nvPr/>
          </p:nvSpPr>
          <p:spPr bwMode="gray">
            <a:xfrm>
              <a:off x="6892927" y="2026963"/>
              <a:ext cx="155517" cy="225718"/>
            </a:xfrm>
            <a:custGeom>
              <a:gdLst>
                <a:gd fmla="*/ 14 w 84" name="T0"/>
                <a:gd fmla="*/ 48 h 122" name="T1"/>
                <a:gd fmla="*/ 10 w 84" name="T2"/>
                <a:gd fmla="*/ 46 h 122" name="T3"/>
                <a:gd fmla="*/ 6 w 84" name="T4"/>
                <a:gd fmla="*/ 46 h 122" name="T5"/>
                <a:gd fmla="*/ 2 w 84" name="T6"/>
                <a:gd fmla="*/ 48 h 122" name="T7"/>
                <a:gd fmla="*/ 0 w 84" name="T8"/>
                <a:gd fmla="*/ 56 h 122" name="T9"/>
                <a:gd fmla="*/ 2 w 84" name="T10"/>
                <a:gd fmla="*/ 64 h 122" name="T11"/>
                <a:gd fmla="*/ 4 w 84" name="T12"/>
                <a:gd fmla="*/ 70 h 122" name="T13"/>
                <a:gd fmla="*/ 10 w 84" name="T14"/>
                <a:gd fmla="*/ 80 h 122" name="T15"/>
                <a:gd fmla="*/ 20 w 84" name="T16"/>
                <a:gd fmla="*/ 86 h 122" name="T17"/>
                <a:gd fmla="*/ 24 w 84" name="T18"/>
                <a:gd fmla="*/ 90 h 122" name="T19"/>
                <a:gd fmla="*/ 32 w 84" name="T20"/>
                <a:gd fmla="*/ 102 h 122" name="T21"/>
                <a:gd fmla="*/ 32 w 84" name="T22"/>
                <a:gd fmla="*/ 106 h 122" name="T23"/>
                <a:gd fmla="*/ 34 w 84" name="T24"/>
                <a:gd fmla="*/ 112 h 122" name="T25"/>
                <a:gd fmla="*/ 40 w 84" name="T26"/>
                <a:gd fmla="*/ 118 h 122" name="T27"/>
                <a:gd fmla="*/ 50 w 84" name="T28"/>
                <a:gd fmla="*/ 122 h 122" name="T29"/>
                <a:gd fmla="*/ 64 w 84" name="T30"/>
                <a:gd fmla="*/ 120 h 122" name="T31"/>
                <a:gd fmla="*/ 68 w 84" name="T32"/>
                <a:gd fmla="*/ 118 h 122" name="T33"/>
                <a:gd fmla="*/ 76 w 84" name="T34"/>
                <a:gd fmla="*/ 114 h 122" name="T35"/>
                <a:gd fmla="*/ 84 w 84" name="T36"/>
                <a:gd fmla="*/ 104 h 122" name="T37"/>
                <a:gd fmla="*/ 84 w 84" name="T38"/>
                <a:gd fmla="*/ 88 h 122" name="T39"/>
                <a:gd fmla="*/ 80 w 84" name="T40"/>
                <a:gd fmla="*/ 68 h 122" name="T41"/>
                <a:gd fmla="*/ 78 w 84" name="T42"/>
                <a:gd fmla="*/ 54 h 122" name="T43"/>
                <a:gd fmla="*/ 74 w 84" name="T44"/>
                <a:gd fmla="*/ 56 h 122" name="T45"/>
                <a:gd fmla="*/ 66 w 84" name="T46"/>
                <a:gd fmla="*/ 56 h 122" name="T47"/>
                <a:gd fmla="*/ 60 w 84" name="T48"/>
                <a:gd fmla="*/ 54 h 122" name="T49"/>
                <a:gd fmla="*/ 60 w 84" name="T50"/>
                <a:gd fmla="*/ 48 h 122" name="T51"/>
                <a:gd fmla="*/ 64 w 84" name="T52"/>
                <a:gd fmla="*/ 42 h 122" name="T53"/>
                <a:gd fmla="*/ 72 w 84" name="T54"/>
                <a:gd fmla="*/ 36 h 122" name="T55"/>
                <a:gd fmla="*/ 76 w 84" name="T56"/>
                <a:gd fmla="*/ 36 h 122" name="T57"/>
                <a:gd fmla="*/ 78 w 84" name="T58"/>
                <a:gd fmla="*/ 30 h 122" name="T59"/>
                <a:gd fmla="*/ 80 w 84" name="T60"/>
                <a:gd fmla="*/ 20 h 122" name="T61"/>
                <a:gd fmla="*/ 76 w 84" name="T62"/>
                <a:gd fmla="*/ 12 h 122" name="T63"/>
                <a:gd fmla="*/ 68 w 84" name="T64"/>
                <a:gd fmla="*/ 0 h 122" name="T65"/>
                <a:gd fmla="*/ 64 w 84" name="T66"/>
                <a:gd fmla="*/ 0 h 122" name="T67"/>
                <a:gd fmla="*/ 54 w 84" name="T68"/>
                <a:gd fmla="*/ 4 h 122" name="T69"/>
                <a:gd fmla="*/ 46 w 84" name="T70"/>
                <a:gd fmla="*/ 4 h 122" name="T71"/>
                <a:gd fmla="*/ 40 w 84" name="T72"/>
                <a:gd fmla="*/ 4 h 122" name="T73"/>
                <a:gd fmla="*/ 32 w 84" name="T74"/>
                <a:gd fmla="*/ 2 h 122" name="T75"/>
                <a:gd fmla="*/ 24 w 84" name="T76"/>
                <a:gd fmla="*/ 6 h 122" name="T77"/>
                <a:gd fmla="*/ 20 w 84" name="T78"/>
                <a:gd fmla="*/ 14 h 122" name="T79"/>
                <a:gd fmla="*/ 20 w 84" name="T80"/>
                <a:gd fmla="*/ 16 h 122" name="T81"/>
                <a:gd fmla="*/ 20 w 84" name="T82"/>
                <a:gd fmla="*/ 24 h 122" name="T83"/>
                <a:gd fmla="*/ 24 w 84" name="T84"/>
                <a:gd fmla="*/ 34 h 122" name="T85"/>
                <a:gd fmla="*/ 28 w 84" name="T86"/>
                <a:gd fmla="*/ 38 h 122" name="T87"/>
                <a:gd fmla="*/ 32 w 84" name="T88"/>
                <a:gd fmla="*/ 42 h 122" name="T89"/>
                <a:gd fmla="*/ 34 w 84" name="T90"/>
                <a:gd fmla="*/ 48 h 122" name="T91"/>
                <a:gd fmla="*/ 32 w 84" name="T92"/>
                <a:gd fmla="*/ 56 h 122" name="T93"/>
                <a:gd fmla="*/ 26 w 84" name="T94"/>
                <a:gd fmla="*/ 58 h 122" name="T95"/>
                <a:gd fmla="*/ 20 w 84" name="T96"/>
                <a:gd fmla="*/ 54 h 122" name="T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b="b" l="0" r="r" t="0"/>
              <a:pathLst>
                <a:path h="122" w="84">
                  <a:moveTo>
                    <a:pt x="14" y="48"/>
                  </a:moveTo>
                  <a:lnTo>
                    <a:pt x="14" y="48"/>
                  </a:lnTo>
                  <a:lnTo>
                    <a:pt x="12" y="46"/>
                  </a:lnTo>
                  <a:lnTo>
                    <a:pt x="10" y="46"/>
                  </a:lnTo>
                  <a:lnTo>
                    <a:pt x="8" y="46"/>
                  </a:lnTo>
                  <a:lnTo>
                    <a:pt x="6" y="46"/>
                  </a:lnTo>
                  <a:lnTo>
                    <a:pt x="2" y="46"/>
                  </a:lnTo>
                  <a:lnTo>
                    <a:pt x="2" y="48"/>
                  </a:lnTo>
                  <a:lnTo>
                    <a:pt x="0" y="50"/>
                  </a:lnTo>
                  <a:lnTo>
                    <a:pt x="0" y="56"/>
                  </a:lnTo>
                  <a:lnTo>
                    <a:pt x="2" y="62"/>
                  </a:lnTo>
                  <a:lnTo>
                    <a:pt x="2" y="64"/>
                  </a:lnTo>
                  <a:lnTo>
                    <a:pt x="2" y="66"/>
                  </a:lnTo>
                  <a:lnTo>
                    <a:pt x="4" y="70"/>
                  </a:lnTo>
                  <a:lnTo>
                    <a:pt x="6" y="76"/>
                  </a:lnTo>
                  <a:lnTo>
                    <a:pt x="10" y="80"/>
                  </a:lnTo>
                  <a:lnTo>
                    <a:pt x="14" y="84"/>
                  </a:lnTo>
                  <a:lnTo>
                    <a:pt x="20" y="86"/>
                  </a:lnTo>
                  <a:lnTo>
                    <a:pt x="22" y="88"/>
                  </a:lnTo>
                  <a:lnTo>
                    <a:pt x="24" y="90"/>
                  </a:lnTo>
                  <a:lnTo>
                    <a:pt x="28" y="94"/>
                  </a:lnTo>
                  <a:lnTo>
                    <a:pt x="32" y="102"/>
                  </a:lnTo>
                  <a:lnTo>
                    <a:pt x="32" y="104"/>
                  </a:lnTo>
                  <a:lnTo>
                    <a:pt x="32" y="106"/>
                  </a:lnTo>
                  <a:lnTo>
                    <a:pt x="34" y="108"/>
                  </a:lnTo>
                  <a:lnTo>
                    <a:pt x="34" y="112"/>
                  </a:lnTo>
                  <a:lnTo>
                    <a:pt x="38" y="116"/>
                  </a:lnTo>
                  <a:lnTo>
                    <a:pt x="40" y="118"/>
                  </a:lnTo>
                  <a:lnTo>
                    <a:pt x="44" y="122"/>
                  </a:lnTo>
                  <a:lnTo>
                    <a:pt x="50" y="122"/>
                  </a:lnTo>
                  <a:lnTo>
                    <a:pt x="56" y="122"/>
                  </a:lnTo>
                  <a:lnTo>
                    <a:pt x="64" y="120"/>
                  </a:lnTo>
                  <a:lnTo>
                    <a:pt x="64" y="120"/>
                  </a:lnTo>
                  <a:lnTo>
                    <a:pt x="68" y="118"/>
                  </a:lnTo>
                  <a:lnTo>
                    <a:pt x="72" y="116"/>
                  </a:lnTo>
                  <a:lnTo>
                    <a:pt x="76" y="114"/>
                  </a:lnTo>
                  <a:lnTo>
                    <a:pt x="80" y="110"/>
                  </a:lnTo>
                  <a:lnTo>
                    <a:pt x="84" y="104"/>
                  </a:lnTo>
                  <a:lnTo>
                    <a:pt x="84" y="100"/>
                  </a:lnTo>
                  <a:lnTo>
                    <a:pt x="84" y="88"/>
                  </a:lnTo>
                  <a:lnTo>
                    <a:pt x="82" y="76"/>
                  </a:lnTo>
                  <a:lnTo>
                    <a:pt x="80" y="68"/>
                  </a:lnTo>
                  <a:lnTo>
                    <a:pt x="80" y="54"/>
                  </a:lnTo>
                  <a:lnTo>
                    <a:pt x="78" y="54"/>
                  </a:lnTo>
                  <a:lnTo>
                    <a:pt x="76" y="56"/>
                  </a:lnTo>
                  <a:lnTo>
                    <a:pt x="74" y="56"/>
                  </a:lnTo>
                  <a:lnTo>
                    <a:pt x="70" y="56"/>
                  </a:lnTo>
                  <a:lnTo>
                    <a:pt x="66" y="56"/>
                  </a:lnTo>
                  <a:lnTo>
                    <a:pt x="64" y="56"/>
                  </a:lnTo>
                  <a:lnTo>
                    <a:pt x="60" y="54"/>
                  </a:lnTo>
                  <a:lnTo>
                    <a:pt x="60" y="50"/>
                  </a:lnTo>
                  <a:lnTo>
                    <a:pt x="60" y="48"/>
                  </a:lnTo>
                  <a:lnTo>
                    <a:pt x="62" y="46"/>
                  </a:lnTo>
                  <a:lnTo>
                    <a:pt x="64" y="42"/>
                  </a:lnTo>
                  <a:lnTo>
                    <a:pt x="68" y="40"/>
                  </a:lnTo>
                  <a:lnTo>
                    <a:pt x="72" y="36"/>
                  </a:lnTo>
                  <a:lnTo>
                    <a:pt x="76" y="36"/>
                  </a:lnTo>
                  <a:lnTo>
                    <a:pt x="76" y="36"/>
                  </a:lnTo>
                  <a:lnTo>
                    <a:pt x="78" y="32"/>
                  </a:lnTo>
                  <a:lnTo>
                    <a:pt x="78" y="30"/>
                  </a:lnTo>
                  <a:lnTo>
                    <a:pt x="80" y="24"/>
                  </a:lnTo>
                  <a:lnTo>
                    <a:pt x="80" y="20"/>
                  </a:lnTo>
                  <a:lnTo>
                    <a:pt x="78" y="16"/>
                  </a:lnTo>
                  <a:lnTo>
                    <a:pt x="76" y="12"/>
                  </a:lnTo>
                  <a:lnTo>
                    <a:pt x="72" y="10"/>
                  </a:lnTo>
                  <a:lnTo>
                    <a:pt x="68" y="0"/>
                  </a:lnTo>
                  <a:lnTo>
                    <a:pt x="68" y="0"/>
                  </a:lnTo>
                  <a:lnTo>
                    <a:pt x="64" y="0"/>
                  </a:lnTo>
                  <a:lnTo>
                    <a:pt x="58" y="2"/>
                  </a:lnTo>
                  <a:lnTo>
                    <a:pt x="54" y="4"/>
                  </a:lnTo>
                  <a:lnTo>
                    <a:pt x="48" y="4"/>
                  </a:lnTo>
                  <a:lnTo>
                    <a:pt x="46" y="4"/>
                  </a:lnTo>
                  <a:lnTo>
                    <a:pt x="44" y="4"/>
                  </a:lnTo>
                  <a:lnTo>
                    <a:pt x="40" y="4"/>
                  </a:lnTo>
                  <a:lnTo>
                    <a:pt x="36" y="2"/>
                  </a:lnTo>
                  <a:lnTo>
                    <a:pt x="32" y="2"/>
                  </a:lnTo>
                  <a:lnTo>
                    <a:pt x="28" y="4"/>
                  </a:lnTo>
                  <a:lnTo>
                    <a:pt x="24" y="6"/>
                  </a:lnTo>
                  <a:lnTo>
                    <a:pt x="22" y="8"/>
                  </a:lnTo>
                  <a:lnTo>
                    <a:pt x="20" y="14"/>
                  </a:lnTo>
                  <a:lnTo>
                    <a:pt x="20" y="14"/>
                  </a:lnTo>
                  <a:lnTo>
                    <a:pt x="20" y="16"/>
                  </a:lnTo>
                  <a:lnTo>
                    <a:pt x="20" y="20"/>
                  </a:lnTo>
                  <a:lnTo>
                    <a:pt x="20" y="24"/>
                  </a:lnTo>
                  <a:lnTo>
                    <a:pt x="22" y="28"/>
                  </a:lnTo>
                  <a:lnTo>
                    <a:pt x="24" y="34"/>
                  </a:lnTo>
                  <a:lnTo>
                    <a:pt x="28" y="36"/>
                  </a:lnTo>
                  <a:lnTo>
                    <a:pt x="28" y="38"/>
                  </a:lnTo>
                  <a:lnTo>
                    <a:pt x="30" y="40"/>
                  </a:lnTo>
                  <a:lnTo>
                    <a:pt x="32" y="42"/>
                  </a:lnTo>
                  <a:lnTo>
                    <a:pt x="32" y="46"/>
                  </a:lnTo>
                  <a:lnTo>
                    <a:pt x="34" y="48"/>
                  </a:lnTo>
                  <a:lnTo>
                    <a:pt x="34" y="52"/>
                  </a:lnTo>
                  <a:lnTo>
                    <a:pt x="32" y="56"/>
                  </a:lnTo>
                  <a:lnTo>
                    <a:pt x="28" y="58"/>
                  </a:lnTo>
                  <a:lnTo>
                    <a:pt x="26" y="58"/>
                  </a:lnTo>
                  <a:lnTo>
                    <a:pt x="24" y="56"/>
                  </a:lnTo>
                  <a:lnTo>
                    <a:pt x="20" y="54"/>
                  </a:lnTo>
                  <a:lnTo>
                    <a:pt x="14" y="4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8" name="Freeform 535"/>
            <p:cNvSpPr/>
            <p:nvPr/>
          </p:nvSpPr>
          <p:spPr bwMode="gray">
            <a:xfrm>
              <a:off x="7159528" y="2049164"/>
              <a:ext cx="125895" cy="196116"/>
            </a:xfrm>
            <a:custGeom>
              <a:gdLst>
                <a:gd fmla="*/ 32 w 68" name="T0"/>
                <a:gd fmla="*/ 0 h 106" name="T1"/>
                <a:gd fmla="*/ 26 w 68" name="T2"/>
                <a:gd fmla="*/ 0 h 106" name="T3"/>
                <a:gd fmla="*/ 20 w 68" name="T4"/>
                <a:gd fmla="*/ 4 h 106" name="T5"/>
                <a:gd fmla="*/ 20 w 68" name="T6"/>
                <a:gd fmla="*/ 4 h 106" name="T7"/>
                <a:gd fmla="*/ 18 w 68" name="T8"/>
                <a:gd fmla="*/ 2 h 106" name="T9"/>
                <a:gd fmla="*/ 16 w 68" name="T10"/>
                <a:gd fmla="*/ 2 h 106" name="T11"/>
                <a:gd fmla="*/ 12 w 68" name="T12"/>
                <a:gd fmla="*/ 8 h 106" name="T13"/>
                <a:gd fmla="*/ 8 w 68" name="T14"/>
                <a:gd fmla="*/ 16 h 106" name="T15"/>
                <a:gd fmla="*/ 4 w 68" name="T16"/>
                <a:gd fmla="*/ 22 h 106" name="T17"/>
                <a:gd fmla="*/ 0 w 68" name="T18"/>
                <a:gd fmla="*/ 30 h 106" name="T19"/>
                <a:gd fmla="*/ 2 w 68" name="T20"/>
                <a:gd fmla="*/ 32 h 106" name="T21"/>
                <a:gd fmla="*/ 4 w 68" name="T22"/>
                <a:gd fmla="*/ 38 h 106" name="T23"/>
                <a:gd fmla="*/ 2 w 68" name="T24"/>
                <a:gd fmla="*/ 46 h 106" name="T25"/>
                <a:gd fmla="*/ 2 w 68" name="T26"/>
                <a:gd fmla="*/ 48 h 106" name="T27"/>
                <a:gd fmla="*/ 2 w 68" name="T28"/>
                <a:gd fmla="*/ 54 h 106" name="T29"/>
                <a:gd fmla="*/ 4 w 68" name="T30"/>
                <a:gd fmla="*/ 66 h 106" name="T31"/>
                <a:gd fmla="*/ 8 w 68" name="T32"/>
                <a:gd fmla="*/ 104 h 106" name="T33"/>
                <a:gd fmla="*/ 10 w 68" name="T34"/>
                <a:gd fmla="*/ 106 h 106" name="T35"/>
                <a:gd fmla="*/ 16 w 68" name="T36"/>
                <a:gd fmla="*/ 106 h 106" name="T37"/>
                <a:gd fmla="*/ 20 w 68" name="T38"/>
                <a:gd fmla="*/ 104 h 106" name="T39"/>
                <a:gd fmla="*/ 24 w 68" name="T40"/>
                <a:gd fmla="*/ 98 h 106" name="T41"/>
                <a:gd fmla="*/ 26 w 68" name="T42"/>
                <a:gd fmla="*/ 90 h 106" name="T43"/>
                <a:gd fmla="*/ 24 w 68" name="T44"/>
                <a:gd fmla="*/ 86 h 106" name="T45"/>
                <a:gd fmla="*/ 22 w 68" name="T46"/>
                <a:gd fmla="*/ 78 h 106" name="T47"/>
                <a:gd fmla="*/ 24 w 68" name="T48"/>
                <a:gd fmla="*/ 72 h 106" name="T49"/>
                <a:gd fmla="*/ 30 w 68" name="T50"/>
                <a:gd fmla="*/ 68 h 106" name="T51"/>
                <a:gd fmla="*/ 36 w 68" name="T52"/>
                <a:gd fmla="*/ 68 h 106" name="T53"/>
                <a:gd fmla="*/ 40 w 68" name="T54"/>
                <a:gd fmla="*/ 66 h 106" name="T55"/>
                <a:gd fmla="*/ 48 w 68" name="T56"/>
                <a:gd fmla="*/ 62 h 106" name="T57"/>
                <a:gd fmla="*/ 54 w 68" name="T58"/>
                <a:gd fmla="*/ 52 h 106" name="T59"/>
                <a:gd fmla="*/ 56 w 68" name="T60"/>
                <a:gd fmla="*/ 48 h 106" name="T61"/>
                <a:gd fmla="*/ 62 w 68" name="T62"/>
                <a:gd fmla="*/ 38 h 106" name="T63"/>
                <a:gd fmla="*/ 64 w 68" name="T64"/>
                <a:gd fmla="*/ 24 h 106" name="T65"/>
                <a:gd fmla="*/ 64 w 68" name="T66"/>
                <a:gd fmla="*/ 22 h 106" name="T67"/>
                <a:gd fmla="*/ 68 w 68" name="T68"/>
                <a:gd fmla="*/ 18 h 106" name="T69"/>
                <a:gd fmla="*/ 68 w 68" name="T70"/>
                <a:gd fmla="*/ 12 h 106" name="T71"/>
                <a:gd fmla="*/ 62 w 68" name="T72"/>
                <a:gd fmla="*/ 8 h 106" name="T73"/>
                <a:gd fmla="*/ 56 w 68" name="T74"/>
                <a:gd fmla="*/ 8 h 106" name="T75"/>
                <a:gd fmla="*/ 48 w 68" name="T76"/>
                <a:gd fmla="*/ 8 h 106" name="T77"/>
                <a:gd fmla="*/ 40 w 68" name="T78"/>
                <a:gd fmla="*/ 6 h 106" name="T79"/>
                <a:gd fmla="*/ 34 w 68" name="T80"/>
                <a:gd fmla="*/ 0 h 106" name="T8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b="b" l="0" r="r" t="0"/>
              <a:pathLst>
                <a:path h="105" w="68">
                  <a:moveTo>
                    <a:pt x="34" y="0"/>
                  </a:moveTo>
                  <a:lnTo>
                    <a:pt x="32" y="0"/>
                  </a:lnTo>
                  <a:lnTo>
                    <a:pt x="30" y="0"/>
                  </a:lnTo>
                  <a:lnTo>
                    <a:pt x="26" y="0"/>
                  </a:lnTo>
                  <a:lnTo>
                    <a:pt x="22" y="2"/>
                  </a:lnTo>
                  <a:lnTo>
                    <a:pt x="20" y="4"/>
                  </a:lnTo>
                  <a:lnTo>
                    <a:pt x="20" y="4"/>
                  </a:lnTo>
                  <a:lnTo>
                    <a:pt x="20" y="4"/>
                  </a:lnTo>
                  <a:lnTo>
                    <a:pt x="20" y="2"/>
                  </a:lnTo>
                  <a:lnTo>
                    <a:pt x="18" y="2"/>
                  </a:lnTo>
                  <a:lnTo>
                    <a:pt x="18" y="2"/>
                  </a:lnTo>
                  <a:lnTo>
                    <a:pt x="16" y="2"/>
                  </a:lnTo>
                  <a:lnTo>
                    <a:pt x="14" y="4"/>
                  </a:lnTo>
                  <a:lnTo>
                    <a:pt x="12" y="8"/>
                  </a:lnTo>
                  <a:lnTo>
                    <a:pt x="8" y="16"/>
                  </a:lnTo>
                  <a:lnTo>
                    <a:pt x="8" y="16"/>
                  </a:lnTo>
                  <a:lnTo>
                    <a:pt x="6" y="20"/>
                  </a:lnTo>
                  <a:lnTo>
                    <a:pt x="4" y="22"/>
                  </a:lnTo>
                  <a:lnTo>
                    <a:pt x="2" y="26"/>
                  </a:lnTo>
                  <a:lnTo>
                    <a:pt x="0" y="30"/>
                  </a:lnTo>
                  <a:lnTo>
                    <a:pt x="0" y="30"/>
                  </a:lnTo>
                  <a:lnTo>
                    <a:pt x="2" y="32"/>
                  </a:lnTo>
                  <a:lnTo>
                    <a:pt x="4" y="36"/>
                  </a:lnTo>
                  <a:lnTo>
                    <a:pt x="4" y="38"/>
                  </a:lnTo>
                  <a:lnTo>
                    <a:pt x="4" y="42"/>
                  </a:lnTo>
                  <a:lnTo>
                    <a:pt x="2" y="46"/>
                  </a:lnTo>
                  <a:lnTo>
                    <a:pt x="2" y="48"/>
                  </a:lnTo>
                  <a:lnTo>
                    <a:pt x="2" y="48"/>
                  </a:lnTo>
                  <a:lnTo>
                    <a:pt x="2" y="50"/>
                  </a:lnTo>
                  <a:lnTo>
                    <a:pt x="2" y="54"/>
                  </a:lnTo>
                  <a:lnTo>
                    <a:pt x="2" y="60"/>
                  </a:lnTo>
                  <a:lnTo>
                    <a:pt x="4" y="66"/>
                  </a:lnTo>
                  <a:lnTo>
                    <a:pt x="6" y="74"/>
                  </a:lnTo>
                  <a:lnTo>
                    <a:pt x="8" y="104"/>
                  </a:lnTo>
                  <a:lnTo>
                    <a:pt x="8" y="104"/>
                  </a:lnTo>
                  <a:lnTo>
                    <a:pt x="10" y="106"/>
                  </a:lnTo>
                  <a:lnTo>
                    <a:pt x="12" y="106"/>
                  </a:lnTo>
                  <a:lnTo>
                    <a:pt x="16" y="106"/>
                  </a:lnTo>
                  <a:lnTo>
                    <a:pt x="18" y="106"/>
                  </a:lnTo>
                  <a:lnTo>
                    <a:pt x="20" y="104"/>
                  </a:lnTo>
                  <a:lnTo>
                    <a:pt x="24" y="102"/>
                  </a:lnTo>
                  <a:lnTo>
                    <a:pt x="24" y="98"/>
                  </a:lnTo>
                  <a:lnTo>
                    <a:pt x="26" y="90"/>
                  </a:lnTo>
                  <a:lnTo>
                    <a:pt x="26" y="90"/>
                  </a:lnTo>
                  <a:lnTo>
                    <a:pt x="24" y="88"/>
                  </a:lnTo>
                  <a:lnTo>
                    <a:pt x="24" y="86"/>
                  </a:lnTo>
                  <a:lnTo>
                    <a:pt x="24" y="82"/>
                  </a:lnTo>
                  <a:lnTo>
                    <a:pt x="22" y="78"/>
                  </a:lnTo>
                  <a:lnTo>
                    <a:pt x="22" y="76"/>
                  </a:lnTo>
                  <a:lnTo>
                    <a:pt x="24" y="72"/>
                  </a:lnTo>
                  <a:lnTo>
                    <a:pt x="26" y="70"/>
                  </a:lnTo>
                  <a:lnTo>
                    <a:pt x="30" y="68"/>
                  </a:lnTo>
                  <a:lnTo>
                    <a:pt x="34" y="68"/>
                  </a:lnTo>
                  <a:lnTo>
                    <a:pt x="36" y="68"/>
                  </a:lnTo>
                  <a:lnTo>
                    <a:pt x="38" y="68"/>
                  </a:lnTo>
                  <a:lnTo>
                    <a:pt x="40" y="66"/>
                  </a:lnTo>
                  <a:lnTo>
                    <a:pt x="44" y="66"/>
                  </a:lnTo>
                  <a:lnTo>
                    <a:pt x="48" y="62"/>
                  </a:lnTo>
                  <a:lnTo>
                    <a:pt x="52" y="58"/>
                  </a:lnTo>
                  <a:lnTo>
                    <a:pt x="54" y="52"/>
                  </a:lnTo>
                  <a:lnTo>
                    <a:pt x="54" y="50"/>
                  </a:lnTo>
                  <a:lnTo>
                    <a:pt x="56" y="48"/>
                  </a:lnTo>
                  <a:lnTo>
                    <a:pt x="60" y="42"/>
                  </a:lnTo>
                  <a:lnTo>
                    <a:pt x="62" y="38"/>
                  </a:lnTo>
                  <a:lnTo>
                    <a:pt x="62" y="30"/>
                  </a:lnTo>
                  <a:lnTo>
                    <a:pt x="64" y="24"/>
                  </a:lnTo>
                  <a:lnTo>
                    <a:pt x="64" y="24"/>
                  </a:lnTo>
                  <a:lnTo>
                    <a:pt x="64" y="22"/>
                  </a:lnTo>
                  <a:lnTo>
                    <a:pt x="66" y="20"/>
                  </a:lnTo>
                  <a:lnTo>
                    <a:pt x="68" y="18"/>
                  </a:lnTo>
                  <a:lnTo>
                    <a:pt x="68" y="14"/>
                  </a:lnTo>
                  <a:lnTo>
                    <a:pt x="68" y="12"/>
                  </a:lnTo>
                  <a:lnTo>
                    <a:pt x="66" y="10"/>
                  </a:lnTo>
                  <a:lnTo>
                    <a:pt x="62" y="8"/>
                  </a:lnTo>
                  <a:lnTo>
                    <a:pt x="56" y="8"/>
                  </a:lnTo>
                  <a:lnTo>
                    <a:pt x="56" y="8"/>
                  </a:lnTo>
                  <a:lnTo>
                    <a:pt x="52" y="8"/>
                  </a:lnTo>
                  <a:lnTo>
                    <a:pt x="48" y="8"/>
                  </a:lnTo>
                  <a:lnTo>
                    <a:pt x="44" y="8"/>
                  </a:lnTo>
                  <a:lnTo>
                    <a:pt x="40" y="6"/>
                  </a:lnTo>
                  <a:lnTo>
                    <a:pt x="36" y="4"/>
                  </a:lnTo>
                  <a:lnTo>
                    <a:pt x="34"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79" name="Freeform 536"/>
            <p:cNvSpPr/>
            <p:nvPr/>
          </p:nvSpPr>
          <p:spPr bwMode="gray">
            <a:xfrm>
              <a:off x="6418970" y="1997360"/>
              <a:ext cx="192545" cy="214617"/>
            </a:xfrm>
            <a:custGeom>
              <a:gdLst>
                <a:gd fmla="*/ 4 w 104" name="T0"/>
                <a:gd fmla="*/ 80 h 116" name="T1"/>
                <a:gd fmla="*/ 0 w 104" name="T2"/>
                <a:gd fmla="*/ 82 h 116" name="T3"/>
                <a:gd fmla="*/ 0 w 104" name="T4"/>
                <a:gd fmla="*/ 86 h 116" name="T5"/>
                <a:gd fmla="*/ 4 w 104" name="T6"/>
                <a:gd fmla="*/ 92 h 116" name="T7"/>
                <a:gd fmla="*/ 8 w 104" name="T8"/>
                <a:gd fmla="*/ 94 h 116" name="T9"/>
                <a:gd fmla="*/ 12 w 104" name="T10"/>
                <a:gd fmla="*/ 100 h 116" name="T11"/>
                <a:gd fmla="*/ 14 w 104" name="T12"/>
                <a:gd fmla="*/ 110 h 116" name="T13"/>
                <a:gd fmla="*/ 18 w 104" name="T14"/>
                <a:gd fmla="*/ 112 h 116" name="T15"/>
                <a:gd fmla="*/ 24 w 104" name="T16"/>
                <a:gd fmla="*/ 116 h 116" name="T17"/>
                <a:gd fmla="*/ 30 w 104" name="T18"/>
                <a:gd fmla="*/ 114 h 116" name="T19"/>
                <a:gd fmla="*/ 34 w 104" name="T20"/>
                <a:gd fmla="*/ 110 h 116" name="T21"/>
                <a:gd fmla="*/ 36 w 104" name="T22"/>
                <a:gd fmla="*/ 106 h 116" name="T23"/>
                <a:gd fmla="*/ 42 w 104" name="T24"/>
                <a:gd fmla="*/ 104 h 116" name="T25"/>
                <a:gd fmla="*/ 46 w 104" name="T26"/>
                <a:gd fmla="*/ 106 h 116" name="T27"/>
                <a:gd fmla="*/ 50 w 104" name="T28"/>
                <a:gd fmla="*/ 106 h 116" name="T29"/>
                <a:gd fmla="*/ 54 w 104" name="T30"/>
                <a:gd fmla="*/ 102 h 116" name="T31"/>
                <a:gd fmla="*/ 56 w 104" name="T32"/>
                <a:gd fmla="*/ 92 h 116" name="T33"/>
                <a:gd fmla="*/ 60 w 104" name="T34"/>
                <a:gd fmla="*/ 74 h 116" name="T35"/>
                <a:gd fmla="*/ 82 w 104" name="T36"/>
                <a:gd fmla="*/ 48 h 116" name="T37"/>
                <a:gd fmla="*/ 104 w 104" name="T38"/>
                <a:gd fmla="*/ 32 h 116" name="T39"/>
                <a:gd fmla="*/ 104 w 104" name="T40"/>
                <a:gd fmla="*/ 32 h 116" name="T41"/>
                <a:gd fmla="*/ 98 w 104" name="T42"/>
                <a:gd fmla="*/ 28 h 116" name="T43"/>
                <a:gd fmla="*/ 88 w 104" name="T44"/>
                <a:gd fmla="*/ 20 h 116" name="T45"/>
                <a:gd fmla="*/ 88 w 104" name="T46"/>
                <a:gd fmla="*/ 18 h 116" name="T47"/>
                <a:gd fmla="*/ 84 w 104" name="T48"/>
                <a:gd fmla="*/ 14 h 116" name="T49"/>
                <a:gd fmla="*/ 78 w 104" name="T50"/>
                <a:gd fmla="*/ 14 h 116" name="T51"/>
                <a:gd fmla="*/ 72 w 104" name="T52"/>
                <a:gd fmla="*/ 20 h 116" name="T53"/>
                <a:gd fmla="*/ 70 w 104" name="T54"/>
                <a:gd fmla="*/ 20 h 116" name="T55"/>
                <a:gd fmla="*/ 68 w 104" name="T56"/>
                <a:gd fmla="*/ 22 h 116" name="T57"/>
                <a:gd fmla="*/ 66 w 104" name="T58"/>
                <a:gd fmla="*/ 16 h 116" name="T59"/>
                <a:gd fmla="*/ 64 w 104" name="T60"/>
                <a:gd fmla="*/ 14 h 116" name="T61"/>
                <a:gd fmla="*/ 60 w 104" name="T62"/>
                <a:gd fmla="*/ 10 h 116" name="T63"/>
                <a:gd fmla="*/ 56 w 104" name="T64"/>
                <a:gd fmla="*/ 8 h 116" name="T65"/>
                <a:gd fmla="*/ 50 w 104" name="T66"/>
                <a:gd fmla="*/ 12 h 116" name="T67"/>
                <a:gd fmla="*/ 42 w 104" name="T68"/>
                <a:gd fmla="*/ 10 h 116" name="T69"/>
                <a:gd fmla="*/ 44 w 104" name="T70"/>
                <a:gd fmla="*/ 6 h 116" name="T71"/>
                <a:gd fmla="*/ 46 w 104" name="T72"/>
                <a:gd fmla="*/ 2 h 116" name="T73"/>
                <a:gd fmla="*/ 42 w 104" name="T74"/>
                <a:gd fmla="*/ 0 h 116" name="T75"/>
                <a:gd fmla="*/ 34 w 104" name="T76"/>
                <a:gd fmla="*/ 2 h 116" name="T77"/>
                <a:gd fmla="*/ 28 w 104" name="T78"/>
                <a:gd fmla="*/ 6 h 116" name="T79"/>
                <a:gd fmla="*/ 26 w 104" name="T80"/>
                <a:gd fmla="*/ 10 h 116" name="T81"/>
                <a:gd fmla="*/ 26 w 104" name="T82"/>
                <a:gd fmla="*/ 10 h 116" name="T83"/>
                <a:gd fmla="*/ 22 w 104" name="T84"/>
                <a:gd fmla="*/ 10 h 116" name="T85"/>
                <a:gd fmla="*/ 18 w 104" name="T86"/>
                <a:gd fmla="*/ 10 h 116" name="T87"/>
                <a:gd fmla="*/ 16 w 104" name="T88"/>
                <a:gd fmla="*/ 14 h 116" name="T89"/>
                <a:gd fmla="*/ 14 w 104" name="T90"/>
                <a:gd fmla="*/ 24 h 116" name="T91"/>
                <a:gd fmla="*/ 16 w 104" name="T92"/>
                <a:gd fmla="*/ 28 h 116" name="T93"/>
                <a:gd fmla="*/ 18 w 104" name="T94"/>
                <a:gd fmla="*/ 34 h 116" name="T95"/>
                <a:gd fmla="*/ 16 w 104" name="T96"/>
                <a:gd fmla="*/ 40 h 116" name="T97"/>
                <a:gd fmla="*/ 14 w 104" name="T98"/>
                <a:gd fmla="*/ 44 h 116" name="T99"/>
                <a:gd fmla="*/ 8 w 104" name="T100"/>
                <a:gd fmla="*/ 54 h 116" name="T101"/>
                <a:gd fmla="*/ 4 w 104" name="T102"/>
                <a:gd fmla="*/ 80 h 116" name="T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b="b" l="0" r="r" t="0"/>
              <a:pathLst>
                <a:path h="115" w="104">
                  <a:moveTo>
                    <a:pt x="4" y="80"/>
                  </a:moveTo>
                  <a:lnTo>
                    <a:pt x="4" y="80"/>
                  </a:lnTo>
                  <a:lnTo>
                    <a:pt x="2" y="80"/>
                  </a:lnTo>
                  <a:lnTo>
                    <a:pt x="0" y="82"/>
                  </a:lnTo>
                  <a:lnTo>
                    <a:pt x="0" y="84"/>
                  </a:lnTo>
                  <a:lnTo>
                    <a:pt x="0" y="86"/>
                  </a:lnTo>
                  <a:lnTo>
                    <a:pt x="0" y="90"/>
                  </a:lnTo>
                  <a:lnTo>
                    <a:pt x="4" y="92"/>
                  </a:lnTo>
                  <a:lnTo>
                    <a:pt x="6" y="94"/>
                  </a:lnTo>
                  <a:lnTo>
                    <a:pt x="8" y="94"/>
                  </a:lnTo>
                  <a:lnTo>
                    <a:pt x="10" y="96"/>
                  </a:lnTo>
                  <a:lnTo>
                    <a:pt x="12" y="100"/>
                  </a:lnTo>
                  <a:lnTo>
                    <a:pt x="14" y="104"/>
                  </a:lnTo>
                  <a:lnTo>
                    <a:pt x="14" y="110"/>
                  </a:lnTo>
                  <a:lnTo>
                    <a:pt x="16" y="110"/>
                  </a:lnTo>
                  <a:lnTo>
                    <a:pt x="18" y="112"/>
                  </a:lnTo>
                  <a:lnTo>
                    <a:pt x="20" y="114"/>
                  </a:lnTo>
                  <a:lnTo>
                    <a:pt x="24" y="116"/>
                  </a:lnTo>
                  <a:lnTo>
                    <a:pt x="28" y="116"/>
                  </a:lnTo>
                  <a:lnTo>
                    <a:pt x="30" y="114"/>
                  </a:lnTo>
                  <a:lnTo>
                    <a:pt x="34" y="110"/>
                  </a:lnTo>
                  <a:lnTo>
                    <a:pt x="34" y="110"/>
                  </a:lnTo>
                  <a:lnTo>
                    <a:pt x="34" y="108"/>
                  </a:lnTo>
                  <a:lnTo>
                    <a:pt x="36" y="106"/>
                  </a:lnTo>
                  <a:lnTo>
                    <a:pt x="38" y="106"/>
                  </a:lnTo>
                  <a:lnTo>
                    <a:pt x="42" y="104"/>
                  </a:lnTo>
                  <a:lnTo>
                    <a:pt x="46" y="106"/>
                  </a:lnTo>
                  <a:lnTo>
                    <a:pt x="46" y="106"/>
                  </a:lnTo>
                  <a:lnTo>
                    <a:pt x="48" y="106"/>
                  </a:lnTo>
                  <a:lnTo>
                    <a:pt x="50" y="106"/>
                  </a:lnTo>
                  <a:lnTo>
                    <a:pt x="52" y="104"/>
                  </a:lnTo>
                  <a:lnTo>
                    <a:pt x="54" y="102"/>
                  </a:lnTo>
                  <a:lnTo>
                    <a:pt x="54" y="98"/>
                  </a:lnTo>
                  <a:lnTo>
                    <a:pt x="56" y="92"/>
                  </a:lnTo>
                  <a:lnTo>
                    <a:pt x="56" y="88"/>
                  </a:lnTo>
                  <a:lnTo>
                    <a:pt x="60" y="74"/>
                  </a:lnTo>
                  <a:lnTo>
                    <a:pt x="68" y="60"/>
                  </a:lnTo>
                  <a:lnTo>
                    <a:pt x="82" y="48"/>
                  </a:lnTo>
                  <a:lnTo>
                    <a:pt x="104" y="40"/>
                  </a:lnTo>
                  <a:lnTo>
                    <a:pt x="104" y="32"/>
                  </a:lnTo>
                  <a:lnTo>
                    <a:pt x="104" y="32"/>
                  </a:lnTo>
                  <a:lnTo>
                    <a:pt x="104" y="32"/>
                  </a:lnTo>
                  <a:lnTo>
                    <a:pt x="102" y="30"/>
                  </a:lnTo>
                  <a:lnTo>
                    <a:pt x="98" y="28"/>
                  </a:lnTo>
                  <a:lnTo>
                    <a:pt x="94" y="26"/>
                  </a:lnTo>
                  <a:lnTo>
                    <a:pt x="88" y="20"/>
                  </a:lnTo>
                  <a:lnTo>
                    <a:pt x="88" y="20"/>
                  </a:lnTo>
                  <a:lnTo>
                    <a:pt x="88" y="18"/>
                  </a:lnTo>
                  <a:lnTo>
                    <a:pt x="86" y="16"/>
                  </a:lnTo>
                  <a:lnTo>
                    <a:pt x="84" y="14"/>
                  </a:lnTo>
                  <a:lnTo>
                    <a:pt x="82" y="14"/>
                  </a:lnTo>
                  <a:lnTo>
                    <a:pt x="78" y="14"/>
                  </a:lnTo>
                  <a:lnTo>
                    <a:pt x="76" y="16"/>
                  </a:lnTo>
                  <a:lnTo>
                    <a:pt x="72" y="20"/>
                  </a:lnTo>
                  <a:lnTo>
                    <a:pt x="72" y="20"/>
                  </a:lnTo>
                  <a:lnTo>
                    <a:pt x="70" y="20"/>
                  </a:lnTo>
                  <a:lnTo>
                    <a:pt x="70" y="22"/>
                  </a:lnTo>
                  <a:lnTo>
                    <a:pt x="68" y="22"/>
                  </a:lnTo>
                  <a:lnTo>
                    <a:pt x="66" y="20"/>
                  </a:lnTo>
                  <a:lnTo>
                    <a:pt x="66" y="16"/>
                  </a:lnTo>
                  <a:lnTo>
                    <a:pt x="66" y="16"/>
                  </a:lnTo>
                  <a:lnTo>
                    <a:pt x="64" y="14"/>
                  </a:lnTo>
                  <a:lnTo>
                    <a:pt x="62" y="12"/>
                  </a:lnTo>
                  <a:lnTo>
                    <a:pt x="60" y="10"/>
                  </a:lnTo>
                  <a:lnTo>
                    <a:pt x="58" y="8"/>
                  </a:lnTo>
                  <a:lnTo>
                    <a:pt x="56" y="8"/>
                  </a:lnTo>
                  <a:lnTo>
                    <a:pt x="52" y="8"/>
                  </a:lnTo>
                  <a:lnTo>
                    <a:pt x="50" y="12"/>
                  </a:lnTo>
                  <a:lnTo>
                    <a:pt x="42" y="10"/>
                  </a:lnTo>
                  <a:lnTo>
                    <a:pt x="42" y="10"/>
                  </a:lnTo>
                  <a:lnTo>
                    <a:pt x="44" y="8"/>
                  </a:lnTo>
                  <a:lnTo>
                    <a:pt x="44" y="6"/>
                  </a:lnTo>
                  <a:lnTo>
                    <a:pt x="46" y="4"/>
                  </a:lnTo>
                  <a:lnTo>
                    <a:pt x="46" y="2"/>
                  </a:lnTo>
                  <a:lnTo>
                    <a:pt x="46" y="0"/>
                  </a:lnTo>
                  <a:lnTo>
                    <a:pt x="42" y="0"/>
                  </a:lnTo>
                  <a:lnTo>
                    <a:pt x="40" y="0"/>
                  </a:lnTo>
                  <a:lnTo>
                    <a:pt x="34" y="2"/>
                  </a:lnTo>
                  <a:lnTo>
                    <a:pt x="30" y="4"/>
                  </a:lnTo>
                  <a:lnTo>
                    <a:pt x="28" y="6"/>
                  </a:lnTo>
                  <a:lnTo>
                    <a:pt x="26" y="8"/>
                  </a:lnTo>
                  <a:lnTo>
                    <a:pt x="26" y="10"/>
                  </a:lnTo>
                  <a:lnTo>
                    <a:pt x="26" y="10"/>
                  </a:lnTo>
                  <a:lnTo>
                    <a:pt x="26" y="10"/>
                  </a:lnTo>
                  <a:lnTo>
                    <a:pt x="24" y="10"/>
                  </a:lnTo>
                  <a:lnTo>
                    <a:pt x="22" y="10"/>
                  </a:lnTo>
                  <a:lnTo>
                    <a:pt x="20" y="10"/>
                  </a:lnTo>
                  <a:lnTo>
                    <a:pt x="18" y="10"/>
                  </a:lnTo>
                  <a:lnTo>
                    <a:pt x="16" y="12"/>
                  </a:lnTo>
                  <a:lnTo>
                    <a:pt x="16" y="14"/>
                  </a:lnTo>
                  <a:lnTo>
                    <a:pt x="14" y="18"/>
                  </a:lnTo>
                  <a:lnTo>
                    <a:pt x="14" y="24"/>
                  </a:lnTo>
                  <a:lnTo>
                    <a:pt x="16" y="26"/>
                  </a:lnTo>
                  <a:lnTo>
                    <a:pt x="16" y="28"/>
                  </a:lnTo>
                  <a:lnTo>
                    <a:pt x="18" y="30"/>
                  </a:lnTo>
                  <a:lnTo>
                    <a:pt x="18" y="34"/>
                  </a:lnTo>
                  <a:lnTo>
                    <a:pt x="18" y="36"/>
                  </a:lnTo>
                  <a:lnTo>
                    <a:pt x="16" y="40"/>
                  </a:lnTo>
                  <a:lnTo>
                    <a:pt x="16" y="40"/>
                  </a:lnTo>
                  <a:lnTo>
                    <a:pt x="14" y="44"/>
                  </a:lnTo>
                  <a:lnTo>
                    <a:pt x="12" y="48"/>
                  </a:lnTo>
                  <a:lnTo>
                    <a:pt x="8" y="54"/>
                  </a:lnTo>
                  <a:lnTo>
                    <a:pt x="6" y="64"/>
                  </a:lnTo>
                  <a:lnTo>
                    <a:pt x="4" y="8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0" name="Freeform 537"/>
            <p:cNvSpPr/>
            <p:nvPr/>
          </p:nvSpPr>
          <p:spPr bwMode="gray">
            <a:xfrm>
              <a:off x="6522648" y="2100969"/>
              <a:ext cx="429524" cy="344128"/>
            </a:xfrm>
            <a:custGeom>
              <a:gdLst>
                <a:gd fmla="*/ 32 w 232" name="T0"/>
                <a:gd fmla="*/ 76 h 186" name="T1"/>
                <a:gd fmla="*/ 44 w 232" name="T2"/>
                <a:gd fmla="*/ 74 h 186" name="T3"/>
                <a:gd fmla="*/ 46 w 232" name="T4"/>
                <a:gd fmla="*/ 78 h 186" name="T5"/>
                <a:gd fmla="*/ 36 w 232" name="T6"/>
                <a:gd fmla="*/ 86 h 186" name="T7"/>
                <a:gd fmla="*/ 24 w 232" name="T8"/>
                <a:gd fmla="*/ 86 h 186" name="T9"/>
                <a:gd fmla="*/ 10 w 232" name="T10"/>
                <a:gd fmla="*/ 88 h 186" name="T11"/>
                <a:gd fmla="*/ 8 w 232" name="T12"/>
                <a:gd fmla="*/ 100 h 186" name="T13"/>
                <a:gd fmla="*/ 20 w 232" name="T14"/>
                <a:gd fmla="*/ 104 h 186" name="T15"/>
                <a:gd fmla="*/ 54 w 232" name="T16"/>
                <a:gd fmla="*/ 104 h 186" name="T17"/>
                <a:gd fmla="*/ 86 w 232" name="T18"/>
                <a:gd fmla="*/ 114 h 186" name="T19"/>
                <a:gd fmla="*/ 86 w 232" name="T20"/>
                <a:gd fmla="*/ 124 h 186" name="T21"/>
                <a:gd fmla="*/ 76 w 232" name="T22"/>
                <a:gd fmla="*/ 132 h 186" name="T23"/>
                <a:gd fmla="*/ 64 w 232" name="T24"/>
                <a:gd fmla="*/ 128 h 186" name="T25"/>
                <a:gd fmla="*/ 42 w 232" name="T26"/>
                <a:gd fmla="*/ 132 h 186" name="T27"/>
                <a:gd fmla="*/ 32 w 232" name="T28"/>
                <a:gd fmla="*/ 130 h 186" name="T29"/>
                <a:gd fmla="*/ 22 w 232" name="T30"/>
                <a:gd fmla="*/ 138 h 186" name="T31"/>
                <a:gd fmla="*/ 24 w 232" name="T32"/>
                <a:gd fmla="*/ 148 h 186" name="T33"/>
                <a:gd fmla="*/ 48 w 232" name="T34"/>
                <a:gd fmla="*/ 160 h 186" name="T35"/>
                <a:gd fmla="*/ 62 w 232" name="T36"/>
                <a:gd fmla="*/ 168 h 186" name="T37"/>
                <a:gd fmla="*/ 76 w 232" name="T38"/>
                <a:gd fmla="*/ 184 h 186" name="T39"/>
                <a:gd fmla="*/ 146 w 232" name="T40"/>
                <a:gd fmla="*/ 162 h 186" name="T41"/>
                <a:gd fmla="*/ 160 w 232" name="T42"/>
                <a:gd fmla="*/ 162 h 186" name="T43"/>
                <a:gd fmla="*/ 176 w 232" name="T44"/>
                <a:gd fmla="*/ 170 h 186" name="T45"/>
                <a:gd fmla="*/ 184 w 232" name="T46"/>
                <a:gd fmla="*/ 170 h 186" name="T47"/>
                <a:gd fmla="*/ 190 w 232" name="T48"/>
                <a:gd fmla="*/ 170 h 186" name="T49"/>
                <a:gd fmla="*/ 202 w 232" name="T50"/>
                <a:gd fmla="*/ 168 h 186" name="T51"/>
                <a:gd fmla="*/ 210 w 232" name="T52"/>
                <a:gd fmla="*/ 160 h 186" name="T53"/>
                <a:gd fmla="*/ 208 w 232" name="T54"/>
                <a:gd fmla="*/ 154 h 186" name="T55"/>
                <a:gd fmla="*/ 196 w 232" name="T56"/>
                <a:gd fmla="*/ 152 h 186" name="T57"/>
                <a:gd fmla="*/ 196 w 232" name="T58"/>
                <a:gd fmla="*/ 146 h 186" name="T59"/>
                <a:gd fmla="*/ 208 w 232" name="T60"/>
                <a:gd fmla="*/ 142 h 186" name="T61"/>
                <a:gd fmla="*/ 226 w 232" name="T62"/>
                <a:gd fmla="*/ 142 h 186" name="T63"/>
                <a:gd fmla="*/ 232 w 232" name="T64"/>
                <a:gd fmla="*/ 138 h 186" name="T65"/>
                <a:gd fmla="*/ 226 w 232" name="T66"/>
                <a:gd fmla="*/ 126 h 186" name="T67"/>
                <a:gd fmla="*/ 202 w 232" name="T68"/>
                <a:gd fmla="*/ 116 h 186" name="T69"/>
                <a:gd fmla="*/ 174 w 232" name="T70"/>
                <a:gd fmla="*/ 78 h 186" name="T71"/>
                <a:gd fmla="*/ 166 w 232" name="T72"/>
                <a:gd fmla="*/ 28 h 186" name="T73"/>
                <a:gd fmla="*/ 148 w 232" name="T74"/>
                <a:gd fmla="*/ 20 h 186" name="T75"/>
                <a:gd fmla="*/ 140 w 232" name="T76"/>
                <a:gd fmla="*/ 36 h 186" name="T77"/>
                <a:gd fmla="*/ 124 w 232" name="T78"/>
                <a:gd fmla="*/ 22 h 186" name="T79"/>
                <a:gd fmla="*/ 116 w 232" name="T80"/>
                <a:gd fmla="*/ 18 h 186" name="T81"/>
                <a:gd fmla="*/ 106 w 232" name="T82"/>
                <a:gd fmla="*/ 30 h 186" name="T83"/>
                <a:gd fmla="*/ 96 w 232" name="T84"/>
                <a:gd fmla="*/ 20 h 186" name="T85"/>
                <a:gd fmla="*/ 86 w 232" name="T86"/>
                <a:gd fmla="*/ 6 h 186" name="T87"/>
                <a:gd fmla="*/ 80 w 232" name="T88"/>
                <a:gd fmla="*/ 16 h 186" name="T89"/>
                <a:gd fmla="*/ 78 w 232" name="T90"/>
                <a:gd fmla="*/ 32 h 186" name="T91"/>
                <a:gd fmla="*/ 66 w 232" name="T92"/>
                <a:gd fmla="*/ 32 h 186" name="T93"/>
                <a:gd fmla="*/ 62 w 232" name="T94"/>
                <a:gd fmla="*/ 14 h 186" name="T95"/>
                <a:gd fmla="*/ 64 w 232" name="T96"/>
                <a:gd fmla="*/ 4 h 186" name="T97"/>
                <a:gd fmla="*/ 54 w 232" name="T98"/>
                <a:gd fmla="*/ 0 h 186" name="T99"/>
                <a:gd fmla="*/ 14 w 232" name="T100"/>
                <a:gd fmla="*/ 24 h 186" name="T101"/>
                <a:gd fmla="*/ 8 w 232" name="T102"/>
                <a:gd fmla="*/ 44 h 186" name="T103"/>
                <a:gd fmla="*/ 2 w 232" name="T104"/>
                <a:gd fmla="*/ 56 h 186" name="T105"/>
                <a:gd fmla="*/ 0 w 232" name="T106"/>
                <a:gd fmla="*/ 64 h 186" name="T107"/>
                <a:gd fmla="*/ 10 w 232" name="T108"/>
                <a:gd fmla="*/ 74 h 186"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186" w="231">
                  <a:moveTo>
                    <a:pt x="24" y="74"/>
                  </a:moveTo>
                  <a:lnTo>
                    <a:pt x="24" y="76"/>
                  </a:lnTo>
                  <a:lnTo>
                    <a:pt x="28" y="76"/>
                  </a:lnTo>
                  <a:lnTo>
                    <a:pt x="32" y="76"/>
                  </a:lnTo>
                  <a:lnTo>
                    <a:pt x="36" y="76"/>
                  </a:lnTo>
                  <a:lnTo>
                    <a:pt x="40" y="76"/>
                  </a:lnTo>
                  <a:lnTo>
                    <a:pt x="42" y="74"/>
                  </a:lnTo>
                  <a:lnTo>
                    <a:pt x="44" y="74"/>
                  </a:lnTo>
                  <a:lnTo>
                    <a:pt x="44" y="74"/>
                  </a:lnTo>
                  <a:lnTo>
                    <a:pt x="46" y="74"/>
                  </a:lnTo>
                  <a:lnTo>
                    <a:pt x="46" y="76"/>
                  </a:lnTo>
                  <a:lnTo>
                    <a:pt x="46" y="78"/>
                  </a:lnTo>
                  <a:lnTo>
                    <a:pt x="46" y="80"/>
                  </a:lnTo>
                  <a:lnTo>
                    <a:pt x="44" y="84"/>
                  </a:lnTo>
                  <a:lnTo>
                    <a:pt x="42" y="86"/>
                  </a:lnTo>
                  <a:lnTo>
                    <a:pt x="36" y="86"/>
                  </a:lnTo>
                  <a:lnTo>
                    <a:pt x="30" y="88"/>
                  </a:lnTo>
                  <a:lnTo>
                    <a:pt x="28" y="88"/>
                  </a:lnTo>
                  <a:lnTo>
                    <a:pt x="26" y="86"/>
                  </a:lnTo>
                  <a:lnTo>
                    <a:pt x="24" y="86"/>
                  </a:lnTo>
                  <a:lnTo>
                    <a:pt x="20" y="86"/>
                  </a:lnTo>
                  <a:lnTo>
                    <a:pt x="16" y="86"/>
                  </a:lnTo>
                  <a:lnTo>
                    <a:pt x="14" y="86"/>
                  </a:lnTo>
                  <a:lnTo>
                    <a:pt x="10" y="88"/>
                  </a:lnTo>
                  <a:lnTo>
                    <a:pt x="8" y="90"/>
                  </a:lnTo>
                  <a:lnTo>
                    <a:pt x="8" y="94"/>
                  </a:lnTo>
                  <a:lnTo>
                    <a:pt x="8" y="100"/>
                  </a:lnTo>
                  <a:lnTo>
                    <a:pt x="8" y="100"/>
                  </a:lnTo>
                  <a:lnTo>
                    <a:pt x="8" y="102"/>
                  </a:lnTo>
                  <a:lnTo>
                    <a:pt x="10" y="102"/>
                  </a:lnTo>
                  <a:lnTo>
                    <a:pt x="14" y="104"/>
                  </a:lnTo>
                  <a:lnTo>
                    <a:pt x="20" y="104"/>
                  </a:lnTo>
                  <a:lnTo>
                    <a:pt x="26" y="106"/>
                  </a:lnTo>
                  <a:lnTo>
                    <a:pt x="36" y="106"/>
                  </a:lnTo>
                  <a:lnTo>
                    <a:pt x="42" y="104"/>
                  </a:lnTo>
                  <a:lnTo>
                    <a:pt x="54" y="104"/>
                  </a:lnTo>
                  <a:lnTo>
                    <a:pt x="68" y="104"/>
                  </a:lnTo>
                  <a:lnTo>
                    <a:pt x="80" y="106"/>
                  </a:lnTo>
                  <a:lnTo>
                    <a:pt x="86" y="112"/>
                  </a:lnTo>
                  <a:lnTo>
                    <a:pt x="86" y="114"/>
                  </a:lnTo>
                  <a:lnTo>
                    <a:pt x="86" y="114"/>
                  </a:lnTo>
                  <a:lnTo>
                    <a:pt x="86" y="118"/>
                  </a:lnTo>
                  <a:lnTo>
                    <a:pt x="86" y="122"/>
                  </a:lnTo>
                  <a:lnTo>
                    <a:pt x="86" y="124"/>
                  </a:lnTo>
                  <a:lnTo>
                    <a:pt x="84" y="128"/>
                  </a:lnTo>
                  <a:lnTo>
                    <a:pt x="82" y="130"/>
                  </a:lnTo>
                  <a:lnTo>
                    <a:pt x="80" y="132"/>
                  </a:lnTo>
                  <a:lnTo>
                    <a:pt x="76" y="132"/>
                  </a:lnTo>
                  <a:lnTo>
                    <a:pt x="70" y="130"/>
                  </a:lnTo>
                  <a:lnTo>
                    <a:pt x="70" y="130"/>
                  </a:lnTo>
                  <a:lnTo>
                    <a:pt x="68" y="128"/>
                  </a:lnTo>
                  <a:lnTo>
                    <a:pt x="64" y="128"/>
                  </a:lnTo>
                  <a:lnTo>
                    <a:pt x="60" y="128"/>
                  </a:lnTo>
                  <a:lnTo>
                    <a:pt x="56" y="128"/>
                  </a:lnTo>
                  <a:lnTo>
                    <a:pt x="50" y="130"/>
                  </a:lnTo>
                  <a:lnTo>
                    <a:pt x="42" y="132"/>
                  </a:lnTo>
                  <a:lnTo>
                    <a:pt x="40" y="132"/>
                  </a:lnTo>
                  <a:lnTo>
                    <a:pt x="38" y="130"/>
                  </a:lnTo>
                  <a:lnTo>
                    <a:pt x="36" y="130"/>
                  </a:lnTo>
                  <a:lnTo>
                    <a:pt x="32" y="130"/>
                  </a:lnTo>
                  <a:lnTo>
                    <a:pt x="30" y="130"/>
                  </a:lnTo>
                  <a:lnTo>
                    <a:pt x="26" y="132"/>
                  </a:lnTo>
                  <a:lnTo>
                    <a:pt x="24" y="134"/>
                  </a:lnTo>
                  <a:lnTo>
                    <a:pt x="22" y="138"/>
                  </a:lnTo>
                  <a:lnTo>
                    <a:pt x="20" y="142"/>
                  </a:lnTo>
                  <a:lnTo>
                    <a:pt x="20" y="144"/>
                  </a:lnTo>
                  <a:lnTo>
                    <a:pt x="22" y="146"/>
                  </a:lnTo>
                  <a:lnTo>
                    <a:pt x="24" y="148"/>
                  </a:lnTo>
                  <a:lnTo>
                    <a:pt x="26" y="152"/>
                  </a:lnTo>
                  <a:lnTo>
                    <a:pt x="32" y="154"/>
                  </a:lnTo>
                  <a:lnTo>
                    <a:pt x="40" y="158"/>
                  </a:lnTo>
                  <a:lnTo>
                    <a:pt x="48" y="160"/>
                  </a:lnTo>
                  <a:lnTo>
                    <a:pt x="50" y="162"/>
                  </a:lnTo>
                  <a:lnTo>
                    <a:pt x="52" y="162"/>
                  </a:lnTo>
                  <a:lnTo>
                    <a:pt x="58" y="166"/>
                  </a:lnTo>
                  <a:lnTo>
                    <a:pt x="62" y="168"/>
                  </a:lnTo>
                  <a:lnTo>
                    <a:pt x="66" y="174"/>
                  </a:lnTo>
                  <a:lnTo>
                    <a:pt x="68" y="178"/>
                  </a:lnTo>
                  <a:lnTo>
                    <a:pt x="70" y="186"/>
                  </a:lnTo>
                  <a:lnTo>
                    <a:pt x="76" y="184"/>
                  </a:lnTo>
                  <a:lnTo>
                    <a:pt x="90" y="182"/>
                  </a:lnTo>
                  <a:lnTo>
                    <a:pt x="110" y="178"/>
                  </a:lnTo>
                  <a:lnTo>
                    <a:pt x="130" y="170"/>
                  </a:lnTo>
                  <a:lnTo>
                    <a:pt x="146" y="162"/>
                  </a:lnTo>
                  <a:lnTo>
                    <a:pt x="148" y="162"/>
                  </a:lnTo>
                  <a:lnTo>
                    <a:pt x="150" y="162"/>
                  </a:lnTo>
                  <a:lnTo>
                    <a:pt x="154" y="162"/>
                  </a:lnTo>
                  <a:lnTo>
                    <a:pt x="160" y="162"/>
                  </a:lnTo>
                  <a:lnTo>
                    <a:pt x="164" y="162"/>
                  </a:lnTo>
                  <a:lnTo>
                    <a:pt x="170" y="164"/>
                  </a:lnTo>
                  <a:lnTo>
                    <a:pt x="174" y="168"/>
                  </a:lnTo>
                  <a:lnTo>
                    <a:pt x="176" y="170"/>
                  </a:lnTo>
                  <a:lnTo>
                    <a:pt x="178" y="172"/>
                  </a:lnTo>
                  <a:lnTo>
                    <a:pt x="180" y="172"/>
                  </a:lnTo>
                  <a:lnTo>
                    <a:pt x="182" y="172"/>
                  </a:lnTo>
                  <a:lnTo>
                    <a:pt x="184" y="170"/>
                  </a:lnTo>
                  <a:lnTo>
                    <a:pt x="186" y="168"/>
                  </a:lnTo>
                  <a:lnTo>
                    <a:pt x="188" y="168"/>
                  </a:lnTo>
                  <a:lnTo>
                    <a:pt x="188" y="168"/>
                  </a:lnTo>
                  <a:lnTo>
                    <a:pt x="190" y="170"/>
                  </a:lnTo>
                  <a:lnTo>
                    <a:pt x="192" y="172"/>
                  </a:lnTo>
                  <a:lnTo>
                    <a:pt x="194" y="172"/>
                  </a:lnTo>
                  <a:lnTo>
                    <a:pt x="198" y="170"/>
                  </a:lnTo>
                  <a:lnTo>
                    <a:pt x="202" y="168"/>
                  </a:lnTo>
                  <a:lnTo>
                    <a:pt x="208" y="164"/>
                  </a:lnTo>
                  <a:lnTo>
                    <a:pt x="208" y="164"/>
                  </a:lnTo>
                  <a:lnTo>
                    <a:pt x="210" y="162"/>
                  </a:lnTo>
                  <a:lnTo>
                    <a:pt x="210" y="160"/>
                  </a:lnTo>
                  <a:lnTo>
                    <a:pt x="210" y="158"/>
                  </a:lnTo>
                  <a:lnTo>
                    <a:pt x="210" y="158"/>
                  </a:lnTo>
                  <a:lnTo>
                    <a:pt x="210" y="156"/>
                  </a:lnTo>
                  <a:lnTo>
                    <a:pt x="208" y="154"/>
                  </a:lnTo>
                  <a:lnTo>
                    <a:pt x="204" y="154"/>
                  </a:lnTo>
                  <a:lnTo>
                    <a:pt x="198" y="154"/>
                  </a:lnTo>
                  <a:lnTo>
                    <a:pt x="198" y="152"/>
                  </a:lnTo>
                  <a:lnTo>
                    <a:pt x="196" y="152"/>
                  </a:lnTo>
                  <a:lnTo>
                    <a:pt x="194" y="150"/>
                  </a:lnTo>
                  <a:lnTo>
                    <a:pt x="194" y="148"/>
                  </a:lnTo>
                  <a:lnTo>
                    <a:pt x="194" y="148"/>
                  </a:lnTo>
                  <a:lnTo>
                    <a:pt x="196" y="146"/>
                  </a:lnTo>
                  <a:lnTo>
                    <a:pt x="200" y="144"/>
                  </a:lnTo>
                  <a:lnTo>
                    <a:pt x="200" y="144"/>
                  </a:lnTo>
                  <a:lnTo>
                    <a:pt x="204" y="144"/>
                  </a:lnTo>
                  <a:lnTo>
                    <a:pt x="208" y="142"/>
                  </a:lnTo>
                  <a:lnTo>
                    <a:pt x="212" y="142"/>
                  </a:lnTo>
                  <a:lnTo>
                    <a:pt x="218" y="140"/>
                  </a:lnTo>
                  <a:lnTo>
                    <a:pt x="222" y="142"/>
                  </a:lnTo>
                  <a:lnTo>
                    <a:pt x="226" y="142"/>
                  </a:lnTo>
                  <a:lnTo>
                    <a:pt x="226" y="142"/>
                  </a:lnTo>
                  <a:lnTo>
                    <a:pt x="228" y="142"/>
                  </a:lnTo>
                  <a:lnTo>
                    <a:pt x="230" y="140"/>
                  </a:lnTo>
                  <a:lnTo>
                    <a:pt x="232" y="138"/>
                  </a:lnTo>
                  <a:lnTo>
                    <a:pt x="232" y="134"/>
                  </a:lnTo>
                  <a:lnTo>
                    <a:pt x="232" y="132"/>
                  </a:lnTo>
                  <a:lnTo>
                    <a:pt x="230" y="128"/>
                  </a:lnTo>
                  <a:lnTo>
                    <a:pt x="226" y="126"/>
                  </a:lnTo>
                  <a:lnTo>
                    <a:pt x="220" y="124"/>
                  </a:lnTo>
                  <a:lnTo>
                    <a:pt x="216" y="122"/>
                  </a:lnTo>
                  <a:lnTo>
                    <a:pt x="210" y="118"/>
                  </a:lnTo>
                  <a:lnTo>
                    <a:pt x="202" y="116"/>
                  </a:lnTo>
                  <a:lnTo>
                    <a:pt x="186" y="114"/>
                  </a:lnTo>
                  <a:lnTo>
                    <a:pt x="184" y="110"/>
                  </a:lnTo>
                  <a:lnTo>
                    <a:pt x="178" y="98"/>
                  </a:lnTo>
                  <a:lnTo>
                    <a:pt x="174" y="78"/>
                  </a:lnTo>
                  <a:lnTo>
                    <a:pt x="174" y="52"/>
                  </a:lnTo>
                  <a:lnTo>
                    <a:pt x="172" y="48"/>
                  </a:lnTo>
                  <a:lnTo>
                    <a:pt x="170" y="38"/>
                  </a:lnTo>
                  <a:lnTo>
                    <a:pt x="166" y="28"/>
                  </a:lnTo>
                  <a:lnTo>
                    <a:pt x="160" y="20"/>
                  </a:lnTo>
                  <a:lnTo>
                    <a:pt x="150" y="18"/>
                  </a:lnTo>
                  <a:lnTo>
                    <a:pt x="150" y="18"/>
                  </a:lnTo>
                  <a:lnTo>
                    <a:pt x="148" y="20"/>
                  </a:lnTo>
                  <a:lnTo>
                    <a:pt x="146" y="24"/>
                  </a:lnTo>
                  <a:lnTo>
                    <a:pt x="142" y="28"/>
                  </a:lnTo>
                  <a:lnTo>
                    <a:pt x="140" y="32"/>
                  </a:lnTo>
                  <a:lnTo>
                    <a:pt x="140" y="36"/>
                  </a:lnTo>
                  <a:lnTo>
                    <a:pt x="140" y="42"/>
                  </a:lnTo>
                  <a:lnTo>
                    <a:pt x="126" y="24"/>
                  </a:lnTo>
                  <a:lnTo>
                    <a:pt x="126" y="22"/>
                  </a:lnTo>
                  <a:lnTo>
                    <a:pt x="124" y="22"/>
                  </a:lnTo>
                  <a:lnTo>
                    <a:pt x="122" y="20"/>
                  </a:lnTo>
                  <a:lnTo>
                    <a:pt x="120" y="18"/>
                  </a:lnTo>
                  <a:lnTo>
                    <a:pt x="118" y="16"/>
                  </a:lnTo>
                  <a:lnTo>
                    <a:pt x="116" y="18"/>
                  </a:lnTo>
                  <a:lnTo>
                    <a:pt x="112" y="20"/>
                  </a:lnTo>
                  <a:lnTo>
                    <a:pt x="110" y="24"/>
                  </a:lnTo>
                  <a:lnTo>
                    <a:pt x="108" y="28"/>
                  </a:lnTo>
                  <a:lnTo>
                    <a:pt x="106" y="30"/>
                  </a:lnTo>
                  <a:lnTo>
                    <a:pt x="104" y="32"/>
                  </a:lnTo>
                  <a:lnTo>
                    <a:pt x="100" y="30"/>
                  </a:lnTo>
                  <a:lnTo>
                    <a:pt x="98" y="26"/>
                  </a:lnTo>
                  <a:lnTo>
                    <a:pt x="96" y="20"/>
                  </a:lnTo>
                  <a:lnTo>
                    <a:pt x="94" y="16"/>
                  </a:lnTo>
                  <a:lnTo>
                    <a:pt x="90" y="12"/>
                  </a:lnTo>
                  <a:lnTo>
                    <a:pt x="88" y="8"/>
                  </a:lnTo>
                  <a:lnTo>
                    <a:pt x="86" y="6"/>
                  </a:lnTo>
                  <a:lnTo>
                    <a:pt x="84" y="6"/>
                  </a:lnTo>
                  <a:lnTo>
                    <a:pt x="82" y="8"/>
                  </a:lnTo>
                  <a:lnTo>
                    <a:pt x="80" y="10"/>
                  </a:lnTo>
                  <a:lnTo>
                    <a:pt x="80" y="16"/>
                  </a:lnTo>
                  <a:lnTo>
                    <a:pt x="80" y="20"/>
                  </a:lnTo>
                  <a:lnTo>
                    <a:pt x="80" y="24"/>
                  </a:lnTo>
                  <a:lnTo>
                    <a:pt x="80" y="28"/>
                  </a:lnTo>
                  <a:lnTo>
                    <a:pt x="78" y="32"/>
                  </a:lnTo>
                  <a:lnTo>
                    <a:pt x="76" y="34"/>
                  </a:lnTo>
                  <a:lnTo>
                    <a:pt x="74" y="34"/>
                  </a:lnTo>
                  <a:lnTo>
                    <a:pt x="70" y="34"/>
                  </a:lnTo>
                  <a:lnTo>
                    <a:pt x="66" y="32"/>
                  </a:lnTo>
                  <a:lnTo>
                    <a:pt x="64" y="28"/>
                  </a:lnTo>
                  <a:lnTo>
                    <a:pt x="62" y="24"/>
                  </a:lnTo>
                  <a:lnTo>
                    <a:pt x="62" y="18"/>
                  </a:lnTo>
                  <a:lnTo>
                    <a:pt x="62" y="14"/>
                  </a:lnTo>
                  <a:lnTo>
                    <a:pt x="64" y="10"/>
                  </a:lnTo>
                  <a:lnTo>
                    <a:pt x="64" y="6"/>
                  </a:lnTo>
                  <a:lnTo>
                    <a:pt x="64" y="6"/>
                  </a:lnTo>
                  <a:lnTo>
                    <a:pt x="64" y="4"/>
                  </a:lnTo>
                  <a:lnTo>
                    <a:pt x="62" y="2"/>
                  </a:lnTo>
                  <a:lnTo>
                    <a:pt x="60" y="0"/>
                  </a:lnTo>
                  <a:lnTo>
                    <a:pt x="58" y="0"/>
                  </a:lnTo>
                  <a:lnTo>
                    <a:pt x="54" y="0"/>
                  </a:lnTo>
                  <a:lnTo>
                    <a:pt x="50" y="2"/>
                  </a:lnTo>
                  <a:lnTo>
                    <a:pt x="40" y="8"/>
                  </a:lnTo>
                  <a:lnTo>
                    <a:pt x="26" y="16"/>
                  </a:lnTo>
                  <a:lnTo>
                    <a:pt x="14" y="24"/>
                  </a:lnTo>
                  <a:lnTo>
                    <a:pt x="8" y="36"/>
                  </a:lnTo>
                  <a:lnTo>
                    <a:pt x="8" y="36"/>
                  </a:lnTo>
                  <a:lnTo>
                    <a:pt x="8" y="40"/>
                  </a:lnTo>
                  <a:lnTo>
                    <a:pt x="8" y="44"/>
                  </a:lnTo>
                  <a:lnTo>
                    <a:pt x="6" y="48"/>
                  </a:lnTo>
                  <a:lnTo>
                    <a:pt x="6" y="52"/>
                  </a:lnTo>
                  <a:lnTo>
                    <a:pt x="2" y="56"/>
                  </a:lnTo>
                  <a:lnTo>
                    <a:pt x="2" y="56"/>
                  </a:lnTo>
                  <a:lnTo>
                    <a:pt x="2" y="58"/>
                  </a:lnTo>
                  <a:lnTo>
                    <a:pt x="0" y="60"/>
                  </a:lnTo>
                  <a:lnTo>
                    <a:pt x="0" y="62"/>
                  </a:lnTo>
                  <a:lnTo>
                    <a:pt x="0" y="64"/>
                  </a:lnTo>
                  <a:lnTo>
                    <a:pt x="0" y="68"/>
                  </a:lnTo>
                  <a:lnTo>
                    <a:pt x="2" y="70"/>
                  </a:lnTo>
                  <a:lnTo>
                    <a:pt x="6" y="72"/>
                  </a:lnTo>
                  <a:lnTo>
                    <a:pt x="10" y="74"/>
                  </a:lnTo>
                  <a:lnTo>
                    <a:pt x="16" y="74"/>
                  </a:lnTo>
                  <a:lnTo>
                    <a:pt x="24" y="7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1" name="Freeform 538"/>
            <p:cNvSpPr/>
            <p:nvPr/>
          </p:nvSpPr>
          <p:spPr bwMode="gray">
            <a:xfrm>
              <a:off x="6537459" y="1705037"/>
              <a:ext cx="218465" cy="166513"/>
            </a:xfrm>
            <a:custGeom>
              <a:gdLst>
                <a:gd fmla="*/ 58 w 118" name="T0"/>
                <a:gd fmla="*/ 22 h 90" name="T1"/>
                <a:gd fmla="*/ 44 w 118" name="T2"/>
                <a:gd fmla="*/ 40 h 90" name="T3"/>
                <a:gd fmla="*/ 26 w 118" name="T4"/>
                <a:gd fmla="*/ 60 h 90" name="T5"/>
                <a:gd fmla="*/ 14 w 118" name="T6"/>
                <a:gd fmla="*/ 66 h 90" name="T7"/>
                <a:gd fmla="*/ 8 w 118" name="T8"/>
                <a:gd fmla="*/ 68 h 90" name="T9"/>
                <a:gd fmla="*/ 2 w 118" name="T10"/>
                <a:gd fmla="*/ 68 h 90" name="T11"/>
                <a:gd fmla="*/ 0 w 118" name="T12"/>
                <a:gd fmla="*/ 72 h 90" name="T13"/>
                <a:gd fmla="*/ 2 w 118" name="T14"/>
                <a:gd fmla="*/ 76 h 90" name="T15"/>
                <a:gd fmla="*/ 10 w 118" name="T16"/>
                <a:gd fmla="*/ 84 h 90" name="T17"/>
                <a:gd fmla="*/ 28 w 118" name="T18"/>
                <a:gd fmla="*/ 90 h 90" name="T19"/>
                <a:gd fmla="*/ 40 w 118" name="T20"/>
                <a:gd fmla="*/ 86 h 90" name="T21"/>
                <a:gd fmla="*/ 44 w 118" name="T22"/>
                <a:gd fmla="*/ 88 h 90" name="T23"/>
                <a:gd fmla="*/ 50 w 118" name="T24"/>
                <a:gd fmla="*/ 90 h 90" name="T25"/>
                <a:gd fmla="*/ 58 w 118" name="T26"/>
                <a:gd fmla="*/ 88 h 90" name="T27"/>
                <a:gd fmla="*/ 62 w 118" name="T28"/>
                <a:gd fmla="*/ 82 h 90" name="T29"/>
                <a:gd fmla="*/ 70 w 118" name="T30"/>
                <a:gd fmla="*/ 74 h 90" name="T31"/>
                <a:gd fmla="*/ 76 w 118" name="T32"/>
                <a:gd fmla="*/ 64 h 90" name="T33"/>
                <a:gd fmla="*/ 78 w 118" name="T34"/>
                <a:gd fmla="*/ 58 h 90" name="T35"/>
                <a:gd fmla="*/ 84 w 118" name="T36"/>
                <a:gd fmla="*/ 62 h 90" name="T37"/>
                <a:gd fmla="*/ 92 w 118" name="T38"/>
                <a:gd fmla="*/ 64 h 90" name="T39"/>
                <a:gd fmla="*/ 102 w 118" name="T40"/>
                <a:gd fmla="*/ 56 h 90" name="T41"/>
                <a:gd fmla="*/ 104 w 118" name="T42"/>
                <a:gd fmla="*/ 54 h 90" name="T43"/>
                <a:gd fmla="*/ 106 w 118" name="T44"/>
                <a:gd fmla="*/ 48 h 90" name="T45"/>
                <a:gd fmla="*/ 106 w 118" name="T46"/>
                <a:gd fmla="*/ 44 h 90" name="T47"/>
                <a:gd fmla="*/ 104 w 118" name="T48"/>
                <a:gd fmla="*/ 42 h 90" name="T49"/>
                <a:gd fmla="*/ 106 w 118" name="T50"/>
                <a:gd fmla="*/ 38 h 90" name="T51"/>
                <a:gd fmla="*/ 110 w 118" name="T52"/>
                <a:gd fmla="*/ 30 h 90" name="T53"/>
                <a:gd fmla="*/ 108 w 118" name="T54"/>
                <a:gd fmla="*/ 26 h 90" name="T55"/>
                <a:gd fmla="*/ 108 w 118" name="T56"/>
                <a:gd fmla="*/ 22 h 90" name="T57"/>
                <a:gd fmla="*/ 112 w 118" name="T58"/>
                <a:gd fmla="*/ 16 h 90" name="T59"/>
                <a:gd fmla="*/ 116 w 118" name="T60"/>
                <a:gd fmla="*/ 14 h 90" name="T61"/>
                <a:gd fmla="*/ 116 w 118" name="T62"/>
                <a:gd fmla="*/ 12 h 90" name="T63"/>
                <a:gd fmla="*/ 110 w 118" name="T64"/>
                <a:gd fmla="*/ 6 h 90" name="T65"/>
                <a:gd fmla="*/ 104 w 118" name="T66"/>
                <a:gd fmla="*/ 2 h 90" name="T67"/>
                <a:gd fmla="*/ 100 w 118" name="T68"/>
                <a:gd fmla="*/ 0 h 90" name="T69"/>
                <a:gd fmla="*/ 84 w 118" name="T70"/>
                <a:gd fmla="*/ 12 h 90" name="T71"/>
                <a:gd fmla="*/ 76 w 118" name="T72"/>
                <a:gd fmla="*/ 12 h 90" name="T73"/>
                <a:gd fmla="*/ 64 w 118" name="T74"/>
                <a:gd fmla="*/ 16 h 90"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90" w="118">
                  <a:moveTo>
                    <a:pt x="60" y="20"/>
                  </a:moveTo>
                  <a:lnTo>
                    <a:pt x="58" y="22"/>
                  </a:lnTo>
                  <a:lnTo>
                    <a:pt x="52" y="30"/>
                  </a:lnTo>
                  <a:lnTo>
                    <a:pt x="44" y="40"/>
                  </a:lnTo>
                  <a:lnTo>
                    <a:pt x="36" y="52"/>
                  </a:lnTo>
                  <a:lnTo>
                    <a:pt x="26" y="60"/>
                  </a:lnTo>
                  <a:lnTo>
                    <a:pt x="18" y="66"/>
                  </a:lnTo>
                  <a:lnTo>
                    <a:pt x="14" y="66"/>
                  </a:lnTo>
                  <a:lnTo>
                    <a:pt x="12" y="68"/>
                  </a:lnTo>
                  <a:lnTo>
                    <a:pt x="8" y="68"/>
                  </a:lnTo>
                  <a:lnTo>
                    <a:pt x="4" y="68"/>
                  </a:lnTo>
                  <a:lnTo>
                    <a:pt x="2" y="68"/>
                  </a:lnTo>
                  <a:lnTo>
                    <a:pt x="0" y="70"/>
                  </a:lnTo>
                  <a:lnTo>
                    <a:pt x="0" y="72"/>
                  </a:lnTo>
                  <a:lnTo>
                    <a:pt x="0" y="74"/>
                  </a:lnTo>
                  <a:lnTo>
                    <a:pt x="2" y="76"/>
                  </a:lnTo>
                  <a:lnTo>
                    <a:pt x="6" y="82"/>
                  </a:lnTo>
                  <a:lnTo>
                    <a:pt x="10" y="84"/>
                  </a:lnTo>
                  <a:lnTo>
                    <a:pt x="18" y="88"/>
                  </a:lnTo>
                  <a:lnTo>
                    <a:pt x="28" y="90"/>
                  </a:lnTo>
                  <a:lnTo>
                    <a:pt x="40" y="84"/>
                  </a:lnTo>
                  <a:lnTo>
                    <a:pt x="40" y="86"/>
                  </a:lnTo>
                  <a:lnTo>
                    <a:pt x="42" y="86"/>
                  </a:lnTo>
                  <a:lnTo>
                    <a:pt x="44" y="88"/>
                  </a:lnTo>
                  <a:lnTo>
                    <a:pt x="46" y="90"/>
                  </a:lnTo>
                  <a:lnTo>
                    <a:pt x="50" y="90"/>
                  </a:lnTo>
                  <a:lnTo>
                    <a:pt x="56" y="88"/>
                  </a:lnTo>
                  <a:lnTo>
                    <a:pt x="58" y="88"/>
                  </a:lnTo>
                  <a:lnTo>
                    <a:pt x="60" y="86"/>
                  </a:lnTo>
                  <a:lnTo>
                    <a:pt x="62" y="82"/>
                  </a:lnTo>
                  <a:lnTo>
                    <a:pt x="66" y="78"/>
                  </a:lnTo>
                  <a:lnTo>
                    <a:pt x="70" y="74"/>
                  </a:lnTo>
                  <a:lnTo>
                    <a:pt x="72" y="68"/>
                  </a:lnTo>
                  <a:lnTo>
                    <a:pt x="76" y="64"/>
                  </a:lnTo>
                  <a:lnTo>
                    <a:pt x="78" y="58"/>
                  </a:lnTo>
                  <a:lnTo>
                    <a:pt x="78" y="58"/>
                  </a:lnTo>
                  <a:lnTo>
                    <a:pt x="80" y="60"/>
                  </a:lnTo>
                  <a:lnTo>
                    <a:pt x="84" y="62"/>
                  </a:lnTo>
                  <a:lnTo>
                    <a:pt x="88" y="64"/>
                  </a:lnTo>
                  <a:lnTo>
                    <a:pt x="92" y="64"/>
                  </a:lnTo>
                  <a:lnTo>
                    <a:pt x="98" y="62"/>
                  </a:lnTo>
                  <a:lnTo>
                    <a:pt x="102" y="56"/>
                  </a:lnTo>
                  <a:lnTo>
                    <a:pt x="102" y="56"/>
                  </a:lnTo>
                  <a:lnTo>
                    <a:pt x="104" y="54"/>
                  </a:lnTo>
                  <a:lnTo>
                    <a:pt x="106" y="52"/>
                  </a:lnTo>
                  <a:lnTo>
                    <a:pt x="106" y="48"/>
                  </a:lnTo>
                  <a:lnTo>
                    <a:pt x="106" y="46"/>
                  </a:lnTo>
                  <a:lnTo>
                    <a:pt x="106" y="44"/>
                  </a:lnTo>
                  <a:lnTo>
                    <a:pt x="102" y="42"/>
                  </a:lnTo>
                  <a:lnTo>
                    <a:pt x="104" y="42"/>
                  </a:lnTo>
                  <a:lnTo>
                    <a:pt x="104" y="40"/>
                  </a:lnTo>
                  <a:lnTo>
                    <a:pt x="106" y="38"/>
                  </a:lnTo>
                  <a:lnTo>
                    <a:pt x="108" y="34"/>
                  </a:lnTo>
                  <a:lnTo>
                    <a:pt x="110" y="30"/>
                  </a:lnTo>
                  <a:lnTo>
                    <a:pt x="110" y="28"/>
                  </a:lnTo>
                  <a:lnTo>
                    <a:pt x="108" y="26"/>
                  </a:lnTo>
                  <a:lnTo>
                    <a:pt x="108" y="26"/>
                  </a:lnTo>
                  <a:lnTo>
                    <a:pt x="108" y="22"/>
                  </a:lnTo>
                  <a:lnTo>
                    <a:pt x="110" y="20"/>
                  </a:lnTo>
                  <a:lnTo>
                    <a:pt x="112" y="16"/>
                  </a:lnTo>
                  <a:lnTo>
                    <a:pt x="114" y="14"/>
                  </a:lnTo>
                  <a:lnTo>
                    <a:pt x="116" y="14"/>
                  </a:lnTo>
                  <a:lnTo>
                    <a:pt x="118" y="12"/>
                  </a:lnTo>
                  <a:lnTo>
                    <a:pt x="116" y="12"/>
                  </a:lnTo>
                  <a:lnTo>
                    <a:pt x="114" y="10"/>
                  </a:lnTo>
                  <a:lnTo>
                    <a:pt x="110" y="6"/>
                  </a:lnTo>
                  <a:lnTo>
                    <a:pt x="108" y="4"/>
                  </a:lnTo>
                  <a:lnTo>
                    <a:pt x="104" y="2"/>
                  </a:lnTo>
                  <a:lnTo>
                    <a:pt x="102" y="0"/>
                  </a:lnTo>
                  <a:lnTo>
                    <a:pt x="100" y="0"/>
                  </a:lnTo>
                  <a:lnTo>
                    <a:pt x="86" y="12"/>
                  </a:lnTo>
                  <a:lnTo>
                    <a:pt x="84" y="12"/>
                  </a:lnTo>
                  <a:lnTo>
                    <a:pt x="82" y="12"/>
                  </a:lnTo>
                  <a:lnTo>
                    <a:pt x="76" y="12"/>
                  </a:lnTo>
                  <a:lnTo>
                    <a:pt x="70" y="14"/>
                  </a:lnTo>
                  <a:lnTo>
                    <a:pt x="64" y="16"/>
                  </a:lnTo>
                  <a:lnTo>
                    <a:pt x="60" y="2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2" name="Freeform 539"/>
            <p:cNvSpPr/>
            <p:nvPr/>
          </p:nvSpPr>
          <p:spPr bwMode="gray">
            <a:xfrm>
              <a:off x="6744815" y="1631031"/>
              <a:ext cx="40731" cy="51804"/>
            </a:xfrm>
            <a:custGeom>
              <a:gdLst>
                <a:gd fmla="*/ 16 w 22" name="T0"/>
                <a:gd fmla="*/ 2 h 28" name="T1"/>
                <a:gd fmla="*/ 14 w 22" name="T2"/>
                <a:gd fmla="*/ 2 h 28" name="T3"/>
                <a:gd fmla="*/ 14 w 22" name="T4"/>
                <a:gd fmla="*/ 2 h 28" name="T5"/>
                <a:gd fmla="*/ 12 w 22" name="T6"/>
                <a:gd fmla="*/ 0 h 28" name="T7"/>
                <a:gd fmla="*/ 10 w 22" name="T8"/>
                <a:gd fmla="*/ 0 h 28" name="T9"/>
                <a:gd fmla="*/ 6 w 22" name="T10"/>
                <a:gd fmla="*/ 0 h 28" name="T11"/>
                <a:gd fmla="*/ 4 w 22" name="T12"/>
                <a:gd fmla="*/ 2 h 28" name="T13"/>
                <a:gd fmla="*/ 2 w 22" name="T14"/>
                <a:gd fmla="*/ 4 h 28" name="T15"/>
                <a:gd fmla="*/ 2 w 22" name="T16"/>
                <a:gd fmla="*/ 8 h 28" name="T17"/>
                <a:gd fmla="*/ 0 w 22" name="T18"/>
                <a:gd fmla="*/ 12 h 28" name="T19"/>
                <a:gd fmla="*/ 2 w 22" name="T20"/>
                <a:gd fmla="*/ 20 h 28" name="T21"/>
                <a:gd fmla="*/ 2 w 22" name="T22"/>
                <a:gd fmla="*/ 20 h 28" name="T23"/>
                <a:gd fmla="*/ 4 w 22" name="T24"/>
                <a:gd fmla="*/ 22 h 28" name="T25"/>
                <a:gd fmla="*/ 6 w 22" name="T26"/>
                <a:gd fmla="*/ 24 h 28" name="T27"/>
                <a:gd fmla="*/ 10 w 22" name="T28"/>
                <a:gd fmla="*/ 26 h 28" name="T29"/>
                <a:gd fmla="*/ 14 w 22" name="T30"/>
                <a:gd fmla="*/ 26 h 28" name="T31"/>
                <a:gd fmla="*/ 16 w 22" name="T32"/>
                <a:gd fmla="*/ 28 h 28" name="T33"/>
                <a:gd fmla="*/ 20 w 22" name="T34"/>
                <a:gd fmla="*/ 26 h 28" name="T35"/>
                <a:gd fmla="*/ 22 w 22" name="T36"/>
                <a:gd fmla="*/ 24 h 28" name="T37"/>
                <a:gd fmla="*/ 22 w 22" name="T38"/>
                <a:gd fmla="*/ 20 h 28" name="T39"/>
                <a:gd fmla="*/ 22 w 22" name="T40"/>
                <a:gd fmla="*/ 14 h 28" name="T41"/>
                <a:gd fmla="*/ 22 w 22" name="T42"/>
                <a:gd fmla="*/ 10 h 28" name="T43"/>
                <a:gd fmla="*/ 20 w 22" name="T44"/>
                <a:gd fmla="*/ 6 h 28" name="T45"/>
                <a:gd fmla="*/ 18 w 22" name="T46"/>
                <a:gd fmla="*/ 4 h 28" name="T47"/>
                <a:gd fmla="*/ 16 w 22" name="T48"/>
                <a:gd fmla="*/ 2 h 28" name="T49"/>
                <a:gd fmla="*/ 16 w 22" name="T50"/>
                <a:gd fmla="*/ 2 h 28" name="T51"/>
                <a:gd fmla="*/ 16 w 22" name="T52"/>
                <a:gd fmla="*/ 2 h 28" name="T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28" w="22">
                  <a:moveTo>
                    <a:pt x="16" y="2"/>
                  </a:moveTo>
                  <a:lnTo>
                    <a:pt x="14" y="2"/>
                  </a:lnTo>
                  <a:lnTo>
                    <a:pt x="14" y="2"/>
                  </a:lnTo>
                  <a:lnTo>
                    <a:pt x="12" y="0"/>
                  </a:lnTo>
                  <a:lnTo>
                    <a:pt x="10" y="0"/>
                  </a:lnTo>
                  <a:lnTo>
                    <a:pt x="6" y="0"/>
                  </a:lnTo>
                  <a:lnTo>
                    <a:pt x="4" y="2"/>
                  </a:lnTo>
                  <a:lnTo>
                    <a:pt x="2" y="4"/>
                  </a:lnTo>
                  <a:lnTo>
                    <a:pt x="2" y="8"/>
                  </a:lnTo>
                  <a:lnTo>
                    <a:pt x="0" y="12"/>
                  </a:lnTo>
                  <a:lnTo>
                    <a:pt x="2" y="20"/>
                  </a:lnTo>
                  <a:lnTo>
                    <a:pt x="2" y="20"/>
                  </a:lnTo>
                  <a:lnTo>
                    <a:pt x="4" y="22"/>
                  </a:lnTo>
                  <a:lnTo>
                    <a:pt x="6" y="24"/>
                  </a:lnTo>
                  <a:lnTo>
                    <a:pt x="10" y="26"/>
                  </a:lnTo>
                  <a:lnTo>
                    <a:pt x="14" y="26"/>
                  </a:lnTo>
                  <a:lnTo>
                    <a:pt x="16" y="28"/>
                  </a:lnTo>
                  <a:lnTo>
                    <a:pt x="20" y="26"/>
                  </a:lnTo>
                  <a:lnTo>
                    <a:pt x="22" y="24"/>
                  </a:lnTo>
                  <a:lnTo>
                    <a:pt x="22" y="20"/>
                  </a:lnTo>
                  <a:lnTo>
                    <a:pt x="22" y="14"/>
                  </a:lnTo>
                  <a:lnTo>
                    <a:pt x="22" y="10"/>
                  </a:lnTo>
                  <a:lnTo>
                    <a:pt x="20" y="6"/>
                  </a:lnTo>
                  <a:lnTo>
                    <a:pt x="18" y="4"/>
                  </a:lnTo>
                  <a:lnTo>
                    <a:pt x="16" y="2"/>
                  </a:lnTo>
                  <a:lnTo>
                    <a:pt x="16" y="2"/>
                  </a:lnTo>
                  <a:lnTo>
                    <a:pt x="16"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3" name="Freeform 540"/>
            <p:cNvSpPr/>
            <p:nvPr/>
          </p:nvSpPr>
          <p:spPr bwMode="gray">
            <a:xfrm>
              <a:off x="6792952" y="1560725"/>
              <a:ext cx="125895" cy="77706"/>
            </a:xfrm>
            <a:custGeom>
              <a:gdLst>
                <a:gd fmla="*/ 12 w 68" name="T0"/>
                <a:gd fmla="*/ 12 h 42" name="T1"/>
                <a:gd fmla="*/ 12 w 68" name="T2"/>
                <a:gd fmla="*/ 12 h 42" name="T3"/>
                <a:gd fmla="*/ 10 w 68" name="T4"/>
                <a:gd fmla="*/ 14 h 42" name="T5"/>
                <a:gd fmla="*/ 8 w 68" name="T6"/>
                <a:gd fmla="*/ 14 h 42" name="T7"/>
                <a:gd fmla="*/ 4 w 68" name="T8"/>
                <a:gd fmla="*/ 18 h 42" name="T9"/>
                <a:gd fmla="*/ 2 w 68" name="T10"/>
                <a:gd fmla="*/ 20 h 42" name="T11"/>
                <a:gd fmla="*/ 0 w 68" name="T12"/>
                <a:gd fmla="*/ 24 h 42" name="T13"/>
                <a:gd fmla="*/ 0 w 68" name="T14"/>
                <a:gd fmla="*/ 26 h 42" name="T15"/>
                <a:gd fmla="*/ 2 w 68" name="T16"/>
                <a:gd fmla="*/ 30 h 42" name="T17"/>
                <a:gd fmla="*/ 4 w 68" name="T18"/>
                <a:gd fmla="*/ 34 h 42" name="T19"/>
                <a:gd fmla="*/ 10 w 68" name="T20"/>
                <a:gd fmla="*/ 36 h 42" name="T21"/>
                <a:gd fmla="*/ 12 w 68" name="T22"/>
                <a:gd fmla="*/ 36 h 42" name="T23"/>
                <a:gd fmla="*/ 12 w 68" name="T24"/>
                <a:gd fmla="*/ 34 h 42" name="T25"/>
                <a:gd fmla="*/ 16 w 68" name="T26"/>
                <a:gd fmla="*/ 30 h 42" name="T27"/>
                <a:gd fmla="*/ 18 w 68" name="T28"/>
                <a:gd fmla="*/ 28 h 42" name="T29"/>
                <a:gd fmla="*/ 22 w 68" name="T30"/>
                <a:gd fmla="*/ 26 h 42" name="T31"/>
                <a:gd fmla="*/ 26 w 68" name="T32"/>
                <a:gd fmla="*/ 28 h 42" name="T33"/>
                <a:gd fmla="*/ 30 w 68" name="T34"/>
                <a:gd fmla="*/ 32 h 42" name="T35"/>
                <a:gd fmla="*/ 32 w 68" name="T36"/>
                <a:gd fmla="*/ 34 h 42" name="T37"/>
                <a:gd fmla="*/ 36 w 68" name="T38"/>
                <a:gd fmla="*/ 38 h 42" name="T39"/>
                <a:gd fmla="*/ 42 w 68" name="T40"/>
                <a:gd fmla="*/ 42 h 42" name="T41"/>
                <a:gd fmla="*/ 52 w 68" name="T42"/>
                <a:gd fmla="*/ 40 h 42" name="T43"/>
                <a:gd fmla="*/ 62 w 68" name="T44"/>
                <a:gd fmla="*/ 32 h 42" name="T45"/>
                <a:gd fmla="*/ 62 w 68" name="T46"/>
                <a:gd fmla="*/ 32 h 42" name="T47"/>
                <a:gd fmla="*/ 64 w 68" name="T48"/>
                <a:gd fmla="*/ 30 h 42" name="T49"/>
                <a:gd fmla="*/ 66 w 68" name="T50"/>
                <a:gd fmla="*/ 28 h 42" name="T51"/>
                <a:gd fmla="*/ 68 w 68" name="T52"/>
                <a:gd fmla="*/ 26 h 42" name="T53"/>
                <a:gd fmla="*/ 68 w 68" name="T54"/>
                <a:gd fmla="*/ 22 h 42" name="T55"/>
                <a:gd fmla="*/ 66 w 68" name="T56"/>
                <a:gd fmla="*/ 20 h 42" name="T57"/>
                <a:gd fmla="*/ 62 w 68" name="T58"/>
                <a:gd fmla="*/ 16 h 42" name="T59"/>
                <a:gd fmla="*/ 58 w 68" name="T60"/>
                <a:gd fmla="*/ 14 h 42" name="T61"/>
                <a:gd fmla="*/ 40 w 68" name="T62"/>
                <a:gd fmla="*/ 2 h 42" name="T63"/>
                <a:gd fmla="*/ 38 w 68" name="T64"/>
                <a:gd fmla="*/ 2 h 42" name="T65"/>
                <a:gd fmla="*/ 36 w 68" name="T66"/>
                <a:gd fmla="*/ 2 h 42" name="T67"/>
                <a:gd fmla="*/ 32 w 68" name="T68"/>
                <a:gd fmla="*/ 0 h 42" name="T69"/>
                <a:gd fmla="*/ 28 w 68" name="T70"/>
                <a:gd fmla="*/ 0 h 42" name="T71"/>
                <a:gd fmla="*/ 24 w 68" name="T72"/>
                <a:gd fmla="*/ 2 h 42" name="T73"/>
                <a:gd fmla="*/ 18 w 68" name="T74"/>
                <a:gd fmla="*/ 6 h 42" name="T75"/>
                <a:gd fmla="*/ 12 w 68" name="T76"/>
                <a:gd fmla="*/ 12 h 42"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42" w="68">
                  <a:moveTo>
                    <a:pt x="12" y="12"/>
                  </a:moveTo>
                  <a:lnTo>
                    <a:pt x="12" y="12"/>
                  </a:lnTo>
                  <a:lnTo>
                    <a:pt x="10" y="14"/>
                  </a:lnTo>
                  <a:lnTo>
                    <a:pt x="8" y="14"/>
                  </a:lnTo>
                  <a:lnTo>
                    <a:pt x="4" y="18"/>
                  </a:lnTo>
                  <a:lnTo>
                    <a:pt x="2" y="20"/>
                  </a:lnTo>
                  <a:lnTo>
                    <a:pt x="0" y="24"/>
                  </a:lnTo>
                  <a:lnTo>
                    <a:pt x="0" y="26"/>
                  </a:lnTo>
                  <a:lnTo>
                    <a:pt x="2" y="30"/>
                  </a:lnTo>
                  <a:lnTo>
                    <a:pt x="4" y="34"/>
                  </a:lnTo>
                  <a:lnTo>
                    <a:pt x="10" y="36"/>
                  </a:lnTo>
                  <a:lnTo>
                    <a:pt x="12" y="36"/>
                  </a:lnTo>
                  <a:lnTo>
                    <a:pt x="12" y="34"/>
                  </a:lnTo>
                  <a:lnTo>
                    <a:pt x="16" y="30"/>
                  </a:lnTo>
                  <a:lnTo>
                    <a:pt x="18" y="28"/>
                  </a:lnTo>
                  <a:lnTo>
                    <a:pt x="22" y="26"/>
                  </a:lnTo>
                  <a:lnTo>
                    <a:pt x="26" y="28"/>
                  </a:lnTo>
                  <a:lnTo>
                    <a:pt x="30" y="32"/>
                  </a:lnTo>
                  <a:lnTo>
                    <a:pt x="32" y="34"/>
                  </a:lnTo>
                  <a:lnTo>
                    <a:pt x="36" y="38"/>
                  </a:lnTo>
                  <a:lnTo>
                    <a:pt x="42" y="42"/>
                  </a:lnTo>
                  <a:lnTo>
                    <a:pt x="52" y="40"/>
                  </a:lnTo>
                  <a:lnTo>
                    <a:pt x="62" y="32"/>
                  </a:lnTo>
                  <a:lnTo>
                    <a:pt x="62" y="32"/>
                  </a:lnTo>
                  <a:lnTo>
                    <a:pt x="64" y="30"/>
                  </a:lnTo>
                  <a:lnTo>
                    <a:pt x="66" y="28"/>
                  </a:lnTo>
                  <a:lnTo>
                    <a:pt x="68" y="26"/>
                  </a:lnTo>
                  <a:lnTo>
                    <a:pt x="68" y="22"/>
                  </a:lnTo>
                  <a:lnTo>
                    <a:pt x="66" y="20"/>
                  </a:lnTo>
                  <a:lnTo>
                    <a:pt x="62" y="16"/>
                  </a:lnTo>
                  <a:lnTo>
                    <a:pt x="58" y="14"/>
                  </a:lnTo>
                  <a:lnTo>
                    <a:pt x="40" y="2"/>
                  </a:lnTo>
                  <a:lnTo>
                    <a:pt x="38" y="2"/>
                  </a:lnTo>
                  <a:lnTo>
                    <a:pt x="36" y="2"/>
                  </a:lnTo>
                  <a:lnTo>
                    <a:pt x="32" y="0"/>
                  </a:lnTo>
                  <a:lnTo>
                    <a:pt x="28" y="0"/>
                  </a:lnTo>
                  <a:lnTo>
                    <a:pt x="24" y="2"/>
                  </a:lnTo>
                  <a:lnTo>
                    <a:pt x="18" y="6"/>
                  </a:lnTo>
                  <a:lnTo>
                    <a:pt x="12" y="1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4" name="Freeform 541"/>
            <p:cNvSpPr/>
            <p:nvPr/>
          </p:nvSpPr>
          <p:spPr bwMode="gray">
            <a:xfrm>
              <a:off x="6792952" y="1660633"/>
              <a:ext cx="107381" cy="62905"/>
            </a:xfrm>
            <a:custGeom>
              <a:gdLst>
                <a:gd fmla="*/ 12 w 58" name="T0"/>
                <a:gd fmla="*/ 0 h 34" name="T1"/>
                <a:gd fmla="*/ 10 w 58" name="T2"/>
                <a:gd fmla="*/ 2 h 34" name="T3"/>
                <a:gd fmla="*/ 4 w 58" name="T4"/>
                <a:gd fmla="*/ 8 h 34" name="T5"/>
                <a:gd fmla="*/ 0 w 58" name="T6"/>
                <a:gd fmla="*/ 16 h 34" name="T7"/>
                <a:gd fmla="*/ 0 w 58" name="T8"/>
                <a:gd fmla="*/ 26 h 34" name="T9"/>
                <a:gd fmla="*/ 6 w 58" name="T10"/>
                <a:gd fmla="*/ 34 h 34" name="T11"/>
                <a:gd fmla="*/ 8 w 58" name="T12"/>
                <a:gd fmla="*/ 34 h 34" name="T13"/>
                <a:gd fmla="*/ 12 w 58" name="T14"/>
                <a:gd fmla="*/ 34 h 34" name="T15"/>
                <a:gd fmla="*/ 18 w 58" name="T16"/>
                <a:gd fmla="*/ 34 h 34" name="T17"/>
                <a:gd fmla="*/ 24 w 58" name="T18"/>
                <a:gd fmla="*/ 34 h 34" name="T19"/>
                <a:gd fmla="*/ 32 w 58" name="T20"/>
                <a:gd fmla="*/ 32 h 34" name="T21"/>
                <a:gd fmla="*/ 34 w 58" name="T22"/>
                <a:gd fmla="*/ 30 h 34" name="T23"/>
                <a:gd fmla="*/ 38 w 58" name="T24"/>
                <a:gd fmla="*/ 28 h 34" name="T25"/>
                <a:gd fmla="*/ 42 w 58" name="T26"/>
                <a:gd fmla="*/ 24 h 34" name="T27"/>
                <a:gd fmla="*/ 46 w 58" name="T28"/>
                <a:gd fmla="*/ 20 h 34" name="T29"/>
                <a:gd fmla="*/ 48 w 58" name="T30"/>
                <a:gd fmla="*/ 18 h 34" name="T31"/>
                <a:gd fmla="*/ 52 w 58" name="T32"/>
                <a:gd fmla="*/ 18 h 34" name="T33"/>
                <a:gd fmla="*/ 54 w 58" name="T34"/>
                <a:gd fmla="*/ 18 h 34" name="T35"/>
                <a:gd fmla="*/ 56 w 58" name="T36"/>
                <a:gd fmla="*/ 16 h 34" name="T37"/>
                <a:gd fmla="*/ 58 w 58" name="T38"/>
                <a:gd fmla="*/ 14 h 34" name="T39"/>
                <a:gd fmla="*/ 58 w 58" name="T40"/>
                <a:gd fmla="*/ 12 h 34" name="T41"/>
                <a:gd fmla="*/ 56 w 58" name="T42"/>
                <a:gd fmla="*/ 8 h 34" name="T43"/>
                <a:gd fmla="*/ 54 w 58" name="T44"/>
                <a:gd fmla="*/ 6 h 34" name="T45"/>
                <a:gd fmla="*/ 48 w 58" name="T46"/>
                <a:gd fmla="*/ 4 h 34" name="T47"/>
                <a:gd fmla="*/ 32 w 58" name="T48"/>
                <a:gd fmla="*/ 2 h 34" name="T49"/>
                <a:gd fmla="*/ 18 w 58" name="T50"/>
                <a:gd fmla="*/ 0 h 34" name="T51"/>
                <a:gd fmla="*/ 12 w 58" name="T52"/>
                <a:gd fmla="*/ 0 h 34" name="T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34" w="57">
                  <a:moveTo>
                    <a:pt x="12" y="0"/>
                  </a:moveTo>
                  <a:lnTo>
                    <a:pt x="10" y="2"/>
                  </a:lnTo>
                  <a:lnTo>
                    <a:pt x="4" y="8"/>
                  </a:lnTo>
                  <a:lnTo>
                    <a:pt x="0" y="16"/>
                  </a:lnTo>
                  <a:lnTo>
                    <a:pt x="0" y="26"/>
                  </a:lnTo>
                  <a:lnTo>
                    <a:pt x="6" y="34"/>
                  </a:lnTo>
                  <a:lnTo>
                    <a:pt x="8" y="34"/>
                  </a:lnTo>
                  <a:lnTo>
                    <a:pt x="12" y="34"/>
                  </a:lnTo>
                  <a:lnTo>
                    <a:pt x="18" y="34"/>
                  </a:lnTo>
                  <a:lnTo>
                    <a:pt x="24" y="34"/>
                  </a:lnTo>
                  <a:lnTo>
                    <a:pt x="32" y="32"/>
                  </a:lnTo>
                  <a:lnTo>
                    <a:pt x="34" y="30"/>
                  </a:lnTo>
                  <a:lnTo>
                    <a:pt x="38" y="28"/>
                  </a:lnTo>
                  <a:lnTo>
                    <a:pt x="42" y="24"/>
                  </a:lnTo>
                  <a:lnTo>
                    <a:pt x="46" y="20"/>
                  </a:lnTo>
                  <a:lnTo>
                    <a:pt x="48" y="18"/>
                  </a:lnTo>
                  <a:lnTo>
                    <a:pt x="52" y="18"/>
                  </a:lnTo>
                  <a:lnTo>
                    <a:pt x="54" y="18"/>
                  </a:lnTo>
                  <a:lnTo>
                    <a:pt x="56" y="16"/>
                  </a:lnTo>
                  <a:lnTo>
                    <a:pt x="58" y="14"/>
                  </a:lnTo>
                  <a:lnTo>
                    <a:pt x="58" y="12"/>
                  </a:lnTo>
                  <a:lnTo>
                    <a:pt x="56" y="8"/>
                  </a:lnTo>
                  <a:lnTo>
                    <a:pt x="54" y="6"/>
                  </a:lnTo>
                  <a:lnTo>
                    <a:pt x="48" y="4"/>
                  </a:lnTo>
                  <a:lnTo>
                    <a:pt x="32" y="2"/>
                  </a:lnTo>
                  <a:lnTo>
                    <a:pt x="18" y="0"/>
                  </a:lnTo>
                  <a:lnTo>
                    <a:pt x="12"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5" name="Freeform 542"/>
            <p:cNvSpPr/>
            <p:nvPr/>
          </p:nvSpPr>
          <p:spPr bwMode="gray">
            <a:xfrm>
              <a:off x="6655948" y="1856749"/>
              <a:ext cx="37028" cy="51804"/>
            </a:xfrm>
            <a:custGeom>
              <a:gdLst>
                <a:gd fmla="*/ 16 w 20" name="T0"/>
                <a:gd fmla="*/ 0 h 28" name="T1"/>
                <a:gd fmla="*/ 14 w 20" name="T2"/>
                <a:gd fmla="*/ 0 h 28" name="T3"/>
                <a:gd fmla="*/ 12 w 20" name="T4"/>
                <a:gd fmla="*/ 2 h 28" name="T5"/>
                <a:gd fmla="*/ 10 w 20" name="T6"/>
                <a:gd fmla="*/ 6 h 28" name="T7"/>
                <a:gd fmla="*/ 6 w 20" name="T8"/>
                <a:gd fmla="*/ 10 h 28" name="T9"/>
                <a:gd fmla="*/ 2 w 20" name="T10"/>
                <a:gd fmla="*/ 14 h 28" name="T11"/>
                <a:gd fmla="*/ 0 w 20" name="T12"/>
                <a:gd fmla="*/ 18 h 28" name="T13"/>
                <a:gd fmla="*/ 0 w 20" name="T14"/>
                <a:gd fmla="*/ 24 h 28" name="T15"/>
                <a:gd fmla="*/ 2 w 20" name="T16"/>
                <a:gd fmla="*/ 28 h 28" name="T17"/>
                <a:gd fmla="*/ 4 w 20" name="T18"/>
                <a:gd fmla="*/ 28 h 28" name="T19"/>
                <a:gd fmla="*/ 6 w 20" name="T20"/>
                <a:gd fmla="*/ 28 h 28" name="T21"/>
                <a:gd fmla="*/ 8 w 20" name="T22"/>
                <a:gd fmla="*/ 28 h 28" name="T23"/>
                <a:gd fmla="*/ 10 w 20" name="T24"/>
                <a:gd fmla="*/ 28 h 28" name="T25"/>
                <a:gd fmla="*/ 14 w 20" name="T26"/>
                <a:gd fmla="*/ 26 h 28" name="T27"/>
                <a:gd fmla="*/ 16 w 20" name="T28"/>
                <a:gd fmla="*/ 22 h 28" name="T29"/>
                <a:gd fmla="*/ 18 w 20" name="T30"/>
                <a:gd fmla="*/ 16 h 28" name="T31"/>
                <a:gd fmla="*/ 20 w 20" name="T32"/>
                <a:gd fmla="*/ 14 h 28" name="T33"/>
                <a:gd fmla="*/ 20 w 20" name="T34"/>
                <a:gd fmla="*/ 12 h 28" name="T35"/>
                <a:gd fmla="*/ 20 w 20" name="T36"/>
                <a:gd fmla="*/ 8 h 28" name="T37"/>
                <a:gd fmla="*/ 20 w 20" name="T38"/>
                <a:gd fmla="*/ 6 h 28" name="T39"/>
                <a:gd fmla="*/ 20 w 20" name="T40"/>
                <a:gd fmla="*/ 2 h 28" name="T41"/>
                <a:gd fmla="*/ 18 w 20" name="T42"/>
                <a:gd fmla="*/ 0 h 28" name="T43"/>
                <a:gd fmla="*/ 16 w 20" name="T44"/>
                <a:gd fmla="*/ 0 h 28" name="T4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b="b" l="0" r="r" t="0"/>
              <a:pathLst>
                <a:path h="28" w="20">
                  <a:moveTo>
                    <a:pt x="16" y="0"/>
                  </a:moveTo>
                  <a:lnTo>
                    <a:pt x="14" y="0"/>
                  </a:lnTo>
                  <a:lnTo>
                    <a:pt x="12" y="2"/>
                  </a:lnTo>
                  <a:lnTo>
                    <a:pt x="10" y="6"/>
                  </a:lnTo>
                  <a:lnTo>
                    <a:pt x="6" y="10"/>
                  </a:lnTo>
                  <a:lnTo>
                    <a:pt x="2" y="14"/>
                  </a:lnTo>
                  <a:lnTo>
                    <a:pt x="0" y="18"/>
                  </a:lnTo>
                  <a:lnTo>
                    <a:pt x="0" y="24"/>
                  </a:lnTo>
                  <a:lnTo>
                    <a:pt x="2" y="28"/>
                  </a:lnTo>
                  <a:lnTo>
                    <a:pt x="4" y="28"/>
                  </a:lnTo>
                  <a:lnTo>
                    <a:pt x="6" y="28"/>
                  </a:lnTo>
                  <a:lnTo>
                    <a:pt x="8" y="28"/>
                  </a:lnTo>
                  <a:lnTo>
                    <a:pt x="10" y="28"/>
                  </a:lnTo>
                  <a:lnTo>
                    <a:pt x="14" y="26"/>
                  </a:lnTo>
                  <a:lnTo>
                    <a:pt x="16" y="22"/>
                  </a:lnTo>
                  <a:lnTo>
                    <a:pt x="18" y="16"/>
                  </a:lnTo>
                  <a:lnTo>
                    <a:pt x="20" y="14"/>
                  </a:lnTo>
                  <a:lnTo>
                    <a:pt x="20" y="12"/>
                  </a:lnTo>
                  <a:lnTo>
                    <a:pt x="20" y="8"/>
                  </a:lnTo>
                  <a:lnTo>
                    <a:pt x="20" y="6"/>
                  </a:lnTo>
                  <a:lnTo>
                    <a:pt x="20" y="2"/>
                  </a:lnTo>
                  <a:lnTo>
                    <a:pt x="18" y="0"/>
                  </a:lnTo>
                  <a:lnTo>
                    <a:pt x="1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6" name="Freeform 543"/>
            <p:cNvSpPr/>
            <p:nvPr/>
          </p:nvSpPr>
          <p:spPr bwMode="gray">
            <a:xfrm>
              <a:off x="6652245" y="1893752"/>
              <a:ext cx="211059" cy="166513"/>
            </a:xfrm>
            <a:custGeom>
              <a:gdLst>
                <a:gd fmla="*/ 28 w 114" name="T0"/>
                <a:gd fmla="*/ 20 h 90" name="T1"/>
                <a:gd fmla="*/ 20 w 114" name="T2"/>
                <a:gd fmla="*/ 18 h 90" name="T3"/>
                <a:gd fmla="*/ 12 w 114" name="T4"/>
                <a:gd fmla="*/ 22 h 90" name="T5"/>
                <a:gd fmla="*/ 10 w 114" name="T6"/>
                <a:gd fmla="*/ 34 h 90" name="T7"/>
                <a:gd fmla="*/ 8 w 114" name="T8"/>
                <a:gd fmla="*/ 36 h 90" name="T9"/>
                <a:gd fmla="*/ 8 w 114" name="T10"/>
                <a:gd fmla="*/ 46 h 90" name="T11"/>
                <a:gd fmla="*/ 2 w 114" name="T12"/>
                <a:gd fmla="*/ 52 h 90" name="T13"/>
                <a:gd fmla="*/ 0 w 114" name="T14"/>
                <a:gd fmla="*/ 60 h 90" name="T15"/>
                <a:gd fmla="*/ 8 w 114" name="T16"/>
                <a:gd fmla="*/ 68 h 90" name="T17"/>
                <a:gd fmla="*/ 16 w 114" name="T18"/>
                <a:gd fmla="*/ 72 h 90" name="T19"/>
                <a:gd fmla="*/ 24 w 114" name="T20"/>
                <a:gd fmla="*/ 72 h 90" name="T21"/>
                <a:gd fmla="*/ 30 w 114" name="T22"/>
                <a:gd fmla="*/ 64 h 90" name="T23"/>
                <a:gd fmla="*/ 32 w 114" name="T24"/>
                <a:gd fmla="*/ 62 h 90" name="T25"/>
                <a:gd fmla="*/ 34 w 114" name="T26"/>
                <a:gd fmla="*/ 66 h 90" name="T27"/>
                <a:gd fmla="*/ 44 w 114" name="T28"/>
                <a:gd fmla="*/ 68 h 90" name="T29"/>
                <a:gd fmla="*/ 50 w 114" name="T30"/>
                <a:gd fmla="*/ 66 h 90" name="T31"/>
                <a:gd fmla="*/ 58 w 114" name="T32"/>
                <a:gd fmla="*/ 64 h 90" name="T33"/>
                <a:gd fmla="*/ 58 w 114" name="T34"/>
                <a:gd fmla="*/ 68 h 90" name="T35"/>
                <a:gd fmla="*/ 52 w 114" name="T36"/>
                <a:gd fmla="*/ 74 h 90" name="T37"/>
                <a:gd fmla="*/ 34 w 114" name="T38"/>
                <a:gd fmla="*/ 82 h 90" name="T39"/>
                <a:gd fmla="*/ 26 w 114" name="T40"/>
                <a:gd fmla="*/ 88 h 90" name="T41"/>
                <a:gd fmla="*/ 38 w 114" name="T42"/>
                <a:gd fmla="*/ 90 h 90" name="T43"/>
                <a:gd fmla="*/ 74 w 114" name="T44"/>
                <a:gd fmla="*/ 76 h 90" name="T45"/>
                <a:gd fmla="*/ 76 w 114" name="T46"/>
                <a:gd fmla="*/ 72 h 90" name="T47"/>
                <a:gd fmla="*/ 82 w 114" name="T48"/>
                <a:gd fmla="*/ 72 h 90" name="T49"/>
                <a:gd fmla="*/ 86 w 114" name="T50"/>
                <a:gd fmla="*/ 74 h 90" name="T51"/>
                <a:gd fmla="*/ 92 w 114" name="T52"/>
                <a:gd fmla="*/ 72 h 90" name="T53"/>
                <a:gd fmla="*/ 100 w 114" name="T54"/>
                <a:gd fmla="*/ 72 h 90" name="T55"/>
                <a:gd fmla="*/ 110 w 114" name="T56"/>
                <a:gd fmla="*/ 64 h 90" name="T57"/>
                <a:gd fmla="*/ 114 w 114" name="T58"/>
                <a:gd fmla="*/ 38 h 90" name="T59"/>
                <a:gd fmla="*/ 106 w 114" name="T60"/>
                <a:gd fmla="*/ 34 h 90" name="T61"/>
                <a:gd fmla="*/ 98 w 114" name="T62"/>
                <a:gd fmla="*/ 38 h 90" name="T63"/>
                <a:gd fmla="*/ 90 w 114" name="T64"/>
                <a:gd fmla="*/ 32 h 90" name="T65"/>
                <a:gd fmla="*/ 86 w 114" name="T66"/>
                <a:gd fmla="*/ 24 h 90" name="T67"/>
                <a:gd fmla="*/ 82 w 114" name="T68"/>
                <a:gd fmla="*/ 10 h 90" name="T69"/>
                <a:gd fmla="*/ 82 w 114" name="T70"/>
                <a:gd fmla="*/ 0 h 90" name="T71"/>
                <a:gd fmla="*/ 76 w 114" name="T72"/>
                <a:gd fmla="*/ 2 h 90" name="T73"/>
                <a:gd fmla="*/ 66 w 114" name="T74"/>
                <a:gd fmla="*/ 10 h 90" name="T75"/>
                <a:gd fmla="*/ 64 w 114" name="T76"/>
                <a:gd fmla="*/ 22 h 90" name="T77"/>
                <a:gd fmla="*/ 66 w 114" name="T78"/>
                <a:gd fmla="*/ 28 h 90" name="T79"/>
                <a:gd fmla="*/ 68 w 114" name="T80"/>
                <a:gd fmla="*/ 32 h 90" name="T81"/>
                <a:gd fmla="*/ 62 w 114" name="T82"/>
                <a:gd fmla="*/ 42 h 90" name="T83"/>
                <a:gd fmla="*/ 56 w 114" name="T84"/>
                <a:gd fmla="*/ 48 h 90" name="T85"/>
                <a:gd fmla="*/ 54 w 114" name="T86"/>
                <a:gd fmla="*/ 40 h 90" name="T87"/>
                <a:gd fmla="*/ 52 w 114" name="T88"/>
                <a:gd fmla="*/ 30 h 90" name="T89"/>
                <a:gd fmla="*/ 44 w 114" name="T90"/>
                <a:gd fmla="*/ 24 h 90" name="T91"/>
                <a:gd fmla="*/ 36 w 114" name="T92"/>
                <a:gd fmla="*/ 28 h 90" name="T93"/>
                <a:gd fmla="*/ 30 w 114" name="T94"/>
                <a:gd fmla="*/ 20 h 90"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90" w="114">
                  <a:moveTo>
                    <a:pt x="30" y="20"/>
                  </a:moveTo>
                  <a:lnTo>
                    <a:pt x="30" y="20"/>
                  </a:lnTo>
                  <a:lnTo>
                    <a:pt x="28" y="20"/>
                  </a:lnTo>
                  <a:lnTo>
                    <a:pt x="26" y="18"/>
                  </a:lnTo>
                  <a:lnTo>
                    <a:pt x="22" y="18"/>
                  </a:lnTo>
                  <a:lnTo>
                    <a:pt x="20" y="18"/>
                  </a:lnTo>
                  <a:lnTo>
                    <a:pt x="16" y="18"/>
                  </a:lnTo>
                  <a:lnTo>
                    <a:pt x="14" y="20"/>
                  </a:lnTo>
                  <a:lnTo>
                    <a:pt x="12" y="22"/>
                  </a:lnTo>
                  <a:lnTo>
                    <a:pt x="10" y="28"/>
                  </a:lnTo>
                  <a:lnTo>
                    <a:pt x="10" y="34"/>
                  </a:lnTo>
                  <a:lnTo>
                    <a:pt x="10" y="34"/>
                  </a:lnTo>
                  <a:lnTo>
                    <a:pt x="8" y="34"/>
                  </a:lnTo>
                  <a:lnTo>
                    <a:pt x="8" y="34"/>
                  </a:lnTo>
                  <a:lnTo>
                    <a:pt x="8" y="36"/>
                  </a:lnTo>
                  <a:lnTo>
                    <a:pt x="8" y="38"/>
                  </a:lnTo>
                  <a:lnTo>
                    <a:pt x="8" y="46"/>
                  </a:lnTo>
                  <a:lnTo>
                    <a:pt x="8" y="46"/>
                  </a:lnTo>
                  <a:lnTo>
                    <a:pt x="6" y="48"/>
                  </a:lnTo>
                  <a:lnTo>
                    <a:pt x="4" y="50"/>
                  </a:lnTo>
                  <a:lnTo>
                    <a:pt x="2" y="52"/>
                  </a:lnTo>
                  <a:lnTo>
                    <a:pt x="0" y="54"/>
                  </a:lnTo>
                  <a:lnTo>
                    <a:pt x="0" y="56"/>
                  </a:lnTo>
                  <a:lnTo>
                    <a:pt x="0" y="60"/>
                  </a:lnTo>
                  <a:lnTo>
                    <a:pt x="4" y="62"/>
                  </a:lnTo>
                  <a:lnTo>
                    <a:pt x="8" y="66"/>
                  </a:lnTo>
                  <a:lnTo>
                    <a:pt x="8" y="68"/>
                  </a:lnTo>
                  <a:lnTo>
                    <a:pt x="10" y="70"/>
                  </a:lnTo>
                  <a:lnTo>
                    <a:pt x="12" y="72"/>
                  </a:lnTo>
                  <a:lnTo>
                    <a:pt x="16" y="72"/>
                  </a:lnTo>
                  <a:lnTo>
                    <a:pt x="22" y="72"/>
                  </a:lnTo>
                  <a:lnTo>
                    <a:pt x="22" y="72"/>
                  </a:lnTo>
                  <a:lnTo>
                    <a:pt x="24" y="72"/>
                  </a:lnTo>
                  <a:lnTo>
                    <a:pt x="26" y="70"/>
                  </a:lnTo>
                  <a:lnTo>
                    <a:pt x="30" y="68"/>
                  </a:lnTo>
                  <a:lnTo>
                    <a:pt x="30" y="64"/>
                  </a:lnTo>
                  <a:lnTo>
                    <a:pt x="32" y="60"/>
                  </a:lnTo>
                  <a:lnTo>
                    <a:pt x="32" y="60"/>
                  </a:lnTo>
                  <a:lnTo>
                    <a:pt x="32" y="62"/>
                  </a:lnTo>
                  <a:lnTo>
                    <a:pt x="32" y="62"/>
                  </a:lnTo>
                  <a:lnTo>
                    <a:pt x="32" y="64"/>
                  </a:lnTo>
                  <a:lnTo>
                    <a:pt x="34" y="66"/>
                  </a:lnTo>
                  <a:lnTo>
                    <a:pt x="36" y="68"/>
                  </a:lnTo>
                  <a:lnTo>
                    <a:pt x="40" y="68"/>
                  </a:lnTo>
                  <a:lnTo>
                    <a:pt x="44" y="68"/>
                  </a:lnTo>
                  <a:lnTo>
                    <a:pt x="46" y="68"/>
                  </a:lnTo>
                  <a:lnTo>
                    <a:pt x="48" y="66"/>
                  </a:lnTo>
                  <a:lnTo>
                    <a:pt x="50" y="66"/>
                  </a:lnTo>
                  <a:lnTo>
                    <a:pt x="52" y="64"/>
                  </a:lnTo>
                  <a:lnTo>
                    <a:pt x="54" y="64"/>
                  </a:lnTo>
                  <a:lnTo>
                    <a:pt x="58" y="64"/>
                  </a:lnTo>
                  <a:lnTo>
                    <a:pt x="58" y="64"/>
                  </a:lnTo>
                  <a:lnTo>
                    <a:pt x="60" y="66"/>
                  </a:lnTo>
                  <a:lnTo>
                    <a:pt x="58" y="68"/>
                  </a:lnTo>
                  <a:lnTo>
                    <a:pt x="56" y="72"/>
                  </a:lnTo>
                  <a:lnTo>
                    <a:pt x="54" y="72"/>
                  </a:lnTo>
                  <a:lnTo>
                    <a:pt x="52" y="74"/>
                  </a:lnTo>
                  <a:lnTo>
                    <a:pt x="46" y="76"/>
                  </a:lnTo>
                  <a:lnTo>
                    <a:pt x="40" y="78"/>
                  </a:lnTo>
                  <a:lnTo>
                    <a:pt x="34" y="82"/>
                  </a:lnTo>
                  <a:lnTo>
                    <a:pt x="30" y="84"/>
                  </a:lnTo>
                  <a:lnTo>
                    <a:pt x="26" y="86"/>
                  </a:lnTo>
                  <a:lnTo>
                    <a:pt x="26" y="88"/>
                  </a:lnTo>
                  <a:lnTo>
                    <a:pt x="28" y="88"/>
                  </a:lnTo>
                  <a:lnTo>
                    <a:pt x="32" y="88"/>
                  </a:lnTo>
                  <a:lnTo>
                    <a:pt x="38" y="90"/>
                  </a:lnTo>
                  <a:lnTo>
                    <a:pt x="52" y="88"/>
                  </a:lnTo>
                  <a:lnTo>
                    <a:pt x="64" y="80"/>
                  </a:lnTo>
                  <a:lnTo>
                    <a:pt x="74" y="76"/>
                  </a:lnTo>
                  <a:lnTo>
                    <a:pt x="74" y="74"/>
                  </a:lnTo>
                  <a:lnTo>
                    <a:pt x="74" y="74"/>
                  </a:lnTo>
                  <a:lnTo>
                    <a:pt x="76" y="72"/>
                  </a:lnTo>
                  <a:lnTo>
                    <a:pt x="78" y="70"/>
                  </a:lnTo>
                  <a:lnTo>
                    <a:pt x="80" y="70"/>
                  </a:lnTo>
                  <a:lnTo>
                    <a:pt x="82" y="72"/>
                  </a:lnTo>
                  <a:lnTo>
                    <a:pt x="84" y="74"/>
                  </a:lnTo>
                  <a:lnTo>
                    <a:pt x="84" y="74"/>
                  </a:lnTo>
                  <a:lnTo>
                    <a:pt x="86" y="74"/>
                  </a:lnTo>
                  <a:lnTo>
                    <a:pt x="90" y="74"/>
                  </a:lnTo>
                  <a:lnTo>
                    <a:pt x="92" y="70"/>
                  </a:lnTo>
                  <a:lnTo>
                    <a:pt x="92" y="72"/>
                  </a:lnTo>
                  <a:lnTo>
                    <a:pt x="94" y="72"/>
                  </a:lnTo>
                  <a:lnTo>
                    <a:pt x="98" y="72"/>
                  </a:lnTo>
                  <a:lnTo>
                    <a:pt x="100" y="72"/>
                  </a:lnTo>
                  <a:lnTo>
                    <a:pt x="104" y="72"/>
                  </a:lnTo>
                  <a:lnTo>
                    <a:pt x="108" y="68"/>
                  </a:lnTo>
                  <a:lnTo>
                    <a:pt x="110" y="64"/>
                  </a:lnTo>
                  <a:lnTo>
                    <a:pt x="112" y="56"/>
                  </a:lnTo>
                  <a:lnTo>
                    <a:pt x="114" y="46"/>
                  </a:lnTo>
                  <a:lnTo>
                    <a:pt x="114" y="38"/>
                  </a:lnTo>
                  <a:lnTo>
                    <a:pt x="108" y="34"/>
                  </a:lnTo>
                  <a:lnTo>
                    <a:pt x="108" y="34"/>
                  </a:lnTo>
                  <a:lnTo>
                    <a:pt x="106" y="34"/>
                  </a:lnTo>
                  <a:lnTo>
                    <a:pt x="104" y="36"/>
                  </a:lnTo>
                  <a:lnTo>
                    <a:pt x="100" y="38"/>
                  </a:lnTo>
                  <a:lnTo>
                    <a:pt x="98" y="38"/>
                  </a:lnTo>
                  <a:lnTo>
                    <a:pt x="94" y="38"/>
                  </a:lnTo>
                  <a:lnTo>
                    <a:pt x="92" y="36"/>
                  </a:lnTo>
                  <a:lnTo>
                    <a:pt x="90" y="32"/>
                  </a:lnTo>
                  <a:lnTo>
                    <a:pt x="90" y="30"/>
                  </a:lnTo>
                  <a:lnTo>
                    <a:pt x="88" y="28"/>
                  </a:lnTo>
                  <a:lnTo>
                    <a:pt x="86" y="24"/>
                  </a:lnTo>
                  <a:lnTo>
                    <a:pt x="84" y="16"/>
                  </a:lnTo>
                  <a:lnTo>
                    <a:pt x="84" y="14"/>
                  </a:lnTo>
                  <a:lnTo>
                    <a:pt x="82" y="10"/>
                  </a:lnTo>
                  <a:lnTo>
                    <a:pt x="82" y="4"/>
                  </a:lnTo>
                  <a:lnTo>
                    <a:pt x="82" y="2"/>
                  </a:lnTo>
                  <a:lnTo>
                    <a:pt x="82" y="0"/>
                  </a:lnTo>
                  <a:lnTo>
                    <a:pt x="82" y="0"/>
                  </a:lnTo>
                  <a:lnTo>
                    <a:pt x="80" y="0"/>
                  </a:lnTo>
                  <a:lnTo>
                    <a:pt x="76" y="2"/>
                  </a:lnTo>
                  <a:lnTo>
                    <a:pt x="72" y="4"/>
                  </a:lnTo>
                  <a:lnTo>
                    <a:pt x="68" y="6"/>
                  </a:lnTo>
                  <a:lnTo>
                    <a:pt x="66" y="10"/>
                  </a:lnTo>
                  <a:lnTo>
                    <a:pt x="64" y="14"/>
                  </a:lnTo>
                  <a:lnTo>
                    <a:pt x="66" y="20"/>
                  </a:lnTo>
                  <a:lnTo>
                    <a:pt x="64" y="22"/>
                  </a:lnTo>
                  <a:lnTo>
                    <a:pt x="64" y="22"/>
                  </a:lnTo>
                  <a:lnTo>
                    <a:pt x="64" y="24"/>
                  </a:lnTo>
                  <a:lnTo>
                    <a:pt x="66" y="28"/>
                  </a:lnTo>
                  <a:lnTo>
                    <a:pt x="70" y="30"/>
                  </a:lnTo>
                  <a:lnTo>
                    <a:pt x="70" y="30"/>
                  </a:lnTo>
                  <a:lnTo>
                    <a:pt x="68" y="32"/>
                  </a:lnTo>
                  <a:lnTo>
                    <a:pt x="66" y="36"/>
                  </a:lnTo>
                  <a:lnTo>
                    <a:pt x="64" y="38"/>
                  </a:lnTo>
                  <a:lnTo>
                    <a:pt x="62" y="42"/>
                  </a:lnTo>
                  <a:lnTo>
                    <a:pt x="60" y="46"/>
                  </a:lnTo>
                  <a:lnTo>
                    <a:pt x="58" y="48"/>
                  </a:lnTo>
                  <a:lnTo>
                    <a:pt x="56" y="48"/>
                  </a:lnTo>
                  <a:lnTo>
                    <a:pt x="56" y="46"/>
                  </a:lnTo>
                  <a:lnTo>
                    <a:pt x="54" y="44"/>
                  </a:lnTo>
                  <a:lnTo>
                    <a:pt x="54" y="40"/>
                  </a:lnTo>
                  <a:lnTo>
                    <a:pt x="54" y="38"/>
                  </a:lnTo>
                  <a:lnTo>
                    <a:pt x="54" y="34"/>
                  </a:lnTo>
                  <a:lnTo>
                    <a:pt x="52" y="30"/>
                  </a:lnTo>
                  <a:lnTo>
                    <a:pt x="50" y="26"/>
                  </a:lnTo>
                  <a:lnTo>
                    <a:pt x="46" y="24"/>
                  </a:lnTo>
                  <a:lnTo>
                    <a:pt x="44" y="24"/>
                  </a:lnTo>
                  <a:lnTo>
                    <a:pt x="40" y="26"/>
                  </a:lnTo>
                  <a:lnTo>
                    <a:pt x="38" y="26"/>
                  </a:lnTo>
                  <a:lnTo>
                    <a:pt x="36" y="28"/>
                  </a:lnTo>
                  <a:lnTo>
                    <a:pt x="34" y="28"/>
                  </a:lnTo>
                  <a:lnTo>
                    <a:pt x="32" y="26"/>
                  </a:lnTo>
                  <a:lnTo>
                    <a:pt x="30" y="2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7" name="Freeform 544"/>
            <p:cNvSpPr/>
            <p:nvPr/>
          </p:nvSpPr>
          <p:spPr bwMode="gray">
            <a:xfrm>
              <a:off x="6985497" y="1653232"/>
              <a:ext cx="37028" cy="88807"/>
            </a:xfrm>
            <a:custGeom>
              <a:gdLst>
                <a:gd fmla="*/ 10 w 20" name="T0"/>
                <a:gd fmla="*/ 8 h 48" name="T1"/>
                <a:gd fmla="*/ 10 w 20" name="T2"/>
                <a:gd fmla="*/ 8 h 48" name="T3"/>
                <a:gd fmla="*/ 8 w 20" name="T4"/>
                <a:gd fmla="*/ 6 h 48" name="T5"/>
                <a:gd fmla="*/ 8 w 20" name="T6"/>
                <a:gd fmla="*/ 4 h 48" name="T7"/>
                <a:gd fmla="*/ 6 w 20" name="T8"/>
                <a:gd fmla="*/ 2 h 48" name="T9"/>
                <a:gd fmla="*/ 6 w 20" name="T10"/>
                <a:gd fmla="*/ 0 h 48" name="T11"/>
                <a:gd fmla="*/ 4 w 20" name="T12"/>
                <a:gd fmla="*/ 0 h 48" name="T13"/>
                <a:gd fmla="*/ 4 w 20" name="T14"/>
                <a:gd fmla="*/ 0 h 48" name="T15"/>
                <a:gd fmla="*/ 2 w 20" name="T16"/>
                <a:gd fmla="*/ 2 h 48" name="T17"/>
                <a:gd fmla="*/ 2 w 20" name="T18"/>
                <a:gd fmla="*/ 6 h 48" name="T19"/>
                <a:gd fmla="*/ 2 w 20" name="T20"/>
                <a:gd fmla="*/ 12 h 48" name="T21"/>
                <a:gd fmla="*/ 0 w 20" name="T22"/>
                <a:gd fmla="*/ 22 h 48" name="T23"/>
                <a:gd fmla="*/ 0 w 20" name="T24"/>
                <a:gd fmla="*/ 22 h 48" name="T25"/>
                <a:gd fmla="*/ 2 w 20" name="T26"/>
                <a:gd fmla="*/ 26 h 48" name="T27"/>
                <a:gd fmla="*/ 2 w 20" name="T28"/>
                <a:gd fmla="*/ 28 h 48" name="T29"/>
                <a:gd fmla="*/ 2 w 20" name="T30"/>
                <a:gd fmla="*/ 34 h 48" name="T31"/>
                <a:gd fmla="*/ 4 w 20" name="T32"/>
                <a:gd fmla="*/ 38 h 48" name="T33"/>
                <a:gd fmla="*/ 8 w 20" name="T34"/>
                <a:gd fmla="*/ 42 h 48" name="T35"/>
                <a:gd fmla="*/ 12 w 20" name="T36"/>
                <a:gd fmla="*/ 46 h 48" name="T37"/>
                <a:gd fmla="*/ 18 w 20" name="T38"/>
                <a:gd fmla="*/ 48 h 48" name="T39"/>
                <a:gd fmla="*/ 18 w 20" name="T40"/>
                <a:gd fmla="*/ 48 h 48" name="T41"/>
                <a:gd fmla="*/ 18 w 20" name="T42"/>
                <a:gd fmla="*/ 46 h 48" name="T43"/>
                <a:gd fmla="*/ 20 w 20" name="T44"/>
                <a:gd fmla="*/ 46 h 48" name="T45"/>
                <a:gd fmla="*/ 20 w 20" name="T46"/>
                <a:gd fmla="*/ 44 h 48" name="T47"/>
                <a:gd fmla="*/ 20 w 20" name="T48"/>
                <a:gd fmla="*/ 42 h 48" name="T49"/>
                <a:gd fmla="*/ 20 w 20" name="T50"/>
                <a:gd fmla="*/ 38 h 48" name="T51"/>
                <a:gd fmla="*/ 18 w 20" name="T52"/>
                <a:gd fmla="*/ 32 h 48" name="T53"/>
                <a:gd fmla="*/ 10 w 20" name="T54"/>
                <a:gd fmla="*/ 8 h 48" name="T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48" w="20">
                  <a:moveTo>
                    <a:pt x="10" y="8"/>
                  </a:moveTo>
                  <a:lnTo>
                    <a:pt x="10" y="8"/>
                  </a:lnTo>
                  <a:lnTo>
                    <a:pt x="8" y="6"/>
                  </a:lnTo>
                  <a:lnTo>
                    <a:pt x="8" y="4"/>
                  </a:lnTo>
                  <a:lnTo>
                    <a:pt x="6" y="2"/>
                  </a:lnTo>
                  <a:lnTo>
                    <a:pt x="6" y="0"/>
                  </a:lnTo>
                  <a:lnTo>
                    <a:pt x="4" y="0"/>
                  </a:lnTo>
                  <a:lnTo>
                    <a:pt x="4" y="0"/>
                  </a:lnTo>
                  <a:lnTo>
                    <a:pt x="2" y="2"/>
                  </a:lnTo>
                  <a:lnTo>
                    <a:pt x="2" y="6"/>
                  </a:lnTo>
                  <a:lnTo>
                    <a:pt x="2" y="12"/>
                  </a:lnTo>
                  <a:lnTo>
                    <a:pt x="0" y="22"/>
                  </a:lnTo>
                  <a:lnTo>
                    <a:pt x="0" y="22"/>
                  </a:lnTo>
                  <a:lnTo>
                    <a:pt x="2" y="26"/>
                  </a:lnTo>
                  <a:lnTo>
                    <a:pt x="2" y="28"/>
                  </a:lnTo>
                  <a:lnTo>
                    <a:pt x="2" y="34"/>
                  </a:lnTo>
                  <a:lnTo>
                    <a:pt x="4" y="38"/>
                  </a:lnTo>
                  <a:lnTo>
                    <a:pt x="8" y="42"/>
                  </a:lnTo>
                  <a:lnTo>
                    <a:pt x="12" y="46"/>
                  </a:lnTo>
                  <a:lnTo>
                    <a:pt x="18" y="48"/>
                  </a:lnTo>
                  <a:lnTo>
                    <a:pt x="18" y="48"/>
                  </a:lnTo>
                  <a:lnTo>
                    <a:pt x="18" y="46"/>
                  </a:lnTo>
                  <a:lnTo>
                    <a:pt x="20" y="46"/>
                  </a:lnTo>
                  <a:lnTo>
                    <a:pt x="20" y="44"/>
                  </a:lnTo>
                  <a:lnTo>
                    <a:pt x="20" y="42"/>
                  </a:lnTo>
                  <a:lnTo>
                    <a:pt x="20" y="38"/>
                  </a:lnTo>
                  <a:lnTo>
                    <a:pt x="18" y="32"/>
                  </a:lnTo>
                  <a:lnTo>
                    <a:pt x="10" y="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8" name="Freeform 545"/>
            <p:cNvSpPr/>
            <p:nvPr/>
          </p:nvSpPr>
          <p:spPr bwMode="gray">
            <a:xfrm>
              <a:off x="6892927" y="1779043"/>
              <a:ext cx="137003" cy="166513"/>
            </a:xfrm>
            <a:custGeom>
              <a:gdLst>
                <a:gd fmla="*/ 16 w 74" name="T0"/>
                <a:gd fmla="*/ 10 h 90" name="T1"/>
                <a:gd fmla="*/ 12 w 74" name="T2"/>
                <a:gd fmla="*/ 8 h 90" name="T3"/>
                <a:gd fmla="*/ 8 w 74" name="T4"/>
                <a:gd fmla="*/ 6 h 90" name="T5"/>
                <a:gd fmla="*/ 2 w 74" name="T6"/>
                <a:gd fmla="*/ 6 h 90" name="T7"/>
                <a:gd fmla="*/ 0 w 74" name="T8"/>
                <a:gd fmla="*/ 10 h 90" name="T9"/>
                <a:gd fmla="*/ 2 w 74" name="T10"/>
                <a:gd fmla="*/ 22 h 90" name="T11"/>
                <a:gd fmla="*/ 4 w 74" name="T12"/>
                <a:gd fmla="*/ 24 h 90" name="T13"/>
                <a:gd fmla="*/ 8 w 74" name="T14"/>
                <a:gd fmla="*/ 34 h 90" name="T15"/>
                <a:gd fmla="*/ 14 w 74" name="T16"/>
                <a:gd fmla="*/ 44 h 90" name="T17"/>
                <a:gd fmla="*/ 16 w 74" name="T18"/>
                <a:gd fmla="*/ 50 h 90" name="T19"/>
                <a:gd fmla="*/ 22 w 74" name="T20"/>
                <a:gd fmla="*/ 50 h 90" name="T21"/>
                <a:gd fmla="*/ 32 w 74" name="T22"/>
                <a:gd fmla="*/ 52 h 90" name="T23"/>
                <a:gd fmla="*/ 36 w 74" name="T24"/>
                <a:gd fmla="*/ 58 h 90" name="T25"/>
                <a:gd fmla="*/ 38 w 74" name="T26"/>
                <a:gd fmla="*/ 70 h 90" name="T27"/>
                <a:gd fmla="*/ 42 w 74" name="T28"/>
                <a:gd fmla="*/ 82 h 90" name="T29"/>
                <a:gd fmla="*/ 52 w 74" name="T30"/>
                <a:gd fmla="*/ 88 h 90" name="T31"/>
                <a:gd fmla="*/ 64 w 74" name="T32"/>
                <a:gd fmla="*/ 90 h 90" name="T33"/>
                <a:gd fmla="*/ 72 w 74" name="T34"/>
                <a:gd fmla="*/ 84 h 90" name="T35"/>
                <a:gd fmla="*/ 74 w 74" name="T36"/>
                <a:gd fmla="*/ 82 h 90" name="T37"/>
                <a:gd fmla="*/ 72 w 74" name="T38"/>
                <a:gd fmla="*/ 84 h 90" name="T39"/>
                <a:gd fmla="*/ 68 w 74" name="T40"/>
                <a:gd fmla="*/ 86 h 90" name="T41"/>
                <a:gd fmla="*/ 64 w 74" name="T42"/>
                <a:gd fmla="*/ 86 h 90" name="T43"/>
                <a:gd fmla="*/ 64 w 74" name="T44"/>
                <a:gd fmla="*/ 82 h 90" name="T45"/>
                <a:gd fmla="*/ 62 w 74" name="T46"/>
                <a:gd fmla="*/ 58 h 90" name="T47"/>
                <a:gd fmla="*/ 58 w 74" name="T48"/>
                <a:gd fmla="*/ 42 h 90" name="T49"/>
                <a:gd fmla="*/ 66 w 74" name="T50"/>
                <a:gd fmla="*/ 26 h 90" name="T51"/>
                <a:gd fmla="*/ 66 w 74" name="T52"/>
                <a:gd fmla="*/ 8 h 90" name="T53"/>
                <a:gd fmla="*/ 60 w 74" name="T54"/>
                <a:gd fmla="*/ 4 h 90" name="T55"/>
                <a:gd fmla="*/ 54 w 74" name="T56"/>
                <a:gd fmla="*/ 2 h 90" name="T57"/>
                <a:gd fmla="*/ 44 w 74" name="T58"/>
                <a:gd fmla="*/ 0 h 90" name="T59"/>
                <a:gd fmla="*/ 38 w 74" name="T60"/>
                <a:gd fmla="*/ 0 h 90" name="T61"/>
                <a:gd fmla="*/ 36 w 74" name="T62"/>
                <a:gd fmla="*/ 6 h 90" name="T63"/>
                <a:gd fmla="*/ 40 w 74" name="T64"/>
                <a:gd fmla="*/ 24 h 90" name="T65"/>
                <a:gd fmla="*/ 44 w 74" name="T66"/>
                <a:gd fmla="*/ 38 h 90" name="T67"/>
                <a:gd fmla="*/ 32 w 74" name="T68"/>
                <a:gd fmla="*/ 32 h 90" name="T69"/>
                <a:gd fmla="*/ 20 w 74" name="T70"/>
                <a:gd fmla="*/ 24 h 90" name="T71"/>
                <a:gd fmla="*/ 16 w 74" name="T72"/>
                <a:gd fmla="*/ 10 h 90"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90" w="74">
                  <a:moveTo>
                    <a:pt x="16" y="10"/>
                  </a:moveTo>
                  <a:lnTo>
                    <a:pt x="16" y="10"/>
                  </a:lnTo>
                  <a:lnTo>
                    <a:pt x="14" y="10"/>
                  </a:lnTo>
                  <a:lnTo>
                    <a:pt x="12" y="8"/>
                  </a:lnTo>
                  <a:lnTo>
                    <a:pt x="10" y="6"/>
                  </a:lnTo>
                  <a:lnTo>
                    <a:pt x="8" y="6"/>
                  </a:lnTo>
                  <a:lnTo>
                    <a:pt x="4" y="6"/>
                  </a:lnTo>
                  <a:lnTo>
                    <a:pt x="2" y="6"/>
                  </a:lnTo>
                  <a:lnTo>
                    <a:pt x="2" y="8"/>
                  </a:lnTo>
                  <a:lnTo>
                    <a:pt x="0" y="10"/>
                  </a:lnTo>
                  <a:lnTo>
                    <a:pt x="0" y="14"/>
                  </a:lnTo>
                  <a:lnTo>
                    <a:pt x="2" y="22"/>
                  </a:lnTo>
                  <a:lnTo>
                    <a:pt x="2" y="22"/>
                  </a:lnTo>
                  <a:lnTo>
                    <a:pt x="4" y="24"/>
                  </a:lnTo>
                  <a:lnTo>
                    <a:pt x="6" y="28"/>
                  </a:lnTo>
                  <a:lnTo>
                    <a:pt x="8" y="34"/>
                  </a:lnTo>
                  <a:lnTo>
                    <a:pt x="12" y="38"/>
                  </a:lnTo>
                  <a:lnTo>
                    <a:pt x="14" y="44"/>
                  </a:lnTo>
                  <a:lnTo>
                    <a:pt x="16" y="50"/>
                  </a:lnTo>
                  <a:lnTo>
                    <a:pt x="16" y="50"/>
                  </a:lnTo>
                  <a:lnTo>
                    <a:pt x="20" y="50"/>
                  </a:lnTo>
                  <a:lnTo>
                    <a:pt x="22" y="50"/>
                  </a:lnTo>
                  <a:lnTo>
                    <a:pt x="28" y="50"/>
                  </a:lnTo>
                  <a:lnTo>
                    <a:pt x="32" y="52"/>
                  </a:lnTo>
                  <a:lnTo>
                    <a:pt x="34" y="54"/>
                  </a:lnTo>
                  <a:lnTo>
                    <a:pt x="36" y="58"/>
                  </a:lnTo>
                  <a:lnTo>
                    <a:pt x="38" y="64"/>
                  </a:lnTo>
                  <a:lnTo>
                    <a:pt x="38" y="70"/>
                  </a:lnTo>
                  <a:lnTo>
                    <a:pt x="40" y="76"/>
                  </a:lnTo>
                  <a:lnTo>
                    <a:pt x="42" y="82"/>
                  </a:lnTo>
                  <a:lnTo>
                    <a:pt x="48" y="86"/>
                  </a:lnTo>
                  <a:lnTo>
                    <a:pt x="52" y="88"/>
                  </a:lnTo>
                  <a:lnTo>
                    <a:pt x="58" y="90"/>
                  </a:lnTo>
                  <a:lnTo>
                    <a:pt x="64" y="90"/>
                  </a:lnTo>
                  <a:lnTo>
                    <a:pt x="68" y="86"/>
                  </a:lnTo>
                  <a:lnTo>
                    <a:pt x="72" y="84"/>
                  </a:lnTo>
                  <a:lnTo>
                    <a:pt x="74" y="84"/>
                  </a:lnTo>
                  <a:lnTo>
                    <a:pt x="74" y="82"/>
                  </a:lnTo>
                  <a:lnTo>
                    <a:pt x="74" y="82"/>
                  </a:lnTo>
                  <a:lnTo>
                    <a:pt x="72" y="84"/>
                  </a:lnTo>
                  <a:lnTo>
                    <a:pt x="70" y="84"/>
                  </a:lnTo>
                  <a:lnTo>
                    <a:pt x="68" y="86"/>
                  </a:lnTo>
                  <a:lnTo>
                    <a:pt x="66" y="86"/>
                  </a:lnTo>
                  <a:lnTo>
                    <a:pt x="64" y="86"/>
                  </a:lnTo>
                  <a:lnTo>
                    <a:pt x="64" y="86"/>
                  </a:lnTo>
                  <a:lnTo>
                    <a:pt x="64" y="82"/>
                  </a:lnTo>
                  <a:lnTo>
                    <a:pt x="64" y="72"/>
                  </a:lnTo>
                  <a:lnTo>
                    <a:pt x="62" y="58"/>
                  </a:lnTo>
                  <a:lnTo>
                    <a:pt x="56" y="44"/>
                  </a:lnTo>
                  <a:lnTo>
                    <a:pt x="58" y="42"/>
                  </a:lnTo>
                  <a:lnTo>
                    <a:pt x="62" y="34"/>
                  </a:lnTo>
                  <a:lnTo>
                    <a:pt x="66" y="26"/>
                  </a:lnTo>
                  <a:lnTo>
                    <a:pt x="68" y="16"/>
                  </a:lnTo>
                  <a:lnTo>
                    <a:pt x="66" y="8"/>
                  </a:lnTo>
                  <a:lnTo>
                    <a:pt x="60" y="4"/>
                  </a:lnTo>
                  <a:lnTo>
                    <a:pt x="60" y="4"/>
                  </a:lnTo>
                  <a:lnTo>
                    <a:pt x="56" y="2"/>
                  </a:lnTo>
                  <a:lnTo>
                    <a:pt x="54" y="2"/>
                  </a:lnTo>
                  <a:lnTo>
                    <a:pt x="50" y="0"/>
                  </a:lnTo>
                  <a:lnTo>
                    <a:pt x="44" y="0"/>
                  </a:lnTo>
                  <a:lnTo>
                    <a:pt x="42" y="0"/>
                  </a:lnTo>
                  <a:lnTo>
                    <a:pt x="38" y="0"/>
                  </a:lnTo>
                  <a:lnTo>
                    <a:pt x="36" y="2"/>
                  </a:lnTo>
                  <a:lnTo>
                    <a:pt x="36" y="6"/>
                  </a:lnTo>
                  <a:lnTo>
                    <a:pt x="38" y="14"/>
                  </a:lnTo>
                  <a:lnTo>
                    <a:pt x="40" y="24"/>
                  </a:lnTo>
                  <a:lnTo>
                    <a:pt x="44" y="32"/>
                  </a:lnTo>
                  <a:lnTo>
                    <a:pt x="44" y="38"/>
                  </a:lnTo>
                  <a:lnTo>
                    <a:pt x="38" y="38"/>
                  </a:lnTo>
                  <a:lnTo>
                    <a:pt x="32" y="32"/>
                  </a:lnTo>
                  <a:lnTo>
                    <a:pt x="26" y="28"/>
                  </a:lnTo>
                  <a:lnTo>
                    <a:pt x="20" y="24"/>
                  </a:lnTo>
                  <a:lnTo>
                    <a:pt x="16" y="18"/>
                  </a:lnTo>
                  <a:lnTo>
                    <a:pt x="16" y="1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89" name="Freeform 546"/>
            <p:cNvSpPr/>
            <p:nvPr/>
          </p:nvSpPr>
          <p:spPr bwMode="gray">
            <a:xfrm>
              <a:off x="7033633" y="1886351"/>
              <a:ext cx="81461" cy="85107"/>
            </a:xfrm>
            <a:custGeom>
              <a:gdLst>
                <a:gd fmla="*/ 10 w 44" name="T0"/>
                <a:gd fmla="*/ 2 h 46" name="T1"/>
                <a:gd fmla="*/ 10 w 44" name="T2"/>
                <a:gd fmla="*/ 2 h 46" name="T3"/>
                <a:gd fmla="*/ 10 w 44" name="T4"/>
                <a:gd fmla="*/ 2 h 46" name="T5"/>
                <a:gd fmla="*/ 8 w 44" name="T6"/>
                <a:gd fmla="*/ 0 h 46" name="T7"/>
                <a:gd fmla="*/ 6 w 44" name="T8"/>
                <a:gd fmla="*/ 0 h 46" name="T9"/>
                <a:gd fmla="*/ 4 w 44" name="T10"/>
                <a:gd fmla="*/ 0 h 46" name="T11"/>
                <a:gd fmla="*/ 4 w 44" name="T12"/>
                <a:gd fmla="*/ 0 h 46" name="T13"/>
                <a:gd fmla="*/ 2 w 44" name="T14"/>
                <a:gd fmla="*/ 2 h 46" name="T15"/>
                <a:gd fmla="*/ 2 w 44" name="T16"/>
                <a:gd fmla="*/ 4 h 46" name="T17"/>
                <a:gd fmla="*/ 4 w 44" name="T18"/>
                <a:gd fmla="*/ 8 h 46" name="T19"/>
                <a:gd fmla="*/ 6 w 44" name="T20"/>
                <a:gd fmla="*/ 12 h 46" name="T21"/>
                <a:gd fmla="*/ 6 w 44" name="T22"/>
                <a:gd fmla="*/ 14 h 46" name="T23"/>
                <a:gd fmla="*/ 4 w 44" name="T24"/>
                <a:gd fmla="*/ 18 h 46" name="T25"/>
                <a:gd fmla="*/ 4 w 44" name="T26"/>
                <a:gd fmla="*/ 22 h 46" name="T27"/>
                <a:gd fmla="*/ 4 w 44" name="T28"/>
                <a:gd fmla="*/ 28 h 46" name="T29"/>
                <a:gd fmla="*/ 2 w 44" name="T30"/>
                <a:gd fmla="*/ 34 h 46" name="T31"/>
                <a:gd fmla="*/ 0 w 44" name="T32"/>
                <a:gd fmla="*/ 38 h 46" name="T33"/>
                <a:gd fmla="*/ 16 w 44" name="T34"/>
                <a:gd fmla="*/ 34 h 46" name="T35"/>
                <a:gd fmla="*/ 24 w 44" name="T36"/>
                <a:gd fmla="*/ 46 h 46" name="T37"/>
                <a:gd fmla="*/ 24 w 44" name="T38"/>
                <a:gd fmla="*/ 44 h 46" name="T39"/>
                <a:gd fmla="*/ 28 w 44" name="T40"/>
                <a:gd fmla="*/ 44 h 46" name="T41"/>
                <a:gd fmla="*/ 32 w 44" name="T42"/>
                <a:gd fmla="*/ 42 h 46" name="T43"/>
                <a:gd fmla="*/ 36 w 44" name="T44"/>
                <a:gd fmla="*/ 40 h 46" name="T45"/>
                <a:gd fmla="*/ 40 w 44" name="T46"/>
                <a:gd fmla="*/ 36 h 46" name="T47"/>
                <a:gd fmla="*/ 40 w 44" name="T48"/>
                <a:gd fmla="*/ 36 h 46" name="T49"/>
                <a:gd fmla="*/ 42 w 44" name="T50"/>
                <a:gd fmla="*/ 32 h 46" name="T51"/>
                <a:gd fmla="*/ 42 w 44" name="T52"/>
                <a:gd fmla="*/ 28 h 46" name="T53"/>
                <a:gd fmla="*/ 44 w 44" name="T54"/>
                <a:gd fmla="*/ 24 h 46" name="T55"/>
                <a:gd fmla="*/ 42 w 44" name="T56"/>
                <a:gd fmla="*/ 18 h 46" name="T57"/>
                <a:gd fmla="*/ 40 w 44" name="T58"/>
                <a:gd fmla="*/ 12 h 46" name="T59"/>
                <a:gd fmla="*/ 38 w 44" name="T60"/>
                <a:gd fmla="*/ 12 h 46" name="T61"/>
                <a:gd fmla="*/ 36 w 44" name="T62"/>
                <a:gd fmla="*/ 10 h 46" name="T63"/>
                <a:gd fmla="*/ 34 w 44" name="T64"/>
                <a:gd fmla="*/ 6 h 46" name="T65"/>
                <a:gd fmla="*/ 30 w 44" name="T66"/>
                <a:gd fmla="*/ 4 h 46" name="T67"/>
                <a:gd fmla="*/ 26 w 44" name="T68"/>
                <a:gd fmla="*/ 0 h 46" name="T69"/>
                <a:gd fmla="*/ 22 w 44" name="T70"/>
                <a:gd fmla="*/ 0 h 46" name="T71"/>
                <a:gd fmla="*/ 16 w 44" name="T72"/>
                <a:gd fmla="*/ 0 h 46" name="T73"/>
                <a:gd fmla="*/ 10 w 44" name="T74"/>
                <a:gd fmla="*/ 2 h 46"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46" w="44">
                  <a:moveTo>
                    <a:pt x="10" y="2"/>
                  </a:moveTo>
                  <a:lnTo>
                    <a:pt x="10" y="2"/>
                  </a:lnTo>
                  <a:lnTo>
                    <a:pt x="10" y="2"/>
                  </a:lnTo>
                  <a:lnTo>
                    <a:pt x="8" y="0"/>
                  </a:lnTo>
                  <a:lnTo>
                    <a:pt x="6" y="0"/>
                  </a:lnTo>
                  <a:lnTo>
                    <a:pt x="4" y="0"/>
                  </a:lnTo>
                  <a:lnTo>
                    <a:pt x="4" y="0"/>
                  </a:lnTo>
                  <a:lnTo>
                    <a:pt x="2" y="2"/>
                  </a:lnTo>
                  <a:lnTo>
                    <a:pt x="2" y="4"/>
                  </a:lnTo>
                  <a:lnTo>
                    <a:pt x="4" y="8"/>
                  </a:lnTo>
                  <a:lnTo>
                    <a:pt x="6" y="12"/>
                  </a:lnTo>
                  <a:lnTo>
                    <a:pt x="6" y="14"/>
                  </a:lnTo>
                  <a:lnTo>
                    <a:pt x="4" y="18"/>
                  </a:lnTo>
                  <a:lnTo>
                    <a:pt x="4" y="22"/>
                  </a:lnTo>
                  <a:lnTo>
                    <a:pt x="4" y="28"/>
                  </a:lnTo>
                  <a:lnTo>
                    <a:pt x="2" y="34"/>
                  </a:lnTo>
                  <a:lnTo>
                    <a:pt x="0" y="38"/>
                  </a:lnTo>
                  <a:lnTo>
                    <a:pt x="16" y="34"/>
                  </a:lnTo>
                  <a:lnTo>
                    <a:pt x="24" y="46"/>
                  </a:lnTo>
                  <a:lnTo>
                    <a:pt x="24" y="44"/>
                  </a:lnTo>
                  <a:lnTo>
                    <a:pt x="28" y="44"/>
                  </a:lnTo>
                  <a:lnTo>
                    <a:pt x="32" y="42"/>
                  </a:lnTo>
                  <a:lnTo>
                    <a:pt x="36" y="40"/>
                  </a:lnTo>
                  <a:lnTo>
                    <a:pt x="40" y="36"/>
                  </a:lnTo>
                  <a:lnTo>
                    <a:pt x="40" y="36"/>
                  </a:lnTo>
                  <a:lnTo>
                    <a:pt x="42" y="32"/>
                  </a:lnTo>
                  <a:lnTo>
                    <a:pt x="42" y="28"/>
                  </a:lnTo>
                  <a:lnTo>
                    <a:pt x="44" y="24"/>
                  </a:lnTo>
                  <a:lnTo>
                    <a:pt x="42" y="18"/>
                  </a:lnTo>
                  <a:lnTo>
                    <a:pt x="40" y="12"/>
                  </a:lnTo>
                  <a:lnTo>
                    <a:pt x="38" y="12"/>
                  </a:lnTo>
                  <a:lnTo>
                    <a:pt x="36" y="10"/>
                  </a:lnTo>
                  <a:lnTo>
                    <a:pt x="34" y="6"/>
                  </a:lnTo>
                  <a:lnTo>
                    <a:pt x="30" y="4"/>
                  </a:lnTo>
                  <a:lnTo>
                    <a:pt x="26" y="0"/>
                  </a:lnTo>
                  <a:lnTo>
                    <a:pt x="22" y="0"/>
                  </a:lnTo>
                  <a:lnTo>
                    <a:pt x="16" y="0"/>
                  </a:lnTo>
                  <a:lnTo>
                    <a:pt x="10"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0" name="Freeform 547"/>
            <p:cNvSpPr/>
            <p:nvPr/>
          </p:nvSpPr>
          <p:spPr bwMode="gray">
            <a:xfrm>
              <a:off x="7126203" y="1853049"/>
              <a:ext cx="311035" cy="181315"/>
            </a:xfrm>
            <a:custGeom>
              <a:gdLst>
                <a:gd fmla="*/ 10 w 168" name="T0"/>
                <a:gd fmla="*/ 2 h 98" name="T1"/>
                <a:gd fmla="*/ 4 w 168" name="T2"/>
                <a:gd fmla="*/ 0 h 98" name="T3"/>
                <a:gd fmla="*/ 0 w 168" name="T4"/>
                <a:gd fmla="*/ 6 h 98" name="T5"/>
                <a:gd fmla="*/ 4 w 168" name="T6"/>
                <a:gd fmla="*/ 24 h 98" name="T7"/>
                <a:gd fmla="*/ 6 w 168" name="T8"/>
                <a:gd fmla="*/ 28 h 98" name="T9"/>
                <a:gd fmla="*/ 12 w 168" name="T10"/>
                <a:gd fmla="*/ 32 h 98" name="T11"/>
                <a:gd fmla="*/ 26 w 168" name="T12"/>
                <a:gd fmla="*/ 26 h 98" name="T13"/>
                <a:gd fmla="*/ 30 w 168" name="T14"/>
                <a:gd fmla="*/ 24 h 98" name="T15"/>
                <a:gd fmla="*/ 34 w 168" name="T16"/>
                <a:gd fmla="*/ 24 h 98" name="T17"/>
                <a:gd fmla="*/ 38 w 168" name="T18"/>
                <a:gd fmla="*/ 38 h 98" name="T19"/>
                <a:gd fmla="*/ 44 w 168" name="T20"/>
                <a:gd fmla="*/ 72 h 98" name="T21"/>
                <a:gd fmla="*/ 40 w 168" name="T22"/>
                <a:gd fmla="*/ 72 h 98" name="T23"/>
                <a:gd fmla="*/ 38 w 168" name="T24"/>
                <a:gd fmla="*/ 80 h 98" name="T25"/>
                <a:gd fmla="*/ 48 w 168" name="T26"/>
                <a:gd fmla="*/ 88 h 98" name="T27"/>
                <a:gd fmla="*/ 56 w 168" name="T28"/>
                <a:gd fmla="*/ 86 h 98" name="T29"/>
                <a:gd fmla="*/ 58 w 168" name="T30"/>
                <a:gd fmla="*/ 84 h 98" name="T31"/>
                <a:gd fmla="*/ 68 w 168" name="T32"/>
                <a:gd fmla="*/ 86 h 98" name="T33"/>
                <a:gd fmla="*/ 82 w 168" name="T34"/>
                <a:gd fmla="*/ 94 h 98" name="T35"/>
                <a:gd fmla="*/ 118 w 168" name="T36"/>
                <a:gd fmla="*/ 96 h 98" name="T37"/>
                <a:gd fmla="*/ 118 w 168" name="T38"/>
                <a:gd fmla="*/ 92 h 98" name="T39"/>
                <a:gd fmla="*/ 122 w 168" name="T40"/>
                <a:gd fmla="*/ 86 h 98" name="T41"/>
                <a:gd fmla="*/ 134 w 168" name="T42"/>
                <a:gd fmla="*/ 88 h 98" name="T43"/>
                <a:gd fmla="*/ 142 w 168" name="T44"/>
                <a:gd fmla="*/ 92 h 98" name="T45"/>
                <a:gd fmla="*/ 150 w 168" name="T46"/>
                <a:gd fmla="*/ 90 h 98" name="T47"/>
                <a:gd fmla="*/ 154 w 168" name="T48"/>
                <a:gd fmla="*/ 82 h 98" name="T49"/>
                <a:gd fmla="*/ 156 w 168" name="T50"/>
                <a:gd fmla="*/ 76 h 98" name="T51"/>
                <a:gd fmla="*/ 164 w 168" name="T52"/>
                <a:gd fmla="*/ 72 h 98" name="T53"/>
                <a:gd fmla="*/ 164 w 168" name="T54"/>
                <a:gd fmla="*/ 66 h 98" name="T55"/>
                <a:gd fmla="*/ 168 w 168" name="T56"/>
                <a:gd fmla="*/ 62 h 98" name="T57"/>
                <a:gd fmla="*/ 166 w 168" name="T58"/>
                <a:gd fmla="*/ 56 h 98" name="T59"/>
                <a:gd fmla="*/ 150 w 168" name="T60"/>
                <a:gd fmla="*/ 50 h 98" name="T61"/>
                <a:gd fmla="*/ 138 w 168" name="T62"/>
                <a:gd fmla="*/ 48 h 98" name="T63"/>
                <a:gd fmla="*/ 124 w 168" name="T64"/>
                <a:gd fmla="*/ 44 h 98" name="T65"/>
                <a:gd fmla="*/ 110 w 168" name="T66"/>
                <a:gd fmla="*/ 46 h 98" name="T67"/>
                <a:gd fmla="*/ 100 w 168" name="T68"/>
                <a:gd fmla="*/ 50 h 98" name="T69"/>
                <a:gd fmla="*/ 82 w 168" name="T70"/>
                <a:gd fmla="*/ 44 h 98" name="T71"/>
                <a:gd fmla="*/ 60 w 168" name="T72"/>
                <a:gd fmla="*/ 30 h 98" name="T73"/>
                <a:gd fmla="*/ 52 w 168" name="T74"/>
                <a:gd fmla="*/ 24 h 98" name="T75"/>
                <a:gd fmla="*/ 50 w 168" name="T76"/>
                <a:gd fmla="*/ 20 h 98" name="T77"/>
                <a:gd fmla="*/ 50 w 168" name="T78"/>
                <a:gd fmla="*/ 16 h 98" name="T79"/>
                <a:gd fmla="*/ 48 w 168" name="T80"/>
                <a:gd fmla="*/ 10 h 98" name="T81"/>
                <a:gd fmla="*/ 40 w 168" name="T82"/>
                <a:gd fmla="*/ 10 h 98" name="T83"/>
                <a:gd fmla="*/ 36 w 168" name="T84"/>
                <a:gd fmla="*/ 14 h 98" name="T85"/>
                <a:gd fmla="*/ 28 w 168" name="T86"/>
                <a:gd fmla="*/ 12 h 98" name="T87"/>
                <a:gd fmla="*/ 24 w 168" name="T88"/>
                <a:gd fmla="*/ 4 h 98" name="T89"/>
                <a:gd fmla="*/ 12 w 168" name="T90"/>
                <a:gd fmla="*/ 2 h 98"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98" w="168">
                  <a:moveTo>
                    <a:pt x="12" y="2"/>
                  </a:moveTo>
                  <a:lnTo>
                    <a:pt x="12" y="2"/>
                  </a:lnTo>
                  <a:lnTo>
                    <a:pt x="10" y="2"/>
                  </a:lnTo>
                  <a:lnTo>
                    <a:pt x="8" y="0"/>
                  </a:lnTo>
                  <a:lnTo>
                    <a:pt x="6" y="0"/>
                  </a:lnTo>
                  <a:lnTo>
                    <a:pt x="4" y="0"/>
                  </a:lnTo>
                  <a:lnTo>
                    <a:pt x="2" y="0"/>
                  </a:lnTo>
                  <a:lnTo>
                    <a:pt x="0" y="2"/>
                  </a:lnTo>
                  <a:lnTo>
                    <a:pt x="0" y="6"/>
                  </a:lnTo>
                  <a:lnTo>
                    <a:pt x="0" y="10"/>
                  </a:lnTo>
                  <a:lnTo>
                    <a:pt x="2" y="16"/>
                  </a:lnTo>
                  <a:lnTo>
                    <a:pt x="4" y="24"/>
                  </a:lnTo>
                  <a:lnTo>
                    <a:pt x="4" y="26"/>
                  </a:lnTo>
                  <a:lnTo>
                    <a:pt x="4" y="26"/>
                  </a:lnTo>
                  <a:lnTo>
                    <a:pt x="6" y="28"/>
                  </a:lnTo>
                  <a:lnTo>
                    <a:pt x="6" y="30"/>
                  </a:lnTo>
                  <a:lnTo>
                    <a:pt x="8" y="32"/>
                  </a:lnTo>
                  <a:lnTo>
                    <a:pt x="12" y="32"/>
                  </a:lnTo>
                  <a:lnTo>
                    <a:pt x="16" y="32"/>
                  </a:lnTo>
                  <a:lnTo>
                    <a:pt x="20" y="30"/>
                  </a:lnTo>
                  <a:lnTo>
                    <a:pt x="26" y="26"/>
                  </a:lnTo>
                  <a:lnTo>
                    <a:pt x="28" y="26"/>
                  </a:lnTo>
                  <a:lnTo>
                    <a:pt x="28" y="24"/>
                  </a:lnTo>
                  <a:lnTo>
                    <a:pt x="30" y="24"/>
                  </a:lnTo>
                  <a:lnTo>
                    <a:pt x="30" y="24"/>
                  </a:lnTo>
                  <a:lnTo>
                    <a:pt x="32" y="24"/>
                  </a:lnTo>
                  <a:lnTo>
                    <a:pt x="34" y="24"/>
                  </a:lnTo>
                  <a:lnTo>
                    <a:pt x="36" y="28"/>
                  </a:lnTo>
                  <a:lnTo>
                    <a:pt x="36" y="32"/>
                  </a:lnTo>
                  <a:lnTo>
                    <a:pt x="38" y="38"/>
                  </a:lnTo>
                  <a:lnTo>
                    <a:pt x="38" y="48"/>
                  </a:lnTo>
                  <a:lnTo>
                    <a:pt x="44" y="72"/>
                  </a:lnTo>
                  <a:lnTo>
                    <a:pt x="44" y="72"/>
                  </a:lnTo>
                  <a:lnTo>
                    <a:pt x="42" y="72"/>
                  </a:lnTo>
                  <a:lnTo>
                    <a:pt x="40" y="72"/>
                  </a:lnTo>
                  <a:lnTo>
                    <a:pt x="40" y="72"/>
                  </a:lnTo>
                  <a:lnTo>
                    <a:pt x="38" y="74"/>
                  </a:lnTo>
                  <a:lnTo>
                    <a:pt x="38" y="76"/>
                  </a:lnTo>
                  <a:lnTo>
                    <a:pt x="38" y="80"/>
                  </a:lnTo>
                  <a:lnTo>
                    <a:pt x="40" y="84"/>
                  </a:lnTo>
                  <a:lnTo>
                    <a:pt x="44" y="88"/>
                  </a:lnTo>
                  <a:lnTo>
                    <a:pt x="48" y="88"/>
                  </a:lnTo>
                  <a:lnTo>
                    <a:pt x="50" y="88"/>
                  </a:lnTo>
                  <a:lnTo>
                    <a:pt x="54" y="88"/>
                  </a:lnTo>
                  <a:lnTo>
                    <a:pt x="56" y="86"/>
                  </a:lnTo>
                  <a:lnTo>
                    <a:pt x="56" y="86"/>
                  </a:lnTo>
                  <a:lnTo>
                    <a:pt x="56" y="86"/>
                  </a:lnTo>
                  <a:lnTo>
                    <a:pt x="58" y="84"/>
                  </a:lnTo>
                  <a:lnTo>
                    <a:pt x="62" y="84"/>
                  </a:lnTo>
                  <a:lnTo>
                    <a:pt x="64" y="84"/>
                  </a:lnTo>
                  <a:lnTo>
                    <a:pt x="68" y="86"/>
                  </a:lnTo>
                  <a:lnTo>
                    <a:pt x="72" y="90"/>
                  </a:lnTo>
                  <a:lnTo>
                    <a:pt x="74" y="92"/>
                  </a:lnTo>
                  <a:lnTo>
                    <a:pt x="82" y="94"/>
                  </a:lnTo>
                  <a:lnTo>
                    <a:pt x="94" y="98"/>
                  </a:lnTo>
                  <a:lnTo>
                    <a:pt x="106" y="96"/>
                  </a:lnTo>
                  <a:lnTo>
                    <a:pt x="118" y="96"/>
                  </a:lnTo>
                  <a:lnTo>
                    <a:pt x="118" y="94"/>
                  </a:lnTo>
                  <a:lnTo>
                    <a:pt x="118" y="94"/>
                  </a:lnTo>
                  <a:lnTo>
                    <a:pt x="118" y="92"/>
                  </a:lnTo>
                  <a:lnTo>
                    <a:pt x="120" y="90"/>
                  </a:lnTo>
                  <a:lnTo>
                    <a:pt x="120" y="88"/>
                  </a:lnTo>
                  <a:lnTo>
                    <a:pt x="122" y="86"/>
                  </a:lnTo>
                  <a:lnTo>
                    <a:pt x="124" y="86"/>
                  </a:lnTo>
                  <a:lnTo>
                    <a:pt x="128" y="86"/>
                  </a:lnTo>
                  <a:lnTo>
                    <a:pt x="134" y="88"/>
                  </a:lnTo>
                  <a:lnTo>
                    <a:pt x="140" y="92"/>
                  </a:lnTo>
                  <a:lnTo>
                    <a:pt x="140" y="92"/>
                  </a:lnTo>
                  <a:lnTo>
                    <a:pt x="142" y="92"/>
                  </a:lnTo>
                  <a:lnTo>
                    <a:pt x="144" y="92"/>
                  </a:lnTo>
                  <a:lnTo>
                    <a:pt x="148" y="92"/>
                  </a:lnTo>
                  <a:lnTo>
                    <a:pt x="150" y="90"/>
                  </a:lnTo>
                  <a:lnTo>
                    <a:pt x="152" y="88"/>
                  </a:lnTo>
                  <a:lnTo>
                    <a:pt x="154" y="86"/>
                  </a:lnTo>
                  <a:lnTo>
                    <a:pt x="154" y="82"/>
                  </a:lnTo>
                  <a:lnTo>
                    <a:pt x="154" y="76"/>
                  </a:lnTo>
                  <a:lnTo>
                    <a:pt x="154" y="76"/>
                  </a:lnTo>
                  <a:lnTo>
                    <a:pt x="156" y="76"/>
                  </a:lnTo>
                  <a:lnTo>
                    <a:pt x="158" y="74"/>
                  </a:lnTo>
                  <a:lnTo>
                    <a:pt x="162" y="74"/>
                  </a:lnTo>
                  <a:lnTo>
                    <a:pt x="164" y="72"/>
                  </a:lnTo>
                  <a:lnTo>
                    <a:pt x="164" y="70"/>
                  </a:lnTo>
                  <a:lnTo>
                    <a:pt x="164" y="66"/>
                  </a:lnTo>
                  <a:lnTo>
                    <a:pt x="164" y="66"/>
                  </a:lnTo>
                  <a:lnTo>
                    <a:pt x="166" y="64"/>
                  </a:lnTo>
                  <a:lnTo>
                    <a:pt x="166" y="64"/>
                  </a:lnTo>
                  <a:lnTo>
                    <a:pt x="168" y="62"/>
                  </a:lnTo>
                  <a:lnTo>
                    <a:pt x="168" y="60"/>
                  </a:lnTo>
                  <a:lnTo>
                    <a:pt x="168" y="58"/>
                  </a:lnTo>
                  <a:lnTo>
                    <a:pt x="166" y="56"/>
                  </a:lnTo>
                  <a:lnTo>
                    <a:pt x="162" y="54"/>
                  </a:lnTo>
                  <a:lnTo>
                    <a:pt x="158" y="52"/>
                  </a:lnTo>
                  <a:lnTo>
                    <a:pt x="150" y="50"/>
                  </a:lnTo>
                  <a:lnTo>
                    <a:pt x="142" y="48"/>
                  </a:lnTo>
                  <a:lnTo>
                    <a:pt x="140" y="48"/>
                  </a:lnTo>
                  <a:lnTo>
                    <a:pt x="138" y="48"/>
                  </a:lnTo>
                  <a:lnTo>
                    <a:pt x="134" y="46"/>
                  </a:lnTo>
                  <a:lnTo>
                    <a:pt x="130" y="44"/>
                  </a:lnTo>
                  <a:lnTo>
                    <a:pt x="124" y="44"/>
                  </a:lnTo>
                  <a:lnTo>
                    <a:pt x="118" y="44"/>
                  </a:lnTo>
                  <a:lnTo>
                    <a:pt x="110" y="44"/>
                  </a:lnTo>
                  <a:lnTo>
                    <a:pt x="110" y="46"/>
                  </a:lnTo>
                  <a:lnTo>
                    <a:pt x="108" y="46"/>
                  </a:lnTo>
                  <a:lnTo>
                    <a:pt x="106" y="48"/>
                  </a:lnTo>
                  <a:lnTo>
                    <a:pt x="100" y="50"/>
                  </a:lnTo>
                  <a:lnTo>
                    <a:pt x="96" y="50"/>
                  </a:lnTo>
                  <a:lnTo>
                    <a:pt x="90" y="48"/>
                  </a:lnTo>
                  <a:lnTo>
                    <a:pt x="82" y="44"/>
                  </a:lnTo>
                  <a:lnTo>
                    <a:pt x="62" y="32"/>
                  </a:lnTo>
                  <a:lnTo>
                    <a:pt x="62" y="32"/>
                  </a:lnTo>
                  <a:lnTo>
                    <a:pt x="60" y="30"/>
                  </a:lnTo>
                  <a:lnTo>
                    <a:pt x="58" y="26"/>
                  </a:lnTo>
                  <a:lnTo>
                    <a:pt x="56" y="24"/>
                  </a:lnTo>
                  <a:lnTo>
                    <a:pt x="52" y="24"/>
                  </a:lnTo>
                  <a:lnTo>
                    <a:pt x="52" y="22"/>
                  </a:lnTo>
                  <a:lnTo>
                    <a:pt x="50" y="22"/>
                  </a:lnTo>
                  <a:lnTo>
                    <a:pt x="50" y="20"/>
                  </a:lnTo>
                  <a:lnTo>
                    <a:pt x="50" y="18"/>
                  </a:lnTo>
                  <a:lnTo>
                    <a:pt x="50" y="18"/>
                  </a:lnTo>
                  <a:lnTo>
                    <a:pt x="50" y="16"/>
                  </a:lnTo>
                  <a:lnTo>
                    <a:pt x="50" y="14"/>
                  </a:lnTo>
                  <a:lnTo>
                    <a:pt x="50" y="10"/>
                  </a:lnTo>
                  <a:lnTo>
                    <a:pt x="48" y="10"/>
                  </a:lnTo>
                  <a:lnTo>
                    <a:pt x="46" y="8"/>
                  </a:lnTo>
                  <a:lnTo>
                    <a:pt x="42" y="8"/>
                  </a:lnTo>
                  <a:lnTo>
                    <a:pt x="40" y="10"/>
                  </a:lnTo>
                  <a:lnTo>
                    <a:pt x="40" y="10"/>
                  </a:lnTo>
                  <a:lnTo>
                    <a:pt x="38" y="12"/>
                  </a:lnTo>
                  <a:lnTo>
                    <a:pt x="36" y="14"/>
                  </a:lnTo>
                  <a:lnTo>
                    <a:pt x="32" y="14"/>
                  </a:lnTo>
                  <a:lnTo>
                    <a:pt x="30" y="14"/>
                  </a:lnTo>
                  <a:lnTo>
                    <a:pt x="28" y="12"/>
                  </a:lnTo>
                  <a:lnTo>
                    <a:pt x="28" y="8"/>
                  </a:lnTo>
                  <a:lnTo>
                    <a:pt x="28" y="6"/>
                  </a:lnTo>
                  <a:lnTo>
                    <a:pt x="24" y="4"/>
                  </a:lnTo>
                  <a:lnTo>
                    <a:pt x="22" y="2"/>
                  </a:lnTo>
                  <a:lnTo>
                    <a:pt x="18" y="2"/>
                  </a:lnTo>
                  <a:lnTo>
                    <a:pt x="12"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1" name="Freeform 548"/>
            <p:cNvSpPr/>
            <p:nvPr/>
          </p:nvSpPr>
          <p:spPr bwMode="gray">
            <a:xfrm>
              <a:off x="6959577" y="1475618"/>
              <a:ext cx="162923" cy="188715"/>
            </a:xfrm>
            <a:custGeom>
              <a:gdLst>
                <a:gd fmla="*/ 30 w 88" name="T0"/>
                <a:gd fmla="*/ 44 h 102" name="T1"/>
                <a:gd fmla="*/ 26 w 88" name="T2"/>
                <a:gd fmla="*/ 38 h 102" name="T3"/>
                <a:gd fmla="*/ 20 w 88" name="T4"/>
                <a:gd fmla="*/ 32 h 102" name="T5"/>
                <a:gd fmla="*/ 14 w 88" name="T6"/>
                <a:gd fmla="*/ 28 h 102" name="T7"/>
                <a:gd fmla="*/ 8 w 88" name="T8"/>
                <a:gd fmla="*/ 24 h 102" name="T9"/>
                <a:gd fmla="*/ 2 w 88" name="T10"/>
                <a:gd fmla="*/ 16 h 102" name="T11"/>
                <a:gd fmla="*/ 0 w 88" name="T12"/>
                <a:gd fmla="*/ 8 h 102" name="T13"/>
                <a:gd fmla="*/ 8 w 88" name="T14"/>
                <a:gd fmla="*/ 0 h 102" name="T15"/>
                <a:gd fmla="*/ 12 w 88" name="T16"/>
                <a:gd fmla="*/ 0 h 102" name="T17"/>
                <a:gd fmla="*/ 20 w 88" name="T18"/>
                <a:gd fmla="*/ 2 h 102" name="T19"/>
                <a:gd fmla="*/ 28 w 88" name="T20"/>
                <a:gd fmla="*/ 6 h 102" name="T21"/>
                <a:gd fmla="*/ 32 w 88" name="T22"/>
                <a:gd fmla="*/ 16 h 102" name="T23"/>
                <a:gd fmla="*/ 32 w 88" name="T24"/>
                <a:gd fmla="*/ 20 h 102" name="T25"/>
                <a:gd fmla="*/ 36 w 88" name="T26"/>
                <a:gd fmla="*/ 24 h 102" name="T27"/>
                <a:gd fmla="*/ 44 w 88" name="T28"/>
                <a:gd fmla="*/ 26 h 102" name="T29"/>
                <a:gd fmla="*/ 44 w 88" name="T30"/>
                <a:gd fmla="*/ 24 h 102" name="T31"/>
                <a:gd fmla="*/ 44 w 88" name="T32"/>
                <a:gd fmla="*/ 18 h 102" name="T33"/>
                <a:gd fmla="*/ 46 w 88" name="T34"/>
                <a:gd fmla="*/ 12 h 102" name="T35"/>
                <a:gd fmla="*/ 50 w 88" name="T36"/>
                <a:gd fmla="*/ 10 h 102" name="T37"/>
                <a:gd fmla="*/ 60 w 88" name="T38"/>
                <a:gd fmla="*/ 14 h 102" name="T39"/>
                <a:gd fmla="*/ 58 w 88" name="T40"/>
                <a:gd fmla="*/ 20 h 102" name="T41"/>
                <a:gd fmla="*/ 58 w 88" name="T42"/>
                <a:gd fmla="*/ 30 h 102" name="T43"/>
                <a:gd fmla="*/ 60 w 88" name="T44"/>
                <a:gd fmla="*/ 40 h 102" name="T45"/>
                <a:gd fmla="*/ 66 w 88" name="T46"/>
                <a:gd fmla="*/ 46 h 102" name="T47"/>
                <a:gd fmla="*/ 70 w 88" name="T48"/>
                <a:gd fmla="*/ 44 h 102" name="T49"/>
                <a:gd fmla="*/ 76 w 88" name="T50"/>
                <a:gd fmla="*/ 34 h 102" name="T51"/>
                <a:gd fmla="*/ 76 w 88" name="T52"/>
                <a:gd fmla="*/ 32 h 102" name="T53"/>
                <a:gd fmla="*/ 80 w 88" name="T54"/>
                <a:gd fmla="*/ 28 h 102" name="T55"/>
                <a:gd fmla="*/ 82 w 88" name="T56"/>
                <a:gd fmla="*/ 26 h 102" name="T57"/>
                <a:gd fmla="*/ 86 w 88" name="T58"/>
                <a:gd fmla="*/ 28 h 102" name="T59"/>
                <a:gd fmla="*/ 88 w 88" name="T60"/>
                <a:gd fmla="*/ 38 h 102" name="T61"/>
                <a:gd fmla="*/ 86 w 88" name="T62"/>
                <a:gd fmla="*/ 48 h 102" name="T63"/>
                <a:gd fmla="*/ 82 w 88" name="T64"/>
                <a:gd fmla="*/ 68 h 102" name="T65"/>
                <a:gd fmla="*/ 88 w 88" name="T66"/>
                <a:gd fmla="*/ 90 h 102" name="T67"/>
                <a:gd fmla="*/ 88 w 88" name="T68"/>
                <a:gd fmla="*/ 92 h 102" name="T69"/>
                <a:gd fmla="*/ 84 w 88" name="T70"/>
                <a:gd fmla="*/ 98 h 102" name="T71"/>
                <a:gd fmla="*/ 82 w 88" name="T72"/>
                <a:gd fmla="*/ 102 h 102" name="T73"/>
                <a:gd fmla="*/ 78 w 88" name="T74"/>
                <a:gd fmla="*/ 100 h 102" name="T75"/>
                <a:gd fmla="*/ 78 w 88" name="T76"/>
                <a:gd fmla="*/ 96 h 102" name="T77"/>
                <a:gd fmla="*/ 76 w 88" name="T78"/>
                <a:gd fmla="*/ 90 h 102" name="T79"/>
                <a:gd fmla="*/ 76 w 88" name="T80"/>
                <a:gd fmla="*/ 80 h 102" name="T81"/>
                <a:gd fmla="*/ 72 w 88" name="T82"/>
                <a:gd fmla="*/ 76 h 102" name="T83"/>
                <a:gd fmla="*/ 66 w 88" name="T84"/>
                <a:gd fmla="*/ 78 h 102" name="T85"/>
                <a:gd fmla="*/ 60 w 88" name="T86"/>
                <a:gd fmla="*/ 74 h 102" name="T87"/>
                <a:gd fmla="*/ 52 w 88" name="T88"/>
                <a:gd fmla="*/ 70 h 102" name="T89"/>
                <a:gd fmla="*/ 44 w 88" name="T90"/>
                <a:gd fmla="*/ 60 h 102" name="T9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b="b" l="0" r="r" t="0"/>
              <a:pathLst>
                <a:path h="102" w="88">
                  <a:moveTo>
                    <a:pt x="30" y="46"/>
                  </a:moveTo>
                  <a:lnTo>
                    <a:pt x="30" y="44"/>
                  </a:lnTo>
                  <a:lnTo>
                    <a:pt x="28" y="42"/>
                  </a:lnTo>
                  <a:lnTo>
                    <a:pt x="26" y="38"/>
                  </a:lnTo>
                  <a:lnTo>
                    <a:pt x="24" y="34"/>
                  </a:lnTo>
                  <a:lnTo>
                    <a:pt x="20" y="32"/>
                  </a:lnTo>
                  <a:lnTo>
                    <a:pt x="14" y="30"/>
                  </a:lnTo>
                  <a:lnTo>
                    <a:pt x="14" y="28"/>
                  </a:lnTo>
                  <a:lnTo>
                    <a:pt x="12" y="26"/>
                  </a:lnTo>
                  <a:lnTo>
                    <a:pt x="8" y="24"/>
                  </a:lnTo>
                  <a:lnTo>
                    <a:pt x="6" y="20"/>
                  </a:lnTo>
                  <a:lnTo>
                    <a:pt x="2" y="16"/>
                  </a:lnTo>
                  <a:lnTo>
                    <a:pt x="2" y="12"/>
                  </a:lnTo>
                  <a:lnTo>
                    <a:pt x="0" y="8"/>
                  </a:lnTo>
                  <a:lnTo>
                    <a:pt x="4" y="4"/>
                  </a:lnTo>
                  <a:lnTo>
                    <a:pt x="8" y="0"/>
                  </a:lnTo>
                  <a:lnTo>
                    <a:pt x="8" y="0"/>
                  </a:lnTo>
                  <a:lnTo>
                    <a:pt x="12" y="0"/>
                  </a:lnTo>
                  <a:lnTo>
                    <a:pt x="16" y="0"/>
                  </a:lnTo>
                  <a:lnTo>
                    <a:pt x="20" y="2"/>
                  </a:lnTo>
                  <a:lnTo>
                    <a:pt x="24" y="4"/>
                  </a:lnTo>
                  <a:lnTo>
                    <a:pt x="28" y="6"/>
                  </a:lnTo>
                  <a:lnTo>
                    <a:pt x="30" y="10"/>
                  </a:lnTo>
                  <a:lnTo>
                    <a:pt x="32" y="16"/>
                  </a:lnTo>
                  <a:lnTo>
                    <a:pt x="32" y="18"/>
                  </a:lnTo>
                  <a:lnTo>
                    <a:pt x="32" y="20"/>
                  </a:lnTo>
                  <a:lnTo>
                    <a:pt x="34" y="22"/>
                  </a:lnTo>
                  <a:lnTo>
                    <a:pt x="36" y="24"/>
                  </a:lnTo>
                  <a:lnTo>
                    <a:pt x="40" y="26"/>
                  </a:lnTo>
                  <a:lnTo>
                    <a:pt x="44" y="26"/>
                  </a:lnTo>
                  <a:lnTo>
                    <a:pt x="44" y="26"/>
                  </a:lnTo>
                  <a:lnTo>
                    <a:pt x="44" y="24"/>
                  </a:lnTo>
                  <a:lnTo>
                    <a:pt x="44" y="20"/>
                  </a:lnTo>
                  <a:lnTo>
                    <a:pt x="44" y="18"/>
                  </a:lnTo>
                  <a:lnTo>
                    <a:pt x="44" y="14"/>
                  </a:lnTo>
                  <a:lnTo>
                    <a:pt x="46" y="12"/>
                  </a:lnTo>
                  <a:lnTo>
                    <a:pt x="48" y="10"/>
                  </a:lnTo>
                  <a:lnTo>
                    <a:pt x="50" y="10"/>
                  </a:lnTo>
                  <a:lnTo>
                    <a:pt x="54" y="12"/>
                  </a:lnTo>
                  <a:lnTo>
                    <a:pt x="60" y="14"/>
                  </a:lnTo>
                  <a:lnTo>
                    <a:pt x="60" y="16"/>
                  </a:lnTo>
                  <a:lnTo>
                    <a:pt x="58" y="20"/>
                  </a:lnTo>
                  <a:lnTo>
                    <a:pt x="58" y="24"/>
                  </a:lnTo>
                  <a:lnTo>
                    <a:pt x="58" y="30"/>
                  </a:lnTo>
                  <a:lnTo>
                    <a:pt x="60" y="34"/>
                  </a:lnTo>
                  <a:lnTo>
                    <a:pt x="60" y="40"/>
                  </a:lnTo>
                  <a:lnTo>
                    <a:pt x="64" y="44"/>
                  </a:lnTo>
                  <a:lnTo>
                    <a:pt x="66" y="46"/>
                  </a:lnTo>
                  <a:lnTo>
                    <a:pt x="68" y="46"/>
                  </a:lnTo>
                  <a:lnTo>
                    <a:pt x="70" y="44"/>
                  </a:lnTo>
                  <a:lnTo>
                    <a:pt x="72" y="42"/>
                  </a:lnTo>
                  <a:lnTo>
                    <a:pt x="76" y="34"/>
                  </a:lnTo>
                  <a:lnTo>
                    <a:pt x="76" y="34"/>
                  </a:lnTo>
                  <a:lnTo>
                    <a:pt x="76" y="32"/>
                  </a:lnTo>
                  <a:lnTo>
                    <a:pt x="78" y="30"/>
                  </a:lnTo>
                  <a:lnTo>
                    <a:pt x="80" y="28"/>
                  </a:lnTo>
                  <a:lnTo>
                    <a:pt x="80" y="28"/>
                  </a:lnTo>
                  <a:lnTo>
                    <a:pt x="82" y="26"/>
                  </a:lnTo>
                  <a:lnTo>
                    <a:pt x="84" y="26"/>
                  </a:lnTo>
                  <a:lnTo>
                    <a:pt x="86" y="28"/>
                  </a:lnTo>
                  <a:lnTo>
                    <a:pt x="86" y="32"/>
                  </a:lnTo>
                  <a:lnTo>
                    <a:pt x="88" y="38"/>
                  </a:lnTo>
                  <a:lnTo>
                    <a:pt x="88" y="46"/>
                  </a:lnTo>
                  <a:lnTo>
                    <a:pt x="86" y="48"/>
                  </a:lnTo>
                  <a:lnTo>
                    <a:pt x="84" y="58"/>
                  </a:lnTo>
                  <a:lnTo>
                    <a:pt x="82" y="68"/>
                  </a:lnTo>
                  <a:lnTo>
                    <a:pt x="84" y="80"/>
                  </a:lnTo>
                  <a:lnTo>
                    <a:pt x="88" y="90"/>
                  </a:lnTo>
                  <a:lnTo>
                    <a:pt x="88" y="90"/>
                  </a:lnTo>
                  <a:lnTo>
                    <a:pt x="88" y="92"/>
                  </a:lnTo>
                  <a:lnTo>
                    <a:pt x="86" y="96"/>
                  </a:lnTo>
                  <a:lnTo>
                    <a:pt x="84" y="98"/>
                  </a:lnTo>
                  <a:lnTo>
                    <a:pt x="84" y="100"/>
                  </a:lnTo>
                  <a:lnTo>
                    <a:pt x="82" y="102"/>
                  </a:lnTo>
                  <a:lnTo>
                    <a:pt x="80" y="102"/>
                  </a:lnTo>
                  <a:lnTo>
                    <a:pt x="78" y="100"/>
                  </a:lnTo>
                  <a:lnTo>
                    <a:pt x="78" y="96"/>
                  </a:lnTo>
                  <a:lnTo>
                    <a:pt x="78" y="96"/>
                  </a:lnTo>
                  <a:lnTo>
                    <a:pt x="76" y="92"/>
                  </a:lnTo>
                  <a:lnTo>
                    <a:pt x="76" y="90"/>
                  </a:lnTo>
                  <a:lnTo>
                    <a:pt x="76" y="86"/>
                  </a:lnTo>
                  <a:lnTo>
                    <a:pt x="76" y="80"/>
                  </a:lnTo>
                  <a:lnTo>
                    <a:pt x="74" y="78"/>
                  </a:lnTo>
                  <a:lnTo>
                    <a:pt x="72" y="76"/>
                  </a:lnTo>
                  <a:lnTo>
                    <a:pt x="68" y="74"/>
                  </a:lnTo>
                  <a:lnTo>
                    <a:pt x="66" y="78"/>
                  </a:lnTo>
                  <a:lnTo>
                    <a:pt x="64" y="76"/>
                  </a:lnTo>
                  <a:lnTo>
                    <a:pt x="60" y="74"/>
                  </a:lnTo>
                  <a:lnTo>
                    <a:pt x="56" y="72"/>
                  </a:lnTo>
                  <a:lnTo>
                    <a:pt x="52" y="70"/>
                  </a:lnTo>
                  <a:lnTo>
                    <a:pt x="46" y="66"/>
                  </a:lnTo>
                  <a:lnTo>
                    <a:pt x="44" y="60"/>
                  </a:lnTo>
                  <a:lnTo>
                    <a:pt x="30" y="46"/>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2" name="Freeform 549"/>
            <p:cNvSpPr/>
            <p:nvPr/>
          </p:nvSpPr>
          <p:spPr bwMode="gray">
            <a:xfrm>
              <a:off x="7155825" y="1557025"/>
              <a:ext cx="70353" cy="99908"/>
            </a:xfrm>
            <a:custGeom>
              <a:gdLst>
                <a:gd fmla="*/ 16 w 38" name="T0"/>
                <a:gd fmla="*/ 0 h 54" name="T1"/>
                <a:gd fmla="*/ 14 w 38" name="T2"/>
                <a:gd fmla="*/ 0 h 54" name="T3"/>
                <a:gd fmla="*/ 14 w 38" name="T4"/>
                <a:gd fmla="*/ 0 h 54" name="T5"/>
                <a:gd fmla="*/ 12 w 38" name="T6"/>
                <a:gd fmla="*/ 0 h 54" name="T7"/>
                <a:gd fmla="*/ 8 w 38" name="T8"/>
                <a:gd fmla="*/ 2 h 54" name="T9"/>
                <a:gd fmla="*/ 6 w 38" name="T10"/>
                <a:gd fmla="*/ 6 h 54" name="T11"/>
                <a:gd fmla="*/ 4 w 38" name="T12"/>
                <a:gd fmla="*/ 10 h 54" name="T13"/>
                <a:gd fmla="*/ 2 w 38" name="T14"/>
                <a:gd fmla="*/ 16 h 54" name="T15"/>
                <a:gd fmla="*/ 2 w 38" name="T16"/>
                <a:gd fmla="*/ 24 h 54" name="T17"/>
                <a:gd fmla="*/ 0 w 38" name="T18"/>
                <a:gd fmla="*/ 48 h 54" name="T19"/>
                <a:gd fmla="*/ 2 w 38" name="T20"/>
                <a:gd fmla="*/ 48 h 54" name="T21"/>
                <a:gd fmla="*/ 10 w 38" name="T22"/>
                <a:gd fmla="*/ 52 h 54" name="T23"/>
                <a:gd fmla="*/ 18 w 38" name="T24"/>
                <a:gd fmla="*/ 54 h 54" name="T25"/>
                <a:gd fmla="*/ 28 w 38" name="T26"/>
                <a:gd fmla="*/ 54 h 54" name="T27"/>
                <a:gd fmla="*/ 36 w 38" name="T28"/>
                <a:gd fmla="*/ 50 h 54" name="T29"/>
                <a:gd fmla="*/ 38 w 38" name="T30"/>
                <a:gd fmla="*/ 40 h 54" name="T31"/>
                <a:gd fmla="*/ 16 w 38" name="T32"/>
                <a:gd fmla="*/ 0 h 54" name="T3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b="b" l="0" r="r" t="0"/>
              <a:pathLst>
                <a:path h="54" w="38">
                  <a:moveTo>
                    <a:pt x="16" y="0"/>
                  </a:moveTo>
                  <a:lnTo>
                    <a:pt x="14" y="0"/>
                  </a:lnTo>
                  <a:lnTo>
                    <a:pt x="14" y="0"/>
                  </a:lnTo>
                  <a:lnTo>
                    <a:pt x="12" y="0"/>
                  </a:lnTo>
                  <a:lnTo>
                    <a:pt x="8" y="2"/>
                  </a:lnTo>
                  <a:lnTo>
                    <a:pt x="6" y="6"/>
                  </a:lnTo>
                  <a:lnTo>
                    <a:pt x="4" y="10"/>
                  </a:lnTo>
                  <a:lnTo>
                    <a:pt x="2" y="16"/>
                  </a:lnTo>
                  <a:lnTo>
                    <a:pt x="2" y="24"/>
                  </a:lnTo>
                  <a:lnTo>
                    <a:pt x="0" y="48"/>
                  </a:lnTo>
                  <a:lnTo>
                    <a:pt x="2" y="48"/>
                  </a:lnTo>
                  <a:lnTo>
                    <a:pt x="10" y="52"/>
                  </a:lnTo>
                  <a:lnTo>
                    <a:pt x="18" y="54"/>
                  </a:lnTo>
                  <a:lnTo>
                    <a:pt x="28" y="54"/>
                  </a:lnTo>
                  <a:lnTo>
                    <a:pt x="36" y="50"/>
                  </a:lnTo>
                  <a:lnTo>
                    <a:pt x="38" y="40"/>
                  </a:lnTo>
                  <a:lnTo>
                    <a:pt x="16"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3" name="Freeform 550"/>
            <p:cNvSpPr/>
            <p:nvPr/>
          </p:nvSpPr>
          <p:spPr bwMode="gray">
            <a:xfrm>
              <a:off x="7389101" y="1575526"/>
              <a:ext cx="125895" cy="270122"/>
            </a:xfrm>
            <a:custGeom>
              <a:gdLst>
                <a:gd fmla="*/ 18 w 68" name="T0"/>
                <a:gd fmla="*/ 2 h 146" name="T1"/>
                <a:gd fmla="*/ 16 w 68" name="T2"/>
                <a:gd fmla="*/ 0 h 146" name="T3"/>
                <a:gd fmla="*/ 12 w 68" name="T4"/>
                <a:gd fmla="*/ 0 h 146" name="T5"/>
                <a:gd fmla="*/ 10 w 68" name="T6"/>
                <a:gd fmla="*/ 6 h 146" name="T7"/>
                <a:gd fmla="*/ 12 w 68" name="T8"/>
                <a:gd fmla="*/ 10 h 146" name="T9"/>
                <a:gd fmla="*/ 12 w 68" name="T10"/>
                <a:gd fmla="*/ 16 h 146" name="T11"/>
                <a:gd fmla="*/ 10 w 68" name="T12"/>
                <a:gd fmla="*/ 20 h 146" name="T13"/>
                <a:gd fmla="*/ 6 w 68" name="T14"/>
                <a:gd fmla="*/ 22 h 146" name="T15"/>
                <a:gd fmla="*/ 4 w 68" name="T16"/>
                <a:gd fmla="*/ 32 h 146" name="T17"/>
                <a:gd fmla="*/ 2 w 68" name="T18"/>
                <a:gd fmla="*/ 46 h 146" name="T19"/>
                <a:gd fmla="*/ 2 w 68" name="T20"/>
                <a:gd fmla="*/ 54 h 146" name="T21"/>
                <a:gd fmla="*/ 0 w 68" name="T22"/>
                <a:gd fmla="*/ 58 h 146" name="T23"/>
                <a:gd fmla="*/ 0 w 68" name="T24"/>
                <a:gd fmla="*/ 60 h 146" name="T25"/>
                <a:gd fmla="*/ 0 w 68" name="T26"/>
                <a:gd fmla="*/ 66 h 146" name="T27"/>
                <a:gd fmla="*/ 6 w 68" name="T28"/>
                <a:gd fmla="*/ 78 h 146" name="T29"/>
                <a:gd fmla="*/ 4 w 68" name="T30"/>
                <a:gd fmla="*/ 84 h 146" name="T31"/>
                <a:gd fmla="*/ 8 w 68" name="T32"/>
                <a:gd fmla="*/ 84 h 146" name="T33"/>
                <a:gd fmla="*/ 12 w 68" name="T34"/>
                <a:gd fmla="*/ 88 h 146" name="T35"/>
                <a:gd fmla="*/ 14 w 68" name="T36"/>
                <a:gd fmla="*/ 96 h 146" name="T37"/>
                <a:gd fmla="*/ 14 w 68" name="T38"/>
                <a:gd fmla="*/ 100 h 146" name="T39"/>
                <a:gd fmla="*/ 14 w 68" name="T40"/>
                <a:gd fmla="*/ 106 h 146" name="T41"/>
                <a:gd fmla="*/ 12 w 68" name="T42"/>
                <a:gd fmla="*/ 108 h 146" name="T43"/>
                <a:gd fmla="*/ 12 w 68" name="T44"/>
                <a:gd fmla="*/ 110 h 146" name="T45"/>
                <a:gd fmla="*/ 10 w 68" name="T46"/>
                <a:gd fmla="*/ 116 h 146" name="T47"/>
                <a:gd fmla="*/ 12 w 68" name="T48"/>
                <a:gd fmla="*/ 126 h 146" name="T49"/>
                <a:gd fmla="*/ 10 w 68" name="T50"/>
                <a:gd fmla="*/ 130 h 146" name="T51"/>
                <a:gd fmla="*/ 12 w 68" name="T52"/>
                <a:gd fmla="*/ 136 h 146" name="T53"/>
                <a:gd fmla="*/ 16 w 68" name="T54"/>
                <a:gd fmla="*/ 142 h 146" name="T55"/>
                <a:gd fmla="*/ 26 w 68" name="T56"/>
                <a:gd fmla="*/ 146 h 146" name="T57"/>
                <a:gd fmla="*/ 34 w 68" name="T58"/>
                <a:gd fmla="*/ 146 h 146" name="T59"/>
                <a:gd fmla="*/ 36 w 68" name="T60"/>
                <a:gd fmla="*/ 146 h 146" name="T61"/>
                <a:gd fmla="*/ 40 w 68" name="T62"/>
                <a:gd fmla="*/ 146 h 146" name="T63"/>
                <a:gd fmla="*/ 46 w 68" name="T64"/>
                <a:gd fmla="*/ 142 h 146" name="T65"/>
                <a:gd fmla="*/ 50 w 68" name="T66"/>
                <a:gd fmla="*/ 134 h 146" name="T67"/>
                <a:gd fmla="*/ 52 w 68" name="T68"/>
                <a:gd fmla="*/ 130 h 146" name="T69"/>
                <a:gd fmla="*/ 56 w 68" name="T70"/>
                <a:gd fmla="*/ 120 h 146" name="T71"/>
                <a:gd fmla="*/ 62 w 68" name="T72"/>
                <a:gd fmla="*/ 112 h 146" name="T73"/>
                <a:gd fmla="*/ 64 w 68" name="T74"/>
                <a:gd fmla="*/ 108 h 146" name="T75"/>
                <a:gd fmla="*/ 68 w 68" name="T76"/>
                <a:gd fmla="*/ 100 h 146" name="T77"/>
                <a:gd fmla="*/ 68 w 68" name="T78"/>
                <a:gd fmla="*/ 84 h 146" name="T79"/>
                <a:gd fmla="*/ 66 w 68" name="T80"/>
                <a:gd fmla="*/ 80 h 146" name="T81"/>
                <a:gd fmla="*/ 60 w 68" name="T82"/>
                <a:gd fmla="*/ 78 h 146" name="T83"/>
                <a:gd fmla="*/ 56 w 68" name="T84"/>
                <a:gd fmla="*/ 80 h 146" name="T85"/>
                <a:gd fmla="*/ 54 w 68" name="T86"/>
                <a:gd fmla="*/ 80 h 146" name="T87"/>
                <a:gd fmla="*/ 50 w 68" name="T88"/>
                <a:gd fmla="*/ 80 h 146" name="T89"/>
                <a:gd fmla="*/ 52 w 68" name="T90"/>
                <a:gd fmla="*/ 78 h 146" name="T91"/>
                <a:gd fmla="*/ 54 w 68" name="T92"/>
                <a:gd fmla="*/ 74 h 146" name="T93"/>
                <a:gd fmla="*/ 56 w 68" name="T94"/>
                <a:gd fmla="*/ 72 h 146" name="T95"/>
                <a:gd fmla="*/ 56 w 68" name="T96"/>
                <a:gd fmla="*/ 64 h 146" name="T97"/>
                <a:gd fmla="*/ 56 w 68" name="T98"/>
                <a:gd fmla="*/ 56 h 146" name="T99"/>
                <a:gd fmla="*/ 54 w 68" name="T100"/>
                <a:gd fmla="*/ 48 h 146" name="T101"/>
                <a:gd fmla="*/ 48 w 68" name="T102"/>
                <a:gd fmla="*/ 36 h 146" name="T103"/>
                <a:gd fmla="*/ 42 w 68" name="T104"/>
                <a:gd fmla="*/ 28 h 146" name="T105"/>
                <a:gd fmla="*/ 38 w 68" name="T106"/>
                <a:gd fmla="*/ 22 h 146" name="T107"/>
                <a:gd fmla="*/ 32 w 68" name="T108"/>
                <a:gd fmla="*/ 16 h 146" name="T109"/>
                <a:gd fmla="*/ 26 w 68" name="T110"/>
                <a:gd fmla="*/ 12 h 146" name="T111"/>
                <a:gd fmla="*/ 24 w 68" name="T112"/>
                <a:gd fmla="*/ 10 h 146" name="T113"/>
                <a:gd fmla="*/ 20 w 68" name="T114"/>
                <a:gd fmla="*/ 6 h 146" name="T115"/>
                <a:gd fmla="*/ 20 w 68" name="T116"/>
                <a:gd fmla="*/ 2 h 146" name="T1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b="b" l="0" r="r" t="0"/>
              <a:pathLst>
                <a:path h="146" w="68">
                  <a:moveTo>
                    <a:pt x="20" y="2"/>
                  </a:moveTo>
                  <a:lnTo>
                    <a:pt x="18" y="2"/>
                  </a:lnTo>
                  <a:lnTo>
                    <a:pt x="18" y="0"/>
                  </a:lnTo>
                  <a:lnTo>
                    <a:pt x="16" y="0"/>
                  </a:lnTo>
                  <a:lnTo>
                    <a:pt x="14" y="0"/>
                  </a:lnTo>
                  <a:lnTo>
                    <a:pt x="12" y="0"/>
                  </a:lnTo>
                  <a:lnTo>
                    <a:pt x="10" y="2"/>
                  </a:lnTo>
                  <a:lnTo>
                    <a:pt x="10" y="6"/>
                  </a:lnTo>
                  <a:lnTo>
                    <a:pt x="10" y="8"/>
                  </a:lnTo>
                  <a:lnTo>
                    <a:pt x="12" y="10"/>
                  </a:lnTo>
                  <a:lnTo>
                    <a:pt x="12" y="12"/>
                  </a:lnTo>
                  <a:lnTo>
                    <a:pt x="12" y="16"/>
                  </a:lnTo>
                  <a:lnTo>
                    <a:pt x="10" y="20"/>
                  </a:lnTo>
                  <a:lnTo>
                    <a:pt x="10" y="20"/>
                  </a:lnTo>
                  <a:lnTo>
                    <a:pt x="8" y="20"/>
                  </a:lnTo>
                  <a:lnTo>
                    <a:pt x="6" y="22"/>
                  </a:lnTo>
                  <a:lnTo>
                    <a:pt x="4" y="26"/>
                  </a:lnTo>
                  <a:lnTo>
                    <a:pt x="4" y="32"/>
                  </a:lnTo>
                  <a:lnTo>
                    <a:pt x="2" y="40"/>
                  </a:lnTo>
                  <a:lnTo>
                    <a:pt x="2" y="46"/>
                  </a:lnTo>
                  <a:lnTo>
                    <a:pt x="2" y="52"/>
                  </a:lnTo>
                  <a:lnTo>
                    <a:pt x="2" y="54"/>
                  </a:lnTo>
                  <a:lnTo>
                    <a:pt x="2" y="56"/>
                  </a:lnTo>
                  <a:lnTo>
                    <a:pt x="0" y="58"/>
                  </a:lnTo>
                  <a:lnTo>
                    <a:pt x="0" y="58"/>
                  </a:lnTo>
                  <a:lnTo>
                    <a:pt x="0" y="60"/>
                  </a:lnTo>
                  <a:lnTo>
                    <a:pt x="0" y="62"/>
                  </a:lnTo>
                  <a:lnTo>
                    <a:pt x="0" y="66"/>
                  </a:lnTo>
                  <a:lnTo>
                    <a:pt x="2" y="72"/>
                  </a:lnTo>
                  <a:lnTo>
                    <a:pt x="6" y="78"/>
                  </a:lnTo>
                  <a:lnTo>
                    <a:pt x="2" y="84"/>
                  </a:lnTo>
                  <a:lnTo>
                    <a:pt x="4" y="84"/>
                  </a:lnTo>
                  <a:lnTo>
                    <a:pt x="6" y="84"/>
                  </a:lnTo>
                  <a:lnTo>
                    <a:pt x="8" y="84"/>
                  </a:lnTo>
                  <a:lnTo>
                    <a:pt x="10" y="86"/>
                  </a:lnTo>
                  <a:lnTo>
                    <a:pt x="12" y="88"/>
                  </a:lnTo>
                  <a:lnTo>
                    <a:pt x="14" y="92"/>
                  </a:lnTo>
                  <a:lnTo>
                    <a:pt x="14" y="96"/>
                  </a:lnTo>
                  <a:lnTo>
                    <a:pt x="14" y="98"/>
                  </a:lnTo>
                  <a:lnTo>
                    <a:pt x="14" y="100"/>
                  </a:lnTo>
                  <a:lnTo>
                    <a:pt x="16" y="102"/>
                  </a:lnTo>
                  <a:lnTo>
                    <a:pt x="14" y="106"/>
                  </a:lnTo>
                  <a:lnTo>
                    <a:pt x="14" y="108"/>
                  </a:lnTo>
                  <a:lnTo>
                    <a:pt x="12" y="108"/>
                  </a:lnTo>
                  <a:lnTo>
                    <a:pt x="12" y="108"/>
                  </a:lnTo>
                  <a:lnTo>
                    <a:pt x="12" y="110"/>
                  </a:lnTo>
                  <a:lnTo>
                    <a:pt x="10" y="112"/>
                  </a:lnTo>
                  <a:lnTo>
                    <a:pt x="10" y="116"/>
                  </a:lnTo>
                  <a:lnTo>
                    <a:pt x="10" y="120"/>
                  </a:lnTo>
                  <a:lnTo>
                    <a:pt x="12" y="126"/>
                  </a:lnTo>
                  <a:lnTo>
                    <a:pt x="12" y="128"/>
                  </a:lnTo>
                  <a:lnTo>
                    <a:pt x="10" y="130"/>
                  </a:lnTo>
                  <a:lnTo>
                    <a:pt x="10" y="132"/>
                  </a:lnTo>
                  <a:lnTo>
                    <a:pt x="12" y="136"/>
                  </a:lnTo>
                  <a:lnTo>
                    <a:pt x="12" y="140"/>
                  </a:lnTo>
                  <a:lnTo>
                    <a:pt x="16" y="142"/>
                  </a:lnTo>
                  <a:lnTo>
                    <a:pt x="22" y="144"/>
                  </a:lnTo>
                  <a:lnTo>
                    <a:pt x="26" y="146"/>
                  </a:lnTo>
                  <a:lnTo>
                    <a:pt x="30" y="146"/>
                  </a:lnTo>
                  <a:lnTo>
                    <a:pt x="34" y="146"/>
                  </a:lnTo>
                  <a:lnTo>
                    <a:pt x="36" y="146"/>
                  </a:lnTo>
                  <a:lnTo>
                    <a:pt x="36" y="146"/>
                  </a:lnTo>
                  <a:lnTo>
                    <a:pt x="38" y="146"/>
                  </a:lnTo>
                  <a:lnTo>
                    <a:pt x="40" y="146"/>
                  </a:lnTo>
                  <a:lnTo>
                    <a:pt x="44" y="144"/>
                  </a:lnTo>
                  <a:lnTo>
                    <a:pt x="46" y="142"/>
                  </a:lnTo>
                  <a:lnTo>
                    <a:pt x="48" y="140"/>
                  </a:lnTo>
                  <a:lnTo>
                    <a:pt x="50" y="134"/>
                  </a:lnTo>
                  <a:lnTo>
                    <a:pt x="50" y="134"/>
                  </a:lnTo>
                  <a:lnTo>
                    <a:pt x="52" y="130"/>
                  </a:lnTo>
                  <a:lnTo>
                    <a:pt x="52" y="126"/>
                  </a:lnTo>
                  <a:lnTo>
                    <a:pt x="56" y="120"/>
                  </a:lnTo>
                  <a:lnTo>
                    <a:pt x="58" y="116"/>
                  </a:lnTo>
                  <a:lnTo>
                    <a:pt x="62" y="112"/>
                  </a:lnTo>
                  <a:lnTo>
                    <a:pt x="64" y="110"/>
                  </a:lnTo>
                  <a:lnTo>
                    <a:pt x="64" y="108"/>
                  </a:lnTo>
                  <a:lnTo>
                    <a:pt x="66" y="104"/>
                  </a:lnTo>
                  <a:lnTo>
                    <a:pt x="68" y="100"/>
                  </a:lnTo>
                  <a:lnTo>
                    <a:pt x="68" y="92"/>
                  </a:lnTo>
                  <a:lnTo>
                    <a:pt x="68" y="84"/>
                  </a:lnTo>
                  <a:lnTo>
                    <a:pt x="68" y="84"/>
                  </a:lnTo>
                  <a:lnTo>
                    <a:pt x="66" y="80"/>
                  </a:lnTo>
                  <a:lnTo>
                    <a:pt x="62" y="78"/>
                  </a:lnTo>
                  <a:lnTo>
                    <a:pt x="60" y="78"/>
                  </a:lnTo>
                  <a:lnTo>
                    <a:pt x="56" y="80"/>
                  </a:lnTo>
                  <a:lnTo>
                    <a:pt x="56" y="80"/>
                  </a:lnTo>
                  <a:lnTo>
                    <a:pt x="54" y="80"/>
                  </a:lnTo>
                  <a:lnTo>
                    <a:pt x="54" y="80"/>
                  </a:lnTo>
                  <a:lnTo>
                    <a:pt x="52" y="80"/>
                  </a:lnTo>
                  <a:lnTo>
                    <a:pt x="50" y="80"/>
                  </a:lnTo>
                  <a:lnTo>
                    <a:pt x="50" y="80"/>
                  </a:lnTo>
                  <a:lnTo>
                    <a:pt x="52" y="78"/>
                  </a:lnTo>
                  <a:lnTo>
                    <a:pt x="54" y="74"/>
                  </a:lnTo>
                  <a:lnTo>
                    <a:pt x="54" y="74"/>
                  </a:lnTo>
                  <a:lnTo>
                    <a:pt x="54" y="74"/>
                  </a:lnTo>
                  <a:lnTo>
                    <a:pt x="56" y="72"/>
                  </a:lnTo>
                  <a:lnTo>
                    <a:pt x="56" y="68"/>
                  </a:lnTo>
                  <a:lnTo>
                    <a:pt x="56" y="64"/>
                  </a:lnTo>
                  <a:lnTo>
                    <a:pt x="56" y="58"/>
                  </a:lnTo>
                  <a:lnTo>
                    <a:pt x="56" y="56"/>
                  </a:lnTo>
                  <a:lnTo>
                    <a:pt x="56" y="52"/>
                  </a:lnTo>
                  <a:lnTo>
                    <a:pt x="54" y="48"/>
                  </a:lnTo>
                  <a:lnTo>
                    <a:pt x="52" y="42"/>
                  </a:lnTo>
                  <a:lnTo>
                    <a:pt x="48" y="36"/>
                  </a:lnTo>
                  <a:lnTo>
                    <a:pt x="44" y="30"/>
                  </a:lnTo>
                  <a:lnTo>
                    <a:pt x="42" y="28"/>
                  </a:lnTo>
                  <a:lnTo>
                    <a:pt x="40" y="26"/>
                  </a:lnTo>
                  <a:lnTo>
                    <a:pt x="38" y="22"/>
                  </a:lnTo>
                  <a:lnTo>
                    <a:pt x="36" y="18"/>
                  </a:lnTo>
                  <a:lnTo>
                    <a:pt x="32" y="16"/>
                  </a:lnTo>
                  <a:lnTo>
                    <a:pt x="30" y="14"/>
                  </a:lnTo>
                  <a:lnTo>
                    <a:pt x="26" y="12"/>
                  </a:lnTo>
                  <a:lnTo>
                    <a:pt x="26" y="12"/>
                  </a:lnTo>
                  <a:lnTo>
                    <a:pt x="24" y="10"/>
                  </a:lnTo>
                  <a:lnTo>
                    <a:pt x="22" y="8"/>
                  </a:lnTo>
                  <a:lnTo>
                    <a:pt x="20" y="6"/>
                  </a:lnTo>
                  <a:lnTo>
                    <a:pt x="18" y="4"/>
                  </a:lnTo>
                  <a:lnTo>
                    <a:pt x="20"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4" name="Freeform 551"/>
            <p:cNvSpPr/>
            <p:nvPr/>
          </p:nvSpPr>
          <p:spPr bwMode="gray">
            <a:xfrm>
              <a:off x="6948469" y="2341488"/>
              <a:ext cx="92570" cy="85107"/>
            </a:xfrm>
            <a:custGeom>
              <a:gdLst>
                <a:gd fmla="*/ 24 w 50" name="T0"/>
                <a:gd fmla="*/ 18 h 46" name="T1"/>
                <a:gd fmla="*/ 24 w 50" name="T2"/>
                <a:gd fmla="*/ 18 h 46" name="T3"/>
                <a:gd fmla="*/ 22 w 50" name="T4"/>
                <a:gd fmla="*/ 18 h 46" name="T5"/>
                <a:gd fmla="*/ 18 w 50" name="T6"/>
                <a:gd fmla="*/ 18 h 46" name="T7"/>
                <a:gd fmla="*/ 16 w 50" name="T8"/>
                <a:gd fmla="*/ 20 h 46" name="T9"/>
                <a:gd fmla="*/ 12 w 50" name="T10"/>
                <a:gd fmla="*/ 22 h 46" name="T11"/>
                <a:gd fmla="*/ 10 w 50" name="T12"/>
                <a:gd fmla="*/ 24 h 46" name="T13"/>
                <a:gd fmla="*/ 8 w 50" name="T14"/>
                <a:gd fmla="*/ 26 h 46" name="T15"/>
                <a:gd fmla="*/ 8 w 50" name="T16"/>
                <a:gd fmla="*/ 26 h 46" name="T17"/>
                <a:gd fmla="*/ 6 w 50" name="T18"/>
                <a:gd fmla="*/ 26 h 46" name="T19"/>
                <a:gd fmla="*/ 4 w 50" name="T20"/>
                <a:gd fmla="*/ 26 h 46" name="T21"/>
                <a:gd fmla="*/ 2 w 50" name="T22"/>
                <a:gd fmla="*/ 28 h 46" name="T23"/>
                <a:gd fmla="*/ 0 w 50" name="T24"/>
                <a:gd fmla="*/ 30 h 46" name="T25"/>
                <a:gd fmla="*/ 0 w 50" name="T26"/>
                <a:gd fmla="*/ 32 h 46" name="T27"/>
                <a:gd fmla="*/ 0 w 50" name="T28"/>
                <a:gd fmla="*/ 38 h 46" name="T29"/>
                <a:gd fmla="*/ 0 w 50" name="T30"/>
                <a:gd fmla="*/ 38 h 46" name="T31"/>
                <a:gd fmla="*/ 4 w 50" name="T32"/>
                <a:gd fmla="*/ 40 h 46" name="T33"/>
                <a:gd fmla="*/ 6 w 50" name="T34"/>
                <a:gd fmla="*/ 42 h 46" name="T35"/>
                <a:gd fmla="*/ 12 w 50" name="T36"/>
                <a:gd fmla="*/ 44 h 46" name="T37"/>
                <a:gd fmla="*/ 18 w 50" name="T38"/>
                <a:gd fmla="*/ 46 h 46" name="T39"/>
                <a:gd fmla="*/ 24 w 50" name="T40"/>
                <a:gd fmla="*/ 46 h 46" name="T41"/>
                <a:gd fmla="*/ 26 w 50" name="T42"/>
                <a:gd fmla="*/ 46 h 46" name="T43"/>
                <a:gd fmla="*/ 30 w 50" name="T44"/>
                <a:gd fmla="*/ 46 h 46" name="T45"/>
                <a:gd fmla="*/ 34 w 50" name="T46"/>
                <a:gd fmla="*/ 44 h 46" name="T47"/>
                <a:gd fmla="*/ 38 w 50" name="T48"/>
                <a:gd fmla="*/ 44 h 46" name="T49"/>
                <a:gd fmla="*/ 44 w 50" name="T50"/>
                <a:gd fmla="*/ 44 h 46" name="T51"/>
                <a:gd fmla="*/ 48 w 50" name="T52"/>
                <a:gd fmla="*/ 44 h 46" name="T53"/>
                <a:gd fmla="*/ 50 w 50" name="T54"/>
                <a:gd fmla="*/ 46 h 46" name="T55"/>
                <a:gd fmla="*/ 50 w 50" name="T56"/>
                <a:gd fmla="*/ 44 h 46" name="T57"/>
                <a:gd fmla="*/ 48 w 50" name="T58"/>
                <a:gd fmla="*/ 42 h 46" name="T59"/>
                <a:gd fmla="*/ 48 w 50" name="T60"/>
                <a:gd fmla="*/ 36 h 46" name="T61"/>
                <a:gd fmla="*/ 46 w 50" name="T62"/>
                <a:gd fmla="*/ 30 h 46" name="T63"/>
                <a:gd fmla="*/ 44 w 50" name="T64"/>
                <a:gd fmla="*/ 26 h 46" name="T65"/>
                <a:gd fmla="*/ 42 w 50" name="T66"/>
                <a:gd fmla="*/ 24 h 46" name="T67"/>
                <a:gd fmla="*/ 40 w 50" name="T68"/>
                <a:gd fmla="*/ 22 h 46" name="T69"/>
                <a:gd fmla="*/ 40 w 50" name="T70"/>
                <a:gd fmla="*/ 18 h 46" name="T71"/>
                <a:gd fmla="*/ 38 w 50" name="T72"/>
                <a:gd fmla="*/ 14 h 46" name="T73"/>
                <a:gd fmla="*/ 38 w 50" name="T74"/>
                <a:gd fmla="*/ 10 h 46" name="T75"/>
                <a:gd fmla="*/ 36 w 50" name="T76"/>
                <a:gd fmla="*/ 6 h 46" name="T77"/>
                <a:gd fmla="*/ 32 w 50" name="T78"/>
                <a:gd fmla="*/ 2 h 46" name="T79"/>
                <a:gd fmla="*/ 30 w 50" name="T80"/>
                <a:gd fmla="*/ 0 h 46" name="T81"/>
                <a:gd fmla="*/ 26 w 50" name="T82"/>
                <a:gd fmla="*/ 2 h 46" name="T83"/>
                <a:gd fmla="*/ 24 w 50" name="T84"/>
                <a:gd fmla="*/ 18 h 46"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46" w="50">
                  <a:moveTo>
                    <a:pt x="24" y="18"/>
                  </a:moveTo>
                  <a:lnTo>
                    <a:pt x="24" y="18"/>
                  </a:lnTo>
                  <a:lnTo>
                    <a:pt x="22" y="18"/>
                  </a:lnTo>
                  <a:lnTo>
                    <a:pt x="18" y="18"/>
                  </a:lnTo>
                  <a:lnTo>
                    <a:pt x="16" y="20"/>
                  </a:lnTo>
                  <a:lnTo>
                    <a:pt x="12" y="22"/>
                  </a:lnTo>
                  <a:lnTo>
                    <a:pt x="10" y="24"/>
                  </a:lnTo>
                  <a:lnTo>
                    <a:pt x="8" y="26"/>
                  </a:lnTo>
                  <a:lnTo>
                    <a:pt x="8" y="26"/>
                  </a:lnTo>
                  <a:lnTo>
                    <a:pt x="6" y="26"/>
                  </a:lnTo>
                  <a:lnTo>
                    <a:pt x="4" y="26"/>
                  </a:lnTo>
                  <a:lnTo>
                    <a:pt x="2" y="28"/>
                  </a:lnTo>
                  <a:lnTo>
                    <a:pt x="0" y="30"/>
                  </a:lnTo>
                  <a:lnTo>
                    <a:pt x="0" y="32"/>
                  </a:lnTo>
                  <a:lnTo>
                    <a:pt x="0" y="38"/>
                  </a:lnTo>
                  <a:lnTo>
                    <a:pt x="0" y="38"/>
                  </a:lnTo>
                  <a:lnTo>
                    <a:pt x="4" y="40"/>
                  </a:lnTo>
                  <a:lnTo>
                    <a:pt x="6" y="42"/>
                  </a:lnTo>
                  <a:lnTo>
                    <a:pt x="12" y="44"/>
                  </a:lnTo>
                  <a:lnTo>
                    <a:pt x="18" y="46"/>
                  </a:lnTo>
                  <a:lnTo>
                    <a:pt x="24" y="46"/>
                  </a:lnTo>
                  <a:lnTo>
                    <a:pt x="26" y="46"/>
                  </a:lnTo>
                  <a:lnTo>
                    <a:pt x="30" y="46"/>
                  </a:lnTo>
                  <a:lnTo>
                    <a:pt x="34" y="44"/>
                  </a:lnTo>
                  <a:lnTo>
                    <a:pt x="38" y="44"/>
                  </a:lnTo>
                  <a:lnTo>
                    <a:pt x="44" y="44"/>
                  </a:lnTo>
                  <a:lnTo>
                    <a:pt x="48" y="44"/>
                  </a:lnTo>
                  <a:lnTo>
                    <a:pt x="50" y="46"/>
                  </a:lnTo>
                  <a:lnTo>
                    <a:pt x="50" y="44"/>
                  </a:lnTo>
                  <a:lnTo>
                    <a:pt x="48" y="42"/>
                  </a:lnTo>
                  <a:lnTo>
                    <a:pt x="48" y="36"/>
                  </a:lnTo>
                  <a:lnTo>
                    <a:pt x="46" y="30"/>
                  </a:lnTo>
                  <a:lnTo>
                    <a:pt x="44" y="26"/>
                  </a:lnTo>
                  <a:lnTo>
                    <a:pt x="42" y="24"/>
                  </a:lnTo>
                  <a:lnTo>
                    <a:pt x="40" y="22"/>
                  </a:lnTo>
                  <a:lnTo>
                    <a:pt x="40" y="18"/>
                  </a:lnTo>
                  <a:lnTo>
                    <a:pt x="38" y="14"/>
                  </a:lnTo>
                  <a:lnTo>
                    <a:pt x="38" y="10"/>
                  </a:lnTo>
                  <a:lnTo>
                    <a:pt x="36" y="6"/>
                  </a:lnTo>
                  <a:lnTo>
                    <a:pt x="32" y="2"/>
                  </a:lnTo>
                  <a:lnTo>
                    <a:pt x="30" y="0"/>
                  </a:lnTo>
                  <a:lnTo>
                    <a:pt x="26" y="2"/>
                  </a:lnTo>
                  <a:lnTo>
                    <a:pt x="24" y="1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5" name="Freeform 552"/>
            <p:cNvSpPr/>
            <p:nvPr/>
          </p:nvSpPr>
          <p:spPr bwMode="gray">
            <a:xfrm>
              <a:off x="7415021" y="2041764"/>
              <a:ext cx="111084" cy="81407"/>
            </a:xfrm>
            <a:custGeom>
              <a:gdLst>
                <a:gd fmla="*/ 14 w 60" name="T0"/>
                <a:gd fmla="*/ 2 h 44" name="T1"/>
                <a:gd fmla="*/ 14 w 60" name="T2"/>
                <a:gd fmla="*/ 2 h 44" name="T3"/>
                <a:gd fmla="*/ 12 w 60" name="T4"/>
                <a:gd fmla="*/ 2 h 44" name="T5"/>
                <a:gd fmla="*/ 10 w 60" name="T6"/>
                <a:gd fmla="*/ 2 h 44" name="T7"/>
                <a:gd fmla="*/ 8 w 60" name="T8"/>
                <a:gd fmla="*/ 2 h 44" name="T9"/>
                <a:gd fmla="*/ 4 w 60" name="T10"/>
                <a:gd fmla="*/ 2 h 44" name="T11"/>
                <a:gd fmla="*/ 2 w 60" name="T12"/>
                <a:gd fmla="*/ 4 h 44" name="T13"/>
                <a:gd fmla="*/ 0 w 60" name="T14"/>
                <a:gd fmla="*/ 8 h 44" name="T15"/>
                <a:gd fmla="*/ 0 w 60" name="T16"/>
                <a:gd fmla="*/ 12 h 44" name="T17"/>
                <a:gd fmla="*/ 0 w 60" name="T18"/>
                <a:gd fmla="*/ 14 h 44" name="T19"/>
                <a:gd fmla="*/ 0 w 60" name="T20"/>
                <a:gd fmla="*/ 16 h 44" name="T21"/>
                <a:gd fmla="*/ 0 w 60" name="T22"/>
                <a:gd fmla="*/ 20 h 44" name="T23"/>
                <a:gd fmla="*/ 0 w 60" name="T24"/>
                <a:gd fmla="*/ 24 h 44" name="T25"/>
                <a:gd fmla="*/ 0 w 60" name="T26"/>
                <a:gd fmla="*/ 28 h 44" name="T27"/>
                <a:gd fmla="*/ 2 w 60" name="T28"/>
                <a:gd fmla="*/ 32 h 44" name="T29"/>
                <a:gd fmla="*/ 4 w 60" name="T30"/>
                <a:gd fmla="*/ 36 h 44" name="T31"/>
                <a:gd fmla="*/ 6 w 60" name="T32"/>
                <a:gd fmla="*/ 38 h 44" name="T33"/>
                <a:gd fmla="*/ 12 w 60" name="T34"/>
                <a:gd fmla="*/ 40 h 44" name="T35"/>
                <a:gd fmla="*/ 12 w 60" name="T36"/>
                <a:gd fmla="*/ 40 h 44" name="T37"/>
                <a:gd fmla="*/ 14 w 60" name="T38"/>
                <a:gd fmla="*/ 42 h 44" name="T39"/>
                <a:gd fmla="*/ 18 w 60" name="T40"/>
                <a:gd fmla="*/ 44 h 44" name="T41"/>
                <a:gd fmla="*/ 22 w 60" name="T42"/>
                <a:gd fmla="*/ 44 h 44" name="T43"/>
                <a:gd fmla="*/ 26 w 60" name="T44"/>
                <a:gd fmla="*/ 42 h 44" name="T45"/>
                <a:gd fmla="*/ 58 w 60" name="T46"/>
                <a:gd fmla="*/ 42 h 44" name="T47"/>
                <a:gd fmla="*/ 60 w 60" name="T48"/>
                <a:gd fmla="*/ 36 h 44" name="T49"/>
                <a:gd fmla="*/ 58 w 60" name="T50"/>
                <a:gd fmla="*/ 34 h 44" name="T51"/>
                <a:gd fmla="*/ 58 w 60" name="T52"/>
                <a:gd fmla="*/ 32 h 44" name="T53"/>
                <a:gd fmla="*/ 58 w 60" name="T54"/>
                <a:gd fmla="*/ 28 h 44" name="T55"/>
                <a:gd fmla="*/ 56 w 60" name="T56"/>
                <a:gd fmla="*/ 22 h 44" name="T57"/>
                <a:gd fmla="*/ 56 w 60" name="T58"/>
                <a:gd fmla="*/ 16 h 44" name="T59"/>
                <a:gd fmla="*/ 54 w 60" name="T60"/>
                <a:gd fmla="*/ 12 h 44" name="T61"/>
                <a:gd fmla="*/ 54 w 60" name="T62"/>
                <a:gd fmla="*/ 8 h 44" name="T63"/>
                <a:gd fmla="*/ 54 w 60" name="T64"/>
                <a:gd fmla="*/ 6 h 44" name="T65"/>
                <a:gd fmla="*/ 52 w 60" name="T66"/>
                <a:gd fmla="*/ 4 h 44" name="T67"/>
                <a:gd fmla="*/ 48 w 60" name="T68"/>
                <a:gd fmla="*/ 0 h 44" name="T69"/>
                <a:gd fmla="*/ 44 w 60" name="T70"/>
                <a:gd fmla="*/ 0 h 44" name="T71"/>
                <a:gd fmla="*/ 38 w 60" name="T72"/>
                <a:gd fmla="*/ 0 h 44" name="T73"/>
                <a:gd fmla="*/ 30 w 60" name="T74"/>
                <a:gd fmla="*/ 2 h 44" name="T75"/>
                <a:gd fmla="*/ 14 w 60" name="T76"/>
                <a:gd fmla="*/ 2 h 44"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44" w="60">
                  <a:moveTo>
                    <a:pt x="14" y="2"/>
                  </a:moveTo>
                  <a:lnTo>
                    <a:pt x="14" y="2"/>
                  </a:lnTo>
                  <a:lnTo>
                    <a:pt x="12" y="2"/>
                  </a:lnTo>
                  <a:lnTo>
                    <a:pt x="10" y="2"/>
                  </a:lnTo>
                  <a:lnTo>
                    <a:pt x="8" y="2"/>
                  </a:lnTo>
                  <a:lnTo>
                    <a:pt x="4" y="2"/>
                  </a:lnTo>
                  <a:lnTo>
                    <a:pt x="2" y="4"/>
                  </a:lnTo>
                  <a:lnTo>
                    <a:pt x="0" y="8"/>
                  </a:lnTo>
                  <a:lnTo>
                    <a:pt x="0" y="12"/>
                  </a:lnTo>
                  <a:lnTo>
                    <a:pt x="0" y="14"/>
                  </a:lnTo>
                  <a:lnTo>
                    <a:pt x="0" y="16"/>
                  </a:lnTo>
                  <a:lnTo>
                    <a:pt x="0" y="20"/>
                  </a:lnTo>
                  <a:lnTo>
                    <a:pt x="0" y="24"/>
                  </a:lnTo>
                  <a:lnTo>
                    <a:pt x="0" y="28"/>
                  </a:lnTo>
                  <a:lnTo>
                    <a:pt x="2" y="32"/>
                  </a:lnTo>
                  <a:lnTo>
                    <a:pt x="4" y="36"/>
                  </a:lnTo>
                  <a:lnTo>
                    <a:pt x="6" y="38"/>
                  </a:lnTo>
                  <a:lnTo>
                    <a:pt x="12" y="40"/>
                  </a:lnTo>
                  <a:lnTo>
                    <a:pt x="12" y="40"/>
                  </a:lnTo>
                  <a:lnTo>
                    <a:pt x="14" y="42"/>
                  </a:lnTo>
                  <a:lnTo>
                    <a:pt x="18" y="44"/>
                  </a:lnTo>
                  <a:lnTo>
                    <a:pt x="22" y="44"/>
                  </a:lnTo>
                  <a:lnTo>
                    <a:pt x="26" y="42"/>
                  </a:lnTo>
                  <a:lnTo>
                    <a:pt x="58" y="42"/>
                  </a:lnTo>
                  <a:lnTo>
                    <a:pt x="60" y="36"/>
                  </a:lnTo>
                  <a:lnTo>
                    <a:pt x="58" y="34"/>
                  </a:lnTo>
                  <a:lnTo>
                    <a:pt x="58" y="32"/>
                  </a:lnTo>
                  <a:lnTo>
                    <a:pt x="58" y="28"/>
                  </a:lnTo>
                  <a:lnTo>
                    <a:pt x="56" y="22"/>
                  </a:lnTo>
                  <a:lnTo>
                    <a:pt x="56" y="16"/>
                  </a:lnTo>
                  <a:lnTo>
                    <a:pt x="54" y="12"/>
                  </a:lnTo>
                  <a:lnTo>
                    <a:pt x="54" y="8"/>
                  </a:lnTo>
                  <a:lnTo>
                    <a:pt x="54" y="6"/>
                  </a:lnTo>
                  <a:lnTo>
                    <a:pt x="52" y="4"/>
                  </a:lnTo>
                  <a:lnTo>
                    <a:pt x="48" y="0"/>
                  </a:lnTo>
                  <a:lnTo>
                    <a:pt x="44" y="0"/>
                  </a:lnTo>
                  <a:lnTo>
                    <a:pt x="38" y="0"/>
                  </a:lnTo>
                  <a:lnTo>
                    <a:pt x="30" y="2"/>
                  </a:lnTo>
                  <a:lnTo>
                    <a:pt x="14" y="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6" name="Freeform 553"/>
            <p:cNvSpPr/>
            <p:nvPr/>
          </p:nvSpPr>
          <p:spPr bwMode="gray">
            <a:xfrm>
              <a:off x="7492779" y="2422895"/>
              <a:ext cx="44434" cy="59205"/>
            </a:xfrm>
            <a:custGeom>
              <a:gdLst>
                <a:gd fmla="*/ 10 w 24" name="T0"/>
                <a:gd fmla="*/ 0 h 32" name="T1"/>
                <a:gd fmla="*/ 10 w 24" name="T2"/>
                <a:gd fmla="*/ 0 h 32" name="T3"/>
                <a:gd fmla="*/ 8 w 24" name="T4"/>
                <a:gd fmla="*/ 0 h 32" name="T5"/>
                <a:gd fmla="*/ 6 w 24" name="T6"/>
                <a:gd fmla="*/ 0 h 32" name="T7"/>
                <a:gd fmla="*/ 4 w 24" name="T8"/>
                <a:gd fmla="*/ 2 h 32" name="T9"/>
                <a:gd fmla="*/ 2 w 24" name="T10"/>
                <a:gd fmla="*/ 4 h 32" name="T11"/>
                <a:gd fmla="*/ 0 w 24" name="T12"/>
                <a:gd fmla="*/ 8 h 32" name="T13"/>
                <a:gd fmla="*/ 0 w 24" name="T14"/>
                <a:gd fmla="*/ 14 h 32" name="T15"/>
                <a:gd fmla="*/ 0 w 24" name="T16"/>
                <a:gd fmla="*/ 16 h 32" name="T17"/>
                <a:gd fmla="*/ 0 w 24" name="T18"/>
                <a:gd fmla="*/ 18 h 32" name="T19"/>
                <a:gd fmla="*/ 0 w 24" name="T20"/>
                <a:gd fmla="*/ 22 h 32" name="T21"/>
                <a:gd fmla="*/ 0 w 24" name="T22"/>
                <a:gd fmla="*/ 26 h 32" name="T23"/>
                <a:gd fmla="*/ 2 w 24" name="T24"/>
                <a:gd fmla="*/ 30 h 32" name="T25"/>
                <a:gd fmla="*/ 6 w 24" name="T26"/>
                <a:gd fmla="*/ 32 h 32" name="T27"/>
                <a:gd fmla="*/ 8 w 24" name="T28"/>
                <a:gd fmla="*/ 32 h 32" name="T29"/>
                <a:gd fmla="*/ 10 w 24" name="T30"/>
                <a:gd fmla="*/ 32 h 32" name="T31"/>
                <a:gd fmla="*/ 12 w 24" name="T32"/>
                <a:gd fmla="*/ 32 h 32" name="T33"/>
                <a:gd fmla="*/ 16 w 24" name="T34"/>
                <a:gd fmla="*/ 32 h 32" name="T35"/>
                <a:gd fmla="*/ 18 w 24" name="T36"/>
                <a:gd fmla="*/ 32 h 32" name="T37"/>
                <a:gd fmla="*/ 22 w 24" name="T38"/>
                <a:gd fmla="*/ 30 h 32" name="T39"/>
                <a:gd fmla="*/ 24 w 24" name="T40"/>
                <a:gd fmla="*/ 28 h 32" name="T41"/>
                <a:gd fmla="*/ 24 w 24" name="T42"/>
                <a:gd fmla="*/ 26 h 32" name="T43"/>
                <a:gd fmla="*/ 24 w 24" name="T44"/>
                <a:gd fmla="*/ 24 h 32" name="T45"/>
                <a:gd fmla="*/ 24 w 24" name="T46"/>
                <a:gd fmla="*/ 22 h 32" name="T47"/>
                <a:gd fmla="*/ 24 w 24" name="T48"/>
                <a:gd fmla="*/ 20 h 32" name="T49"/>
                <a:gd fmla="*/ 24 w 24" name="T50"/>
                <a:gd fmla="*/ 16 h 32" name="T51"/>
                <a:gd fmla="*/ 24 w 24" name="T52"/>
                <a:gd fmla="*/ 12 h 32" name="T53"/>
                <a:gd fmla="*/ 24 w 24" name="T54"/>
                <a:gd fmla="*/ 8 h 32" name="T55"/>
                <a:gd fmla="*/ 22 w 24" name="T56"/>
                <a:gd fmla="*/ 4 h 32" name="T57"/>
                <a:gd fmla="*/ 20 w 24" name="T58"/>
                <a:gd fmla="*/ 2 h 32" name="T59"/>
                <a:gd fmla="*/ 16 w 24" name="T60"/>
                <a:gd fmla="*/ 0 h 32" name="T61"/>
                <a:gd fmla="*/ 10 w 24" name="T62"/>
                <a:gd fmla="*/ 0 h 32"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32" w="24">
                  <a:moveTo>
                    <a:pt x="10" y="0"/>
                  </a:moveTo>
                  <a:lnTo>
                    <a:pt x="10" y="0"/>
                  </a:lnTo>
                  <a:lnTo>
                    <a:pt x="8" y="0"/>
                  </a:lnTo>
                  <a:lnTo>
                    <a:pt x="6" y="0"/>
                  </a:lnTo>
                  <a:lnTo>
                    <a:pt x="4" y="2"/>
                  </a:lnTo>
                  <a:lnTo>
                    <a:pt x="2" y="4"/>
                  </a:lnTo>
                  <a:lnTo>
                    <a:pt x="0" y="8"/>
                  </a:lnTo>
                  <a:lnTo>
                    <a:pt x="0" y="14"/>
                  </a:lnTo>
                  <a:lnTo>
                    <a:pt x="0" y="16"/>
                  </a:lnTo>
                  <a:lnTo>
                    <a:pt x="0" y="18"/>
                  </a:lnTo>
                  <a:lnTo>
                    <a:pt x="0" y="22"/>
                  </a:lnTo>
                  <a:lnTo>
                    <a:pt x="0" y="26"/>
                  </a:lnTo>
                  <a:lnTo>
                    <a:pt x="2" y="30"/>
                  </a:lnTo>
                  <a:lnTo>
                    <a:pt x="6" y="32"/>
                  </a:lnTo>
                  <a:lnTo>
                    <a:pt x="8" y="32"/>
                  </a:lnTo>
                  <a:lnTo>
                    <a:pt x="10" y="32"/>
                  </a:lnTo>
                  <a:lnTo>
                    <a:pt x="12" y="32"/>
                  </a:lnTo>
                  <a:lnTo>
                    <a:pt x="16" y="32"/>
                  </a:lnTo>
                  <a:lnTo>
                    <a:pt x="18" y="32"/>
                  </a:lnTo>
                  <a:lnTo>
                    <a:pt x="22" y="30"/>
                  </a:lnTo>
                  <a:lnTo>
                    <a:pt x="24" y="28"/>
                  </a:lnTo>
                  <a:lnTo>
                    <a:pt x="24" y="26"/>
                  </a:lnTo>
                  <a:lnTo>
                    <a:pt x="24" y="24"/>
                  </a:lnTo>
                  <a:lnTo>
                    <a:pt x="24" y="22"/>
                  </a:lnTo>
                  <a:lnTo>
                    <a:pt x="24" y="20"/>
                  </a:lnTo>
                  <a:lnTo>
                    <a:pt x="24" y="16"/>
                  </a:lnTo>
                  <a:lnTo>
                    <a:pt x="24" y="12"/>
                  </a:lnTo>
                  <a:lnTo>
                    <a:pt x="24" y="8"/>
                  </a:lnTo>
                  <a:lnTo>
                    <a:pt x="22" y="4"/>
                  </a:lnTo>
                  <a:lnTo>
                    <a:pt x="20" y="2"/>
                  </a:lnTo>
                  <a:lnTo>
                    <a:pt x="16" y="0"/>
                  </a:lnTo>
                  <a:lnTo>
                    <a:pt x="10" y="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7" name="Freeform 554"/>
            <p:cNvSpPr/>
            <p:nvPr/>
          </p:nvSpPr>
          <p:spPr bwMode="gray">
            <a:xfrm>
              <a:off x="7474265" y="1531122"/>
              <a:ext cx="422118" cy="495840"/>
            </a:xfrm>
            <a:custGeom>
              <a:gdLst>
                <a:gd fmla="*/ 206 w 228" name="T0"/>
                <a:gd fmla="*/ 82 h 268" name="T1"/>
                <a:gd fmla="*/ 198 w 228" name="T2"/>
                <a:gd fmla="*/ 84 h 268" name="T3"/>
                <a:gd fmla="*/ 198 w 228" name="T4"/>
                <a:gd fmla="*/ 92 h 268" name="T5"/>
                <a:gd fmla="*/ 204 w 228" name="T6"/>
                <a:gd fmla="*/ 96 h 268" name="T7"/>
                <a:gd fmla="*/ 200 w 228" name="T8"/>
                <a:gd fmla="*/ 104 h 268" name="T9"/>
                <a:gd fmla="*/ 214 w 228" name="T10"/>
                <a:gd fmla="*/ 112 h 268" name="T11"/>
                <a:gd fmla="*/ 188 w 228" name="T12"/>
                <a:gd fmla="*/ 122 h 268" name="T13"/>
                <a:gd fmla="*/ 164 w 228" name="T14"/>
                <a:gd fmla="*/ 138 h 268" name="T15"/>
                <a:gd fmla="*/ 152 w 228" name="T16"/>
                <a:gd fmla="*/ 154 h 268" name="T17"/>
                <a:gd fmla="*/ 140 w 228" name="T18"/>
                <a:gd fmla="*/ 160 h 268" name="T19"/>
                <a:gd fmla="*/ 120 w 228" name="T20"/>
                <a:gd fmla="*/ 174 h 268" name="T21"/>
                <a:gd fmla="*/ 106 w 228" name="T22"/>
                <a:gd fmla="*/ 182 h 268" name="T23"/>
                <a:gd fmla="*/ 116 w 228" name="T24"/>
                <a:gd fmla="*/ 188 h 268" name="T25"/>
                <a:gd fmla="*/ 112 w 228" name="T26"/>
                <a:gd fmla="*/ 198 h 268" name="T27"/>
                <a:gd fmla="*/ 100 w 228" name="T28"/>
                <a:gd fmla="*/ 214 h 268" name="T29"/>
                <a:gd fmla="*/ 82 w 228" name="T30"/>
                <a:gd fmla="*/ 224 h 268" name="T31"/>
                <a:gd fmla="*/ 76 w 228" name="T32"/>
                <a:gd fmla="*/ 238 h 268" name="T33"/>
                <a:gd fmla="*/ 74 w 228" name="T34"/>
                <a:gd fmla="*/ 260 h 268" name="T35"/>
                <a:gd fmla="*/ 54 w 228" name="T36"/>
                <a:gd fmla="*/ 268 h 268" name="T37"/>
                <a:gd fmla="*/ 46 w 228" name="T38"/>
                <a:gd fmla="*/ 258 h 268" name="T39"/>
                <a:gd fmla="*/ 24 w 228" name="T40"/>
                <a:gd fmla="*/ 256 h 268" name="T41"/>
                <a:gd fmla="*/ 2 w 228" name="T42"/>
                <a:gd fmla="*/ 240 h 268" name="T43"/>
                <a:gd fmla="*/ 12 w 228" name="T44"/>
                <a:gd fmla="*/ 222 h 268" name="T45"/>
                <a:gd fmla="*/ 20 w 228" name="T46"/>
                <a:gd fmla="*/ 214 h 268" name="T47"/>
                <a:gd fmla="*/ 26 w 228" name="T48"/>
                <a:gd fmla="*/ 206 h 268" name="T49"/>
                <a:gd fmla="*/ 40 w 228" name="T50"/>
                <a:gd fmla="*/ 218 h 268" name="T51"/>
                <a:gd fmla="*/ 40 w 228" name="T52"/>
                <a:gd fmla="*/ 208 h 268" name="T53"/>
                <a:gd fmla="*/ 38 w 228" name="T54"/>
                <a:gd fmla="*/ 198 h 268" name="T55"/>
                <a:gd fmla="*/ 28 w 228" name="T56"/>
                <a:gd fmla="*/ 198 h 268" name="T57"/>
                <a:gd fmla="*/ 30 w 228" name="T58"/>
                <a:gd fmla="*/ 186 h 268" name="T59"/>
                <a:gd fmla="*/ 42 w 228" name="T60"/>
                <a:gd fmla="*/ 176 h 268" name="T61"/>
                <a:gd fmla="*/ 62 w 228" name="T62"/>
                <a:gd fmla="*/ 168 h 268" name="T63"/>
                <a:gd fmla="*/ 64 w 228" name="T64"/>
                <a:gd fmla="*/ 162 h 268" name="T65"/>
                <a:gd fmla="*/ 54 w 228" name="T66"/>
                <a:gd fmla="*/ 144 h 268" name="T67"/>
                <a:gd fmla="*/ 54 w 228" name="T68"/>
                <a:gd fmla="*/ 126 h 268" name="T69"/>
                <a:gd fmla="*/ 60 w 228" name="T70"/>
                <a:gd fmla="*/ 108 h 268" name="T71"/>
                <a:gd fmla="*/ 72 w 228" name="T72"/>
                <a:gd fmla="*/ 120 h 268" name="T73"/>
                <a:gd fmla="*/ 80 w 228" name="T74"/>
                <a:gd fmla="*/ 138 h 268" name="T75"/>
                <a:gd fmla="*/ 82 w 228" name="T76"/>
                <a:gd fmla="*/ 114 h 268" name="T77"/>
                <a:gd fmla="*/ 104 w 228" name="T78"/>
                <a:gd fmla="*/ 94 h 268" name="T79"/>
                <a:gd fmla="*/ 122 w 228" name="T80"/>
                <a:gd fmla="*/ 88 h 268" name="T81"/>
                <a:gd fmla="*/ 132 w 228" name="T82"/>
                <a:gd fmla="*/ 80 h 268" name="T83"/>
                <a:gd fmla="*/ 86 w 228" name="T84"/>
                <a:gd fmla="*/ 74 h 268" name="T85"/>
                <a:gd fmla="*/ 68 w 228" name="T86"/>
                <a:gd fmla="*/ 72 h 268" name="T87"/>
                <a:gd fmla="*/ 56 w 228" name="T88"/>
                <a:gd fmla="*/ 74 h 268" name="T89"/>
                <a:gd fmla="*/ 44 w 228" name="T90"/>
                <a:gd fmla="*/ 54 h 268" name="T91"/>
                <a:gd fmla="*/ 44 w 228" name="T92"/>
                <a:gd fmla="*/ 40 h 268" name="T93"/>
                <a:gd fmla="*/ 66 w 228" name="T94"/>
                <a:gd fmla="*/ 42 h 268" name="T95"/>
                <a:gd fmla="*/ 78 w 228" name="T96"/>
                <a:gd fmla="*/ 26 h 268" name="T97"/>
                <a:gd fmla="*/ 100 w 228" name="T98"/>
                <a:gd fmla="*/ 18 h 268" name="T99"/>
                <a:gd fmla="*/ 122 w 228" name="T100"/>
                <a:gd fmla="*/ 4 h 268" name="T101"/>
                <a:gd fmla="*/ 160 w 228" name="T102"/>
                <a:gd fmla="*/ 2 h 268" name="T103"/>
                <a:gd fmla="*/ 188 w 228" name="T104"/>
                <a:gd fmla="*/ 6 h 268" name="T105"/>
                <a:gd fmla="*/ 212 w 228" name="T106"/>
                <a:gd fmla="*/ 26 h 268" name="T107"/>
                <a:gd fmla="*/ 216 w 228" name="T108"/>
                <a:gd fmla="*/ 30 h 268" name="T109"/>
                <a:gd fmla="*/ 218 w 228" name="T110"/>
                <a:gd fmla="*/ 64 h 268" name="T1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b="b" l="0" r="r" t="0"/>
              <a:pathLst>
                <a:path h="268" w="228">
                  <a:moveTo>
                    <a:pt x="222" y="68"/>
                  </a:moveTo>
                  <a:lnTo>
                    <a:pt x="228" y="80"/>
                  </a:lnTo>
                  <a:lnTo>
                    <a:pt x="222" y="82"/>
                  </a:lnTo>
                  <a:lnTo>
                    <a:pt x="216" y="84"/>
                  </a:lnTo>
                  <a:lnTo>
                    <a:pt x="212" y="84"/>
                  </a:lnTo>
                  <a:lnTo>
                    <a:pt x="208" y="82"/>
                  </a:lnTo>
                  <a:lnTo>
                    <a:pt x="206" y="82"/>
                  </a:lnTo>
                  <a:lnTo>
                    <a:pt x="204" y="80"/>
                  </a:lnTo>
                  <a:lnTo>
                    <a:pt x="200" y="80"/>
                  </a:lnTo>
                  <a:lnTo>
                    <a:pt x="198" y="80"/>
                  </a:lnTo>
                  <a:lnTo>
                    <a:pt x="196" y="80"/>
                  </a:lnTo>
                  <a:lnTo>
                    <a:pt x="196" y="82"/>
                  </a:lnTo>
                  <a:lnTo>
                    <a:pt x="196" y="84"/>
                  </a:lnTo>
                  <a:lnTo>
                    <a:pt x="198" y="84"/>
                  </a:lnTo>
                  <a:lnTo>
                    <a:pt x="200" y="86"/>
                  </a:lnTo>
                  <a:lnTo>
                    <a:pt x="200" y="88"/>
                  </a:lnTo>
                  <a:lnTo>
                    <a:pt x="200" y="88"/>
                  </a:lnTo>
                  <a:lnTo>
                    <a:pt x="202" y="90"/>
                  </a:lnTo>
                  <a:lnTo>
                    <a:pt x="202" y="90"/>
                  </a:lnTo>
                  <a:lnTo>
                    <a:pt x="200" y="92"/>
                  </a:lnTo>
                  <a:lnTo>
                    <a:pt x="198" y="92"/>
                  </a:lnTo>
                  <a:lnTo>
                    <a:pt x="196" y="92"/>
                  </a:lnTo>
                  <a:lnTo>
                    <a:pt x="196" y="92"/>
                  </a:lnTo>
                  <a:lnTo>
                    <a:pt x="194" y="92"/>
                  </a:lnTo>
                  <a:lnTo>
                    <a:pt x="192" y="94"/>
                  </a:lnTo>
                  <a:lnTo>
                    <a:pt x="192" y="96"/>
                  </a:lnTo>
                  <a:lnTo>
                    <a:pt x="192" y="96"/>
                  </a:lnTo>
                  <a:lnTo>
                    <a:pt x="204" y="96"/>
                  </a:lnTo>
                  <a:lnTo>
                    <a:pt x="208" y="98"/>
                  </a:lnTo>
                  <a:lnTo>
                    <a:pt x="208" y="98"/>
                  </a:lnTo>
                  <a:lnTo>
                    <a:pt x="206" y="100"/>
                  </a:lnTo>
                  <a:lnTo>
                    <a:pt x="206" y="100"/>
                  </a:lnTo>
                  <a:lnTo>
                    <a:pt x="204" y="102"/>
                  </a:lnTo>
                  <a:lnTo>
                    <a:pt x="202" y="102"/>
                  </a:lnTo>
                  <a:lnTo>
                    <a:pt x="200" y="104"/>
                  </a:lnTo>
                  <a:lnTo>
                    <a:pt x="200" y="106"/>
                  </a:lnTo>
                  <a:lnTo>
                    <a:pt x="202" y="106"/>
                  </a:lnTo>
                  <a:lnTo>
                    <a:pt x="202" y="108"/>
                  </a:lnTo>
                  <a:lnTo>
                    <a:pt x="214" y="106"/>
                  </a:lnTo>
                  <a:lnTo>
                    <a:pt x="216" y="108"/>
                  </a:lnTo>
                  <a:lnTo>
                    <a:pt x="216" y="110"/>
                  </a:lnTo>
                  <a:lnTo>
                    <a:pt x="214" y="112"/>
                  </a:lnTo>
                  <a:lnTo>
                    <a:pt x="212" y="114"/>
                  </a:lnTo>
                  <a:lnTo>
                    <a:pt x="210" y="114"/>
                  </a:lnTo>
                  <a:lnTo>
                    <a:pt x="210" y="114"/>
                  </a:lnTo>
                  <a:lnTo>
                    <a:pt x="208" y="114"/>
                  </a:lnTo>
                  <a:lnTo>
                    <a:pt x="200" y="116"/>
                  </a:lnTo>
                  <a:lnTo>
                    <a:pt x="194" y="118"/>
                  </a:lnTo>
                  <a:lnTo>
                    <a:pt x="188" y="122"/>
                  </a:lnTo>
                  <a:lnTo>
                    <a:pt x="186" y="124"/>
                  </a:lnTo>
                  <a:lnTo>
                    <a:pt x="184" y="126"/>
                  </a:lnTo>
                  <a:lnTo>
                    <a:pt x="182" y="128"/>
                  </a:lnTo>
                  <a:lnTo>
                    <a:pt x="176" y="134"/>
                  </a:lnTo>
                  <a:lnTo>
                    <a:pt x="172" y="136"/>
                  </a:lnTo>
                  <a:lnTo>
                    <a:pt x="166" y="138"/>
                  </a:lnTo>
                  <a:lnTo>
                    <a:pt x="164" y="138"/>
                  </a:lnTo>
                  <a:lnTo>
                    <a:pt x="162" y="138"/>
                  </a:lnTo>
                  <a:lnTo>
                    <a:pt x="166" y="142"/>
                  </a:lnTo>
                  <a:lnTo>
                    <a:pt x="160" y="148"/>
                  </a:lnTo>
                  <a:lnTo>
                    <a:pt x="158" y="150"/>
                  </a:lnTo>
                  <a:lnTo>
                    <a:pt x="154" y="152"/>
                  </a:lnTo>
                  <a:lnTo>
                    <a:pt x="152" y="152"/>
                  </a:lnTo>
                  <a:lnTo>
                    <a:pt x="152" y="154"/>
                  </a:lnTo>
                  <a:lnTo>
                    <a:pt x="154" y="156"/>
                  </a:lnTo>
                  <a:lnTo>
                    <a:pt x="154" y="158"/>
                  </a:lnTo>
                  <a:lnTo>
                    <a:pt x="152" y="160"/>
                  </a:lnTo>
                  <a:lnTo>
                    <a:pt x="150" y="162"/>
                  </a:lnTo>
                  <a:lnTo>
                    <a:pt x="148" y="164"/>
                  </a:lnTo>
                  <a:lnTo>
                    <a:pt x="146" y="164"/>
                  </a:lnTo>
                  <a:lnTo>
                    <a:pt x="140" y="160"/>
                  </a:lnTo>
                  <a:lnTo>
                    <a:pt x="132" y="166"/>
                  </a:lnTo>
                  <a:lnTo>
                    <a:pt x="130" y="164"/>
                  </a:lnTo>
                  <a:lnTo>
                    <a:pt x="128" y="164"/>
                  </a:lnTo>
                  <a:lnTo>
                    <a:pt x="124" y="168"/>
                  </a:lnTo>
                  <a:lnTo>
                    <a:pt x="122" y="170"/>
                  </a:lnTo>
                  <a:lnTo>
                    <a:pt x="120" y="172"/>
                  </a:lnTo>
                  <a:lnTo>
                    <a:pt x="120" y="174"/>
                  </a:lnTo>
                  <a:lnTo>
                    <a:pt x="118" y="176"/>
                  </a:lnTo>
                  <a:lnTo>
                    <a:pt x="116" y="178"/>
                  </a:lnTo>
                  <a:lnTo>
                    <a:pt x="114" y="180"/>
                  </a:lnTo>
                  <a:lnTo>
                    <a:pt x="112" y="180"/>
                  </a:lnTo>
                  <a:lnTo>
                    <a:pt x="112" y="180"/>
                  </a:lnTo>
                  <a:lnTo>
                    <a:pt x="108" y="180"/>
                  </a:lnTo>
                  <a:lnTo>
                    <a:pt x="106" y="182"/>
                  </a:lnTo>
                  <a:lnTo>
                    <a:pt x="106" y="184"/>
                  </a:lnTo>
                  <a:lnTo>
                    <a:pt x="106" y="184"/>
                  </a:lnTo>
                  <a:lnTo>
                    <a:pt x="106" y="186"/>
                  </a:lnTo>
                  <a:lnTo>
                    <a:pt x="106" y="188"/>
                  </a:lnTo>
                  <a:lnTo>
                    <a:pt x="108" y="186"/>
                  </a:lnTo>
                  <a:lnTo>
                    <a:pt x="112" y="188"/>
                  </a:lnTo>
                  <a:lnTo>
                    <a:pt x="116" y="188"/>
                  </a:lnTo>
                  <a:lnTo>
                    <a:pt x="118" y="190"/>
                  </a:lnTo>
                  <a:lnTo>
                    <a:pt x="118" y="190"/>
                  </a:lnTo>
                  <a:lnTo>
                    <a:pt x="120" y="192"/>
                  </a:lnTo>
                  <a:lnTo>
                    <a:pt x="118" y="194"/>
                  </a:lnTo>
                  <a:lnTo>
                    <a:pt x="116" y="196"/>
                  </a:lnTo>
                  <a:lnTo>
                    <a:pt x="114" y="198"/>
                  </a:lnTo>
                  <a:lnTo>
                    <a:pt x="112" y="198"/>
                  </a:lnTo>
                  <a:lnTo>
                    <a:pt x="110" y="200"/>
                  </a:lnTo>
                  <a:lnTo>
                    <a:pt x="110" y="202"/>
                  </a:lnTo>
                  <a:lnTo>
                    <a:pt x="108" y="204"/>
                  </a:lnTo>
                  <a:lnTo>
                    <a:pt x="104" y="206"/>
                  </a:lnTo>
                  <a:lnTo>
                    <a:pt x="102" y="208"/>
                  </a:lnTo>
                  <a:lnTo>
                    <a:pt x="102" y="208"/>
                  </a:lnTo>
                  <a:lnTo>
                    <a:pt x="100" y="214"/>
                  </a:lnTo>
                  <a:lnTo>
                    <a:pt x="98" y="218"/>
                  </a:lnTo>
                  <a:lnTo>
                    <a:pt x="96" y="222"/>
                  </a:lnTo>
                  <a:lnTo>
                    <a:pt x="92" y="224"/>
                  </a:lnTo>
                  <a:lnTo>
                    <a:pt x="88" y="224"/>
                  </a:lnTo>
                  <a:lnTo>
                    <a:pt x="86" y="226"/>
                  </a:lnTo>
                  <a:lnTo>
                    <a:pt x="86" y="226"/>
                  </a:lnTo>
                  <a:lnTo>
                    <a:pt x="82" y="224"/>
                  </a:lnTo>
                  <a:lnTo>
                    <a:pt x="80" y="224"/>
                  </a:lnTo>
                  <a:lnTo>
                    <a:pt x="78" y="228"/>
                  </a:lnTo>
                  <a:lnTo>
                    <a:pt x="78" y="230"/>
                  </a:lnTo>
                  <a:lnTo>
                    <a:pt x="76" y="234"/>
                  </a:lnTo>
                  <a:lnTo>
                    <a:pt x="76" y="236"/>
                  </a:lnTo>
                  <a:lnTo>
                    <a:pt x="76" y="236"/>
                  </a:lnTo>
                  <a:lnTo>
                    <a:pt x="76" y="238"/>
                  </a:lnTo>
                  <a:lnTo>
                    <a:pt x="78" y="242"/>
                  </a:lnTo>
                  <a:lnTo>
                    <a:pt x="78" y="246"/>
                  </a:lnTo>
                  <a:lnTo>
                    <a:pt x="78" y="250"/>
                  </a:lnTo>
                  <a:lnTo>
                    <a:pt x="78" y="250"/>
                  </a:lnTo>
                  <a:lnTo>
                    <a:pt x="78" y="256"/>
                  </a:lnTo>
                  <a:lnTo>
                    <a:pt x="76" y="258"/>
                  </a:lnTo>
                  <a:lnTo>
                    <a:pt x="74" y="260"/>
                  </a:lnTo>
                  <a:lnTo>
                    <a:pt x="72" y="262"/>
                  </a:lnTo>
                  <a:lnTo>
                    <a:pt x="70" y="262"/>
                  </a:lnTo>
                  <a:lnTo>
                    <a:pt x="68" y="262"/>
                  </a:lnTo>
                  <a:lnTo>
                    <a:pt x="68" y="262"/>
                  </a:lnTo>
                  <a:lnTo>
                    <a:pt x="62" y="266"/>
                  </a:lnTo>
                  <a:lnTo>
                    <a:pt x="58" y="266"/>
                  </a:lnTo>
                  <a:lnTo>
                    <a:pt x="54" y="268"/>
                  </a:lnTo>
                  <a:lnTo>
                    <a:pt x="52" y="266"/>
                  </a:lnTo>
                  <a:lnTo>
                    <a:pt x="50" y="266"/>
                  </a:lnTo>
                  <a:lnTo>
                    <a:pt x="48" y="264"/>
                  </a:lnTo>
                  <a:lnTo>
                    <a:pt x="48" y="262"/>
                  </a:lnTo>
                  <a:lnTo>
                    <a:pt x="48" y="262"/>
                  </a:lnTo>
                  <a:lnTo>
                    <a:pt x="48" y="262"/>
                  </a:lnTo>
                  <a:lnTo>
                    <a:pt x="46" y="258"/>
                  </a:lnTo>
                  <a:lnTo>
                    <a:pt x="42" y="256"/>
                  </a:lnTo>
                  <a:lnTo>
                    <a:pt x="38" y="254"/>
                  </a:lnTo>
                  <a:lnTo>
                    <a:pt x="36" y="254"/>
                  </a:lnTo>
                  <a:lnTo>
                    <a:pt x="34" y="254"/>
                  </a:lnTo>
                  <a:lnTo>
                    <a:pt x="32" y="254"/>
                  </a:lnTo>
                  <a:lnTo>
                    <a:pt x="28" y="256"/>
                  </a:lnTo>
                  <a:lnTo>
                    <a:pt x="24" y="256"/>
                  </a:lnTo>
                  <a:lnTo>
                    <a:pt x="22" y="254"/>
                  </a:lnTo>
                  <a:lnTo>
                    <a:pt x="20" y="252"/>
                  </a:lnTo>
                  <a:lnTo>
                    <a:pt x="18" y="250"/>
                  </a:lnTo>
                  <a:lnTo>
                    <a:pt x="16" y="250"/>
                  </a:lnTo>
                  <a:lnTo>
                    <a:pt x="10" y="246"/>
                  </a:lnTo>
                  <a:lnTo>
                    <a:pt x="6" y="244"/>
                  </a:lnTo>
                  <a:lnTo>
                    <a:pt x="2" y="240"/>
                  </a:lnTo>
                  <a:lnTo>
                    <a:pt x="2" y="238"/>
                  </a:lnTo>
                  <a:lnTo>
                    <a:pt x="0" y="238"/>
                  </a:lnTo>
                  <a:lnTo>
                    <a:pt x="0" y="236"/>
                  </a:lnTo>
                  <a:lnTo>
                    <a:pt x="4" y="230"/>
                  </a:lnTo>
                  <a:lnTo>
                    <a:pt x="6" y="226"/>
                  </a:lnTo>
                  <a:lnTo>
                    <a:pt x="10" y="224"/>
                  </a:lnTo>
                  <a:lnTo>
                    <a:pt x="12" y="222"/>
                  </a:lnTo>
                  <a:lnTo>
                    <a:pt x="14" y="222"/>
                  </a:lnTo>
                  <a:lnTo>
                    <a:pt x="16" y="222"/>
                  </a:lnTo>
                  <a:lnTo>
                    <a:pt x="20" y="220"/>
                  </a:lnTo>
                  <a:lnTo>
                    <a:pt x="24" y="218"/>
                  </a:lnTo>
                  <a:lnTo>
                    <a:pt x="24" y="216"/>
                  </a:lnTo>
                  <a:lnTo>
                    <a:pt x="22" y="214"/>
                  </a:lnTo>
                  <a:lnTo>
                    <a:pt x="20" y="214"/>
                  </a:lnTo>
                  <a:lnTo>
                    <a:pt x="18" y="214"/>
                  </a:lnTo>
                  <a:lnTo>
                    <a:pt x="18" y="212"/>
                  </a:lnTo>
                  <a:lnTo>
                    <a:pt x="18" y="210"/>
                  </a:lnTo>
                  <a:lnTo>
                    <a:pt x="20" y="208"/>
                  </a:lnTo>
                  <a:lnTo>
                    <a:pt x="22" y="206"/>
                  </a:lnTo>
                  <a:lnTo>
                    <a:pt x="24" y="206"/>
                  </a:lnTo>
                  <a:lnTo>
                    <a:pt x="26" y="206"/>
                  </a:lnTo>
                  <a:lnTo>
                    <a:pt x="28" y="208"/>
                  </a:lnTo>
                  <a:lnTo>
                    <a:pt x="28" y="208"/>
                  </a:lnTo>
                  <a:lnTo>
                    <a:pt x="30" y="212"/>
                  </a:lnTo>
                  <a:lnTo>
                    <a:pt x="34" y="216"/>
                  </a:lnTo>
                  <a:lnTo>
                    <a:pt x="36" y="218"/>
                  </a:lnTo>
                  <a:lnTo>
                    <a:pt x="38" y="218"/>
                  </a:lnTo>
                  <a:lnTo>
                    <a:pt x="40" y="218"/>
                  </a:lnTo>
                  <a:lnTo>
                    <a:pt x="42" y="218"/>
                  </a:lnTo>
                  <a:lnTo>
                    <a:pt x="44" y="218"/>
                  </a:lnTo>
                  <a:lnTo>
                    <a:pt x="44" y="216"/>
                  </a:lnTo>
                  <a:lnTo>
                    <a:pt x="44" y="214"/>
                  </a:lnTo>
                  <a:lnTo>
                    <a:pt x="42" y="212"/>
                  </a:lnTo>
                  <a:lnTo>
                    <a:pt x="42" y="210"/>
                  </a:lnTo>
                  <a:lnTo>
                    <a:pt x="40" y="208"/>
                  </a:lnTo>
                  <a:lnTo>
                    <a:pt x="40" y="206"/>
                  </a:lnTo>
                  <a:lnTo>
                    <a:pt x="36" y="204"/>
                  </a:lnTo>
                  <a:lnTo>
                    <a:pt x="36" y="202"/>
                  </a:lnTo>
                  <a:lnTo>
                    <a:pt x="36" y="200"/>
                  </a:lnTo>
                  <a:lnTo>
                    <a:pt x="38" y="198"/>
                  </a:lnTo>
                  <a:lnTo>
                    <a:pt x="38" y="198"/>
                  </a:lnTo>
                  <a:lnTo>
                    <a:pt x="38" y="198"/>
                  </a:lnTo>
                  <a:lnTo>
                    <a:pt x="40" y="194"/>
                  </a:lnTo>
                  <a:lnTo>
                    <a:pt x="40" y="192"/>
                  </a:lnTo>
                  <a:lnTo>
                    <a:pt x="38" y="192"/>
                  </a:lnTo>
                  <a:lnTo>
                    <a:pt x="38" y="192"/>
                  </a:lnTo>
                  <a:lnTo>
                    <a:pt x="36" y="192"/>
                  </a:lnTo>
                  <a:lnTo>
                    <a:pt x="36" y="192"/>
                  </a:lnTo>
                  <a:lnTo>
                    <a:pt x="28" y="198"/>
                  </a:lnTo>
                  <a:lnTo>
                    <a:pt x="26" y="198"/>
                  </a:lnTo>
                  <a:lnTo>
                    <a:pt x="24" y="196"/>
                  </a:lnTo>
                  <a:lnTo>
                    <a:pt x="26" y="194"/>
                  </a:lnTo>
                  <a:lnTo>
                    <a:pt x="26" y="190"/>
                  </a:lnTo>
                  <a:lnTo>
                    <a:pt x="28" y="188"/>
                  </a:lnTo>
                  <a:lnTo>
                    <a:pt x="30" y="186"/>
                  </a:lnTo>
                  <a:lnTo>
                    <a:pt x="30" y="186"/>
                  </a:lnTo>
                  <a:lnTo>
                    <a:pt x="34" y="180"/>
                  </a:lnTo>
                  <a:lnTo>
                    <a:pt x="36" y="176"/>
                  </a:lnTo>
                  <a:lnTo>
                    <a:pt x="38" y="174"/>
                  </a:lnTo>
                  <a:lnTo>
                    <a:pt x="40" y="174"/>
                  </a:lnTo>
                  <a:lnTo>
                    <a:pt x="40" y="174"/>
                  </a:lnTo>
                  <a:lnTo>
                    <a:pt x="42" y="176"/>
                  </a:lnTo>
                  <a:lnTo>
                    <a:pt x="42" y="176"/>
                  </a:lnTo>
                  <a:lnTo>
                    <a:pt x="44" y="178"/>
                  </a:lnTo>
                  <a:lnTo>
                    <a:pt x="46" y="178"/>
                  </a:lnTo>
                  <a:lnTo>
                    <a:pt x="50" y="176"/>
                  </a:lnTo>
                  <a:lnTo>
                    <a:pt x="54" y="174"/>
                  </a:lnTo>
                  <a:lnTo>
                    <a:pt x="58" y="172"/>
                  </a:lnTo>
                  <a:lnTo>
                    <a:pt x="60" y="170"/>
                  </a:lnTo>
                  <a:lnTo>
                    <a:pt x="62" y="168"/>
                  </a:lnTo>
                  <a:lnTo>
                    <a:pt x="64" y="168"/>
                  </a:lnTo>
                  <a:lnTo>
                    <a:pt x="68" y="166"/>
                  </a:lnTo>
                  <a:lnTo>
                    <a:pt x="68" y="164"/>
                  </a:lnTo>
                  <a:lnTo>
                    <a:pt x="68" y="164"/>
                  </a:lnTo>
                  <a:lnTo>
                    <a:pt x="68" y="164"/>
                  </a:lnTo>
                  <a:lnTo>
                    <a:pt x="66" y="162"/>
                  </a:lnTo>
                  <a:lnTo>
                    <a:pt x="64" y="162"/>
                  </a:lnTo>
                  <a:lnTo>
                    <a:pt x="62" y="162"/>
                  </a:lnTo>
                  <a:lnTo>
                    <a:pt x="60" y="166"/>
                  </a:lnTo>
                  <a:lnTo>
                    <a:pt x="56" y="166"/>
                  </a:lnTo>
                  <a:lnTo>
                    <a:pt x="54" y="164"/>
                  </a:lnTo>
                  <a:lnTo>
                    <a:pt x="52" y="164"/>
                  </a:lnTo>
                  <a:lnTo>
                    <a:pt x="50" y="162"/>
                  </a:lnTo>
                  <a:lnTo>
                    <a:pt x="54" y="144"/>
                  </a:lnTo>
                  <a:lnTo>
                    <a:pt x="58" y="140"/>
                  </a:lnTo>
                  <a:lnTo>
                    <a:pt x="60" y="136"/>
                  </a:lnTo>
                  <a:lnTo>
                    <a:pt x="60" y="134"/>
                  </a:lnTo>
                  <a:lnTo>
                    <a:pt x="58" y="132"/>
                  </a:lnTo>
                  <a:lnTo>
                    <a:pt x="58" y="132"/>
                  </a:lnTo>
                  <a:lnTo>
                    <a:pt x="58" y="132"/>
                  </a:lnTo>
                  <a:lnTo>
                    <a:pt x="54" y="126"/>
                  </a:lnTo>
                  <a:lnTo>
                    <a:pt x="52" y="122"/>
                  </a:lnTo>
                  <a:lnTo>
                    <a:pt x="52" y="118"/>
                  </a:lnTo>
                  <a:lnTo>
                    <a:pt x="52" y="116"/>
                  </a:lnTo>
                  <a:lnTo>
                    <a:pt x="52" y="112"/>
                  </a:lnTo>
                  <a:lnTo>
                    <a:pt x="56" y="110"/>
                  </a:lnTo>
                  <a:lnTo>
                    <a:pt x="58" y="108"/>
                  </a:lnTo>
                  <a:lnTo>
                    <a:pt x="60" y="108"/>
                  </a:lnTo>
                  <a:lnTo>
                    <a:pt x="60" y="108"/>
                  </a:lnTo>
                  <a:lnTo>
                    <a:pt x="64" y="110"/>
                  </a:lnTo>
                  <a:lnTo>
                    <a:pt x="66" y="112"/>
                  </a:lnTo>
                  <a:lnTo>
                    <a:pt x="68" y="114"/>
                  </a:lnTo>
                  <a:lnTo>
                    <a:pt x="70" y="118"/>
                  </a:lnTo>
                  <a:lnTo>
                    <a:pt x="72" y="120"/>
                  </a:lnTo>
                  <a:lnTo>
                    <a:pt x="72" y="120"/>
                  </a:lnTo>
                  <a:lnTo>
                    <a:pt x="74" y="140"/>
                  </a:lnTo>
                  <a:lnTo>
                    <a:pt x="74" y="142"/>
                  </a:lnTo>
                  <a:lnTo>
                    <a:pt x="74" y="144"/>
                  </a:lnTo>
                  <a:lnTo>
                    <a:pt x="76" y="144"/>
                  </a:lnTo>
                  <a:lnTo>
                    <a:pt x="78" y="142"/>
                  </a:lnTo>
                  <a:lnTo>
                    <a:pt x="78" y="140"/>
                  </a:lnTo>
                  <a:lnTo>
                    <a:pt x="80" y="138"/>
                  </a:lnTo>
                  <a:lnTo>
                    <a:pt x="82" y="136"/>
                  </a:lnTo>
                  <a:lnTo>
                    <a:pt x="82" y="134"/>
                  </a:lnTo>
                  <a:lnTo>
                    <a:pt x="80" y="128"/>
                  </a:lnTo>
                  <a:lnTo>
                    <a:pt x="80" y="122"/>
                  </a:lnTo>
                  <a:lnTo>
                    <a:pt x="80" y="118"/>
                  </a:lnTo>
                  <a:lnTo>
                    <a:pt x="80" y="116"/>
                  </a:lnTo>
                  <a:lnTo>
                    <a:pt x="82" y="114"/>
                  </a:lnTo>
                  <a:lnTo>
                    <a:pt x="84" y="110"/>
                  </a:lnTo>
                  <a:lnTo>
                    <a:pt x="84" y="108"/>
                  </a:lnTo>
                  <a:lnTo>
                    <a:pt x="84" y="106"/>
                  </a:lnTo>
                  <a:lnTo>
                    <a:pt x="86" y="102"/>
                  </a:lnTo>
                  <a:lnTo>
                    <a:pt x="86" y="98"/>
                  </a:lnTo>
                  <a:lnTo>
                    <a:pt x="86" y="96"/>
                  </a:lnTo>
                  <a:lnTo>
                    <a:pt x="104" y="94"/>
                  </a:lnTo>
                  <a:lnTo>
                    <a:pt x="108" y="96"/>
                  </a:lnTo>
                  <a:lnTo>
                    <a:pt x="112" y="96"/>
                  </a:lnTo>
                  <a:lnTo>
                    <a:pt x="116" y="96"/>
                  </a:lnTo>
                  <a:lnTo>
                    <a:pt x="118" y="94"/>
                  </a:lnTo>
                  <a:lnTo>
                    <a:pt x="118" y="94"/>
                  </a:lnTo>
                  <a:lnTo>
                    <a:pt x="120" y="90"/>
                  </a:lnTo>
                  <a:lnTo>
                    <a:pt x="122" y="88"/>
                  </a:lnTo>
                  <a:lnTo>
                    <a:pt x="126" y="86"/>
                  </a:lnTo>
                  <a:lnTo>
                    <a:pt x="128" y="86"/>
                  </a:lnTo>
                  <a:lnTo>
                    <a:pt x="130" y="86"/>
                  </a:lnTo>
                  <a:lnTo>
                    <a:pt x="128" y="84"/>
                  </a:lnTo>
                  <a:lnTo>
                    <a:pt x="128" y="84"/>
                  </a:lnTo>
                  <a:lnTo>
                    <a:pt x="130" y="82"/>
                  </a:lnTo>
                  <a:lnTo>
                    <a:pt x="132" y="80"/>
                  </a:lnTo>
                  <a:lnTo>
                    <a:pt x="134" y="80"/>
                  </a:lnTo>
                  <a:lnTo>
                    <a:pt x="134" y="78"/>
                  </a:lnTo>
                  <a:lnTo>
                    <a:pt x="130" y="76"/>
                  </a:lnTo>
                  <a:lnTo>
                    <a:pt x="96" y="80"/>
                  </a:lnTo>
                  <a:lnTo>
                    <a:pt x="92" y="76"/>
                  </a:lnTo>
                  <a:lnTo>
                    <a:pt x="90" y="76"/>
                  </a:lnTo>
                  <a:lnTo>
                    <a:pt x="86" y="74"/>
                  </a:lnTo>
                  <a:lnTo>
                    <a:pt x="82" y="74"/>
                  </a:lnTo>
                  <a:lnTo>
                    <a:pt x="82" y="74"/>
                  </a:lnTo>
                  <a:lnTo>
                    <a:pt x="78" y="74"/>
                  </a:lnTo>
                  <a:lnTo>
                    <a:pt x="74" y="74"/>
                  </a:lnTo>
                  <a:lnTo>
                    <a:pt x="70" y="74"/>
                  </a:lnTo>
                  <a:lnTo>
                    <a:pt x="68" y="72"/>
                  </a:lnTo>
                  <a:lnTo>
                    <a:pt x="68" y="72"/>
                  </a:lnTo>
                  <a:lnTo>
                    <a:pt x="66" y="70"/>
                  </a:lnTo>
                  <a:lnTo>
                    <a:pt x="64" y="70"/>
                  </a:lnTo>
                  <a:lnTo>
                    <a:pt x="62" y="70"/>
                  </a:lnTo>
                  <a:lnTo>
                    <a:pt x="62" y="70"/>
                  </a:lnTo>
                  <a:lnTo>
                    <a:pt x="62" y="72"/>
                  </a:lnTo>
                  <a:lnTo>
                    <a:pt x="58" y="74"/>
                  </a:lnTo>
                  <a:lnTo>
                    <a:pt x="56" y="74"/>
                  </a:lnTo>
                  <a:lnTo>
                    <a:pt x="54" y="74"/>
                  </a:lnTo>
                  <a:lnTo>
                    <a:pt x="54" y="72"/>
                  </a:lnTo>
                  <a:lnTo>
                    <a:pt x="54" y="72"/>
                  </a:lnTo>
                  <a:lnTo>
                    <a:pt x="44" y="64"/>
                  </a:lnTo>
                  <a:lnTo>
                    <a:pt x="42" y="60"/>
                  </a:lnTo>
                  <a:lnTo>
                    <a:pt x="42" y="56"/>
                  </a:lnTo>
                  <a:lnTo>
                    <a:pt x="44" y="54"/>
                  </a:lnTo>
                  <a:lnTo>
                    <a:pt x="44" y="54"/>
                  </a:lnTo>
                  <a:lnTo>
                    <a:pt x="46" y="50"/>
                  </a:lnTo>
                  <a:lnTo>
                    <a:pt x="44" y="46"/>
                  </a:lnTo>
                  <a:lnTo>
                    <a:pt x="44" y="44"/>
                  </a:lnTo>
                  <a:lnTo>
                    <a:pt x="42" y="44"/>
                  </a:lnTo>
                  <a:lnTo>
                    <a:pt x="44" y="42"/>
                  </a:lnTo>
                  <a:lnTo>
                    <a:pt x="44" y="40"/>
                  </a:lnTo>
                  <a:lnTo>
                    <a:pt x="48" y="38"/>
                  </a:lnTo>
                  <a:lnTo>
                    <a:pt x="50" y="36"/>
                  </a:lnTo>
                  <a:lnTo>
                    <a:pt x="52" y="36"/>
                  </a:lnTo>
                  <a:lnTo>
                    <a:pt x="56" y="36"/>
                  </a:lnTo>
                  <a:lnTo>
                    <a:pt x="60" y="38"/>
                  </a:lnTo>
                  <a:lnTo>
                    <a:pt x="64" y="42"/>
                  </a:lnTo>
                  <a:lnTo>
                    <a:pt x="66" y="42"/>
                  </a:lnTo>
                  <a:lnTo>
                    <a:pt x="68" y="44"/>
                  </a:lnTo>
                  <a:lnTo>
                    <a:pt x="70" y="34"/>
                  </a:lnTo>
                  <a:lnTo>
                    <a:pt x="70" y="34"/>
                  </a:lnTo>
                  <a:lnTo>
                    <a:pt x="70" y="32"/>
                  </a:lnTo>
                  <a:lnTo>
                    <a:pt x="72" y="30"/>
                  </a:lnTo>
                  <a:lnTo>
                    <a:pt x="74" y="28"/>
                  </a:lnTo>
                  <a:lnTo>
                    <a:pt x="78" y="26"/>
                  </a:lnTo>
                  <a:lnTo>
                    <a:pt x="82" y="26"/>
                  </a:lnTo>
                  <a:lnTo>
                    <a:pt x="86" y="26"/>
                  </a:lnTo>
                  <a:lnTo>
                    <a:pt x="90" y="24"/>
                  </a:lnTo>
                  <a:lnTo>
                    <a:pt x="92" y="22"/>
                  </a:lnTo>
                  <a:lnTo>
                    <a:pt x="92" y="22"/>
                  </a:lnTo>
                  <a:lnTo>
                    <a:pt x="96" y="26"/>
                  </a:lnTo>
                  <a:lnTo>
                    <a:pt x="100" y="18"/>
                  </a:lnTo>
                  <a:lnTo>
                    <a:pt x="100" y="16"/>
                  </a:lnTo>
                  <a:lnTo>
                    <a:pt x="102" y="14"/>
                  </a:lnTo>
                  <a:lnTo>
                    <a:pt x="106" y="12"/>
                  </a:lnTo>
                  <a:lnTo>
                    <a:pt x="110" y="8"/>
                  </a:lnTo>
                  <a:lnTo>
                    <a:pt x="118" y="6"/>
                  </a:lnTo>
                  <a:lnTo>
                    <a:pt x="120" y="14"/>
                  </a:lnTo>
                  <a:lnTo>
                    <a:pt x="122" y="4"/>
                  </a:lnTo>
                  <a:lnTo>
                    <a:pt x="122" y="2"/>
                  </a:lnTo>
                  <a:lnTo>
                    <a:pt x="126" y="2"/>
                  </a:lnTo>
                  <a:lnTo>
                    <a:pt x="130" y="0"/>
                  </a:lnTo>
                  <a:lnTo>
                    <a:pt x="134" y="0"/>
                  </a:lnTo>
                  <a:lnTo>
                    <a:pt x="138" y="0"/>
                  </a:lnTo>
                  <a:lnTo>
                    <a:pt x="148" y="2"/>
                  </a:lnTo>
                  <a:lnTo>
                    <a:pt x="160" y="2"/>
                  </a:lnTo>
                  <a:lnTo>
                    <a:pt x="170" y="4"/>
                  </a:lnTo>
                  <a:lnTo>
                    <a:pt x="174" y="4"/>
                  </a:lnTo>
                  <a:lnTo>
                    <a:pt x="174" y="14"/>
                  </a:lnTo>
                  <a:lnTo>
                    <a:pt x="180" y="8"/>
                  </a:lnTo>
                  <a:lnTo>
                    <a:pt x="180" y="8"/>
                  </a:lnTo>
                  <a:lnTo>
                    <a:pt x="184" y="6"/>
                  </a:lnTo>
                  <a:lnTo>
                    <a:pt x="188" y="6"/>
                  </a:lnTo>
                  <a:lnTo>
                    <a:pt x="192" y="8"/>
                  </a:lnTo>
                  <a:lnTo>
                    <a:pt x="196" y="8"/>
                  </a:lnTo>
                  <a:lnTo>
                    <a:pt x="200" y="12"/>
                  </a:lnTo>
                  <a:lnTo>
                    <a:pt x="202" y="16"/>
                  </a:lnTo>
                  <a:lnTo>
                    <a:pt x="206" y="20"/>
                  </a:lnTo>
                  <a:lnTo>
                    <a:pt x="210" y="22"/>
                  </a:lnTo>
                  <a:lnTo>
                    <a:pt x="212" y="26"/>
                  </a:lnTo>
                  <a:lnTo>
                    <a:pt x="212" y="26"/>
                  </a:lnTo>
                  <a:lnTo>
                    <a:pt x="208" y="30"/>
                  </a:lnTo>
                  <a:lnTo>
                    <a:pt x="208" y="30"/>
                  </a:lnTo>
                  <a:lnTo>
                    <a:pt x="210" y="30"/>
                  </a:lnTo>
                  <a:lnTo>
                    <a:pt x="210" y="28"/>
                  </a:lnTo>
                  <a:lnTo>
                    <a:pt x="214" y="28"/>
                  </a:lnTo>
                  <a:lnTo>
                    <a:pt x="216" y="30"/>
                  </a:lnTo>
                  <a:lnTo>
                    <a:pt x="220" y="36"/>
                  </a:lnTo>
                  <a:lnTo>
                    <a:pt x="222" y="40"/>
                  </a:lnTo>
                  <a:lnTo>
                    <a:pt x="220" y="46"/>
                  </a:lnTo>
                  <a:lnTo>
                    <a:pt x="218" y="52"/>
                  </a:lnTo>
                  <a:lnTo>
                    <a:pt x="216" y="56"/>
                  </a:lnTo>
                  <a:lnTo>
                    <a:pt x="218" y="60"/>
                  </a:lnTo>
                  <a:lnTo>
                    <a:pt x="218" y="64"/>
                  </a:lnTo>
                  <a:lnTo>
                    <a:pt x="220" y="66"/>
                  </a:lnTo>
                  <a:lnTo>
                    <a:pt x="222" y="68"/>
                  </a:lnTo>
                  <a:lnTo>
                    <a:pt x="222" y="68"/>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8" name="Freeform 555"/>
            <p:cNvSpPr/>
            <p:nvPr/>
          </p:nvSpPr>
          <p:spPr bwMode="gray">
            <a:xfrm>
              <a:off x="7940817" y="5553348"/>
              <a:ext cx="144409" cy="166513"/>
            </a:xfrm>
            <a:custGeom>
              <a:gdLst>
                <a:gd fmla="*/ 78 w 78" name="T0"/>
                <a:gd fmla="*/ 50 h 90" name="T1"/>
                <a:gd fmla="*/ 60 w 78" name="T2"/>
                <a:gd fmla="*/ 32 h 90" name="T3"/>
                <a:gd fmla="*/ 60 w 78" name="T4"/>
                <a:gd fmla="*/ 30 h 90" name="T5"/>
                <a:gd fmla="*/ 58 w 78" name="T6"/>
                <a:gd fmla="*/ 28 h 90" name="T7"/>
                <a:gd fmla="*/ 56 w 78" name="T8"/>
                <a:gd fmla="*/ 26 h 90" name="T9"/>
                <a:gd fmla="*/ 52 w 78" name="T10"/>
                <a:gd fmla="*/ 24 h 90" name="T11"/>
                <a:gd fmla="*/ 44 w 78" name="T12"/>
                <a:gd fmla="*/ 20 h 90" name="T13"/>
                <a:gd fmla="*/ 36 w 78" name="T14"/>
                <a:gd fmla="*/ 18 h 90" name="T15"/>
                <a:gd fmla="*/ 32 w 78" name="T16"/>
                <a:gd fmla="*/ 14 h 90" name="T17"/>
                <a:gd fmla="*/ 30 w 78" name="T18"/>
                <a:gd fmla="*/ 12 h 90" name="T19"/>
                <a:gd fmla="*/ 28 w 78" name="T20"/>
                <a:gd fmla="*/ 10 h 90" name="T21"/>
                <a:gd fmla="*/ 28 w 78" name="T22"/>
                <a:gd fmla="*/ 10 h 90" name="T23"/>
                <a:gd fmla="*/ 28 w 78" name="T24"/>
                <a:gd fmla="*/ 8 h 90" name="T25"/>
                <a:gd fmla="*/ 26 w 78" name="T26"/>
                <a:gd fmla="*/ 6 h 90" name="T27"/>
                <a:gd fmla="*/ 24 w 78" name="T28"/>
                <a:gd fmla="*/ 4 h 90" name="T29"/>
                <a:gd fmla="*/ 20 w 78" name="T30"/>
                <a:gd fmla="*/ 2 h 90" name="T31"/>
                <a:gd fmla="*/ 16 w 78" name="T32"/>
                <a:gd fmla="*/ 0 h 90" name="T33"/>
                <a:gd fmla="*/ 12 w 78" name="T34"/>
                <a:gd fmla="*/ 2 h 90" name="T35"/>
                <a:gd fmla="*/ 12 w 78" name="T36"/>
                <a:gd fmla="*/ 2 h 90" name="T37"/>
                <a:gd fmla="*/ 10 w 78" name="T38"/>
                <a:gd fmla="*/ 6 h 90" name="T39"/>
                <a:gd fmla="*/ 8 w 78" name="T40"/>
                <a:gd fmla="*/ 10 h 90" name="T41"/>
                <a:gd fmla="*/ 4 w 78" name="T42"/>
                <a:gd fmla="*/ 14 h 90" name="T43"/>
                <a:gd fmla="*/ 2 w 78" name="T44"/>
                <a:gd fmla="*/ 20 h 90" name="T45"/>
                <a:gd fmla="*/ 0 w 78" name="T46"/>
                <a:gd fmla="*/ 32 h 90" name="T47"/>
                <a:gd fmla="*/ 0 w 78" name="T48"/>
                <a:gd fmla="*/ 44 h 90" name="T49"/>
                <a:gd fmla="*/ 2 w 78" name="T50"/>
                <a:gd fmla="*/ 52 h 90" name="T51"/>
                <a:gd fmla="*/ 2 w 78" name="T52"/>
                <a:gd fmla="*/ 54 h 90" name="T53"/>
                <a:gd fmla="*/ 2 w 78" name="T54"/>
                <a:gd fmla="*/ 56 h 90" name="T55"/>
                <a:gd fmla="*/ 2 w 78" name="T56"/>
                <a:gd fmla="*/ 58 h 90" name="T57"/>
                <a:gd fmla="*/ 2 w 78" name="T58"/>
                <a:gd fmla="*/ 62 h 90" name="T59"/>
                <a:gd fmla="*/ 2 w 78" name="T60"/>
                <a:gd fmla="*/ 66 h 90" name="T61"/>
                <a:gd fmla="*/ 2 w 78" name="T62"/>
                <a:gd fmla="*/ 72 h 90" name="T63"/>
                <a:gd fmla="*/ 4 w 78" name="T64"/>
                <a:gd fmla="*/ 78 h 90" name="T65"/>
                <a:gd fmla="*/ 6 w 78" name="T66"/>
                <a:gd fmla="*/ 82 h 90" name="T67"/>
                <a:gd fmla="*/ 10 w 78" name="T68"/>
                <a:gd fmla="*/ 86 h 90" name="T69"/>
                <a:gd fmla="*/ 12 w 78" name="T70"/>
                <a:gd fmla="*/ 88 h 90" name="T71"/>
                <a:gd fmla="*/ 14 w 78" name="T72"/>
                <a:gd fmla="*/ 90 h 90" name="T73"/>
                <a:gd fmla="*/ 16 w 78" name="T74"/>
                <a:gd fmla="*/ 90 h 90" name="T75"/>
                <a:gd fmla="*/ 20 w 78" name="T76"/>
                <a:gd fmla="*/ 90 h 90" name="T77"/>
                <a:gd fmla="*/ 30 w 78" name="T78"/>
                <a:gd fmla="*/ 90 h 90" name="T79"/>
                <a:gd fmla="*/ 42 w 78" name="T80"/>
                <a:gd fmla="*/ 90 h 90" name="T81"/>
                <a:gd fmla="*/ 50 w 78" name="T82"/>
                <a:gd fmla="*/ 88 h 90" name="T83"/>
                <a:gd fmla="*/ 52 w 78" name="T84"/>
                <a:gd fmla="*/ 86 h 90" name="T85"/>
                <a:gd fmla="*/ 56 w 78" name="T86"/>
                <a:gd fmla="*/ 84 h 90" name="T87"/>
                <a:gd fmla="*/ 60 w 78" name="T88"/>
                <a:gd fmla="*/ 82 h 90" name="T89"/>
                <a:gd fmla="*/ 64 w 78" name="T90"/>
                <a:gd fmla="*/ 80 h 90" name="T91"/>
                <a:gd fmla="*/ 68 w 78" name="T92"/>
                <a:gd fmla="*/ 78 h 90" name="T93"/>
                <a:gd fmla="*/ 70 w 78" name="T94"/>
                <a:gd fmla="*/ 76 h 90" name="T95"/>
                <a:gd fmla="*/ 70 w 78" name="T96"/>
                <a:gd fmla="*/ 76 h 90" name="T97"/>
                <a:gd fmla="*/ 78 w 78" name="T98"/>
                <a:gd fmla="*/ 50 h 90"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90" w="78">
                  <a:moveTo>
                    <a:pt x="78" y="50"/>
                  </a:moveTo>
                  <a:lnTo>
                    <a:pt x="60" y="32"/>
                  </a:lnTo>
                  <a:lnTo>
                    <a:pt x="60" y="30"/>
                  </a:lnTo>
                  <a:lnTo>
                    <a:pt x="58" y="28"/>
                  </a:lnTo>
                  <a:lnTo>
                    <a:pt x="56" y="26"/>
                  </a:lnTo>
                  <a:lnTo>
                    <a:pt x="52" y="24"/>
                  </a:lnTo>
                  <a:lnTo>
                    <a:pt x="44" y="20"/>
                  </a:lnTo>
                  <a:lnTo>
                    <a:pt x="36" y="18"/>
                  </a:lnTo>
                  <a:lnTo>
                    <a:pt x="32" y="14"/>
                  </a:lnTo>
                  <a:lnTo>
                    <a:pt x="30" y="12"/>
                  </a:lnTo>
                  <a:lnTo>
                    <a:pt x="28" y="10"/>
                  </a:lnTo>
                  <a:lnTo>
                    <a:pt x="28" y="10"/>
                  </a:lnTo>
                  <a:lnTo>
                    <a:pt x="28" y="8"/>
                  </a:lnTo>
                  <a:lnTo>
                    <a:pt x="26" y="6"/>
                  </a:lnTo>
                  <a:lnTo>
                    <a:pt x="24" y="4"/>
                  </a:lnTo>
                  <a:lnTo>
                    <a:pt x="20" y="2"/>
                  </a:lnTo>
                  <a:lnTo>
                    <a:pt x="16" y="0"/>
                  </a:lnTo>
                  <a:lnTo>
                    <a:pt x="12" y="2"/>
                  </a:lnTo>
                  <a:lnTo>
                    <a:pt x="12" y="2"/>
                  </a:lnTo>
                  <a:lnTo>
                    <a:pt x="10" y="6"/>
                  </a:lnTo>
                  <a:lnTo>
                    <a:pt x="8" y="10"/>
                  </a:lnTo>
                  <a:lnTo>
                    <a:pt x="4" y="14"/>
                  </a:lnTo>
                  <a:lnTo>
                    <a:pt x="2" y="20"/>
                  </a:lnTo>
                  <a:lnTo>
                    <a:pt x="0" y="32"/>
                  </a:lnTo>
                  <a:lnTo>
                    <a:pt x="0" y="44"/>
                  </a:lnTo>
                  <a:lnTo>
                    <a:pt x="2" y="52"/>
                  </a:lnTo>
                  <a:lnTo>
                    <a:pt x="2" y="54"/>
                  </a:lnTo>
                  <a:lnTo>
                    <a:pt x="2" y="56"/>
                  </a:lnTo>
                  <a:lnTo>
                    <a:pt x="2" y="58"/>
                  </a:lnTo>
                  <a:lnTo>
                    <a:pt x="2" y="62"/>
                  </a:lnTo>
                  <a:lnTo>
                    <a:pt x="2" y="66"/>
                  </a:lnTo>
                  <a:lnTo>
                    <a:pt x="2" y="72"/>
                  </a:lnTo>
                  <a:lnTo>
                    <a:pt x="4" y="78"/>
                  </a:lnTo>
                  <a:lnTo>
                    <a:pt x="6" y="82"/>
                  </a:lnTo>
                  <a:lnTo>
                    <a:pt x="10" y="86"/>
                  </a:lnTo>
                  <a:lnTo>
                    <a:pt x="12" y="88"/>
                  </a:lnTo>
                  <a:lnTo>
                    <a:pt x="14" y="90"/>
                  </a:lnTo>
                  <a:lnTo>
                    <a:pt x="16" y="90"/>
                  </a:lnTo>
                  <a:lnTo>
                    <a:pt x="20" y="90"/>
                  </a:lnTo>
                  <a:lnTo>
                    <a:pt x="30" y="90"/>
                  </a:lnTo>
                  <a:lnTo>
                    <a:pt x="42" y="90"/>
                  </a:lnTo>
                  <a:lnTo>
                    <a:pt x="50" y="88"/>
                  </a:lnTo>
                  <a:lnTo>
                    <a:pt x="52" y="86"/>
                  </a:lnTo>
                  <a:lnTo>
                    <a:pt x="56" y="84"/>
                  </a:lnTo>
                  <a:lnTo>
                    <a:pt x="60" y="82"/>
                  </a:lnTo>
                  <a:lnTo>
                    <a:pt x="64" y="80"/>
                  </a:lnTo>
                  <a:lnTo>
                    <a:pt x="68" y="78"/>
                  </a:lnTo>
                  <a:lnTo>
                    <a:pt x="70" y="76"/>
                  </a:lnTo>
                  <a:lnTo>
                    <a:pt x="70" y="76"/>
                  </a:lnTo>
                  <a:lnTo>
                    <a:pt x="78" y="50"/>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599" name="Freeform 556"/>
            <p:cNvSpPr/>
            <p:nvPr/>
          </p:nvSpPr>
          <p:spPr bwMode="gray">
            <a:xfrm>
              <a:off x="5970932" y="2223078"/>
              <a:ext cx="2025428" cy="1380212"/>
            </a:xfrm>
            <a:custGeom>
              <a:gdLst>
                <a:gd fmla="*/ 944 w 1094" name="T0"/>
                <a:gd fmla="*/ 658 h 746" name="T1"/>
                <a:gd fmla="*/ 978 w 1094" name="T2"/>
                <a:gd fmla="*/ 698 h 746" name="T3"/>
                <a:gd fmla="*/ 1002 w 1094" name="T4"/>
                <a:gd fmla="*/ 710 h 746" name="T5"/>
                <a:gd fmla="*/ 978 w 1094" name="T6"/>
                <a:gd fmla="*/ 672 h 746" name="T7"/>
                <a:gd fmla="*/ 970 w 1094" name="T8"/>
                <a:gd fmla="*/ 640 h 746" name="T9"/>
                <a:gd fmla="*/ 930 w 1094" name="T10"/>
                <a:gd fmla="*/ 638 h 746" name="T11"/>
                <a:gd fmla="*/ 1022 w 1094" name="T12"/>
                <a:gd fmla="*/ 600 h 746" name="T13"/>
                <a:gd fmla="*/ 1082 w 1094" name="T14"/>
                <a:gd fmla="*/ 568 h 746" name="T15"/>
                <a:gd fmla="*/ 1070 w 1094" name="T16"/>
                <a:gd fmla="*/ 500 h 746" name="T17"/>
                <a:gd fmla="*/ 1024 w 1094" name="T18"/>
                <a:gd fmla="*/ 460 h 746" name="T19"/>
                <a:gd fmla="*/ 974 w 1094" name="T20"/>
                <a:gd fmla="*/ 372 h 746" name="T21"/>
                <a:gd fmla="*/ 916 w 1094" name="T22"/>
                <a:gd fmla="*/ 354 h 746" name="T23"/>
                <a:gd fmla="*/ 878 w 1094" name="T24"/>
                <a:gd fmla="*/ 312 h 746" name="T25"/>
                <a:gd fmla="*/ 806 w 1094" name="T26"/>
                <a:gd fmla="*/ 332 h 746" name="T27"/>
                <a:gd fmla="*/ 816 w 1094" name="T28"/>
                <a:gd fmla="*/ 458 h 746" name="T29"/>
                <a:gd fmla="*/ 790 w 1094" name="T30"/>
                <a:gd fmla="*/ 510 h 746" name="T31"/>
                <a:gd fmla="*/ 792 w 1094" name="T32"/>
                <a:gd fmla="*/ 576 h 746" name="T33"/>
                <a:gd fmla="*/ 758 w 1094" name="T34"/>
                <a:gd fmla="*/ 556 h 746" name="T35"/>
                <a:gd fmla="*/ 736 w 1094" name="T36"/>
                <a:gd fmla="*/ 496 h 746" name="T37"/>
                <a:gd fmla="*/ 640 w 1094" name="T38"/>
                <a:gd fmla="*/ 440 h 746" name="T39"/>
                <a:gd fmla="*/ 592 w 1094" name="T40"/>
                <a:gd fmla="*/ 392 h 746" name="T41"/>
                <a:gd fmla="*/ 644 w 1094" name="T42"/>
                <a:gd fmla="*/ 298 h 746" name="T43"/>
                <a:gd fmla="*/ 682 w 1094" name="T44"/>
                <a:gd fmla="*/ 266 h 746" name="T45"/>
                <a:gd fmla="*/ 672 w 1094" name="T46"/>
                <a:gd fmla="*/ 194 h 746" name="T47"/>
                <a:gd fmla="*/ 738 w 1094" name="T48"/>
                <a:gd fmla="*/ 194 h 746" name="T49"/>
                <a:gd fmla="*/ 774 w 1094" name="T50"/>
                <a:gd fmla="*/ 156 h 746" name="T51"/>
                <a:gd fmla="*/ 768 w 1094" name="T52"/>
                <a:gd fmla="*/ 114 h 746" name="T53"/>
                <a:gd fmla="*/ 744 w 1094" name="T54"/>
                <a:gd fmla="*/ 74 h 746" name="T55"/>
                <a:gd fmla="*/ 714 w 1094" name="T56"/>
                <a:gd fmla="*/ 138 h 746" name="T57"/>
                <a:gd fmla="*/ 686 w 1094" name="T58"/>
                <a:gd fmla="*/ 106 h 746" name="T59"/>
                <a:gd fmla="*/ 658 w 1094" name="T60"/>
                <a:gd fmla="*/ 100 h 746" name="T61"/>
                <a:gd fmla="*/ 644 w 1094" name="T62"/>
                <a:gd fmla="*/ 48 h 746" name="T63"/>
                <a:gd fmla="*/ 610 w 1094" name="T64"/>
                <a:gd fmla="*/ 4 h 746" name="T65"/>
                <a:gd fmla="*/ 598 w 1094" name="T66"/>
                <a:gd fmla="*/ 78 h 746" name="T67"/>
                <a:gd fmla="*/ 630 w 1094" name="T68"/>
                <a:gd fmla="*/ 122 h 746" name="T69"/>
                <a:gd fmla="*/ 584 w 1094" name="T70"/>
                <a:gd fmla="*/ 124 h 746" name="T71"/>
                <a:gd fmla="*/ 544 w 1094" name="T72"/>
                <a:gd fmla="*/ 152 h 746" name="T73"/>
                <a:gd fmla="*/ 502 w 1094" name="T74"/>
                <a:gd fmla="*/ 150 h 746" name="T75"/>
                <a:gd fmla="*/ 464 w 1094" name="T76"/>
                <a:gd fmla="*/ 122 h 746" name="T77"/>
                <a:gd fmla="*/ 424 w 1094" name="T78"/>
                <a:gd fmla="*/ 124 h 746" name="T79"/>
                <a:gd fmla="*/ 420 w 1094" name="T80"/>
                <a:gd fmla="*/ 186 h 746" name="T81"/>
                <a:gd fmla="*/ 380 w 1094" name="T82"/>
                <a:gd fmla="*/ 148 h 746" name="T83"/>
                <a:gd fmla="*/ 342 w 1094" name="T84"/>
                <a:gd fmla="*/ 138 h 746" name="T85"/>
                <a:gd fmla="*/ 328 w 1094" name="T86"/>
                <a:gd fmla="*/ 100 h 746" name="T87"/>
                <a:gd fmla="*/ 282 w 1094" name="T88"/>
                <a:gd fmla="*/ 84 h 746" name="T89"/>
                <a:gd fmla="*/ 220 w 1094" name="T90"/>
                <a:gd fmla="*/ 72 h 746" name="T91"/>
                <a:gd fmla="*/ 182 w 1094" name="T92"/>
                <a:gd fmla="*/ 44 h 746" name="T93"/>
                <a:gd fmla="*/ 166 w 1094" name="T94"/>
                <a:gd fmla="*/ 62 h 746" name="T95"/>
                <a:gd fmla="*/ 124 w 1094" name="T96"/>
                <a:gd fmla="*/ 78 h 746" name="T97"/>
                <a:gd fmla="*/ 22 w 1094" name="T98"/>
                <a:gd fmla="*/ 80 h 746" name="T99"/>
                <a:gd fmla="*/ 80 w 1094" name="T100"/>
                <a:gd fmla="*/ 388 h 746" name="T101"/>
                <a:gd fmla="*/ 152 w 1094" name="T102"/>
                <a:gd fmla="*/ 496 h 746" name="T103"/>
                <a:gd fmla="*/ 172 w 1094" name="T104"/>
                <a:gd fmla="*/ 572 h 746" name="T105"/>
                <a:gd fmla="*/ 638 w 1094" name="T106"/>
                <a:gd fmla="*/ 646 h 746" name="T107"/>
                <a:gd fmla="*/ 720 w 1094" name="T108"/>
                <a:gd fmla="*/ 648 h 746" name="T109"/>
                <a:gd fmla="*/ 756 w 1094" name="T110"/>
                <a:gd fmla="*/ 672 h 746" name="T111"/>
                <a:gd fmla="*/ 784 w 1094" name="T112"/>
                <a:gd fmla="*/ 704 h 746" name="T113"/>
                <a:gd fmla="*/ 752 w 1094" name="T114"/>
                <a:gd fmla="*/ 722 h 746" name="T115"/>
                <a:gd fmla="*/ 750 w 1094" name="T116"/>
                <a:gd fmla="*/ 744 h 746" name="T117"/>
                <a:gd fmla="*/ 798 w 1094" name="T118"/>
                <a:gd fmla="*/ 722 h 746" name="T119"/>
                <a:gd fmla="*/ 840 w 1094" name="T120"/>
                <a:gd fmla="*/ 698 h 746"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746" w="1094">
                  <a:moveTo>
                    <a:pt x="850" y="702"/>
                  </a:moveTo>
                  <a:lnTo>
                    <a:pt x="864" y="690"/>
                  </a:lnTo>
                  <a:lnTo>
                    <a:pt x="880" y="682"/>
                  </a:lnTo>
                  <a:lnTo>
                    <a:pt x="894" y="680"/>
                  </a:lnTo>
                  <a:lnTo>
                    <a:pt x="906" y="678"/>
                  </a:lnTo>
                  <a:lnTo>
                    <a:pt x="910" y="678"/>
                  </a:lnTo>
                  <a:lnTo>
                    <a:pt x="916" y="668"/>
                  </a:lnTo>
                  <a:lnTo>
                    <a:pt x="920" y="662"/>
                  </a:lnTo>
                  <a:lnTo>
                    <a:pt x="924" y="658"/>
                  </a:lnTo>
                  <a:lnTo>
                    <a:pt x="928" y="656"/>
                  </a:lnTo>
                  <a:lnTo>
                    <a:pt x="932" y="654"/>
                  </a:lnTo>
                  <a:lnTo>
                    <a:pt x="934" y="654"/>
                  </a:lnTo>
                  <a:lnTo>
                    <a:pt x="936" y="656"/>
                  </a:lnTo>
                  <a:lnTo>
                    <a:pt x="936" y="656"/>
                  </a:lnTo>
                  <a:lnTo>
                    <a:pt x="938" y="656"/>
                  </a:lnTo>
                  <a:lnTo>
                    <a:pt x="944" y="658"/>
                  </a:lnTo>
                  <a:lnTo>
                    <a:pt x="946" y="666"/>
                  </a:lnTo>
                  <a:lnTo>
                    <a:pt x="944" y="674"/>
                  </a:lnTo>
                  <a:lnTo>
                    <a:pt x="940" y="682"/>
                  </a:lnTo>
                  <a:lnTo>
                    <a:pt x="938" y="688"/>
                  </a:lnTo>
                  <a:lnTo>
                    <a:pt x="936" y="690"/>
                  </a:lnTo>
                  <a:lnTo>
                    <a:pt x="946" y="698"/>
                  </a:lnTo>
                  <a:lnTo>
                    <a:pt x="956" y="700"/>
                  </a:lnTo>
                  <a:lnTo>
                    <a:pt x="964" y="696"/>
                  </a:lnTo>
                  <a:lnTo>
                    <a:pt x="970" y="692"/>
                  </a:lnTo>
                  <a:lnTo>
                    <a:pt x="972" y="690"/>
                  </a:lnTo>
                  <a:lnTo>
                    <a:pt x="978" y="690"/>
                  </a:lnTo>
                  <a:lnTo>
                    <a:pt x="980" y="690"/>
                  </a:lnTo>
                  <a:lnTo>
                    <a:pt x="982" y="692"/>
                  </a:lnTo>
                  <a:lnTo>
                    <a:pt x="982" y="694"/>
                  </a:lnTo>
                  <a:lnTo>
                    <a:pt x="980" y="696"/>
                  </a:lnTo>
                  <a:lnTo>
                    <a:pt x="978" y="698"/>
                  </a:lnTo>
                  <a:lnTo>
                    <a:pt x="976" y="700"/>
                  </a:lnTo>
                  <a:lnTo>
                    <a:pt x="974" y="702"/>
                  </a:lnTo>
                  <a:lnTo>
                    <a:pt x="972" y="702"/>
                  </a:lnTo>
                  <a:lnTo>
                    <a:pt x="972" y="702"/>
                  </a:lnTo>
                  <a:lnTo>
                    <a:pt x="966" y="706"/>
                  </a:lnTo>
                  <a:lnTo>
                    <a:pt x="962" y="708"/>
                  </a:lnTo>
                  <a:lnTo>
                    <a:pt x="960" y="712"/>
                  </a:lnTo>
                  <a:lnTo>
                    <a:pt x="960" y="714"/>
                  </a:lnTo>
                  <a:lnTo>
                    <a:pt x="960" y="718"/>
                  </a:lnTo>
                  <a:lnTo>
                    <a:pt x="960" y="720"/>
                  </a:lnTo>
                  <a:lnTo>
                    <a:pt x="962" y="722"/>
                  </a:lnTo>
                  <a:lnTo>
                    <a:pt x="962" y="722"/>
                  </a:lnTo>
                  <a:lnTo>
                    <a:pt x="968" y="722"/>
                  </a:lnTo>
                  <a:lnTo>
                    <a:pt x="980" y="718"/>
                  </a:lnTo>
                  <a:lnTo>
                    <a:pt x="992" y="714"/>
                  </a:lnTo>
                  <a:lnTo>
                    <a:pt x="1002" y="710"/>
                  </a:lnTo>
                  <a:lnTo>
                    <a:pt x="1006" y="708"/>
                  </a:lnTo>
                  <a:lnTo>
                    <a:pt x="1010" y="706"/>
                  </a:lnTo>
                  <a:lnTo>
                    <a:pt x="1012" y="704"/>
                  </a:lnTo>
                  <a:lnTo>
                    <a:pt x="1012" y="702"/>
                  </a:lnTo>
                  <a:lnTo>
                    <a:pt x="1010" y="700"/>
                  </a:lnTo>
                  <a:lnTo>
                    <a:pt x="1008" y="698"/>
                  </a:lnTo>
                  <a:lnTo>
                    <a:pt x="1006" y="696"/>
                  </a:lnTo>
                  <a:lnTo>
                    <a:pt x="1006" y="696"/>
                  </a:lnTo>
                  <a:lnTo>
                    <a:pt x="1004" y="696"/>
                  </a:lnTo>
                  <a:lnTo>
                    <a:pt x="1000" y="694"/>
                  </a:lnTo>
                  <a:lnTo>
                    <a:pt x="996" y="690"/>
                  </a:lnTo>
                  <a:lnTo>
                    <a:pt x="990" y="686"/>
                  </a:lnTo>
                  <a:lnTo>
                    <a:pt x="986" y="682"/>
                  </a:lnTo>
                  <a:lnTo>
                    <a:pt x="982" y="678"/>
                  </a:lnTo>
                  <a:lnTo>
                    <a:pt x="980" y="674"/>
                  </a:lnTo>
                  <a:lnTo>
                    <a:pt x="978" y="672"/>
                  </a:lnTo>
                  <a:lnTo>
                    <a:pt x="976" y="670"/>
                  </a:lnTo>
                  <a:lnTo>
                    <a:pt x="972" y="666"/>
                  </a:lnTo>
                  <a:lnTo>
                    <a:pt x="970" y="662"/>
                  </a:lnTo>
                  <a:lnTo>
                    <a:pt x="972" y="658"/>
                  </a:lnTo>
                  <a:lnTo>
                    <a:pt x="972" y="656"/>
                  </a:lnTo>
                  <a:lnTo>
                    <a:pt x="974" y="654"/>
                  </a:lnTo>
                  <a:lnTo>
                    <a:pt x="974" y="652"/>
                  </a:lnTo>
                  <a:lnTo>
                    <a:pt x="974" y="648"/>
                  </a:lnTo>
                  <a:lnTo>
                    <a:pt x="972" y="646"/>
                  </a:lnTo>
                  <a:lnTo>
                    <a:pt x="970" y="646"/>
                  </a:lnTo>
                  <a:lnTo>
                    <a:pt x="968" y="644"/>
                  </a:lnTo>
                  <a:lnTo>
                    <a:pt x="966" y="646"/>
                  </a:lnTo>
                  <a:lnTo>
                    <a:pt x="964" y="646"/>
                  </a:lnTo>
                  <a:lnTo>
                    <a:pt x="964" y="646"/>
                  </a:lnTo>
                  <a:lnTo>
                    <a:pt x="964" y="640"/>
                  </a:lnTo>
                  <a:lnTo>
                    <a:pt x="970" y="640"/>
                  </a:lnTo>
                  <a:lnTo>
                    <a:pt x="974" y="638"/>
                  </a:lnTo>
                  <a:lnTo>
                    <a:pt x="978" y="636"/>
                  </a:lnTo>
                  <a:lnTo>
                    <a:pt x="980" y="632"/>
                  </a:lnTo>
                  <a:lnTo>
                    <a:pt x="982" y="630"/>
                  </a:lnTo>
                  <a:lnTo>
                    <a:pt x="982" y="628"/>
                  </a:lnTo>
                  <a:lnTo>
                    <a:pt x="980" y="624"/>
                  </a:lnTo>
                  <a:lnTo>
                    <a:pt x="978" y="622"/>
                  </a:lnTo>
                  <a:lnTo>
                    <a:pt x="976" y="620"/>
                  </a:lnTo>
                  <a:lnTo>
                    <a:pt x="972" y="620"/>
                  </a:lnTo>
                  <a:lnTo>
                    <a:pt x="968" y="620"/>
                  </a:lnTo>
                  <a:lnTo>
                    <a:pt x="966" y="622"/>
                  </a:lnTo>
                  <a:lnTo>
                    <a:pt x="964" y="622"/>
                  </a:lnTo>
                  <a:lnTo>
                    <a:pt x="964" y="622"/>
                  </a:lnTo>
                  <a:lnTo>
                    <a:pt x="948" y="628"/>
                  </a:lnTo>
                  <a:lnTo>
                    <a:pt x="936" y="634"/>
                  </a:lnTo>
                  <a:lnTo>
                    <a:pt x="930" y="638"/>
                  </a:lnTo>
                  <a:lnTo>
                    <a:pt x="928" y="640"/>
                  </a:lnTo>
                  <a:lnTo>
                    <a:pt x="918" y="650"/>
                  </a:lnTo>
                  <a:lnTo>
                    <a:pt x="908" y="660"/>
                  </a:lnTo>
                  <a:lnTo>
                    <a:pt x="898" y="666"/>
                  </a:lnTo>
                  <a:lnTo>
                    <a:pt x="892" y="668"/>
                  </a:lnTo>
                  <a:lnTo>
                    <a:pt x="902" y="656"/>
                  </a:lnTo>
                  <a:lnTo>
                    <a:pt x="912" y="644"/>
                  </a:lnTo>
                  <a:lnTo>
                    <a:pt x="922" y="632"/>
                  </a:lnTo>
                  <a:lnTo>
                    <a:pt x="928" y="622"/>
                  </a:lnTo>
                  <a:lnTo>
                    <a:pt x="930" y="620"/>
                  </a:lnTo>
                  <a:lnTo>
                    <a:pt x="952" y="606"/>
                  </a:lnTo>
                  <a:lnTo>
                    <a:pt x="968" y="598"/>
                  </a:lnTo>
                  <a:lnTo>
                    <a:pt x="974" y="598"/>
                  </a:lnTo>
                  <a:lnTo>
                    <a:pt x="990" y="600"/>
                  </a:lnTo>
                  <a:lnTo>
                    <a:pt x="1006" y="600"/>
                  </a:lnTo>
                  <a:lnTo>
                    <a:pt x="1022" y="600"/>
                  </a:lnTo>
                  <a:lnTo>
                    <a:pt x="1034" y="598"/>
                  </a:lnTo>
                  <a:lnTo>
                    <a:pt x="1038" y="598"/>
                  </a:lnTo>
                  <a:lnTo>
                    <a:pt x="1046" y="596"/>
                  </a:lnTo>
                  <a:lnTo>
                    <a:pt x="1052" y="594"/>
                  </a:lnTo>
                  <a:lnTo>
                    <a:pt x="1056" y="590"/>
                  </a:lnTo>
                  <a:lnTo>
                    <a:pt x="1058" y="588"/>
                  </a:lnTo>
                  <a:lnTo>
                    <a:pt x="1060" y="584"/>
                  </a:lnTo>
                  <a:lnTo>
                    <a:pt x="1060" y="582"/>
                  </a:lnTo>
                  <a:lnTo>
                    <a:pt x="1060" y="580"/>
                  </a:lnTo>
                  <a:lnTo>
                    <a:pt x="1060" y="580"/>
                  </a:lnTo>
                  <a:lnTo>
                    <a:pt x="1064" y="574"/>
                  </a:lnTo>
                  <a:lnTo>
                    <a:pt x="1068" y="570"/>
                  </a:lnTo>
                  <a:lnTo>
                    <a:pt x="1072" y="568"/>
                  </a:lnTo>
                  <a:lnTo>
                    <a:pt x="1076" y="566"/>
                  </a:lnTo>
                  <a:lnTo>
                    <a:pt x="1080" y="566"/>
                  </a:lnTo>
                  <a:lnTo>
                    <a:pt x="1082" y="568"/>
                  </a:lnTo>
                  <a:lnTo>
                    <a:pt x="1082" y="568"/>
                  </a:lnTo>
                  <a:lnTo>
                    <a:pt x="1090" y="562"/>
                  </a:lnTo>
                  <a:lnTo>
                    <a:pt x="1094" y="552"/>
                  </a:lnTo>
                  <a:lnTo>
                    <a:pt x="1094" y="540"/>
                  </a:lnTo>
                  <a:lnTo>
                    <a:pt x="1092" y="530"/>
                  </a:lnTo>
                  <a:lnTo>
                    <a:pt x="1088" y="524"/>
                  </a:lnTo>
                  <a:lnTo>
                    <a:pt x="1084" y="520"/>
                  </a:lnTo>
                  <a:lnTo>
                    <a:pt x="1082" y="518"/>
                  </a:lnTo>
                  <a:lnTo>
                    <a:pt x="1078" y="518"/>
                  </a:lnTo>
                  <a:lnTo>
                    <a:pt x="1078" y="518"/>
                  </a:lnTo>
                  <a:lnTo>
                    <a:pt x="1076" y="510"/>
                  </a:lnTo>
                  <a:lnTo>
                    <a:pt x="1074" y="504"/>
                  </a:lnTo>
                  <a:lnTo>
                    <a:pt x="1072" y="502"/>
                  </a:lnTo>
                  <a:lnTo>
                    <a:pt x="1072" y="500"/>
                  </a:lnTo>
                  <a:lnTo>
                    <a:pt x="1072" y="500"/>
                  </a:lnTo>
                  <a:lnTo>
                    <a:pt x="1070" y="500"/>
                  </a:lnTo>
                  <a:lnTo>
                    <a:pt x="1052" y="500"/>
                  </a:lnTo>
                  <a:lnTo>
                    <a:pt x="1048" y="502"/>
                  </a:lnTo>
                  <a:lnTo>
                    <a:pt x="1046" y="504"/>
                  </a:lnTo>
                  <a:lnTo>
                    <a:pt x="1044" y="502"/>
                  </a:lnTo>
                  <a:lnTo>
                    <a:pt x="1042" y="502"/>
                  </a:lnTo>
                  <a:lnTo>
                    <a:pt x="1040" y="500"/>
                  </a:lnTo>
                  <a:lnTo>
                    <a:pt x="1040" y="500"/>
                  </a:lnTo>
                  <a:lnTo>
                    <a:pt x="1034" y="484"/>
                  </a:lnTo>
                  <a:lnTo>
                    <a:pt x="1030" y="468"/>
                  </a:lnTo>
                  <a:lnTo>
                    <a:pt x="1026" y="456"/>
                  </a:lnTo>
                  <a:lnTo>
                    <a:pt x="1024" y="452"/>
                  </a:lnTo>
                  <a:lnTo>
                    <a:pt x="1024" y="452"/>
                  </a:lnTo>
                  <a:lnTo>
                    <a:pt x="1024" y="454"/>
                  </a:lnTo>
                  <a:lnTo>
                    <a:pt x="1024" y="458"/>
                  </a:lnTo>
                  <a:lnTo>
                    <a:pt x="1024" y="460"/>
                  </a:lnTo>
                  <a:lnTo>
                    <a:pt x="1024" y="460"/>
                  </a:lnTo>
                  <a:lnTo>
                    <a:pt x="1024" y="460"/>
                  </a:lnTo>
                  <a:lnTo>
                    <a:pt x="1024" y="456"/>
                  </a:lnTo>
                  <a:lnTo>
                    <a:pt x="1022" y="448"/>
                  </a:lnTo>
                  <a:lnTo>
                    <a:pt x="1016" y="436"/>
                  </a:lnTo>
                  <a:lnTo>
                    <a:pt x="1010" y="422"/>
                  </a:lnTo>
                  <a:lnTo>
                    <a:pt x="1002" y="408"/>
                  </a:lnTo>
                  <a:lnTo>
                    <a:pt x="996" y="398"/>
                  </a:lnTo>
                  <a:lnTo>
                    <a:pt x="994" y="394"/>
                  </a:lnTo>
                  <a:lnTo>
                    <a:pt x="992" y="384"/>
                  </a:lnTo>
                  <a:lnTo>
                    <a:pt x="988" y="378"/>
                  </a:lnTo>
                  <a:lnTo>
                    <a:pt x="986" y="374"/>
                  </a:lnTo>
                  <a:lnTo>
                    <a:pt x="982" y="372"/>
                  </a:lnTo>
                  <a:lnTo>
                    <a:pt x="980" y="370"/>
                  </a:lnTo>
                  <a:lnTo>
                    <a:pt x="976" y="370"/>
                  </a:lnTo>
                  <a:lnTo>
                    <a:pt x="974" y="370"/>
                  </a:lnTo>
                  <a:lnTo>
                    <a:pt x="974" y="372"/>
                  </a:lnTo>
                  <a:lnTo>
                    <a:pt x="972" y="372"/>
                  </a:lnTo>
                  <a:lnTo>
                    <a:pt x="974" y="386"/>
                  </a:lnTo>
                  <a:lnTo>
                    <a:pt x="970" y="394"/>
                  </a:lnTo>
                  <a:lnTo>
                    <a:pt x="964" y="400"/>
                  </a:lnTo>
                  <a:lnTo>
                    <a:pt x="958" y="404"/>
                  </a:lnTo>
                  <a:lnTo>
                    <a:pt x="954" y="404"/>
                  </a:lnTo>
                  <a:lnTo>
                    <a:pt x="942" y="408"/>
                  </a:lnTo>
                  <a:lnTo>
                    <a:pt x="932" y="408"/>
                  </a:lnTo>
                  <a:lnTo>
                    <a:pt x="926" y="404"/>
                  </a:lnTo>
                  <a:lnTo>
                    <a:pt x="924" y="400"/>
                  </a:lnTo>
                  <a:lnTo>
                    <a:pt x="922" y="398"/>
                  </a:lnTo>
                  <a:lnTo>
                    <a:pt x="918" y="388"/>
                  </a:lnTo>
                  <a:lnTo>
                    <a:pt x="918" y="378"/>
                  </a:lnTo>
                  <a:lnTo>
                    <a:pt x="920" y="370"/>
                  </a:lnTo>
                  <a:lnTo>
                    <a:pt x="922" y="366"/>
                  </a:lnTo>
                  <a:lnTo>
                    <a:pt x="916" y="354"/>
                  </a:lnTo>
                  <a:lnTo>
                    <a:pt x="918" y="350"/>
                  </a:lnTo>
                  <a:lnTo>
                    <a:pt x="918" y="348"/>
                  </a:lnTo>
                  <a:lnTo>
                    <a:pt x="918" y="344"/>
                  </a:lnTo>
                  <a:lnTo>
                    <a:pt x="916" y="342"/>
                  </a:lnTo>
                  <a:lnTo>
                    <a:pt x="916" y="342"/>
                  </a:lnTo>
                  <a:lnTo>
                    <a:pt x="912" y="340"/>
                  </a:lnTo>
                  <a:lnTo>
                    <a:pt x="908" y="338"/>
                  </a:lnTo>
                  <a:lnTo>
                    <a:pt x="904" y="334"/>
                  </a:lnTo>
                  <a:lnTo>
                    <a:pt x="900" y="332"/>
                  </a:lnTo>
                  <a:lnTo>
                    <a:pt x="898" y="328"/>
                  </a:lnTo>
                  <a:lnTo>
                    <a:pt x="896" y="326"/>
                  </a:lnTo>
                  <a:lnTo>
                    <a:pt x="894" y="326"/>
                  </a:lnTo>
                  <a:lnTo>
                    <a:pt x="890" y="320"/>
                  </a:lnTo>
                  <a:lnTo>
                    <a:pt x="886" y="316"/>
                  </a:lnTo>
                  <a:lnTo>
                    <a:pt x="882" y="314"/>
                  </a:lnTo>
                  <a:lnTo>
                    <a:pt x="878" y="312"/>
                  </a:lnTo>
                  <a:lnTo>
                    <a:pt x="874" y="312"/>
                  </a:lnTo>
                  <a:lnTo>
                    <a:pt x="870" y="312"/>
                  </a:lnTo>
                  <a:lnTo>
                    <a:pt x="870" y="312"/>
                  </a:lnTo>
                  <a:lnTo>
                    <a:pt x="830" y="310"/>
                  </a:lnTo>
                  <a:lnTo>
                    <a:pt x="826" y="308"/>
                  </a:lnTo>
                  <a:lnTo>
                    <a:pt x="820" y="308"/>
                  </a:lnTo>
                  <a:lnTo>
                    <a:pt x="818" y="308"/>
                  </a:lnTo>
                  <a:lnTo>
                    <a:pt x="814" y="312"/>
                  </a:lnTo>
                  <a:lnTo>
                    <a:pt x="812" y="314"/>
                  </a:lnTo>
                  <a:lnTo>
                    <a:pt x="810" y="318"/>
                  </a:lnTo>
                  <a:lnTo>
                    <a:pt x="810" y="320"/>
                  </a:lnTo>
                  <a:lnTo>
                    <a:pt x="810" y="324"/>
                  </a:lnTo>
                  <a:lnTo>
                    <a:pt x="810" y="324"/>
                  </a:lnTo>
                  <a:lnTo>
                    <a:pt x="808" y="326"/>
                  </a:lnTo>
                  <a:lnTo>
                    <a:pt x="806" y="328"/>
                  </a:lnTo>
                  <a:lnTo>
                    <a:pt x="806" y="332"/>
                  </a:lnTo>
                  <a:lnTo>
                    <a:pt x="806" y="336"/>
                  </a:lnTo>
                  <a:lnTo>
                    <a:pt x="806" y="340"/>
                  </a:lnTo>
                  <a:lnTo>
                    <a:pt x="806" y="342"/>
                  </a:lnTo>
                  <a:lnTo>
                    <a:pt x="806" y="344"/>
                  </a:lnTo>
                  <a:lnTo>
                    <a:pt x="810" y="348"/>
                  </a:lnTo>
                  <a:lnTo>
                    <a:pt x="812" y="354"/>
                  </a:lnTo>
                  <a:lnTo>
                    <a:pt x="814" y="358"/>
                  </a:lnTo>
                  <a:lnTo>
                    <a:pt x="814" y="362"/>
                  </a:lnTo>
                  <a:lnTo>
                    <a:pt x="814" y="366"/>
                  </a:lnTo>
                  <a:lnTo>
                    <a:pt x="808" y="388"/>
                  </a:lnTo>
                  <a:lnTo>
                    <a:pt x="804" y="402"/>
                  </a:lnTo>
                  <a:lnTo>
                    <a:pt x="802" y="408"/>
                  </a:lnTo>
                  <a:lnTo>
                    <a:pt x="806" y="416"/>
                  </a:lnTo>
                  <a:lnTo>
                    <a:pt x="810" y="430"/>
                  </a:lnTo>
                  <a:lnTo>
                    <a:pt x="814" y="446"/>
                  </a:lnTo>
                  <a:lnTo>
                    <a:pt x="816" y="458"/>
                  </a:lnTo>
                  <a:lnTo>
                    <a:pt x="818" y="462"/>
                  </a:lnTo>
                  <a:lnTo>
                    <a:pt x="818" y="470"/>
                  </a:lnTo>
                  <a:lnTo>
                    <a:pt x="816" y="474"/>
                  </a:lnTo>
                  <a:lnTo>
                    <a:pt x="814" y="478"/>
                  </a:lnTo>
                  <a:lnTo>
                    <a:pt x="812" y="482"/>
                  </a:lnTo>
                  <a:lnTo>
                    <a:pt x="810" y="482"/>
                  </a:lnTo>
                  <a:lnTo>
                    <a:pt x="808" y="484"/>
                  </a:lnTo>
                  <a:lnTo>
                    <a:pt x="806" y="484"/>
                  </a:lnTo>
                  <a:lnTo>
                    <a:pt x="804" y="490"/>
                  </a:lnTo>
                  <a:lnTo>
                    <a:pt x="800" y="496"/>
                  </a:lnTo>
                  <a:lnTo>
                    <a:pt x="796" y="500"/>
                  </a:lnTo>
                  <a:lnTo>
                    <a:pt x="792" y="502"/>
                  </a:lnTo>
                  <a:lnTo>
                    <a:pt x="788" y="504"/>
                  </a:lnTo>
                  <a:lnTo>
                    <a:pt x="788" y="504"/>
                  </a:lnTo>
                  <a:lnTo>
                    <a:pt x="790" y="506"/>
                  </a:lnTo>
                  <a:lnTo>
                    <a:pt x="790" y="510"/>
                  </a:lnTo>
                  <a:lnTo>
                    <a:pt x="790" y="514"/>
                  </a:lnTo>
                  <a:lnTo>
                    <a:pt x="790" y="520"/>
                  </a:lnTo>
                  <a:lnTo>
                    <a:pt x="790" y="524"/>
                  </a:lnTo>
                  <a:lnTo>
                    <a:pt x="790" y="530"/>
                  </a:lnTo>
                  <a:lnTo>
                    <a:pt x="790" y="532"/>
                  </a:lnTo>
                  <a:lnTo>
                    <a:pt x="790" y="534"/>
                  </a:lnTo>
                  <a:lnTo>
                    <a:pt x="790" y="540"/>
                  </a:lnTo>
                  <a:lnTo>
                    <a:pt x="792" y="544"/>
                  </a:lnTo>
                  <a:lnTo>
                    <a:pt x="794" y="548"/>
                  </a:lnTo>
                  <a:lnTo>
                    <a:pt x="798" y="552"/>
                  </a:lnTo>
                  <a:lnTo>
                    <a:pt x="800" y="554"/>
                  </a:lnTo>
                  <a:lnTo>
                    <a:pt x="800" y="554"/>
                  </a:lnTo>
                  <a:lnTo>
                    <a:pt x="800" y="562"/>
                  </a:lnTo>
                  <a:lnTo>
                    <a:pt x="798" y="568"/>
                  </a:lnTo>
                  <a:lnTo>
                    <a:pt x="794" y="572"/>
                  </a:lnTo>
                  <a:lnTo>
                    <a:pt x="792" y="576"/>
                  </a:lnTo>
                  <a:lnTo>
                    <a:pt x="790" y="578"/>
                  </a:lnTo>
                  <a:lnTo>
                    <a:pt x="790" y="578"/>
                  </a:lnTo>
                  <a:lnTo>
                    <a:pt x="786" y="582"/>
                  </a:lnTo>
                  <a:lnTo>
                    <a:pt x="782" y="584"/>
                  </a:lnTo>
                  <a:lnTo>
                    <a:pt x="778" y="584"/>
                  </a:lnTo>
                  <a:lnTo>
                    <a:pt x="776" y="582"/>
                  </a:lnTo>
                  <a:lnTo>
                    <a:pt x="774" y="580"/>
                  </a:lnTo>
                  <a:lnTo>
                    <a:pt x="772" y="578"/>
                  </a:lnTo>
                  <a:lnTo>
                    <a:pt x="770" y="576"/>
                  </a:lnTo>
                  <a:lnTo>
                    <a:pt x="770" y="574"/>
                  </a:lnTo>
                  <a:lnTo>
                    <a:pt x="768" y="570"/>
                  </a:lnTo>
                  <a:lnTo>
                    <a:pt x="766" y="566"/>
                  </a:lnTo>
                  <a:lnTo>
                    <a:pt x="764" y="562"/>
                  </a:lnTo>
                  <a:lnTo>
                    <a:pt x="764" y="560"/>
                  </a:lnTo>
                  <a:lnTo>
                    <a:pt x="762" y="558"/>
                  </a:lnTo>
                  <a:lnTo>
                    <a:pt x="758" y="556"/>
                  </a:lnTo>
                  <a:lnTo>
                    <a:pt x="754" y="554"/>
                  </a:lnTo>
                  <a:lnTo>
                    <a:pt x="752" y="550"/>
                  </a:lnTo>
                  <a:lnTo>
                    <a:pt x="752" y="548"/>
                  </a:lnTo>
                  <a:lnTo>
                    <a:pt x="752" y="546"/>
                  </a:lnTo>
                  <a:lnTo>
                    <a:pt x="752" y="544"/>
                  </a:lnTo>
                  <a:lnTo>
                    <a:pt x="752" y="542"/>
                  </a:lnTo>
                  <a:lnTo>
                    <a:pt x="750" y="540"/>
                  </a:lnTo>
                  <a:lnTo>
                    <a:pt x="748" y="534"/>
                  </a:lnTo>
                  <a:lnTo>
                    <a:pt x="746" y="530"/>
                  </a:lnTo>
                  <a:lnTo>
                    <a:pt x="746" y="524"/>
                  </a:lnTo>
                  <a:lnTo>
                    <a:pt x="744" y="522"/>
                  </a:lnTo>
                  <a:lnTo>
                    <a:pt x="744" y="520"/>
                  </a:lnTo>
                  <a:lnTo>
                    <a:pt x="744" y="510"/>
                  </a:lnTo>
                  <a:lnTo>
                    <a:pt x="742" y="504"/>
                  </a:lnTo>
                  <a:lnTo>
                    <a:pt x="738" y="500"/>
                  </a:lnTo>
                  <a:lnTo>
                    <a:pt x="736" y="496"/>
                  </a:lnTo>
                  <a:lnTo>
                    <a:pt x="732" y="494"/>
                  </a:lnTo>
                  <a:lnTo>
                    <a:pt x="730" y="492"/>
                  </a:lnTo>
                  <a:lnTo>
                    <a:pt x="728" y="492"/>
                  </a:lnTo>
                  <a:lnTo>
                    <a:pt x="726" y="492"/>
                  </a:lnTo>
                  <a:lnTo>
                    <a:pt x="726" y="492"/>
                  </a:lnTo>
                  <a:lnTo>
                    <a:pt x="714" y="490"/>
                  </a:lnTo>
                  <a:lnTo>
                    <a:pt x="702" y="490"/>
                  </a:lnTo>
                  <a:lnTo>
                    <a:pt x="690" y="492"/>
                  </a:lnTo>
                  <a:lnTo>
                    <a:pt x="686" y="492"/>
                  </a:lnTo>
                  <a:lnTo>
                    <a:pt x="670" y="488"/>
                  </a:lnTo>
                  <a:lnTo>
                    <a:pt x="660" y="478"/>
                  </a:lnTo>
                  <a:lnTo>
                    <a:pt x="652" y="468"/>
                  </a:lnTo>
                  <a:lnTo>
                    <a:pt x="650" y="458"/>
                  </a:lnTo>
                  <a:lnTo>
                    <a:pt x="650" y="456"/>
                  </a:lnTo>
                  <a:lnTo>
                    <a:pt x="644" y="446"/>
                  </a:lnTo>
                  <a:lnTo>
                    <a:pt x="640" y="440"/>
                  </a:lnTo>
                  <a:lnTo>
                    <a:pt x="636" y="434"/>
                  </a:lnTo>
                  <a:lnTo>
                    <a:pt x="630" y="430"/>
                  </a:lnTo>
                  <a:lnTo>
                    <a:pt x="628" y="428"/>
                  </a:lnTo>
                  <a:lnTo>
                    <a:pt x="624" y="428"/>
                  </a:lnTo>
                  <a:lnTo>
                    <a:pt x="624" y="428"/>
                  </a:lnTo>
                  <a:lnTo>
                    <a:pt x="622" y="420"/>
                  </a:lnTo>
                  <a:lnTo>
                    <a:pt x="620" y="416"/>
                  </a:lnTo>
                  <a:lnTo>
                    <a:pt x="618" y="412"/>
                  </a:lnTo>
                  <a:lnTo>
                    <a:pt x="618" y="412"/>
                  </a:lnTo>
                  <a:lnTo>
                    <a:pt x="616" y="410"/>
                  </a:lnTo>
                  <a:lnTo>
                    <a:pt x="608" y="412"/>
                  </a:lnTo>
                  <a:lnTo>
                    <a:pt x="602" y="410"/>
                  </a:lnTo>
                  <a:lnTo>
                    <a:pt x="598" y="408"/>
                  </a:lnTo>
                  <a:lnTo>
                    <a:pt x="594" y="402"/>
                  </a:lnTo>
                  <a:lnTo>
                    <a:pt x="592" y="398"/>
                  </a:lnTo>
                  <a:lnTo>
                    <a:pt x="592" y="392"/>
                  </a:lnTo>
                  <a:lnTo>
                    <a:pt x="590" y="388"/>
                  </a:lnTo>
                  <a:lnTo>
                    <a:pt x="590" y="386"/>
                  </a:lnTo>
                  <a:lnTo>
                    <a:pt x="590" y="384"/>
                  </a:lnTo>
                  <a:lnTo>
                    <a:pt x="592" y="372"/>
                  </a:lnTo>
                  <a:lnTo>
                    <a:pt x="598" y="358"/>
                  </a:lnTo>
                  <a:lnTo>
                    <a:pt x="608" y="342"/>
                  </a:lnTo>
                  <a:lnTo>
                    <a:pt x="618" y="330"/>
                  </a:lnTo>
                  <a:lnTo>
                    <a:pt x="624" y="320"/>
                  </a:lnTo>
                  <a:lnTo>
                    <a:pt x="628" y="318"/>
                  </a:lnTo>
                  <a:lnTo>
                    <a:pt x="634" y="316"/>
                  </a:lnTo>
                  <a:lnTo>
                    <a:pt x="638" y="312"/>
                  </a:lnTo>
                  <a:lnTo>
                    <a:pt x="642" y="308"/>
                  </a:lnTo>
                  <a:lnTo>
                    <a:pt x="644" y="306"/>
                  </a:lnTo>
                  <a:lnTo>
                    <a:pt x="644" y="304"/>
                  </a:lnTo>
                  <a:lnTo>
                    <a:pt x="646" y="302"/>
                  </a:lnTo>
                  <a:lnTo>
                    <a:pt x="644" y="298"/>
                  </a:lnTo>
                  <a:lnTo>
                    <a:pt x="644" y="296"/>
                  </a:lnTo>
                  <a:lnTo>
                    <a:pt x="646" y="294"/>
                  </a:lnTo>
                  <a:lnTo>
                    <a:pt x="646" y="292"/>
                  </a:lnTo>
                  <a:lnTo>
                    <a:pt x="648" y="292"/>
                  </a:lnTo>
                  <a:lnTo>
                    <a:pt x="650" y="292"/>
                  </a:lnTo>
                  <a:lnTo>
                    <a:pt x="652" y="290"/>
                  </a:lnTo>
                  <a:lnTo>
                    <a:pt x="656" y="292"/>
                  </a:lnTo>
                  <a:lnTo>
                    <a:pt x="662" y="292"/>
                  </a:lnTo>
                  <a:lnTo>
                    <a:pt x="666" y="294"/>
                  </a:lnTo>
                  <a:lnTo>
                    <a:pt x="670" y="296"/>
                  </a:lnTo>
                  <a:lnTo>
                    <a:pt x="672" y="296"/>
                  </a:lnTo>
                  <a:lnTo>
                    <a:pt x="674" y="298"/>
                  </a:lnTo>
                  <a:lnTo>
                    <a:pt x="678" y="292"/>
                  </a:lnTo>
                  <a:lnTo>
                    <a:pt x="682" y="282"/>
                  </a:lnTo>
                  <a:lnTo>
                    <a:pt x="682" y="270"/>
                  </a:lnTo>
                  <a:lnTo>
                    <a:pt x="682" y="266"/>
                  </a:lnTo>
                  <a:lnTo>
                    <a:pt x="684" y="250"/>
                  </a:lnTo>
                  <a:lnTo>
                    <a:pt x="690" y="238"/>
                  </a:lnTo>
                  <a:lnTo>
                    <a:pt x="698" y="230"/>
                  </a:lnTo>
                  <a:lnTo>
                    <a:pt x="700" y="226"/>
                  </a:lnTo>
                  <a:lnTo>
                    <a:pt x="702" y="220"/>
                  </a:lnTo>
                  <a:lnTo>
                    <a:pt x="704" y="218"/>
                  </a:lnTo>
                  <a:lnTo>
                    <a:pt x="704" y="216"/>
                  </a:lnTo>
                  <a:lnTo>
                    <a:pt x="702" y="214"/>
                  </a:lnTo>
                  <a:lnTo>
                    <a:pt x="702" y="214"/>
                  </a:lnTo>
                  <a:lnTo>
                    <a:pt x="700" y="214"/>
                  </a:lnTo>
                  <a:lnTo>
                    <a:pt x="700" y="214"/>
                  </a:lnTo>
                  <a:lnTo>
                    <a:pt x="698" y="216"/>
                  </a:lnTo>
                  <a:lnTo>
                    <a:pt x="668" y="200"/>
                  </a:lnTo>
                  <a:lnTo>
                    <a:pt x="668" y="196"/>
                  </a:lnTo>
                  <a:lnTo>
                    <a:pt x="670" y="196"/>
                  </a:lnTo>
                  <a:lnTo>
                    <a:pt x="672" y="194"/>
                  </a:lnTo>
                  <a:lnTo>
                    <a:pt x="676" y="194"/>
                  </a:lnTo>
                  <a:lnTo>
                    <a:pt x="680" y="194"/>
                  </a:lnTo>
                  <a:lnTo>
                    <a:pt x="684" y="196"/>
                  </a:lnTo>
                  <a:lnTo>
                    <a:pt x="688" y="196"/>
                  </a:lnTo>
                  <a:lnTo>
                    <a:pt x="692" y="196"/>
                  </a:lnTo>
                  <a:lnTo>
                    <a:pt x="694" y="198"/>
                  </a:lnTo>
                  <a:lnTo>
                    <a:pt x="696" y="198"/>
                  </a:lnTo>
                  <a:lnTo>
                    <a:pt x="700" y="196"/>
                  </a:lnTo>
                  <a:lnTo>
                    <a:pt x="704" y="196"/>
                  </a:lnTo>
                  <a:lnTo>
                    <a:pt x="710" y="198"/>
                  </a:lnTo>
                  <a:lnTo>
                    <a:pt x="716" y="198"/>
                  </a:lnTo>
                  <a:lnTo>
                    <a:pt x="720" y="200"/>
                  </a:lnTo>
                  <a:lnTo>
                    <a:pt x="724" y="200"/>
                  </a:lnTo>
                  <a:lnTo>
                    <a:pt x="726" y="202"/>
                  </a:lnTo>
                  <a:lnTo>
                    <a:pt x="732" y="190"/>
                  </a:lnTo>
                  <a:lnTo>
                    <a:pt x="738" y="194"/>
                  </a:lnTo>
                  <a:lnTo>
                    <a:pt x="744" y="194"/>
                  </a:lnTo>
                  <a:lnTo>
                    <a:pt x="748" y="194"/>
                  </a:lnTo>
                  <a:lnTo>
                    <a:pt x="752" y="192"/>
                  </a:lnTo>
                  <a:lnTo>
                    <a:pt x="754" y="190"/>
                  </a:lnTo>
                  <a:lnTo>
                    <a:pt x="756" y="190"/>
                  </a:lnTo>
                  <a:lnTo>
                    <a:pt x="756" y="190"/>
                  </a:lnTo>
                  <a:lnTo>
                    <a:pt x="758" y="186"/>
                  </a:lnTo>
                  <a:lnTo>
                    <a:pt x="760" y="182"/>
                  </a:lnTo>
                  <a:lnTo>
                    <a:pt x="762" y="178"/>
                  </a:lnTo>
                  <a:lnTo>
                    <a:pt x="764" y="174"/>
                  </a:lnTo>
                  <a:lnTo>
                    <a:pt x="766" y="170"/>
                  </a:lnTo>
                  <a:lnTo>
                    <a:pt x="770" y="168"/>
                  </a:lnTo>
                  <a:lnTo>
                    <a:pt x="770" y="168"/>
                  </a:lnTo>
                  <a:lnTo>
                    <a:pt x="772" y="166"/>
                  </a:lnTo>
                  <a:lnTo>
                    <a:pt x="772" y="162"/>
                  </a:lnTo>
                  <a:lnTo>
                    <a:pt x="774" y="156"/>
                  </a:lnTo>
                  <a:lnTo>
                    <a:pt x="774" y="152"/>
                  </a:lnTo>
                  <a:lnTo>
                    <a:pt x="772" y="146"/>
                  </a:lnTo>
                  <a:lnTo>
                    <a:pt x="770" y="140"/>
                  </a:lnTo>
                  <a:lnTo>
                    <a:pt x="770" y="140"/>
                  </a:lnTo>
                  <a:lnTo>
                    <a:pt x="768" y="138"/>
                  </a:lnTo>
                  <a:lnTo>
                    <a:pt x="764" y="136"/>
                  </a:lnTo>
                  <a:lnTo>
                    <a:pt x="762" y="134"/>
                  </a:lnTo>
                  <a:lnTo>
                    <a:pt x="758" y="132"/>
                  </a:lnTo>
                  <a:lnTo>
                    <a:pt x="756" y="128"/>
                  </a:lnTo>
                  <a:lnTo>
                    <a:pt x="756" y="124"/>
                  </a:lnTo>
                  <a:lnTo>
                    <a:pt x="756" y="120"/>
                  </a:lnTo>
                  <a:lnTo>
                    <a:pt x="758" y="118"/>
                  </a:lnTo>
                  <a:lnTo>
                    <a:pt x="764" y="114"/>
                  </a:lnTo>
                  <a:lnTo>
                    <a:pt x="764" y="114"/>
                  </a:lnTo>
                  <a:lnTo>
                    <a:pt x="766" y="114"/>
                  </a:lnTo>
                  <a:lnTo>
                    <a:pt x="768" y="114"/>
                  </a:lnTo>
                  <a:lnTo>
                    <a:pt x="770" y="114"/>
                  </a:lnTo>
                  <a:lnTo>
                    <a:pt x="772" y="112"/>
                  </a:lnTo>
                  <a:lnTo>
                    <a:pt x="774" y="110"/>
                  </a:lnTo>
                  <a:lnTo>
                    <a:pt x="774" y="106"/>
                  </a:lnTo>
                  <a:lnTo>
                    <a:pt x="774" y="102"/>
                  </a:lnTo>
                  <a:lnTo>
                    <a:pt x="772" y="100"/>
                  </a:lnTo>
                  <a:lnTo>
                    <a:pt x="772" y="100"/>
                  </a:lnTo>
                  <a:lnTo>
                    <a:pt x="770" y="98"/>
                  </a:lnTo>
                  <a:lnTo>
                    <a:pt x="766" y="96"/>
                  </a:lnTo>
                  <a:lnTo>
                    <a:pt x="764" y="94"/>
                  </a:lnTo>
                  <a:lnTo>
                    <a:pt x="762" y="94"/>
                  </a:lnTo>
                  <a:lnTo>
                    <a:pt x="760" y="96"/>
                  </a:lnTo>
                  <a:lnTo>
                    <a:pt x="758" y="72"/>
                  </a:lnTo>
                  <a:lnTo>
                    <a:pt x="754" y="74"/>
                  </a:lnTo>
                  <a:lnTo>
                    <a:pt x="750" y="74"/>
                  </a:lnTo>
                  <a:lnTo>
                    <a:pt x="744" y="74"/>
                  </a:lnTo>
                  <a:lnTo>
                    <a:pt x="740" y="72"/>
                  </a:lnTo>
                  <a:lnTo>
                    <a:pt x="736" y="70"/>
                  </a:lnTo>
                  <a:lnTo>
                    <a:pt x="732" y="70"/>
                  </a:lnTo>
                  <a:lnTo>
                    <a:pt x="730" y="70"/>
                  </a:lnTo>
                  <a:lnTo>
                    <a:pt x="734" y="100"/>
                  </a:lnTo>
                  <a:lnTo>
                    <a:pt x="734" y="100"/>
                  </a:lnTo>
                  <a:lnTo>
                    <a:pt x="732" y="102"/>
                  </a:lnTo>
                  <a:lnTo>
                    <a:pt x="728" y="106"/>
                  </a:lnTo>
                  <a:lnTo>
                    <a:pt x="726" y="112"/>
                  </a:lnTo>
                  <a:lnTo>
                    <a:pt x="722" y="120"/>
                  </a:lnTo>
                  <a:lnTo>
                    <a:pt x="718" y="132"/>
                  </a:lnTo>
                  <a:lnTo>
                    <a:pt x="718" y="132"/>
                  </a:lnTo>
                  <a:lnTo>
                    <a:pt x="718" y="134"/>
                  </a:lnTo>
                  <a:lnTo>
                    <a:pt x="716" y="136"/>
                  </a:lnTo>
                  <a:lnTo>
                    <a:pt x="714" y="138"/>
                  </a:lnTo>
                  <a:lnTo>
                    <a:pt x="714" y="138"/>
                  </a:lnTo>
                  <a:lnTo>
                    <a:pt x="710" y="140"/>
                  </a:lnTo>
                  <a:lnTo>
                    <a:pt x="708" y="138"/>
                  </a:lnTo>
                  <a:lnTo>
                    <a:pt x="704" y="136"/>
                  </a:lnTo>
                  <a:lnTo>
                    <a:pt x="700" y="132"/>
                  </a:lnTo>
                  <a:lnTo>
                    <a:pt x="696" y="98"/>
                  </a:lnTo>
                  <a:lnTo>
                    <a:pt x="696" y="98"/>
                  </a:lnTo>
                  <a:lnTo>
                    <a:pt x="694" y="96"/>
                  </a:lnTo>
                  <a:lnTo>
                    <a:pt x="694" y="94"/>
                  </a:lnTo>
                  <a:lnTo>
                    <a:pt x="694" y="94"/>
                  </a:lnTo>
                  <a:lnTo>
                    <a:pt x="692" y="92"/>
                  </a:lnTo>
                  <a:lnTo>
                    <a:pt x="692" y="94"/>
                  </a:lnTo>
                  <a:lnTo>
                    <a:pt x="690" y="96"/>
                  </a:lnTo>
                  <a:lnTo>
                    <a:pt x="688" y="102"/>
                  </a:lnTo>
                  <a:lnTo>
                    <a:pt x="688" y="102"/>
                  </a:lnTo>
                  <a:lnTo>
                    <a:pt x="686" y="104"/>
                  </a:lnTo>
                  <a:lnTo>
                    <a:pt x="686" y="106"/>
                  </a:lnTo>
                  <a:lnTo>
                    <a:pt x="682" y="110"/>
                  </a:lnTo>
                  <a:lnTo>
                    <a:pt x="680" y="112"/>
                  </a:lnTo>
                  <a:lnTo>
                    <a:pt x="678" y="114"/>
                  </a:lnTo>
                  <a:lnTo>
                    <a:pt x="676" y="116"/>
                  </a:lnTo>
                  <a:lnTo>
                    <a:pt x="674" y="116"/>
                  </a:lnTo>
                  <a:lnTo>
                    <a:pt x="672" y="114"/>
                  </a:lnTo>
                  <a:lnTo>
                    <a:pt x="670" y="110"/>
                  </a:lnTo>
                  <a:lnTo>
                    <a:pt x="670" y="106"/>
                  </a:lnTo>
                  <a:lnTo>
                    <a:pt x="670" y="100"/>
                  </a:lnTo>
                  <a:lnTo>
                    <a:pt x="670" y="98"/>
                  </a:lnTo>
                  <a:lnTo>
                    <a:pt x="668" y="96"/>
                  </a:lnTo>
                  <a:lnTo>
                    <a:pt x="666" y="96"/>
                  </a:lnTo>
                  <a:lnTo>
                    <a:pt x="664" y="98"/>
                  </a:lnTo>
                  <a:lnTo>
                    <a:pt x="662" y="98"/>
                  </a:lnTo>
                  <a:lnTo>
                    <a:pt x="660" y="100"/>
                  </a:lnTo>
                  <a:lnTo>
                    <a:pt x="658" y="100"/>
                  </a:lnTo>
                  <a:lnTo>
                    <a:pt x="654" y="100"/>
                  </a:lnTo>
                  <a:lnTo>
                    <a:pt x="652" y="98"/>
                  </a:lnTo>
                  <a:lnTo>
                    <a:pt x="648" y="96"/>
                  </a:lnTo>
                  <a:lnTo>
                    <a:pt x="646" y="94"/>
                  </a:lnTo>
                  <a:lnTo>
                    <a:pt x="644" y="92"/>
                  </a:lnTo>
                  <a:lnTo>
                    <a:pt x="644" y="90"/>
                  </a:lnTo>
                  <a:lnTo>
                    <a:pt x="646" y="88"/>
                  </a:lnTo>
                  <a:lnTo>
                    <a:pt x="648" y="82"/>
                  </a:lnTo>
                  <a:lnTo>
                    <a:pt x="650" y="76"/>
                  </a:lnTo>
                  <a:lnTo>
                    <a:pt x="650" y="70"/>
                  </a:lnTo>
                  <a:lnTo>
                    <a:pt x="650" y="64"/>
                  </a:lnTo>
                  <a:lnTo>
                    <a:pt x="650" y="60"/>
                  </a:lnTo>
                  <a:lnTo>
                    <a:pt x="650" y="58"/>
                  </a:lnTo>
                  <a:lnTo>
                    <a:pt x="648" y="56"/>
                  </a:lnTo>
                  <a:lnTo>
                    <a:pt x="646" y="52"/>
                  </a:lnTo>
                  <a:lnTo>
                    <a:pt x="644" y="48"/>
                  </a:lnTo>
                  <a:lnTo>
                    <a:pt x="644" y="44"/>
                  </a:lnTo>
                  <a:lnTo>
                    <a:pt x="644" y="42"/>
                  </a:lnTo>
                  <a:lnTo>
                    <a:pt x="644" y="42"/>
                  </a:lnTo>
                  <a:lnTo>
                    <a:pt x="642" y="34"/>
                  </a:lnTo>
                  <a:lnTo>
                    <a:pt x="638" y="26"/>
                  </a:lnTo>
                  <a:lnTo>
                    <a:pt x="632" y="16"/>
                  </a:lnTo>
                  <a:lnTo>
                    <a:pt x="626" y="10"/>
                  </a:lnTo>
                  <a:lnTo>
                    <a:pt x="624" y="8"/>
                  </a:lnTo>
                  <a:lnTo>
                    <a:pt x="622" y="2"/>
                  </a:lnTo>
                  <a:lnTo>
                    <a:pt x="620" y="0"/>
                  </a:lnTo>
                  <a:lnTo>
                    <a:pt x="618" y="0"/>
                  </a:lnTo>
                  <a:lnTo>
                    <a:pt x="616" y="0"/>
                  </a:lnTo>
                  <a:lnTo>
                    <a:pt x="614" y="0"/>
                  </a:lnTo>
                  <a:lnTo>
                    <a:pt x="612" y="2"/>
                  </a:lnTo>
                  <a:lnTo>
                    <a:pt x="610" y="4"/>
                  </a:lnTo>
                  <a:lnTo>
                    <a:pt x="610" y="4"/>
                  </a:lnTo>
                  <a:lnTo>
                    <a:pt x="608" y="4"/>
                  </a:lnTo>
                  <a:lnTo>
                    <a:pt x="604" y="6"/>
                  </a:lnTo>
                  <a:lnTo>
                    <a:pt x="604" y="10"/>
                  </a:lnTo>
                  <a:lnTo>
                    <a:pt x="602" y="14"/>
                  </a:lnTo>
                  <a:lnTo>
                    <a:pt x="602" y="20"/>
                  </a:lnTo>
                  <a:lnTo>
                    <a:pt x="600" y="22"/>
                  </a:lnTo>
                  <a:lnTo>
                    <a:pt x="600" y="24"/>
                  </a:lnTo>
                  <a:lnTo>
                    <a:pt x="594" y="28"/>
                  </a:lnTo>
                  <a:lnTo>
                    <a:pt x="590" y="34"/>
                  </a:lnTo>
                  <a:lnTo>
                    <a:pt x="588" y="40"/>
                  </a:lnTo>
                  <a:lnTo>
                    <a:pt x="588" y="44"/>
                  </a:lnTo>
                  <a:lnTo>
                    <a:pt x="588" y="48"/>
                  </a:lnTo>
                  <a:lnTo>
                    <a:pt x="588" y="50"/>
                  </a:lnTo>
                  <a:lnTo>
                    <a:pt x="588" y="52"/>
                  </a:lnTo>
                  <a:lnTo>
                    <a:pt x="590" y="68"/>
                  </a:lnTo>
                  <a:lnTo>
                    <a:pt x="598" y="78"/>
                  </a:lnTo>
                  <a:lnTo>
                    <a:pt x="606" y="84"/>
                  </a:lnTo>
                  <a:lnTo>
                    <a:pt x="612" y="86"/>
                  </a:lnTo>
                  <a:lnTo>
                    <a:pt x="616" y="88"/>
                  </a:lnTo>
                  <a:lnTo>
                    <a:pt x="610" y="92"/>
                  </a:lnTo>
                  <a:lnTo>
                    <a:pt x="608" y="98"/>
                  </a:lnTo>
                  <a:lnTo>
                    <a:pt x="608" y="102"/>
                  </a:lnTo>
                  <a:lnTo>
                    <a:pt x="610" y="106"/>
                  </a:lnTo>
                  <a:lnTo>
                    <a:pt x="612" y="108"/>
                  </a:lnTo>
                  <a:lnTo>
                    <a:pt x="616" y="112"/>
                  </a:lnTo>
                  <a:lnTo>
                    <a:pt x="618" y="114"/>
                  </a:lnTo>
                  <a:lnTo>
                    <a:pt x="622" y="114"/>
                  </a:lnTo>
                  <a:lnTo>
                    <a:pt x="624" y="116"/>
                  </a:lnTo>
                  <a:lnTo>
                    <a:pt x="624" y="116"/>
                  </a:lnTo>
                  <a:lnTo>
                    <a:pt x="628" y="118"/>
                  </a:lnTo>
                  <a:lnTo>
                    <a:pt x="630" y="120"/>
                  </a:lnTo>
                  <a:lnTo>
                    <a:pt x="630" y="122"/>
                  </a:lnTo>
                  <a:lnTo>
                    <a:pt x="630" y="124"/>
                  </a:lnTo>
                  <a:lnTo>
                    <a:pt x="630" y="128"/>
                  </a:lnTo>
                  <a:lnTo>
                    <a:pt x="628" y="130"/>
                  </a:lnTo>
                  <a:lnTo>
                    <a:pt x="628" y="130"/>
                  </a:lnTo>
                  <a:lnTo>
                    <a:pt x="624" y="134"/>
                  </a:lnTo>
                  <a:lnTo>
                    <a:pt x="614" y="140"/>
                  </a:lnTo>
                  <a:lnTo>
                    <a:pt x="606" y="146"/>
                  </a:lnTo>
                  <a:lnTo>
                    <a:pt x="598" y="150"/>
                  </a:lnTo>
                  <a:lnTo>
                    <a:pt x="594" y="152"/>
                  </a:lnTo>
                  <a:lnTo>
                    <a:pt x="588" y="150"/>
                  </a:lnTo>
                  <a:lnTo>
                    <a:pt x="584" y="150"/>
                  </a:lnTo>
                  <a:lnTo>
                    <a:pt x="582" y="150"/>
                  </a:lnTo>
                  <a:lnTo>
                    <a:pt x="582" y="148"/>
                  </a:lnTo>
                  <a:lnTo>
                    <a:pt x="582" y="148"/>
                  </a:lnTo>
                  <a:lnTo>
                    <a:pt x="582" y="148"/>
                  </a:lnTo>
                  <a:lnTo>
                    <a:pt x="584" y="124"/>
                  </a:lnTo>
                  <a:lnTo>
                    <a:pt x="568" y="124"/>
                  </a:lnTo>
                  <a:lnTo>
                    <a:pt x="562" y="124"/>
                  </a:lnTo>
                  <a:lnTo>
                    <a:pt x="558" y="124"/>
                  </a:lnTo>
                  <a:lnTo>
                    <a:pt x="556" y="124"/>
                  </a:lnTo>
                  <a:lnTo>
                    <a:pt x="554" y="126"/>
                  </a:lnTo>
                  <a:lnTo>
                    <a:pt x="554" y="126"/>
                  </a:lnTo>
                  <a:lnTo>
                    <a:pt x="552" y="128"/>
                  </a:lnTo>
                  <a:lnTo>
                    <a:pt x="552" y="128"/>
                  </a:lnTo>
                  <a:lnTo>
                    <a:pt x="554" y="138"/>
                  </a:lnTo>
                  <a:lnTo>
                    <a:pt x="554" y="144"/>
                  </a:lnTo>
                  <a:lnTo>
                    <a:pt x="552" y="148"/>
                  </a:lnTo>
                  <a:lnTo>
                    <a:pt x="552" y="152"/>
                  </a:lnTo>
                  <a:lnTo>
                    <a:pt x="550" y="152"/>
                  </a:lnTo>
                  <a:lnTo>
                    <a:pt x="548" y="152"/>
                  </a:lnTo>
                  <a:lnTo>
                    <a:pt x="546" y="152"/>
                  </a:lnTo>
                  <a:lnTo>
                    <a:pt x="544" y="152"/>
                  </a:lnTo>
                  <a:lnTo>
                    <a:pt x="544" y="150"/>
                  </a:lnTo>
                  <a:lnTo>
                    <a:pt x="542" y="150"/>
                  </a:lnTo>
                  <a:lnTo>
                    <a:pt x="542" y="150"/>
                  </a:lnTo>
                  <a:lnTo>
                    <a:pt x="536" y="146"/>
                  </a:lnTo>
                  <a:lnTo>
                    <a:pt x="532" y="144"/>
                  </a:lnTo>
                  <a:lnTo>
                    <a:pt x="528" y="144"/>
                  </a:lnTo>
                  <a:lnTo>
                    <a:pt x="526" y="144"/>
                  </a:lnTo>
                  <a:lnTo>
                    <a:pt x="524" y="146"/>
                  </a:lnTo>
                  <a:lnTo>
                    <a:pt x="522" y="148"/>
                  </a:lnTo>
                  <a:lnTo>
                    <a:pt x="522" y="148"/>
                  </a:lnTo>
                  <a:lnTo>
                    <a:pt x="516" y="152"/>
                  </a:lnTo>
                  <a:lnTo>
                    <a:pt x="512" y="154"/>
                  </a:lnTo>
                  <a:lnTo>
                    <a:pt x="508" y="154"/>
                  </a:lnTo>
                  <a:lnTo>
                    <a:pt x="506" y="154"/>
                  </a:lnTo>
                  <a:lnTo>
                    <a:pt x="504" y="152"/>
                  </a:lnTo>
                  <a:lnTo>
                    <a:pt x="502" y="150"/>
                  </a:lnTo>
                  <a:lnTo>
                    <a:pt x="500" y="148"/>
                  </a:lnTo>
                  <a:lnTo>
                    <a:pt x="500" y="146"/>
                  </a:lnTo>
                  <a:lnTo>
                    <a:pt x="500" y="146"/>
                  </a:lnTo>
                  <a:lnTo>
                    <a:pt x="498" y="140"/>
                  </a:lnTo>
                  <a:lnTo>
                    <a:pt x="494" y="136"/>
                  </a:lnTo>
                  <a:lnTo>
                    <a:pt x="492" y="134"/>
                  </a:lnTo>
                  <a:lnTo>
                    <a:pt x="488" y="134"/>
                  </a:lnTo>
                  <a:lnTo>
                    <a:pt x="486" y="134"/>
                  </a:lnTo>
                  <a:lnTo>
                    <a:pt x="484" y="134"/>
                  </a:lnTo>
                  <a:lnTo>
                    <a:pt x="482" y="136"/>
                  </a:lnTo>
                  <a:lnTo>
                    <a:pt x="482" y="136"/>
                  </a:lnTo>
                  <a:lnTo>
                    <a:pt x="474" y="132"/>
                  </a:lnTo>
                  <a:lnTo>
                    <a:pt x="468" y="130"/>
                  </a:lnTo>
                  <a:lnTo>
                    <a:pt x="466" y="126"/>
                  </a:lnTo>
                  <a:lnTo>
                    <a:pt x="464" y="124"/>
                  </a:lnTo>
                  <a:lnTo>
                    <a:pt x="464" y="122"/>
                  </a:lnTo>
                  <a:lnTo>
                    <a:pt x="464" y="120"/>
                  </a:lnTo>
                  <a:lnTo>
                    <a:pt x="464" y="120"/>
                  </a:lnTo>
                  <a:lnTo>
                    <a:pt x="462" y="114"/>
                  </a:lnTo>
                  <a:lnTo>
                    <a:pt x="460" y="110"/>
                  </a:lnTo>
                  <a:lnTo>
                    <a:pt x="458" y="108"/>
                  </a:lnTo>
                  <a:lnTo>
                    <a:pt x="456" y="108"/>
                  </a:lnTo>
                  <a:lnTo>
                    <a:pt x="452" y="108"/>
                  </a:lnTo>
                  <a:lnTo>
                    <a:pt x="450" y="110"/>
                  </a:lnTo>
                  <a:lnTo>
                    <a:pt x="448" y="110"/>
                  </a:lnTo>
                  <a:lnTo>
                    <a:pt x="448" y="110"/>
                  </a:lnTo>
                  <a:lnTo>
                    <a:pt x="440" y="110"/>
                  </a:lnTo>
                  <a:lnTo>
                    <a:pt x="434" y="112"/>
                  </a:lnTo>
                  <a:lnTo>
                    <a:pt x="430" y="114"/>
                  </a:lnTo>
                  <a:lnTo>
                    <a:pt x="426" y="116"/>
                  </a:lnTo>
                  <a:lnTo>
                    <a:pt x="424" y="120"/>
                  </a:lnTo>
                  <a:lnTo>
                    <a:pt x="424" y="124"/>
                  </a:lnTo>
                  <a:lnTo>
                    <a:pt x="424" y="128"/>
                  </a:lnTo>
                  <a:lnTo>
                    <a:pt x="424" y="130"/>
                  </a:lnTo>
                  <a:lnTo>
                    <a:pt x="424" y="134"/>
                  </a:lnTo>
                  <a:lnTo>
                    <a:pt x="424" y="134"/>
                  </a:lnTo>
                  <a:lnTo>
                    <a:pt x="424" y="136"/>
                  </a:lnTo>
                  <a:lnTo>
                    <a:pt x="428" y="138"/>
                  </a:lnTo>
                  <a:lnTo>
                    <a:pt x="430" y="142"/>
                  </a:lnTo>
                  <a:lnTo>
                    <a:pt x="430" y="144"/>
                  </a:lnTo>
                  <a:lnTo>
                    <a:pt x="428" y="148"/>
                  </a:lnTo>
                  <a:lnTo>
                    <a:pt x="426" y="150"/>
                  </a:lnTo>
                  <a:lnTo>
                    <a:pt x="426" y="152"/>
                  </a:lnTo>
                  <a:lnTo>
                    <a:pt x="424" y="152"/>
                  </a:lnTo>
                  <a:lnTo>
                    <a:pt x="424" y="178"/>
                  </a:lnTo>
                  <a:lnTo>
                    <a:pt x="422" y="182"/>
                  </a:lnTo>
                  <a:lnTo>
                    <a:pt x="422" y="186"/>
                  </a:lnTo>
                  <a:lnTo>
                    <a:pt x="420" y="186"/>
                  </a:lnTo>
                  <a:lnTo>
                    <a:pt x="420" y="186"/>
                  </a:lnTo>
                  <a:lnTo>
                    <a:pt x="420" y="186"/>
                  </a:lnTo>
                  <a:lnTo>
                    <a:pt x="420" y="186"/>
                  </a:lnTo>
                  <a:lnTo>
                    <a:pt x="420" y="186"/>
                  </a:lnTo>
                  <a:lnTo>
                    <a:pt x="414" y="172"/>
                  </a:lnTo>
                  <a:lnTo>
                    <a:pt x="406" y="158"/>
                  </a:lnTo>
                  <a:lnTo>
                    <a:pt x="400" y="144"/>
                  </a:lnTo>
                  <a:lnTo>
                    <a:pt x="394" y="138"/>
                  </a:lnTo>
                  <a:lnTo>
                    <a:pt x="392" y="136"/>
                  </a:lnTo>
                  <a:lnTo>
                    <a:pt x="390" y="138"/>
                  </a:lnTo>
                  <a:lnTo>
                    <a:pt x="388" y="140"/>
                  </a:lnTo>
                  <a:lnTo>
                    <a:pt x="386" y="144"/>
                  </a:lnTo>
                  <a:lnTo>
                    <a:pt x="386" y="148"/>
                  </a:lnTo>
                  <a:lnTo>
                    <a:pt x="384" y="150"/>
                  </a:lnTo>
                  <a:lnTo>
                    <a:pt x="384" y="152"/>
                  </a:lnTo>
                  <a:lnTo>
                    <a:pt x="380" y="148"/>
                  </a:lnTo>
                  <a:lnTo>
                    <a:pt x="376" y="148"/>
                  </a:lnTo>
                  <a:lnTo>
                    <a:pt x="370" y="148"/>
                  </a:lnTo>
                  <a:lnTo>
                    <a:pt x="366" y="148"/>
                  </a:lnTo>
                  <a:lnTo>
                    <a:pt x="362" y="148"/>
                  </a:lnTo>
                  <a:lnTo>
                    <a:pt x="358" y="150"/>
                  </a:lnTo>
                  <a:lnTo>
                    <a:pt x="358" y="150"/>
                  </a:lnTo>
                  <a:lnTo>
                    <a:pt x="348" y="150"/>
                  </a:lnTo>
                  <a:lnTo>
                    <a:pt x="342" y="148"/>
                  </a:lnTo>
                  <a:lnTo>
                    <a:pt x="340" y="148"/>
                  </a:lnTo>
                  <a:lnTo>
                    <a:pt x="338" y="146"/>
                  </a:lnTo>
                  <a:lnTo>
                    <a:pt x="336" y="144"/>
                  </a:lnTo>
                  <a:lnTo>
                    <a:pt x="336" y="142"/>
                  </a:lnTo>
                  <a:lnTo>
                    <a:pt x="338" y="140"/>
                  </a:lnTo>
                  <a:lnTo>
                    <a:pt x="340" y="140"/>
                  </a:lnTo>
                  <a:lnTo>
                    <a:pt x="342" y="138"/>
                  </a:lnTo>
                  <a:lnTo>
                    <a:pt x="342" y="138"/>
                  </a:lnTo>
                  <a:lnTo>
                    <a:pt x="342" y="138"/>
                  </a:lnTo>
                  <a:lnTo>
                    <a:pt x="346" y="130"/>
                  </a:lnTo>
                  <a:lnTo>
                    <a:pt x="350" y="124"/>
                  </a:lnTo>
                  <a:lnTo>
                    <a:pt x="350" y="120"/>
                  </a:lnTo>
                  <a:lnTo>
                    <a:pt x="350" y="116"/>
                  </a:lnTo>
                  <a:lnTo>
                    <a:pt x="348" y="112"/>
                  </a:lnTo>
                  <a:lnTo>
                    <a:pt x="346" y="110"/>
                  </a:lnTo>
                  <a:lnTo>
                    <a:pt x="344" y="108"/>
                  </a:lnTo>
                  <a:lnTo>
                    <a:pt x="342" y="108"/>
                  </a:lnTo>
                  <a:lnTo>
                    <a:pt x="340" y="106"/>
                  </a:lnTo>
                  <a:lnTo>
                    <a:pt x="340" y="106"/>
                  </a:lnTo>
                  <a:lnTo>
                    <a:pt x="334" y="102"/>
                  </a:lnTo>
                  <a:lnTo>
                    <a:pt x="332" y="100"/>
                  </a:lnTo>
                  <a:lnTo>
                    <a:pt x="330" y="98"/>
                  </a:lnTo>
                  <a:lnTo>
                    <a:pt x="328" y="98"/>
                  </a:lnTo>
                  <a:lnTo>
                    <a:pt x="328" y="100"/>
                  </a:lnTo>
                  <a:lnTo>
                    <a:pt x="326" y="100"/>
                  </a:lnTo>
                  <a:lnTo>
                    <a:pt x="326" y="102"/>
                  </a:lnTo>
                  <a:lnTo>
                    <a:pt x="326" y="104"/>
                  </a:lnTo>
                  <a:lnTo>
                    <a:pt x="328" y="104"/>
                  </a:lnTo>
                  <a:lnTo>
                    <a:pt x="328" y="106"/>
                  </a:lnTo>
                  <a:lnTo>
                    <a:pt x="328" y="110"/>
                  </a:lnTo>
                  <a:lnTo>
                    <a:pt x="326" y="112"/>
                  </a:lnTo>
                  <a:lnTo>
                    <a:pt x="326" y="114"/>
                  </a:lnTo>
                  <a:lnTo>
                    <a:pt x="324" y="114"/>
                  </a:lnTo>
                  <a:lnTo>
                    <a:pt x="322" y="112"/>
                  </a:lnTo>
                  <a:lnTo>
                    <a:pt x="320" y="112"/>
                  </a:lnTo>
                  <a:lnTo>
                    <a:pt x="318" y="110"/>
                  </a:lnTo>
                  <a:lnTo>
                    <a:pt x="316" y="108"/>
                  </a:lnTo>
                  <a:lnTo>
                    <a:pt x="316" y="108"/>
                  </a:lnTo>
                  <a:lnTo>
                    <a:pt x="298" y="94"/>
                  </a:lnTo>
                  <a:lnTo>
                    <a:pt x="282" y="84"/>
                  </a:lnTo>
                  <a:lnTo>
                    <a:pt x="268" y="78"/>
                  </a:lnTo>
                  <a:lnTo>
                    <a:pt x="262" y="76"/>
                  </a:lnTo>
                  <a:lnTo>
                    <a:pt x="252" y="74"/>
                  </a:lnTo>
                  <a:lnTo>
                    <a:pt x="244" y="72"/>
                  </a:lnTo>
                  <a:lnTo>
                    <a:pt x="240" y="70"/>
                  </a:lnTo>
                  <a:lnTo>
                    <a:pt x="236" y="68"/>
                  </a:lnTo>
                  <a:lnTo>
                    <a:pt x="234" y="66"/>
                  </a:lnTo>
                  <a:lnTo>
                    <a:pt x="232" y="66"/>
                  </a:lnTo>
                  <a:lnTo>
                    <a:pt x="232" y="66"/>
                  </a:lnTo>
                  <a:lnTo>
                    <a:pt x="228" y="62"/>
                  </a:lnTo>
                  <a:lnTo>
                    <a:pt x="224" y="62"/>
                  </a:lnTo>
                  <a:lnTo>
                    <a:pt x="222" y="62"/>
                  </a:lnTo>
                  <a:lnTo>
                    <a:pt x="222" y="64"/>
                  </a:lnTo>
                  <a:lnTo>
                    <a:pt x="220" y="66"/>
                  </a:lnTo>
                  <a:lnTo>
                    <a:pt x="220" y="68"/>
                  </a:lnTo>
                  <a:lnTo>
                    <a:pt x="220" y="72"/>
                  </a:lnTo>
                  <a:lnTo>
                    <a:pt x="222" y="74"/>
                  </a:lnTo>
                  <a:lnTo>
                    <a:pt x="222" y="76"/>
                  </a:lnTo>
                  <a:lnTo>
                    <a:pt x="222" y="76"/>
                  </a:lnTo>
                  <a:lnTo>
                    <a:pt x="220" y="80"/>
                  </a:lnTo>
                  <a:lnTo>
                    <a:pt x="218" y="82"/>
                  </a:lnTo>
                  <a:lnTo>
                    <a:pt x="216" y="84"/>
                  </a:lnTo>
                  <a:lnTo>
                    <a:pt x="214" y="82"/>
                  </a:lnTo>
                  <a:lnTo>
                    <a:pt x="212" y="82"/>
                  </a:lnTo>
                  <a:lnTo>
                    <a:pt x="212" y="80"/>
                  </a:lnTo>
                  <a:lnTo>
                    <a:pt x="212" y="80"/>
                  </a:lnTo>
                  <a:lnTo>
                    <a:pt x="208" y="72"/>
                  </a:lnTo>
                  <a:lnTo>
                    <a:pt x="200" y="60"/>
                  </a:lnTo>
                  <a:lnTo>
                    <a:pt x="194" y="52"/>
                  </a:lnTo>
                  <a:lnTo>
                    <a:pt x="190" y="48"/>
                  </a:lnTo>
                  <a:lnTo>
                    <a:pt x="186" y="44"/>
                  </a:lnTo>
                  <a:lnTo>
                    <a:pt x="182" y="44"/>
                  </a:lnTo>
                  <a:lnTo>
                    <a:pt x="180" y="44"/>
                  </a:lnTo>
                  <a:lnTo>
                    <a:pt x="180" y="44"/>
                  </a:lnTo>
                  <a:lnTo>
                    <a:pt x="178" y="46"/>
                  </a:lnTo>
                  <a:lnTo>
                    <a:pt x="180" y="48"/>
                  </a:lnTo>
                  <a:lnTo>
                    <a:pt x="180" y="50"/>
                  </a:lnTo>
                  <a:lnTo>
                    <a:pt x="180" y="52"/>
                  </a:lnTo>
                  <a:lnTo>
                    <a:pt x="182" y="54"/>
                  </a:lnTo>
                  <a:lnTo>
                    <a:pt x="182" y="56"/>
                  </a:lnTo>
                  <a:lnTo>
                    <a:pt x="182" y="56"/>
                  </a:lnTo>
                  <a:lnTo>
                    <a:pt x="180" y="62"/>
                  </a:lnTo>
                  <a:lnTo>
                    <a:pt x="178" y="66"/>
                  </a:lnTo>
                  <a:lnTo>
                    <a:pt x="176" y="68"/>
                  </a:lnTo>
                  <a:lnTo>
                    <a:pt x="174" y="68"/>
                  </a:lnTo>
                  <a:lnTo>
                    <a:pt x="170" y="66"/>
                  </a:lnTo>
                  <a:lnTo>
                    <a:pt x="168" y="64"/>
                  </a:lnTo>
                  <a:lnTo>
                    <a:pt x="166" y="62"/>
                  </a:lnTo>
                  <a:lnTo>
                    <a:pt x="166" y="62"/>
                  </a:lnTo>
                  <a:lnTo>
                    <a:pt x="166" y="60"/>
                  </a:lnTo>
                  <a:lnTo>
                    <a:pt x="162" y="58"/>
                  </a:lnTo>
                  <a:lnTo>
                    <a:pt x="158" y="58"/>
                  </a:lnTo>
                  <a:lnTo>
                    <a:pt x="156" y="58"/>
                  </a:lnTo>
                  <a:lnTo>
                    <a:pt x="152" y="60"/>
                  </a:lnTo>
                  <a:lnTo>
                    <a:pt x="150" y="62"/>
                  </a:lnTo>
                  <a:lnTo>
                    <a:pt x="150" y="64"/>
                  </a:lnTo>
                  <a:lnTo>
                    <a:pt x="150" y="64"/>
                  </a:lnTo>
                  <a:lnTo>
                    <a:pt x="148" y="66"/>
                  </a:lnTo>
                  <a:lnTo>
                    <a:pt x="144" y="68"/>
                  </a:lnTo>
                  <a:lnTo>
                    <a:pt x="142" y="72"/>
                  </a:lnTo>
                  <a:lnTo>
                    <a:pt x="138" y="74"/>
                  </a:lnTo>
                  <a:lnTo>
                    <a:pt x="136" y="76"/>
                  </a:lnTo>
                  <a:lnTo>
                    <a:pt x="134" y="76"/>
                  </a:lnTo>
                  <a:lnTo>
                    <a:pt x="124" y="78"/>
                  </a:lnTo>
                  <a:lnTo>
                    <a:pt x="112" y="84"/>
                  </a:lnTo>
                  <a:lnTo>
                    <a:pt x="102" y="92"/>
                  </a:lnTo>
                  <a:lnTo>
                    <a:pt x="96" y="98"/>
                  </a:lnTo>
                  <a:lnTo>
                    <a:pt x="92" y="100"/>
                  </a:lnTo>
                  <a:lnTo>
                    <a:pt x="86" y="104"/>
                  </a:lnTo>
                  <a:lnTo>
                    <a:pt x="80" y="108"/>
                  </a:lnTo>
                  <a:lnTo>
                    <a:pt x="76" y="108"/>
                  </a:lnTo>
                  <a:lnTo>
                    <a:pt x="72" y="108"/>
                  </a:lnTo>
                  <a:lnTo>
                    <a:pt x="68" y="108"/>
                  </a:lnTo>
                  <a:lnTo>
                    <a:pt x="66" y="106"/>
                  </a:lnTo>
                  <a:lnTo>
                    <a:pt x="60" y="100"/>
                  </a:lnTo>
                  <a:lnTo>
                    <a:pt x="52" y="94"/>
                  </a:lnTo>
                  <a:lnTo>
                    <a:pt x="42" y="88"/>
                  </a:lnTo>
                  <a:lnTo>
                    <a:pt x="34" y="84"/>
                  </a:lnTo>
                  <a:lnTo>
                    <a:pt x="32" y="82"/>
                  </a:lnTo>
                  <a:lnTo>
                    <a:pt x="22" y="80"/>
                  </a:lnTo>
                  <a:lnTo>
                    <a:pt x="12" y="76"/>
                  </a:lnTo>
                  <a:lnTo>
                    <a:pt x="2" y="72"/>
                  </a:lnTo>
                  <a:lnTo>
                    <a:pt x="0" y="72"/>
                  </a:lnTo>
                  <a:lnTo>
                    <a:pt x="0" y="364"/>
                  </a:lnTo>
                  <a:lnTo>
                    <a:pt x="12" y="364"/>
                  </a:lnTo>
                  <a:lnTo>
                    <a:pt x="20" y="370"/>
                  </a:lnTo>
                  <a:lnTo>
                    <a:pt x="30" y="376"/>
                  </a:lnTo>
                  <a:lnTo>
                    <a:pt x="40" y="384"/>
                  </a:lnTo>
                  <a:lnTo>
                    <a:pt x="50" y="392"/>
                  </a:lnTo>
                  <a:lnTo>
                    <a:pt x="58" y="398"/>
                  </a:lnTo>
                  <a:lnTo>
                    <a:pt x="60" y="400"/>
                  </a:lnTo>
                  <a:lnTo>
                    <a:pt x="64" y="400"/>
                  </a:lnTo>
                  <a:lnTo>
                    <a:pt x="70" y="396"/>
                  </a:lnTo>
                  <a:lnTo>
                    <a:pt x="74" y="394"/>
                  </a:lnTo>
                  <a:lnTo>
                    <a:pt x="78" y="390"/>
                  </a:lnTo>
                  <a:lnTo>
                    <a:pt x="80" y="388"/>
                  </a:lnTo>
                  <a:lnTo>
                    <a:pt x="82" y="388"/>
                  </a:lnTo>
                  <a:lnTo>
                    <a:pt x="88" y="392"/>
                  </a:lnTo>
                  <a:lnTo>
                    <a:pt x="96" y="402"/>
                  </a:lnTo>
                  <a:lnTo>
                    <a:pt x="106" y="414"/>
                  </a:lnTo>
                  <a:lnTo>
                    <a:pt x="116" y="428"/>
                  </a:lnTo>
                  <a:lnTo>
                    <a:pt x="124" y="440"/>
                  </a:lnTo>
                  <a:lnTo>
                    <a:pt x="130" y="448"/>
                  </a:lnTo>
                  <a:lnTo>
                    <a:pt x="132" y="452"/>
                  </a:lnTo>
                  <a:lnTo>
                    <a:pt x="136" y="460"/>
                  </a:lnTo>
                  <a:lnTo>
                    <a:pt x="140" y="466"/>
                  </a:lnTo>
                  <a:lnTo>
                    <a:pt x="146" y="472"/>
                  </a:lnTo>
                  <a:lnTo>
                    <a:pt x="150" y="476"/>
                  </a:lnTo>
                  <a:lnTo>
                    <a:pt x="152" y="478"/>
                  </a:lnTo>
                  <a:lnTo>
                    <a:pt x="154" y="478"/>
                  </a:lnTo>
                  <a:lnTo>
                    <a:pt x="154" y="486"/>
                  </a:lnTo>
                  <a:lnTo>
                    <a:pt x="152" y="496"/>
                  </a:lnTo>
                  <a:lnTo>
                    <a:pt x="150" y="508"/>
                  </a:lnTo>
                  <a:lnTo>
                    <a:pt x="148" y="516"/>
                  </a:lnTo>
                  <a:lnTo>
                    <a:pt x="146" y="520"/>
                  </a:lnTo>
                  <a:lnTo>
                    <a:pt x="146" y="526"/>
                  </a:lnTo>
                  <a:lnTo>
                    <a:pt x="146" y="532"/>
                  </a:lnTo>
                  <a:lnTo>
                    <a:pt x="148" y="536"/>
                  </a:lnTo>
                  <a:lnTo>
                    <a:pt x="150" y="538"/>
                  </a:lnTo>
                  <a:lnTo>
                    <a:pt x="150" y="540"/>
                  </a:lnTo>
                  <a:lnTo>
                    <a:pt x="156" y="542"/>
                  </a:lnTo>
                  <a:lnTo>
                    <a:pt x="160" y="548"/>
                  </a:lnTo>
                  <a:lnTo>
                    <a:pt x="164" y="552"/>
                  </a:lnTo>
                  <a:lnTo>
                    <a:pt x="166" y="558"/>
                  </a:lnTo>
                  <a:lnTo>
                    <a:pt x="168" y="562"/>
                  </a:lnTo>
                  <a:lnTo>
                    <a:pt x="170" y="568"/>
                  </a:lnTo>
                  <a:lnTo>
                    <a:pt x="172" y="570"/>
                  </a:lnTo>
                  <a:lnTo>
                    <a:pt x="172" y="572"/>
                  </a:lnTo>
                  <a:lnTo>
                    <a:pt x="188" y="584"/>
                  </a:lnTo>
                  <a:lnTo>
                    <a:pt x="200" y="594"/>
                  </a:lnTo>
                  <a:lnTo>
                    <a:pt x="210" y="598"/>
                  </a:lnTo>
                  <a:lnTo>
                    <a:pt x="214" y="600"/>
                  </a:lnTo>
                  <a:lnTo>
                    <a:pt x="220" y="606"/>
                  </a:lnTo>
                  <a:lnTo>
                    <a:pt x="224" y="612"/>
                  </a:lnTo>
                  <a:lnTo>
                    <a:pt x="228" y="618"/>
                  </a:lnTo>
                  <a:lnTo>
                    <a:pt x="230" y="622"/>
                  </a:lnTo>
                  <a:lnTo>
                    <a:pt x="230" y="626"/>
                  </a:lnTo>
                  <a:lnTo>
                    <a:pt x="230" y="626"/>
                  </a:lnTo>
                  <a:lnTo>
                    <a:pt x="592" y="626"/>
                  </a:lnTo>
                  <a:lnTo>
                    <a:pt x="604" y="636"/>
                  </a:lnTo>
                  <a:lnTo>
                    <a:pt x="628" y="638"/>
                  </a:lnTo>
                  <a:lnTo>
                    <a:pt x="630" y="642"/>
                  </a:lnTo>
                  <a:lnTo>
                    <a:pt x="634" y="644"/>
                  </a:lnTo>
                  <a:lnTo>
                    <a:pt x="638" y="646"/>
                  </a:lnTo>
                  <a:lnTo>
                    <a:pt x="642" y="646"/>
                  </a:lnTo>
                  <a:lnTo>
                    <a:pt x="644" y="646"/>
                  </a:lnTo>
                  <a:lnTo>
                    <a:pt x="646" y="646"/>
                  </a:lnTo>
                  <a:lnTo>
                    <a:pt x="652" y="644"/>
                  </a:lnTo>
                  <a:lnTo>
                    <a:pt x="658" y="642"/>
                  </a:lnTo>
                  <a:lnTo>
                    <a:pt x="662" y="640"/>
                  </a:lnTo>
                  <a:lnTo>
                    <a:pt x="666" y="638"/>
                  </a:lnTo>
                  <a:lnTo>
                    <a:pt x="668" y="636"/>
                  </a:lnTo>
                  <a:lnTo>
                    <a:pt x="668" y="634"/>
                  </a:lnTo>
                  <a:lnTo>
                    <a:pt x="682" y="632"/>
                  </a:lnTo>
                  <a:lnTo>
                    <a:pt x="694" y="634"/>
                  </a:lnTo>
                  <a:lnTo>
                    <a:pt x="702" y="638"/>
                  </a:lnTo>
                  <a:lnTo>
                    <a:pt x="706" y="644"/>
                  </a:lnTo>
                  <a:lnTo>
                    <a:pt x="708" y="646"/>
                  </a:lnTo>
                  <a:lnTo>
                    <a:pt x="716" y="646"/>
                  </a:lnTo>
                  <a:lnTo>
                    <a:pt x="720" y="648"/>
                  </a:lnTo>
                  <a:lnTo>
                    <a:pt x="724" y="650"/>
                  </a:lnTo>
                  <a:lnTo>
                    <a:pt x="726" y="652"/>
                  </a:lnTo>
                  <a:lnTo>
                    <a:pt x="726" y="654"/>
                  </a:lnTo>
                  <a:lnTo>
                    <a:pt x="726" y="656"/>
                  </a:lnTo>
                  <a:lnTo>
                    <a:pt x="724" y="658"/>
                  </a:lnTo>
                  <a:lnTo>
                    <a:pt x="724" y="660"/>
                  </a:lnTo>
                  <a:lnTo>
                    <a:pt x="724" y="660"/>
                  </a:lnTo>
                  <a:lnTo>
                    <a:pt x="726" y="668"/>
                  </a:lnTo>
                  <a:lnTo>
                    <a:pt x="728" y="674"/>
                  </a:lnTo>
                  <a:lnTo>
                    <a:pt x="730" y="674"/>
                  </a:lnTo>
                  <a:lnTo>
                    <a:pt x="734" y="674"/>
                  </a:lnTo>
                  <a:lnTo>
                    <a:pt x="738" y="674"/>
                  </a:lnTo>
                  <a:lnTo>
                    <a:pt x="744" y="674"/>
                  </a:lnTo>
                  <a:lnTo>
                    <a:pt x="748" y="674"/>
                  </a:lnTo>
                  <a:lnTo>
                    <a:pt x="752" y="672"/>
                  </a:lnTo>
                  <a:lnTo>
                    <a:pt x="756" y="672"/>
                  </a:lnTo>
                  <a:lnTo>
                    <a:pt x="762" y="672"/>
                  </a:lnTo>
                  <a:lnTo>
                    <a:pt x="768" y="674"/>
                  </a:lnTo>
                  <a:lnTo>
                    <a:pt x="772" y="676"/>
                  </a:lnTo>
                  <a:lnTo>
                    <a:pt x="776" y="678"/>
                  </a:lnTo>
                  <a:lnTo>
                    <a:pt x="780" y="682"/>
                  </a:lnTo>
                  <a:lnTo>
                    <a:pt x="784" y="684"/>
                  </a:lnTo>
                  <a:lnTo>
                    <a:pt x="788" y="688"/>
                  </a:lnTo>
                  <a:lnTo>
                    <a:pt x="790" y="690"/>
                  </a:lnTo>
                  <a:lnTo>
                    <a:pt x="790" y="692"/>
                  </a:lnTo>
                  <a:lnTo>
                    <a:pt x="788" y="694"/>
                  </a:lnTo>
                  <a:lnTo>
                    <a:pt x="788" y="694"/>
                  </a:lnTo>
                  <a:lnTo>
                    <a:pt x="790" y="698"/>
                  </a:lnTo>
                  <a:lnTo>
                    <a:pt x="790" y="698"/>
                  </a:lnTo>
                  <a:lnTo>
                    <a:pt x="788" y="700"/>
                  </a:lnTo>
                  <a:lnTo>
                    <a:pt x="786" y="702"/>
                  </a:lnTo>
                  <a:lnTo>
                    <a:pt x="784" y="704"/>
                  </a:lnTo>
                  <a:lnTo>
                    <a:pt x="780" y="704"/>
                  </a:lnTo>
                  <a:lnTo>
                    <a:pt x="778" y="702"/>
                  </a:lnTo>
                  <a:lnTo>
                    <a:pt x="774" y="702"/>
                  </a:lnTo>
                  <a:lnTo>
                    <a:pt x="772" y="702"/>
                  </a:lnTo>
                  <a:lnTo>
                    <a:pt x="770" y="702"/>
                  </a:lnTo>
                  <a:lnTo>
                    <a:pt x="764" y="696"/>
                  </a:lnTo>
                  <a:lnTo>
                    <a:pt x="764" y="696"/>
                  </a:lnTo>
                  <a:lnTo>
                    <a:pt x="766" y="700"/>
                  </a:lnTo>
                  <a:lnTo>
                    <a:pt x="766" y="702"/>
                  </a:lnTo>
                  <a:lnTo>
                    <a:pt x="768" y="706"/>
                  </a:lnTo>
                  <a:lnTo>
                    <a:pt x="766" y="712"/>
                  </a:lnTo>
                  <a:lnTo>
                    <a:pt x="766" y="716"/>
                  </a:lnTo>
                  <a:lnTo>
                    <a:pt x="762" y="718"/>
                  </a:lnTo>
                  <a:lnTo>
                    <a:pt x="760" y="718"/>
                  </a:lnTo>
                  <a:lnTo>
                    <a:pt x="756" y="720"/>
                  </a:lnTo>
                  <a:lnTo>
                    <a:pt x="752" y="722"/>
                  </a:lnTo>
                  <a:lnTo>
                    <a:pt x="750" y="724"/>
                  </a:lnTo>
                  <a:lnTo>
                    <a:pt x="750" y="726"/>
                  </a:lnTo>
                  <a:lnTo>
                    <a:pt x="752" y="728"/>
                  </a:lnTo>
                  <a:lnTo>
                    <a:pt x="752" y="730"/>
                  </a:lnTo>
                  <a:lnTo>
                    <a:pt x="752" y="732"/>
                  </a:lnTo>
                  <a:lnTo>
                    <a:pt x="752" y="730"/>
                  </a:lnTo>
                  <a:lnTo>
                    <a:pt x="754" y="730"/>
                  </a:lnTo>
                  <a:lnTo>
                    <a:pt x="754" y="730"/>
                  </a:lnTo>
                  <a:lnTo>
                    <a:pt x="756" y="732"/>
                  </a:lnTo>
                  <a:lnTo>
                    <a:pt x="758" y="736"/>
                  </a:lnTo>
                  <a:lnTo>
                    <a:pt x="756" y="738"/>
                  </a:lnTo>
                  <a:lnTo>
                    <a:pt x="756" y="740"/>
                  </a:lnTo>
                  <a:lnTo>
                    <a:pt x="754" y="740"/>
                  </a:lnTo>
                  <a:lnTo>
                    <a:pt x="752" y="742"/>
                  </a:lnTo>
                  <a:lnTo>
                    <a:pt x="752" y="742"/>
                  </a:lnTo>
                  <a:lnTo>
                    <a:pt x="750" y="744"/>
                  </a:lnTo>
                  <a:lnTo>
                    <a:pt x="748" y="746"/>
                  </a:lnTo>
                  <a:lnTo>
                    <a:pt x="748" y="746"/>
                  </a:lnTo>
                  <a:lnTo>
                    <a:pt x="752" y="746"/>
                  </a:lnTo>
                  <a:lnTo>
                    <a:pt x="754" y="746"/>
                  </a:lnTo>
                  <a:lnTo>
                    <a:pt x="760" y="744"/>
                  </a:lnTo>
                  <a:lnTo>
                    <a:pt x="764" y="740"/>
                  </a:lnTo>
                  <a:lnTo>
                    <a:pt x="768" y="736"/>
                  </a:lnTo>
                  <a:lnTo>
                    <a:pt x="770" y="734"/>
                  </a:lnTo>
                  <a:lnTo>
                    <a:pt x="770" y="730"/>
                  </a:lnTo>
                  <a:lnTo>
                    <a:pt x="772" y="728"/>
                  </a:lnTo>
                  <a:lnTo>
                    <a:pt x="774" y="724"/>
                  </a:lnTo>
                  <a:lnTo>
                    <a:pt x="776" y="722"/>
                  </a:lnTo>
                  <a:lnTo>
                    <a:pt x="782" y="722"/>
                  </a:lnTo>
                  <a:lnTo>
                    <a:pt x="788" y="722"/>
                  </a:lnTo>
                  <a:lnTo>
                    <a:pt x="794" y="722"/>
                  </a:lnTo>
                  <a:lnTo>
                    <a:pt x="798" y="722"/>
                  </a:lnTo>
                  <a:lnTo>
                    <a:pt x="802" y="722"/>
                  </a:lnTo>
                  <a:lnTo>
                    <a:pt x="802" y="722"/>
                  </a:lnTo>
                  <a:lnTo>
                    <a:pt x="800" y="722"/>
                  </a:lnTo>
                  <a:lnTo>
                    <a:pt x="798" y="720"/>
                  </a:lnTo>
                  <a:lnTo>
                    <a:pt x="798" y="718"/>
                  </a:lnTo>
                  <a:lnTo>
                    <a:pt x="798" y="714"/>
                  </a:lnTo>
                  <a:lnTo>
                    <a:pt x="800" y="712"/>
                  </a:lnTo>
                  <a:lnTo>
                    <a:pt x="804" y="708"/>
                  </a:lnTo>
                  <a:lnTo>
                    <a:pt x="806" y="704"/>
                  </a:lnTo>
                  <a:lnTo>
                    <a:pt x="810" y="700"/>
                  </a:lnTo>
                  <a:lnTo>
                    <a:pt x="814" y="698"/>
                  </a:lnTo>
                  <a:lnTo>
                    <a:pt x="820" y="696"/>
                  </a:lnTo>
                  <a:lnTo>
                    <a:pt x="826" y="696"/>
                  </a:lnTo>
                  <a:lnTo>
                    <a:pt x="832" y="696"/>
                  </a:lnTo>
                  <a:lnTo>
                    <a:pt x="838" y="696"/>
                  </a:lnTo>
                  <a:lnTo>
                    <a:pt x="840" y="698"/>
                  </a:lnTo>
                  <a:lnTo>
                    <a:pt x="842" y="698"/>
                  </a:lnTo>
                  <a:lnTo>
                    <a:pt x="846" y="700"/>
                  </a:lnTo>
                  <a:lnTo>
                    <a:pt x="848" y="700"/>
                  </a:lnTo>
                  <a:lnTo>
                    <a:pt x="850" y="702"/>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sp>
          <p:nvSpPr>
            <p:cNvPr id="600" name="Freeform 557"/>
            <p:cNvSpPr/>
            <p:nvPr/>
          </p:nvSpPr>
          <p:spPr bwMode="gray">
            <a:xfrm>
              <a:off x="5345160" y="2263782"/>
              <a:ext cx="910887" cy="921375"/>
            </a:xfrm>
            <a:custGeom>
              <a:gdLst>
                <a:gd fmla="*/ 318 w 492" name="T0"/>
                <a:gd fmla="*/ 44 h 498" name="T1"/>
                <a:gd fmla="*/ 282 w 492" name="T2"/>
                <a:gd fmla="*/ 40 h 498" name="T3"/>
                <a:gd fmla="*/ 262 w 492" name="T4"/>
                <a:gd fmla="*/ 32 h 498" name="T5"/>
                <a:gd fmla="*/ 242 w 492" name="T6"/>
                <a:gd fmla="*/ 24 h 498" name="T7"/>
                <a:gd fmla="*/ 230 w 492" name="T8"/>
                <a:gd fmla="*/ 28 h 498" name="T9"/>
                <a:gd fmla="*/ 220 w 492" name="T10"/>
                <a:gd fmla="*/ 32 h 498" name="T11"/>
                <a:gd fmla="*/ 176 w 492" name="T12"/>
                <a:gd fmla="*/ 4 h 498" name="T13"/>
                <a:gd fmla="*/ 118 w 492" name="T14"/>
                <a:gd fmla="*/ 12 h 498" name="T15"/>
                <a:gd fmla="*/ 100 w 492" name="T16"/>
                <a:gd fmla="*/ 14 h 498" name="T17"/>
                <a:gd fmla="*/ 68 w 492" name="T18"/>
                <a:gd fmla="*/ 60 h 498" name="T19"/>
                <a:gd fmla="*/ 18 w 492" name="T20"/>
                <a:gd fmla="*/ 98 h 498" name="T21"/>
                <a:gd fmla="*/ 60 w 492" name="T22"/>
                <a:gd fmla="*/ 144 h 498" name="T23"/>
                <a:gd fmla="*/ 58 w 492" name="T24"/>
                <a:gd fmla="*/ 178 h 498" name="T25"/>
                <a:gd fmla="*/ 8 w 492" name="T26"/>
                <a:gd fmla="*/ 182 h 498" name="T27"/>
                <a:gd fmla="*/ 62 w 492" name="T28"/>
                <a:gd fmla="*/ 228 h 498" name="T29"/>
                <a:gd fmla="*/ 86 w 492" name="T30"/>
                <a:gd fmla="*/ 220 h 498" name="T31"/>
                <a:gd fmla="*/ 86 w 492" name="T32"/>
                <a:gd fmla="*/ 236 h 498" name="T33"/>
                <a:gd fmla="*/ 76 w 492" name="T34"/>
                <a:gd fmla="*/ 260 h 498" name="T35"/>
                <a:gd fmla="*/ 52 w 492" name="T36"/>
                <a:gd fmla="*/ 284 h 498" name="T37"/>
                <a:gd fmla="*/ 18 w 492" name="T38"/>
                <a:gd fmla="*/ 308 h 498" name="T39"/>
                <a:gd fmla="*/ 28 w 492" name="T40"/>
                <a:gd fmla="*/ 328 h 498" name="T41"/>
                <a:gd fmla="*/ 38 w 492" name="T42"/>
                <a:gd fmla="*/ 352 h 498" name="T43"/>
                <a:gd fmla="*/ 68 w 492" name="T44"/>
                <a:gd fmla="*/ 362 h 498" name="T45"/>
                <a:gd fmla="*/ 74 w 492" name="T46"/>
                <a:gd fmla="*/ 386 h 498" name="T47"/>
                <a:gd fmla="*/ 92 w 492" name="T48"/>
                <a:gd fmla="*/ 382 h 498" name="T49"/>
                <a:gd fmla="*/ 102 w 492" name="T50"/>
                <a:gd fmla="*/ 394 h 498" name="T51"/>
                <a:gd fmla="*/ 124 w 492" name="T52"/>
                <a:gd fmla="*/ 390 h 498" name="T53"/>
                <a:gd fmla="*/ 138 w 492" name="T54"/>
                <a:gd fmla="*/ 384 h 498" name="T55"/>
                <a:gd fmla="*/ 104 w 492" name="T56"/>
                <a:gd fmla="*/ 434 h 498" name="T57"/>
                <a:gd fmla="*/ 68 w 492" name="T58"/>
                <a:gd fmla="*/ 464 h 498" name="T59"/>
                <a:gd fmla="*/ 86 w 492" name="T60"/>
                <a:gd fmla="*/ 466 h 498" name="T61"/>
                <a:gd fmla="*/ 160 w 492" name="T62"/>
                <a:gd fmla="*/ 412 h 498" name="T63"/>
                <a:gd fmla="*/ 186 w 492" name="T64"/>
                <a:gd fmla="*/ 390 h 498" name="T65"/>
                <a:gd fmla="*/ 178 w 492" name="T66"/>
                <a:gd fmla="*/ 374 h 498" name="T67"/>
                <a:gd fmla="*/ 206 w 492" name="T68"/>
                <a:gd fmla="*/ 326 h 498" name="T69"/>
                <a:gd fmla="*/ 250 w 492" name="T70"/>
                <a:gd fmla="*/ 322 h 498" name="T71"/>
                <a:gd fmla="*/ 212 w 492" name="T72"/>
                <a:gd fmla="*/ 346 h 498" name="T73"/>
                <a:gd fmla="*/ 206 w 492" name="T74"/>
                <a:gd fmla="*/ 364 h 498" name="T75"/>
                <a:gd fmla="*/ 220 w 492" name="T76"/>
                <a:gd fmla="*/ 376 h 498" name="T77"/>
                <a:gd fmla="*/ 246 w 492" name="T78"/>
                <a:gd fmla="*/ 356 h 498" name="T79"/>
                <a:gd fmla="*/ 254 w 492" name="T80"/>
                <a:gd fmla="*/ 338 h 498" name="T81"/>
                <a:gd fmla="*/ 274 w 492" name="T82"/>
                <a:gd fmla="*/ 338 h 498" name="T83"/>
                <a:gd fmla="*/ 312 w 492" name="T84"/>
                <a:gd fmla="*/ 354 h 498" name="T85"/>
                <a:gd fmla="*/ 350 w 492" name="T86"/>
                <a:gd fmla="*/ 368 h 498" name="T87"/>
                <a:gd fmla="*/ 372 w 492" name="T88"/>
                <a:gd fmla="*/ 372 h 498" name="T89"/>
                <a:gd fmla="*/ 426 w 492" name="T90"/>
                <a:gd fmla="*/ 388 h 498" name="T91"/>
                <a:gd fmla="*/ 452 w 492" name="T92"/>
                <a:gd fmla="*/ 428 h 498" name="T93"/>
                <a:gd fmla="*/ 462 w 492" name="T94"/>
                <a:gd fmla="*/ 454 h 498" name="T95"/>
                <a:gd fmla="*/ 472 w 492" name="T96"/>
                <a:gd fmla="*/ 462 h 498" name="T97"/>
                <a:gd fmla="*/ 480 w 492" name="T98"/>
                <a:gd fmla="*/ 474 h 498" name="T99"/>
                <a:gd fmla="*/ 480 w 492" name="T100"/>
                <a:gd fmla="*/ 496 h 498" name="T101"/>
                <a:gd fmla="*/ 490 w 492" name="T102"/>
                <a:gd fmla="*/ 456 h 498" name="T103"/>
                <a:gd fmla="*/ 462 w 492" name="T104"/>
                <a:gd fmla="*/ 418 h 498" name="T105"/>
                <a:gd fmla="*/ 416 w 492" name="T106"/>
                <a:gd fmla="*/ 368 h 498" name="T107"/>
                <a:gd fmla="*/ 378 w 492" name="T108"/>
                <a:gd fmla="*/ 362 h 498"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498" w="492">
                  <a:moveTo>
                    <a:pt x="338" y="50"/>
                  </a:moveTo>
                  <a:lnTo>
                    <a:pt x="336" y="48"/>
                  </a:lnTo>
                  <a:lnTo>
                    <a:pt x="334" y="46"/>
                  </a:lnTo>
                  <a:lnTo>
                    <a:pt x="332" y="46"/>
                  </a:lnTo>
                  <a:lnTo>
                    <a:pt x="328" y="44"/>
                  </a:lnTo>
                  <a:lnTo>
                    <a:pt x="324" y="44"/>
                  </a:lnTo>
                  <a:lnTo>
                    <a:pt x="318" y="44"/>
                  </a:lnTo>
                  <a:lnTo>
                    <a:pt x="310" y="48"/>
                  </a:lnTo>
                  <a:lnTo>
                    <a:pt x="310" y="48"/>
                  </a:lnTo>
                  <a:lnTo>
                    <a:pt x="306" y="48"/>
                  </a:lnTo>
                  <a:lnTo>
                    <a:pt x="300" y="48"/>
                  </a:lnTo>
                  <a:lnTo>
                    <a:pt x="294" y="46"/>
                  </a:lnTo>
                  <a:lnTo>
                    <a:pt x="288" y="44"/>
                  </a:lnTo>
                  <a:lnTo>
                    <a:pt x="282" y="40"/>
                  </a:lnTo>
                  <a:lnTo>
                    <a:pt x="282" y="40"/>
                  </a:lnTo>
                  <a:lnTo>
                    <a:pt x="280" y="40"/>
                  </a:lnTo>
                  <a:lnTo>
                    <a:pt x="276" y="40"/>
                  </a:lnTo>
                  <a:lnTo>
                    <a:pt x="272" y="40"/>
                  </a:lnTo>
                  <a:lnTo>
                    <a:pt x="268" y="38"/>
                  </a:lnTo>
                  <a:lnTo>
                    <a:pt x="264" y="36"/>
                  </a:lnTo>
                  <a:lnTo>
                    <a:pt x="262" y="32"/>
                  </a:lnTo>
                  <a:lnTo>
                    <a:pt x="260" y="30"/>
                  </a:lnTo>
                  <a:lnTo>
                    <a:pt x="258" y="30"/>
                  </a:lnTo>
                  <a:lnTo>
                    <a:pt x="254" y="28"/>
                  </a:lnTo>
                  <a:lnTo>
                    <a:pt x="250" y="26"/>
                  </a:lnTo>
                  <a:lnTo>
                    <a:pt x="246" y="26"/>
                  </a:lnTo>
                  <a:lnTo>
                    <a:pt x="244" y="26"/>
                  </a:lnTo>
                  <a:lnTo>
                    <a:pt x="242" y="24"/>
                  </a:lnTo>
                  <a:lnTo>
                    <a:pt x="240" y="24"/>
                  </a:lnTo>
                  <a:lnTo>
                    <a:pt x="236" y="22"/>
                  </a:lnTo>
                  <a:lnTo>
                    <a:pt x="234" y="20"/>
                  </a:lnTo>
                  <a:lnTo>
                    <a:pt x="230" y="22"/>
                  </a:lnTo>
                  <a:lnTo>
                    <a:pt x="230" y="22"/>
                  </a:lnTo>
                  <a:lnTo>
                    <a:pt x="228" y="26"/>
                  </a:lnTo>
                  <a:lnTo>
                    <a:pt x="230" y="28"/>
                  </a:lnTo>
                  <a:lnTo>
                    <a:pt x="230" y="30"/>
                  </a:lnTo>
                  <a:lnTo>
                    <a:pt x="230" y="34"/>
                  </a:lnTo>
                  <a:lnTo>
                    <a:pt x="230" y="36"/>
                  </a:lnTo>
                  <a:lnTo>
                    <a:pt x="230" y="36"/>
                  </a:lnTo>
                  <a:lnTo>
                    <a:pt x="228" y="36"/>
                  </a:lnTo>
                  <a:lnTo>
                    <a:pt x="224" y="36"/>
                  </a:lnTo>
                  <a:lnTo>
                    <a:pt x="220" y="32"/>
                  </a:lnTo>
                  <a:lnTo>
                    <a:pt x="216" y="28"/>
                  </a:lnTo>
                  <a:lnTo>
                    <a:pt x="212" y="24"/>
                  </a:lnTo>
                  <a:lnTo>
                    <a:pt x="208" y="20"/>
                  </a:lnTo>
                  <a:lnTo>
                    <a:pt x="198" y="16"/>
                  </a:lnTo>
                  <a:lnTo>
                    <a:pt x="188" y="10"/>
                  </a:lnTo>
                  <a:lnTo>
                    <a:pt x="180" y="6"/>
                  </a:lnTo>
                  <a:lnTo>
                    <a:pt x="176" y="4"/>
                  </a:lnTo>
                  <a:lnTo>
                    <a:pt x="172" y="4"/>
                  </a:lnTo>
                  <a:lnTo>
                    <a:pt x="164" y="0"/>
                  </a:lnTo>
                  <a:lnTo>
                    <a:pt x="150" y="0"/>
                  </a:lnTo>
                  <a:lnTo>
                    <a:pt x="134" y="4"/>
                  </a:lnTo>
                  <a:lnTo>
                    <a:pt x="128" y="8"/>
                  </a:lnTo>
                  <a:lnTo>
                    <a:pt x="122" y="10"/>
                  </a:lnTo>
                  <a:lnTo>
                    <a:pt x="118" y="12"/>
                  </a:lnTo>
                  <a:lnTo>
                    <a:pt x="116" y="12"/>
                  </a:lnTo>
                  <a:lnTo>
                    <a:pt x="114" y="12"/>
                  </a:lnTo>
                  <a:lnTo>
                    <a:pt x="112" y="12"/>
                  </a:lnTo>
                  <a:lnTo>
                    <a:pt x="110" y="12"/>
                  </a:lnTo>
                  <a:lnTo>
                    <a:pt x="108" y="12"/>
                  </a:lnTo>
                  <a:lnTo>
                    <a:pt x="104" y="12"/>
                  </a:lnTo>
                  <a:lnTo>
                    <a:pt x="100" y="14"/>
                  </a:lnTo>
                  <a:lnTo>
                    <a:pt x="94" y="16"/>
                  </a:lnTo>
                  <a:lnTo>
                    <a:pt x="88" y="20"/>
                  </a:lnTo>
                  <a:lnTo>
                    <a:pt x="86" y="22"/>
                  </a:lnTo>
                  <a:lnTo>
                    <a:pt x="84" y="28"/>
                  </a:lnTo>
                  <a:lnTo>
                    <a:pt x="80" y="36"/>
                  </a:lnTo>
                  <a:lnTo>
                    <a:pt x="74" y="48"/>
                  </a:lnTo>
                  <a:lnTo>
                    <a:pt x="68" y="60"/>
                  </a:lnTo>
                  <a:lnTo>
                    <a:pt x="58" y="70"/>
                  </a:lnTo>
                  <a:lnTo>
                    <a:pt x="50" y="74"/>
                  </a:lnTo>
                  <a:lnTo>
                    <a:pt x="38" y="76"/>
                  </a:lnTo>
                  <a:lnTo>
                    <a:pt x="28" y="78"/>
                  </a:lnTo>
                  <a:lnTo>
                    <a:pt x="20" y="84"/>
                  </a:lnTo>
                  <a:lnTo>
                    <a:pt x="18" y="92"/>
                  </a:lnTo>
                  <a:lnTo>
                    <a:pt x="18" y="98"/>
                  </a:lnTo>
                  <a:lnTo>
                    <a:pt x="20" y="102"/>
                  </a:lnTo>
                  <a:lnTo>
                    <a:pt x="22" y="106"/>
                  </a:lnTo>
                  <a:lnTo>
                    <a:pt x="26" y="110"/>
                  </a:lnTo>
                  <a:lnTo>
                    <a:pt x="32" y="114"/>
                  </a:lnTo>
                  <a:lnTo>
                    <a:pt x="38" y="120"/>
                  </a:lnTo>
                  <a:lnTo>
                    <a:pt x="48" y="130"/>
                  </a:lnTo>
                  <a:lnTo>
                    <a:pt x="60" y="144"/>
                  </a:lnTo>
                  <a:lnTo>
                    <a:pt x="70" y="156"/>
                  </a:lnTo>
                  <a:lnTo>
                    <a:pt x="76" y="168"/>
                  </a:lnTo>
                  <a:lnTo>
                    <a:pt x="72" y="178"/>
                  </a:lnTo>
                  <a:lnTo>
                    <a:pt x="68" y="180"/>
                  </a:lnTo>
                  <a:lnTo>
                    <a:pt x="64" y="180"/>
                  </a:lnTo>
                  <a:lnTo>
                    <a:pt x="62" y="180"/>
                  </a:lnTo>
                  <a:lnTo>
                    <a:pt x="58" y="178"/>
                  </a:lnTo>
                  <a:lnTo>
                    <a:pt x="54" y="176"/>
                  </a:lnTo>
                  <a:lnTo>
                    <a:pt x="52" y="172"/>
                  </a:lnTo>
                  <a:lnTo>
                    <a:pt x="50" y="170"/>
                  </a:lnTo>
                  <a:lnTo>
                    <a:pt x="46" y="168"/>
                  </a:lnTo>
                  <a:lnTo>
                    <a:pt x="34" y="168"/>
                  </a:lnTo>
                  <a:lnTo>
                    <a:pt x="20" y="172"/>
                  </a:lnTo>
                  <a:lnTo>
                    <a:pt x="8" y="182"/>
                  </a:lnTo>
                  <a:lnTo>
                    <a:pt x="2" y="192"/>
                  </a:lnTo>
                  <a:lnTo>
                    <a:pt x="0" y="200"/>
                  </a:lnTo>
                  <a:lnTo>
                    <a:pt x="0" y="208"/>
                  </a:lnTo>
                  <a:lnTo>
                    <a:pt x="8" y="216"/>
                  </a:lnTo>
                  <a:lnTo>
                    <a:pt x="26" y="226"/>
                  </a:lnTo>
                  <a:lnTo>
                    <a:pt x="44" y="232"/>
                  </a:lnTo>
                  <a:lnTo>
                    <a:pt x="62" y="228"/>
                  </a:lnTo>
                  <a:lnTo>
                    <a:pt x="64" y="228"/>
                  </a:lnTo>
                  <a:lnTo>
                    <a:pt x="66" y="226"/>
                  </a:lnTo>
                  <a:lnTo>
                    <a:pt x="70" y="224"/>
                  </a:lnTo>
                  <a:lnTo>
                    <a:pt x="74" y="222"/>
                  </a:lnTo>
                  <a:lnTo>
                    <a:pt x="78" y="222"/>
                  </a:lnTo>
                  <a:lnTo>
                    <a:pt x="82" y="220"/>
                  </a:lnTo>
                  <a:lnTo>
                    <a:pt x="86" y="220"/>
                  </a:lnTo>
                  <a:lnTo>
                    <a:pt x="88" y="222"/>
                  </a:lnTo>
                  <a:lnTo>
                    <a:pt x="90" y="224"/>
                  </a:lnTo>
                  <a:lnTo>
                    <a:pt x="88" y="226"/>
                  </a:lnTo>
                  <a:lnTo>
                    <a:pt x="86" y="228"/>
                  </a:lnTo>
                  <a:lnTo>
                    <a:pt x="86" y="230"/>
                  </a:lnTo>
                  <a:lnTo>
                    <a:pt x="84" y="234"/>
                  </a:lnTo>
                  <a:lnTo>
                    <a:pt x="86" y="236"/>
                  </a:lnTo>
                  <a:lnTo>
                    <a:pt x="88" y="240"/>
                  </a:lnTo>
                  <a:lnTo>
                    <a:pt x="90" y="242"/>
                  </a:lnTo>
                  <a:lnTo>
                    <a:pt x="92" y="246"/>
                  </a:lnTo>
                  <a:lnTo>
                    <a:pt x="92" y="248"/>
                  </a:lnTo>
                  <a:lnTo>
                    <a:pt x="90" y="252"/>
                  </a:lnTo>
                  <a:lnTo>
                    <a:pt x="86" y="256"/>
                  </a:lnTo>
                  <a:lnTo>
                    <a:pt x="76" y="260"/>
                  </a:lnTo>
                  <a:lnTo>
                    <a:pt x="64" y="266"/>
                  </a:lnTo>
                  <a:lnTo>
                    <a:pt x="56" y="274"/>
                  </a:lnTo>
                  <a:lnTo>
                    <a:pt x="52" y="284"/>
                  </a:lnTo>
                  <a:lnTo>
                    <a:pt x="54" y="284"/>
                  </a:lnTo>
                  <a:lnTo>
                    <a:pt x="54" y="284"/>
                  </a:lnTo>
                  <a:lnTo>
                    <a:pt x="54" y="284"/>
                  </a:lnTo>
                  <a:lnTo>
                    <a:pt x="52" y="284"/>
                  </a:lnTo>
                  <a:lnTo>
                    <a:pt x="52" y="286"/>
                  </a:lnTo>
                  <a:lnTo>
                    <a:pt x="48" y="288"/>
                  </a:lnTo>
                  <a:lnTo>
                    <a:pt x="44" y="290"/>
                  </a:lnTo>
                  <a:lnTo>
                    <a:pt x="36" y="296"/>
                  </a:lnTo>
                  <a:lnTo>
                    <a:pt x="28" y="300"/>
                  </a:lnTo>
                  <a:lnTo>
                    <a:pt x="22" y="304"/>
                  </a:lnTo>
                  <a:lnTo>
                    <a:pt x="18" y="308"/>
                  </a:lnTo>
                  <a:lnTo>
                    <a:pt x="16" y="312"/>
                  </a:lnTo>
                  <a:lnTo>
                    <a:pt x="14" y="316"/>
                  </a:lnTo>
                  <a:lnTo>
                    <a:pt x="16" y="320"/>
                  </a:lnTo>
                  <a:lnTo>
                    <a:pt x="22" y="324"/>
                  </a:lnTo>
                  <a:lnTo>
                    <a:pt x="22" y="326"/>
                  </a:lnTo>
                  <a:lnTo>
                    <a:pt x="24" y="326"/>
                  </a:lnTo>
                  <a:lnTo>
                    <a:pt x="28" y="328"/>
                  </a:lnTo>
                  <a:lnTo>
                    <a:pt x="34" y="330"/>
                  </a:lnTo>
                  <a:lnTo>
                    <a:pt x="38" y="332"/>
                  </a:lnTo>
                  <a:lnTo>
                    <a:pt x="38" y="332"/>
                  </a:lnTo>
                  <a:lnTo>
                    <a:pt x="38" y="336"/>
                  </a:lnTo>
                  <a:lnTo>
                    <a:pt x="38" y="340"/>
                  </a:lnTo>
                  <a:lnTo>
                    <a:pt x="38" y="346"/>
                  </a:lnTo>
                  <a:lnTo>
                    <a:pt x="38" y="352"/>
                  </a:lnTo>
                  <a:lnTo>
                    <a:pt x="42" y="358"/>
                  </a:lnTo>
                  <a:lnTo>
                    <a:pt x="48" y="362"/>
                  </a:lnTo>
                  <a:lnTo>
                    <a:pt x="50" y="362"/>
                  </a:lnTo>
                  <a:lnTo>
                    <a:pt x="54" y="362"/>
                  </a:lnTo>
                  <a:lnTo>
                    <a:pt x="58" y="362"/>
                  </a:lnTo>
                  <a:lnTo>
                    <a:pt x="64" y="362"/>
                  </a:lnTo>
                  <a:lnTo>
                    <a:pt x="68" y="362"/>
                  </a:lnTo>
                  <a:lnTo>
                    <a:pt x="68" y="364"/>
                  </a:lnTo>
                  <a:lnTo>
                    <a:pt x="70" y="366"/>
                  </a:lnTo>
                  <a:lnTo>
                    <a:pt x="70" y="370"/>
                  </a:lnTo>
                  <a:lnTo>
                    <a:pt x="72" y="374"/>
                  </a:lnTo>
                  <a:lnTo>
                    <a:pt x="74" y="380"/>
                  </a:lnTo>
                  <a:lnTo>
                    <a:pt x="74" y="386"/>
                  </a:lnTo>
                  <a:lnTo>
                    <a:pt x="74" y="386"/>
                  </a:lnTo>
                  <a:lnTo>
                    <a:pt x="76" y="388"/>
                  </a:lnTo>
                  <a:lnTo>
                    <a:pt x="80" y="388"/>
                  </a:lnTo>
                  <a:lnTo>
                    <a:pt x="82" y="388"/>
                  </a:lnTo>
                  <a:lnTo>
                    <a:pt x="86" y="386"/>
                  </a:lnTo>
                  <a:lnTo>
                    <a:pt x="90" y="382"/>
                  </a:lnTo>
                  <a:lnTo>
                    <a:pt x="90" y="382"/>
                  </a:lnTo>
                  <a:lnTo>
                    <a:pt x="92" y="382"/>
                  </a:lnTo>
                  <a:lnTo>
                    <a:pt x="94" y="382"/>
                  </a:lnTo>
                  <a:lnTo>
                    <a:pt x="96" y="382"/>
                  </a:lnTo>
                  <a:lnTo>
                    <a:pt x="98" y="384"/>
                  </a:lnTo>
                  <a:lnTo>
                    <a:pt x="98" y="388"/>
                  </a:lnTo>
                  <a:lnTo>
                    <a:pt x="100" y="390"/>
                  </a:lnTo>
                  <a:lnTo>
                    <a:pt x="100" y="392"/>
                  </a:lnTo>
                  <a:lnTo>
                    <a:pt x="102" y="394"/>
                  </a:lnTo>
                  <a:lnTo>
                    <a:pt x="104" y="396"/>
                  </a:lnTo>
                  <a:lnTo>
                    <a:pt x="106" y="398"/>
                  </a:lnTo>
                  <a:lnTo>
                    <a:pt x="110" y="398"/>
                  </a:lnTo>
                  <a:lnTo>
                    <a:pt x="116" y="396"/>
                  </a:lnTo>
                  <a:lnTo>
                    <a:pt x="120" y="392"/>
                  </a:lnTo>
                  <a:lnTo>
                    <a:pt x="122" y="392"/>
                  </a:lnTo>
                  <a:lnTo>
                    <a:pt x="124" y="390"/>
                  </a:lnTo>
                  <a:lnTo>
                    <a:pt x="126" y="388"/>
                  </a:lnTo>
                  <a:lnTo>
                    <a:pt x="128" y="384"/>
                  </a:lnTo>
                  <a:lnTo>
                    <a:pt x="130" y="382"/>
                  </a:lnTo>
                  <a:lnTo>
                    <a:pt x="134" y="380"/>
                  </a:lnTo>
                  <a:lnTo>
                    <a:pt x="136" y="380"/>
                  </a:lnTo>
                  <a:lnTo>
                    <a:pt x="138" y="380"/>
                  </a:lnTo>
                  <a:lnTo>
                    <a:pt x="138" y="384"/>
                  </a:lnTo>
                  <a:lnTo>
                    <a:pt x="138" y="388"/>
                  </a:lnTo>
                  <a:lnTo>
                    <a:pt x="136" y="396"/>
                  </a:lnTo>
                  <a:lnTo>
                    <a:pt x="132" y="408"/>
                  </a:lnTo>
                  <a:lnTo>
                    <a:pt x="126" y="418"/>
                  </a:lnTo>
                  <a:lnTo>
                    <a:pt x="122" y="420"/>
                  </a:lnTo>
                  <a:lnTo>
                    <a:pt x="114" y="426"/>
                  </a:lnTo>
                  <a:lnTo>
                    <a:pt x="104" y="434"/>
                  </a:lnTo>
                  <a:lnTo>
                    <a:pt x="94" y="444"/>
                  </a:lnTo>
                  <a:lnTo>
                    <a:pt x="86" y="454"/>
                  </a:lnTo>
                  <a:lnTo>
                    <a:pt x="84" y="456"/>
                  </a:lnTo>
                  <a:lnTo>
                    <a:pt x="82" y="456"/>
                  </a:lnTo>
                  <a:lnTo>
                    <a:pt x="78" y="458"/>
                  </a:lnTo>
                  <a:lnTo>
                    <a:pt x="74" y="462"/>
                  </a:lnTo>
                  <a:lnTo>
                    <a:pt x="68" y="464"/>
                  </a:lnTo>
                  <a:lnTo>
                    <a:pt x="64" y="470"/>
                  </a:lnTo>
                  <a:lnTo>
                    <a:pt x="62" y="474"/>
                  </a:lnTo>
                  <a:lnTo>
                    <a:pt x="64" y="474"/>
                  </a:lnTo>
                  <a:lnTo>
                    <a:pt x="66" y="472"/>
                  </a:lnTo>
                  <a:lnTo>
                    <a:pt x="72" y="470"/>
                  </a:lnTo>
                  <a:lnTo>
                    <a:pt x="78" y="468"/>
                  </a:lnTo>
                  <a:lnTo>
                    <a:pt x="86" y="466"/>
                  </a:lnTo>
                  <a:lnTo>
                    <a:pt x="94" y="464"/>
                  </a:lnTo>
                  <a:lnTo>
                    <a:pt x="106" y="458"/>
                  </a:lnTo>
                  <a:lnTo>
                    <a:pt x="120" y="450"/>
                  </a:lnTo>
                  <a:lnTo>
                    <a:pt x="134" y="436"/>
                  </a:lnTo>
                  <a:lnTo>
                    <a:pt x="148" y="424"/>
                  </a:lnTo>
                  <a:lnTo>
                    <a:pt x="160" y="412"/>
                  </a:lnTo>
                  <a:lnTo>
                    <a:pt x="160" y="412"/>
                  </a:lnTo>
                  <a:lnTo>
                    <a:pt x="164" y="410"/>
                  </a:lnTo>
                  <a:lnTo>
                    <a:pt x="168" y="408"/>
                  </a:lnTo>
                  <a:lnTo>
                    <a:pt x="172" y="404"/>
                  </a:lnTo>
                  <a:lnTo>
                    <a:pt x="176" y="402"/>
                  </a:lnTo>
                  <a:lnTo>
                    <a:pt x="180" y="398"/>
                  </a:lnTo>
                  <a:lnTo>
                    <a:pt x="184" y="394"/>
                  </a:lnTo>
                  <a:lnTo>
                    <a:pt x="186" y="390"/>
                  </a:lnTo>
                  <a:lnTo>
                    <a:pt x="184" y="386"/>
                  </a:lnTo>
                  <a:lnTo>
                    <a:pt x="182" y="382"/>
                  </a:lnTo>
                  <a:lnTo>
                    <a:pt x="180" y="382"/>
                  </a:lnTo>
                  <a:lnTo>
                    <a:pt x="178" y="380"/>
                  </a:lnTo>
                  <a:lnTo>
                    <a:pt x="178" y="378"/>
                  </a:lnTo>
                  <a:lnTo>
                    <a:pt x="176" y="376"/>
                  </a:lnTo>
                  <a:lnTo>
                    <a:pt x="178" y="374"/>
                  </a:lnTo>
                  <a:lnTo>
                    <a:pt x="182" y="372"/>
                  </a:lnTo>
                  <a:lnTo>
                    <a:pt x="184" y="368"/>
                  </a:lnTo>
                  <a:lnTo>
                    <a:pt x="188" y="360"/>
                  </a:lnTo>
                  <a:lnTo>
                    <a:pt x="194" y="350"/>
                  </a:lnTo>
                  <a:lnTo>
                    <a:pt x="200" y="340"/>
                  </a:lnTo>
                  <a:lnTo>
                    <a:pt x="204" y="328"/>
                  </a:lnTo>
                  <a:lnTo>
                    <a:pt x="206" y="326"/>
                  </a:lnTo>
                  <a:lnTo>
                    <a:pt x="214" y="322"/>
                  </a:lnTo>
                  <a:lnTo>
                    <a:pt x="226" y="318"/>
                  </a:lnTo>
                  <a:lnTo>
                    <a:pt x="244" y="318"/>
                  </a:lnTo>
                  <a:lnTo>
                    <a:pt x="244" y="318"/>
                  </a:lnTo>
                  <a:lnTo>
                    <a:pt x="246" y="320"/>
                  </a:lnTo>
                  <a:lnTo>
                    <a:pt x="248" y="322"/>
                  </a:lnTo>
                  <a:lnTo>
                    <a:pt x="250" y="322"/>
                  </a:lnTo>
                  <a:lnTo>
                    <a:pt x="252" y="324"/>
                  </a:lnTo>
                  <a:lnTo>
                    <a:pt x="252" y="326"/>
                  </a:lnTo>
                  <a:lnTo>
                    <a:pt x="248" y="328"/>
                  </a:lnTo>
                  <a:lnTo>
                    <a:pt x="244" y="328"/>
                  </a:lnTo>
                  <a:lnTo>
                    <a:pt x="232" y="332"/>
                  </a:lnTo>
                  <a:lnTo>
                    <a:pt x="220" y="336"/>
                  </a:lnTo>
                  <a:lnTo>
                    <a:pt x="212" y="346"/>
                  </a:lnTo>
                  <a:lnTo>
                    <a:pt x="212" y="348"/>
                  </a:lnTo>
                  <a:lnTo>
                    <a:pt x="212" y="350"/>
                  </a:lnTo>
                  <a:lnTo>
                    <a:pt x="210" y="354"/>
                  </a:lnTo>
                  <a:lnTo>
                    <a:pt x="208" y="358"/>
                  </a:lnTo>
                  <a:lnTo>
                    <a:pt x="206" y="360"/>
                  </a:lnTo>
                  <a:lnTo>
                    <a:pt x="206" y="362"/>
                  </a:lnTo>
                  <a:lnTo>
                    <a:pt x="206" y="364"/>
                  </a:lnTo>
                  <a:lnTo>
                    <a:pt x="206" y="366"/>
                  </a:lnTo>
                  <a:lnTo>
                    <a:pt x="206" y="370"/>
                  </a:lnTo>
                  <a:lnTo>
                    <a:pt x="208" y="372"/>
                  </a:lnTo>
                  <a:lnTo>
                    <a:pt x="208" y="376"/>
                  </a:lnTo>
                  <a:lnTo>
                    <a:pt x="212" y="376"/>
                  </a:lnTo>
                  <a:lnTo>
                    <a:pt x="214" y="376"/>
                  </a:lnTo>
                  <a:lnTo>
                    <a:pt x="220" y="376"/>
                  </a:lnTo>
                  <a:lnTo>
                    <a:pt x="220" y="374"/>
                  </a:lnTo>
                  <a:lnTo>
                    <a:pt x="224" y="372"/>
                  </a:lnTo>
                  <a:lnTo>
                    <a:pt x="228" y="370"/>
                  </a:lnTo>
                  <a:lnTo>
                    <a:pt x="232" y="368"/>
                  </a:lnTo>
                  <a:lnTo>
                    <a:pt x="236" y="364"/>
                  </a:lnTo>
                  <a:lnTo>
                    <a:pt x="242" y="360"/>
                  </a:lnTo>
                  <a:lnTo>
                    <a:pt x="246" y="356"/>
                  </a:lnTo>
                  <a:lnTo>
                    <a:pt x="248" y="354"/>
                  </a:lnTo>
                  <a:lnTo>
                    <a:pt x="250" y="350"/>
                  </a:lnTo>
                  <a:lnTo>
                    <a:pt x="250" y="348"/>
                  </a:lnTo>
                  <a:lnTo>
                    <a:pt x="250" y="346"/>
                  </a:lnTo>
                  <a:lnTo>
                    <a:pt x="252" y="344"/>
                  </a:lnTo>
                  <a:lnTo>
                    <a:pt x="252" y="340"/>
                  </a:lnTo>
                  <a:lnTo>
                    <a:pt x="254" y="338"/>
                  </a:lnTo>
                  <a:lnTo>
                    <a:pt x="256" y="334"/>
                  </a:lnTo>
                  <a:lnTo>
                    <a:pt x="258" y="334"/>
                  </a:lnTo>
                  <a:lnTo>
                    <a:pt x="262" y="332"/>
                  </a:lnTo>
                  <a:lnTo>
                    <a:pt x="266" y="334"/>
                  </a:lnTo>
                  <a:lnTo>
                    <a:pt x="270" y="338"/>
                  </a:lnTo>
                  <a:lnTo>
                    <a:pt x="272" y="338"/>
                  </a:lnTo>
                  <a:lnTo>
                    <a:pt x="274" y="338"/>
                  </a:lnTo>
                  <a:lnTo>
                    <a:pt x="280" y="338"/>
                  </a:lnTo>
                  <a:lnTo>
                    <a:pt x="284" y="340"/>
                  </a:lnTo>
                  <a:lnTo>
                    <a:pt x="290" y="342"/>
                  </a:lnTo>
                  <a:lnTo>
                    <a:pt x="294" y="346"/>
                  </a:lnTo>
                  <a:lnTo>
                    <a:pt x="296" y="350"/>
                  </a:lnTo>
                  <a:lnTo>
                    <a:pt x="300" y="352"/>
                  </a:lnTo>
                  <a:lnTo>
                    <a:pt x="312" y="354"/>
                  </a:lnTo>
                  <a:lnTo>
                    <a:pt x="330" y="358"/>
                  </a:lnTo>
                  <a:lnTo>
                    <a:pt x="332" y="358"/>
                  </a:lnTo>
                  <a:lnTo>
                    <a:pt x="336" y="358"/>
                  </a:lnTo>
                  <a:lnTo>
                    <a:pt x="340" y="362"/>
                  </a:lnTo>
                  <a:lnTo>
                    <a:pt x="344" y="364"/>
                  </a:lnTo>
                  <a:lnTo>
                    <a:pt x="348" y="370"/>
                  </a:lnTo>
                  <a:lnTo>
                    <a:pt x="350" y="368"/>
                  </a:lnTo>
                  <a:lnTo>
                    <a:pt x="350" y="366"/>
                  </a:lnTo>
                  <a:lnTo>
                    <a:pt x="354" y="364"/>
                  </a:lnTo>
                  <a:lnTo>
                    <a:pt x="356" y="362"/>
                  </a:lnTo>
                  <a:lnTo>
                    <a:pt x="360" y="362"/>
                  </a:lnTo>
                  <a:lnTo>
                    <a:pt x="364" y="362"/>
                  </a:lnTo>
                  <a:lnTo>
                    <a:pt x="366" y="366"/>
                  </a:lnTo>
                  <a:lnTo>
                    <a:pt x="372" y="372"/>
                  </a:lnTo>
                  <a:lnTo>
                    <a:pt x="380" y="382"/>
                  </a:lnTo>
                  <a:lnTo>
                    <a:pt x="390" y="392"/>
                  </a:lnTo>
                  <a:lnTo>
                    <a:pt x="398" y="402"/>
                  </a:lnTo>
                  <a:lnTo>
                    <a:pt x="406" y="408"/>
                  </a:lnTo>
                  <a:lnTo>
                    <a:pt x="408" y="410"/>
                  </a:lnTo>
                  <a:lnTo>
                    <a:pt x="424" y="386"/>
                  </a:lnTo>
                  <a:lnTo>
                    <a:pt x="426" y="388"/>
                  </a:lnTo>
                  <a:lnTo>
                    <a:pt x="432" y="398"/>
                  </a:lnTo>
                  <a:lnTo>
                    <a:pt x="438" y="408"/>
                  </a:lnTo>
                  <a:lnTo>
                    <a:pt x="442" y="418"/>
                  </a:lnTo>
                  <a:lnTo>
                    <a:pt x="444" y="418"/>
                  </a:lnTo>
                  <a:lnTo>
                    <a:pt x="446" y="420"/>
                  </a:lnTo>
                  <a:lnTo>
                    <a:pt x="448" y="424"/>
                  </a:lnTo>
                  <a:lnTo>
                    <a:pt x="452" y="428"/>
                  </a:lnTo>
                  <a:lnTo>
                    <a:pt x="456" y="432"/>
                  </a:lnTo>
                  <a:lnTo>
                    <a:pt x="458" y="436"/>
                  </a:lnTo>
                  <a:lnTo>
                    <a:pt x="458" y="436"/>
                  </a:lnTo>
                  <a:lnTo>
                    <a:pt x="458" y="440"/>
                  </a:lnTo>
                  <a:lnTo>
                    <a:pt x="458" y="444"/>
                  </a:lnTo>
                  <a:lnTo>
                    <a:pt x="460" y="450"/>
                  </a:lnTo>
                  <a:lnTo>
                    <a:pt x="462" y="454"/>
                  </a:lnTo>
                  <a:lnTo>
                    <a:pt x="466" y="458"/>
                  </a:lnTo>
                  <a:lnTo>
                    <a:pt x="466" y="460"/>
                  </a:lnTo>
                  <a:lnTo>
                    <a:pt x="466" y="460"/>
                  </a:lnTo>
                  <a:lnTo>
                    <a:pt x="466" y="462"/>
                  </a:lnTo>
                  <a:lnTo>
                    <a:pt x="468" y="462"/>
                  </a:lnTo>
                  <a:lnTo>
                    <a:pt x="470" y="462"/>
                  </a:lnTo>
                  <a:lnTo>
                    <a:pt x="472" y="462"/>
                  </a:lnTo>
                  <a:lnTo>
                    <a:pt x="476" y="458"/>
                  </a:lnTo>
                  <a:lnTo>
                    <a:pt x="476" y="458"/>
                  </a:lnTo>
                  <a:lnTo>
                    <a:pt x="476" y="460"/>
                  </a:lnTo>
                  <a:lnTo>
                    <a:pt x="478" y="460"/>
                  </a:lnTo>
                  <a:lnTo>
                    <a:pt x="478" y="464"/>
                  </a:lnTo>
                  <a:lnTo>
                    <a:pt x="478" y="468"/>
                  </a:lnTo>
                  <a:lnTo>
                    <a:pt x="480" y="474"/>
                  </a:lnTo>
                  <a:lnTo>
                    <a:pt x="478" y="474"/>
                  </a:lnTo>
                  <a:lnTo>
                    <a:pt x="478" y="476"/>
                  </a:lnTo>
                  <a:lnTo>
                    <a:pt x="476" y="480"/>
                  </a:lnTo>
                  <a:lnTo>
                    <a:pt x="476" y="484"/>
                  </a:lnTo>
                  <a:lnTo>
                    <a:pt x="476" y="488"/>
                  </a:lnTo>
                  <a:lnTo>
                    <a:pt x="478" y="494"/>
                  </a:lnTo>
                  <a:lnTo>
                    <a:pt x="480" y="496"/>
                  </a:lnTo>
                  <a:lnTo>
                    <a:pt x="484" y="498"/>
                  </a:lnTo>
                  <a:lnTo>
                    <a:pt x="486" y="494"/>
                  </a:lnTo>
                  <a:lnTo>
                    <a:pt x="488" y="486"/>
                  </a:lnTo>
                  <a:lnTo>
                    <a:pt x="490" y="474"/>
                  </a:lnTo>
                  <a:lnTo>
                    <a:pt x="492" y="464"/>
                  </a:lnTo>
                  <a:lnTo>
                    <a:pt x="492" y="456"/>
                  </a:lnTo>
                  <a:lnTo>
                    <a:pt x="490" y="456"/>
                  </a:lnTo>
                  <a:lnTo>
                    <a:pt x="488" y="454"/>
                  </a:lnTo>
                  <a:lnTo>
                    <a:pt x="484" y="450"/>
                  </a:lnTo>
                  <a:lnTo>
                    <a:pt x="478" y="444"/>
                  </a:lnTo>
                  <a:lnTo>
                    <a:pt x="474" y="438"/>
                  </a:lnTo>
                  <a:lnTo>
                    <a:pt x="470" y="430"/>
                  </a:lnTo>
                  <a:lnTo>
                    <a:pt x="468" y="426"/>
                  </a:lnTo>
                  <a:lnTo>
                    <a:pt x="462" y="418"/>
                  </a:lnTo>
                  <a:lnTo>
                    <a:pt x="454" y="406"/>
                  </a:lnTo>
                  <a:lnTo>
                    <a:pt x="444" y="392"/>
                  </a:lnTo>
                  <a:lnTo>
                    <a:pt x="434" y="380"/>
                  </a:lnTo>
                  <a:lnTo>
                    <a:pt x="426" y="370"/>
                  </a:lnTo>
                  <a:lnTo>
                    <a:pt x="420" y="366"/>
                  </a:lnTo>
                  <a:lnTo>
                    <a:pt x="418" y="366"/>
                  </a:lnTo>
                  <a:lnTo>
                    <a:pt x="416" y="368"/>
                  </a:lnTo>
                  <a:lnTo>
                    <a:pt x="412" y="372"/>
                  </a:lnTo>
                  <a:lnTo>
                    <a:pt x="408" y="374"/>
                  </a:lnTo>
                  <a:lnTo>
                    <a:pt x="402" y="378"/>
                  </a:lnTo>
                  <a:lnTo>
                    <a:pt x="398" y="378"/>
                  </a:lnTo>
                  <a:lnTo>
                    <a:pt x="396" y="376"/>
                  </a:lnTo>
                  <a:lnTo>
                    <a:pt x="388" y="370"/>
                  </a:lnTo>
                  <a:lnTo>
                    <a:pt x="378" y="362"/>
                  </a:lnTo>
                  <a:lnTo>
                    <a:pt x="368" y="354"/>
                  </a:lnTo>
                  <a:lnTo>
                    <a:pt x="358" y="348"/>
                  </a:lnTo>
                  <a:lnTo>
                    <a:pt x="350" y="342"/>
                  </a:lnTo>
                  <a:lnTo>
                    <a:pt x="338" y="342"/>
                  </a:lnTo>
                  <a:lnTo>
                    <a:pt x="338" y="50"/>
                  </a:lnTo>
                </a:path>
              </a:pathLst>
            </a:custGeom>
            <a:solidFill>
              <a:srgbClr val="E00024"/>
            </a:solidFill>
            <a:ln w="6350">
              <a:solidFill>
                <a:schemeClr val="bg1"/>
              </a:solidFill>
              <a:prstDash val="solid"/>
              <a:round/>
            </a:ln>
            <a:effectLst/>
            <a:extLst/>
          </p:spPr>
          <p:txBody>
            <a:bodyPr/>
            <a:lstStyle/>
            <a:p>
              <a:endParaRPr altLang="en-US" lang="zh-CN"/>
            </a:p>
          </p:txBody>
        </p:sp>
        <p:sp>
          <p:nvSpPr>
            <p:cNvPr id="601" name="Freeform 558"/>
            <p:cNvSpPr/>
            <p:nvPr/>
          </p:nvSpPr>
          <p:spPr bwMode="gray">
            <a:xfrm>
              <a:off x="6363428" y="3381272"/>
              <a:ext cx="1366331" cy="747460"/>
            </a:xfrm>
            <a:custGeom>
              <a:gdLst>
                <a:gd fmla="*/ 704 w 738" name="T0"/>
                <a:gd fmla="*/ 42 h 404" name="T1"/>
                <a:gd fmla="*/ 724 w 738" name="T2"/>
                <a:gd fmla="*/ 30 h 404" name="T3"/>
                <a:gd fmla="*/ 724 w 738" name="T4"/>
                <a:gd fmla="*/ 64 h 404" name="T5"/>
                <a:gd fmla="*/ 738 w 738" name="T6"/>
                <a:gd fmla="*/ 74 h 404" name="T7"/>
                <a:gd fmla="*/ 726 w 738" name="T8"/>
                <a:gd fmla="*/ 82 h 404" name="T9"/>
                <a:gd fmla="*/ 702 w 738" name="T10"/>
                <a:gd fmla="*/ 96 h 404" name="T11"/>
                <a:gd fmla="*/ 684 w 738" name="T12"/>
                <a:gd fmla="*/ 114 h 404" name="T13"/>
                <a:gd fmla="*/ 688 w 738" name="T14"/>
                <a:gd fmla="*/ 126 h 404" name="T15"/>
                <a:gd fmla="*/ 696 w 738" name="T16"/>
                <a:gd fmla="*/ 136 h 404" name="T17"/>
                <a:gd fmla="*/ 668 w 738" name="T18"/>
                <a:gd fmla="*/ 140 h 404" name="T19"/>
                <a:gd fmla="*/ 644 w 738" name="T20"/>
                <a:gd fmla="*/ 142 h 404" name="T21"/>
                <a:gd fmla="*/ 646 w 738" name="T22"/>
                <a:gd fmla="*/ 162 h 404" name="T23"/>
                <a:gd fmla="*/ 642 w 738" name="T24"/>
                <a:gd fmla="*/ 192 h 404" name="T25"/>
                <a:gd fmla="*/ 630 w 738" name="T26"/>
                <a:gd fmla="*/ 184 h 404" name="T27"/>
                <a:gd fmla="*/ 622 w 738" name="T28"/>
                <a:gd fmla="*/ 186 h 404" name="T29"/>
                <a:gd fmla="*/ 626 w 738" name="T30"/>
                <a:gd fmla="*/ 204 h 404" name="T31"/>
                <a:gd fmla="*/ 616 w 738" name="T32"/>
                <a:gd fmla="*/ 218 h 404" name="T33"/>
                <a:gd fmla="*/ 624 w 738" name="T34"/>
                <a:gd fmla="*/ 234 h 404" name="T35"/>
                <a:gd fmla="*/ 610 w 738" name="T36"/>
                <a:gd fmla="*/ 240 h 404" name="T37"/>
                <a:gd fmla="*/ 556 w 738" name="T38"/>
                <a:gd fmla="*/ 296 h 404" name="T39"/>
                <a:gd fmla="*/ 550 w 738" name="T40"/>
                <a:gd fmla="*/ 320 h 404" name="T41"/>
                <a:gd fmla="*/ 572 w 738" name="T42"/>
                <a:gd fmla="*/ 368 h 404" name="T43"/>
                <a:gd fmla="*/ 566 w 738" name="T44"/>
                <a:gd fmla="*/ 404 h 404" name="T45"/>
                <a:gd fmla="*/ 528 w 738" name="T46"/>
                <a:gd fmla="*/ 348 h 404" name="T47"/>
                <a:gd fmla="*/ 516 w 738" name="T48"/>
                <a:gd fmla="*/ 326 h 404" name="T49"/>
                <a:gd fmla="*/ 446 w 738" name="T50"/>
                <a:gd fmla="*/ 324 h 404" name="T51"/>
                <a:gd fmla="*/ 382 w 738" name="T52"/>
                <a:gd fmla="*/ 334 h 404" name="T53"/>
                <a:gd fmla="*/ 344 w 738" name="T54"/>
                <a:gd fmla="*/ 376 h 404" name="T55"/>
                <a:gd fmla="*/ 308 w 738" name="T56"/>
                <a:gd fmla="*/ 350 h 404" name="T57"/>
                <a:gd fmla="*/ 288 w 738" name="T58"/>
                <a:gd fmla="*/ 336 h 404" name="T59"/>
                <a:gd fmla="*/ 262 w 738" name="T60"/>
                <a:gd fmla="*/ 334 h 404" name="T61"/>
                <a:gd fmla="*/ 228 w 738" name="T62"/>
                <a:gd fmla="*/ 296 h 404" name="T63"/>
                <a:gd fmla="*/ 176 w 738" name="T64"/>
                <a:gd fmla="*/ 306 h 404" name="T65"/>
                <a:gd fmla="*/ 112 w 738" name="T66"/>
                <a:gd fmla="*/ 288 h 404" name="T67"/>
                <a:gd fmla="*/ 84 w 738" name="T68"/>
                <a:gd fmla="*/ 272 h 404" name="T69"/>
                <a:gd fmla="*/ 52 w 738" name="T70"/>
                <a:gd fmla="*/ 252 h 404" name="T71"/>
                <a:gd fmla="*/ 2 w 738" name="T72"/>
                <a:gd fmla="*/ 156 h 404" name="T73"/>
                <a:gd fmla="*/ 6 w 738" name="T74"/>
                <a:gd fmla="*/ 102 h 404" name="T75"/>
                <a:gd fmla="*/ 6 w 738" name="T76"/>
                <a:gd fmla="*/ 62 h 404" name="T77"/>
                <a:gd fmla="*/ 14 w 738" name="T78"/>
                <a:gd fmla="*/ 22 h 404" name="T79"/>
                <a:gd fmla="*/ 416 w 738" name="T80"/>
                <a:gd fmla="*/ 12 h 404" name="T81"/>
                <a:gd fmla="*/ 432 w 738" name="T82"/>
                <a:gd fmla="*/ 22 h 404" name="T83"/>
                <a:gd fmla="*/ 416 w 738" name="T84"/>
                <a:gd fmla="*/ 40 h 404" name="T85"/>
                <a:gd fmla="*/ 454 w 738" name="T86"/>
                <a:gd fmla="*/ 42 h 404" name="T87"/>
                <a:gd fmla="*/ 484 w 738" name="T88"/>
                <a:gd fmla="*/ 42 h 404" name="T89"/>
                <a:gd fmla="*/ 502 w 738" name="T90"/>
                <a:gd fmla="*/ 44 h 404" name="T91"/>
                <a:gd fmla="*/ 490 w 738" name="T92"/>
                <a:gd fmla="*/ 60 h 404" name="T93"/>
                <a:gd fmla="*/ 472 w 738" name="T94"/>
                <a:gd fmla="*/ 66 h 404" name="T95"/>
                <a:gd fmla="*/ 476 w 738" name="T96"/>
                <a:gd fmla="*/ 84 h 404" name="T97"/>
                <a:gd fmla="*/ 472 w 738" name="T98"/>
                <a:gd fmla="*/ 134 h 404" name="T99"/>
                <a:gd fmla="*/ 490 w 738" name="T100"/>
                <a:gd fmla="*/ 108 h 404" name="T101"/>
                <a:gd fmla="*/ 504 w 738" name="T102"/>
                <a:gd fmla="*/ 64 h 404" name="T103"/>
                <a:gd fmla="*/ 520 w 738" name="T104"/>
                <a:gd fmla="*/ 64 h 404" name="T105"/>
                <a:gd fmla="*/ 518 w 738" name="T106"/>
                <a:gd fmla="*/ 90 h 404" name="T107"/>
                <a:gd fmla="*/ 530 w 738" name="T108"/>
                <a:gd fmla="*/ 92 h 404" name="T109"/>
                <a:gd fmla="*/ 536 w 738" name="T110"/>
                <a:gd fmla="*/ 120 h 404" name="T111"/>
                <a:gd fmla="*/ 546 w 738" name="T112"/>
                <a:gd fmla="*/ 128 h 404" name="T113"/>
                <a:gd fmla="*/ 586 w 738" name="T114"/>
                <a:gd fmla="*/ 114 h 404" name="T115"/>
                <a:gd fmla="*/ 596 w 738" name="T116"/>
                <a:gd fmla="*/ 94 h 404" name="T117"/>
                <a:gd fmla="*/ 634 w 738" name="T118"/>
                <a:gd fmla="*/ 82 h 404" name="T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b="b" l="0" r="r" t="0"/>
              <a:pathLst>
                <a:path h="403" w="738">
                  <a:moveTo>
                    <a:pt x="640" y="76"/>
                  </a:moveTo>
                  <a:lnTo>
                    <a:pt x="650" y="64"/>
                  </a:lnTo>
                  <a:lnTo>
                    <a:pt x="664" y="58"/>
                  </a:lnTo>
                  <a:lnTo>
                    <a:pt x="680" y="54"/>
                  </a:lnTo>
                  <a:lnTo>
                    <a:pt x="694" y="52"/>
                  </a:lnTo>
                  <a:lnTo>
                    <a:pt x="698" y="52"/>
                  </a:lnTo>
                  <a:lnTo>
                    <a:pt x="704" y="42"/>
                  </a:lnTo>
                  <a:lnTo>
                    <a:pt x="708" y="36"/>
                  </a:lnTo>
                  <a:lnTo>
                    <a:pt x="712" y="32"/>
                  </a:lnTo>
                  <a:lnTo>
                    <a:pt x="716" y="30"/>
                  </a:lnTo>
                  <a:lnTo>
                    <a:pt x="720" y="28"/>
                  </a:lnTo>
                  <a:lnTo>
                    <a:pt x="722" y="28"/>
                  </a:lnTo>
                  <a:lnTo>
                    <a:pt x="724" y="30"/>
                  </a:lnTo>
                  <a:lnTo>
                    <a:pt x="724" y="30"/>
                  </a:lnTo>
                  <a:lnTo>
                    <a:pt x="726" y="30"/>
                  </a:lnTo>
                  <a:lnTo>
                    <a:pt x="732" y="32"/>
                  </a:lnTo>
                  <a:lnTo>
                    <a:pt x="734" y="40"/>
                  </a:lnTo>
                  <a:lnTo>
                    <a:pt x="732" y="48"/>
                  </a:lnTo>
                  <a:lnTo>
                    <a:pt x="728" y="56"/>
                  </a:lnTo>
                  <a:lnTo>
                    <a:pt x="726" y="62"/>
                  </a:lnTo>
                  <a:lnTo>
                    <a:pt x="724" y="64"/>
                  </a:lnTo>
                  <a:lnTo>
                    <a:pt x="724" y="64"/>
                  </a:lnTo>
                  <a:lnTo>
                    <a:pt x="726" y="66"/>
                  </a:lnTo>
                  <a:lnTo>
                    <a:pt x="728" y="68"/>
                  </a:lnTo>
                  <a:lnTo>
                    <a:pt x="732" y="70"/>
                  </a:lnTo>
                  <a:lnTo>
                    <a:pt x="734" y="72"/>
                  </a:lnTo>
                  <a:lnTo>
                    <a:pt x="738" y="74"/>
                  </a:lnTo>
                  <a:lnTo>
                    <a:pt x="738" y="74"/>
                  </a:lnTo>
                  <a:lnTo>
                    <a:pt x="738" y="74"/>
                  </a:lnTo>
                  <a:lnTo>
                    <a:pt x="738" y="76"/>
                  </a:lnTo>
                  <a:lnTo>
                    <a:pt x="736" y="76"/>
                  </a:lnTo>
                  <a:lnTo>
                    <a:pt x="734" y="78"/>
                  </a:lnTo>
                  <a:lnTo>
                    <a:pt x="730" y="80"/>
                  </a:lnTo>
                  <a:lnTo>
                    <a:pt x="730" y="82"/>
                  </a:lnTo>
                  <a:lnTo>
                    <a:pt x="726" y="82"/>
                  </a:lnTo>
                  <a:lnTo>
                    <a:pt x="722" y="84"/>
                  </a:lnTo>
                  <a:lnTo>
                    <a:pt x="718" y="86"/>
                  </a:lnTo>
                  <a:lnTo>
                    <a:pt x="712" y="86"/>
                  </a:lnTo>
                  <a:lnTo>
                    <a:pt x="708" y="88"/>
                  </a:lnTo>
                  <a:lnTo>
                    <a:pt x="706" y="90"/>
                  </a:lnTo>
                  <a:lnTo>
                    <a:pt x="704" y="92"/>
                  </a:lnTo>
                  <a:lnTo>
                    <a:pt x="702" y="96"/>
                  </a:lnTo>
                  <a:lnTo>
                    <a:pt x="698" y="100"/>
                  </a:lnTo>
                  <a:lnTo>
                    <a:pt x="696" y="104"/>
                  </a:lnTo>
                  <a:lnTo>
                    <a:pt x="692" y="106"/>
                  </a:lnTo>
                  <a:lnTo>
                    <a:pt x="692" y="108"/>
                  </a:lnTo>
                  <a:lnTo>
                    <a:pt x="690" y="108"/>
                  </a:lnTo>
                  <a:lnTo>
                    <a:pt x="688" y="110"/>
                  </a:lnTo>
                  <a:lnTo>
                    <a:pt x="684" y="114"/>
                  </a:lnTo>
                  <a:lnTo>
                    <a:pt x="682" y="116"/>
                  </a:lnTo>
                  <a:lnTo>
                    <a:pt x="680" y="118"/>
                  </a:lnTo>
                  <a:lnTo>
                    <a:pt x="680" y="122"/>
                  </a:lnTo>
                  <a:lnTo>
                    <a:pt x="680" y="124"/>
                  </a:lnTo>
                  <a:lnTo>
                    <a:pt x="684" y="124"/>
                  </a:lnTo>
                  <a:lnTo>
                    <a:pt x="686" y="124"/>
                  </a:lnTo>
                  <a:lnTo>
                    <a:pt x="688" y="126"/>
                  </a:lnTo>
                  <a:lnTo>
                    <a:pt x="692" y="126"/>
                  </a:lnTo>
                  <a:lnTo>
                    <a:pt x="694" y="126"/>
                  </a:lnTo>
                  <a:lnTo>
                    <a:pt x="698" y="128"/>
                  </a:lnTo>
                  <a:lnTo>
                    <a:pt x="700" y="130"/>
                  </a:lnTo>
                  <a:lnTo>
                    <a:pt x="702" y="132"/>
                  </a:lnTo>
                  <a:lnTo>
                    <a:pt x="700" y="134"/>
                  </a:lnTo>
                  <a:lnTo>
                    <a:pt x="696" y="136"/>
                  </a:lnTo>
                  <a:lnTo>
                    <a:pt x="692" y="138"/>
                  </a:lnTo>
                  <a:lnTo>
                    <a:pt x="688" y="138"/>
                  </a:lnTo>
                  <a:lnTo>
                    <a:pt x="682" y="138"/>
                  </a:lnTo>
                  <a:lnTo>
                    <a:pt x="676" y="138"/>
                  </a:lnTo>
                  <a:lnTo>
                    <a:pt x="676" y="138"/>
                  </a:lnTo>
                  <a:lnTo>
                    <a:pt x="672" y="138"/>
                  </a:lnTo>
                  <a:lnTo>
                    <a:pt x="668" y="140"/>
                  </a:lnTo>
                  <a:lnTo>
                    <a:pt x="662" y="142"/>
                  </a:lnTo>
                  <a:lnTo>
                    <a:pt x="656" y="142"/>
                  </a:lnTo>
                  <a:lnTo>
                    <a:pt x="650" y="142"/>
                  </a:lnTo>
                  <a:lnTo>
                    <a:pt x="646" y="140"/>
                  </a:lnTo>
                  <a:lnTo>
                    <a:pt x="646" y="142"/>
                  </a:lnTo>
                  <a:lnTo>
                    <a:pt x="644" y="142"/>
                  </a:lnTo>
                  <a:lnTo>
                    <a:pt x="644" y="142"/>
                  </a:lnTo>
                  <a:lnTo>
                    <a:pt x="642" y="144"/>
                  </a:lnTo>
                  <a:lnTo>
                    <a:pt x="642" y="146"/>
                  </a:lnTo>
                  <a:lnTo>
                    <a:pt x="642" y="150"/>
                  </a:lnTo>
                  <a:lnTo>
                    <a:pt x="646" y="152"/>
                  </a:lnTo>
                  <a:lnTo>
                    <a:pt x="646" y="154"/>
                  </a:lnTo>
                  <a:lnTo>
                    <a:pt x="646" y="158"/>
                  </a:lnTo>
                  <a:lnTo>
                    <a:pt x="646" y="162"/>
                  </a:lnTo>
                  <a:lnTo>
                    <a:pt x="646" y="168"/>
                  </a:lnTo>
                  <a:lnTo>
                    <a:pt x="646" y="174"/>
                  </a:lnTo>
                  <a:lnTo>
                    <a:pt x="646" y="178"/>
                  </a:lnTo>
                  <a:lnTo>
                    <a:pt x="646" y="182"/>
                  </a:lnTo>
                  <a:lnTo>
                    <a:pt x="644" y="186"/>
                  </a:lnTo>
                  <a:lnTo>
                    <a:pt x="644" y="190"/>
                  </a:lnTo>
                  <a:lnTo>
                    <a:pt x="642" y="192"/>
                  </a:lnTo>
                  <a:lnTo>
                    <a:pt x="640" y="194"/>
                  </a:lnTo>
                  <a:lnTo>
                    <a:pt x="638" y="192"/>
                  </a:lnTo>
                  <a:lnTo>
                    <a:pt x="638" y="188"/>
                  </a:lnTo>
                  <a:lnTo>
                    <a:pt x="638" y="184"/>
                  </a:lnTo>
                  <a:lnTo>
                    <a:pt x="638" y="184"/>
                  </a:lnTo>
                  <a:lnTo>
                    <a:pt x="634" y="176"/>
                  </a:lnTo>
                  <a:lnTo>
                    <a:pt x="630" y="184"/>
                  </a:lnTo>
                  <a:lnTo>
                    <a:pt x="620" y="176"/>
                  </a:lnTo>
                  <a:lnTo>
                    <a:pt x="620" y="176"/>
                  </a:lnTo>
                  <a:lnTo>
                    <a:pt x="620" y="178"/>
                  </a:lnTo>
                  <a:lnTo>
                    <a:pt x="620" y="178"/>
                  </a:lnTo>
                  <a:lnTo>
                    <a:pt x="620" y="180"/>
                  </a:lnTo>
                  <a:lnTo>
                    <a:pt x="620" y="182"/>
                  </a:lnTo>
                  <a:lnTo>
                    <a:pt x="622" y="186"/>
                  </a:lnTo>
                  <a:lnTo>
                    <a:pt x="622" y="186"/>
                  </a:lnTo>
                  <a:lnTo>
                    <a:pt x="624" y="188"/>
                  </a:lnTo>
                  <a:lnTo>
                    <a:pt x="626" y="192"/>
                  </a:lnTo>
                  <a:lnTo>
                    <a:pt x="628" y="196"/>
                  </a:lnTo>
                  <a:lnTo>
                    <a:pt x="628" y="202"/>
                  </a:lnTo>
                  <a:lnTo>
                    <a:pt x="626" y="202"/>
                  </a:lnTo>
                  <a:lnTo>
                    <a:pt x="626" y="204"/>
                  </a:lnTo>
                  <a:lnTo>
                    <a:pt x="624" y="204"/>
                  </a:lnTo>
                  <a:lnTo>
                    <a:pt x="620" y="206"/>
                  </a:lnTo>
                  <a:lnTo>
                    <a:pt x="612" y="206"/>
                  </a:lnTo>
                  <a:lnTo>
                    <a:pt x="612" y="208"/>
                  </a:lnTo>
                  <a:lnTo>
                    <a:pt x="614" y="210"/>
                  </a:lnTo>
                  <a:lnTo>
                    <a:pt x="614" y="214"/>
                  </a:lnTo>
                  <a:lnTo>
                    <a:pt x="616" y="218"/>
                  </a:lnTo>
                  <a:lnTo>
                    <a:pt x="618" y="226"/>
                  </a:lnTo>
                  <a:lnTo>
                    <a:pt x="618" y="226"/>
                  </a:lnTo>
                  <a:lnTo>
                    <a:pt x="620" y="228"/>
                  </a:lnTo>
                  <a:lnTo>
                    <a:pt x="622" y="228"/>
                  </a:lnTo>
                  <a:lnTo>
                    <a:pt x="624" y="230"/>
                  </a:lnTo>
                  <a:lnTo>
                    <a:pt x="624" y="232"/>
                  </a:lnTo>
                  <a:lnTo>
                    <a:pt x="624" y="234"/>
                  </a:lnTo>
                  <a:lnTo>
                    <a:pt x="622" y="234"/>
                  </a:lnTo>
                  <a:lnTo>
                    <a:pt x="618" y="236"/>
                  </a:lnTo>
                  <a:lnTo>
                    <a:pt x="618" y="236"/>
                  </a:lnTo>
                  <a:lnTo>
                    <a:pt x="616" y="236"/>
                  </a:lnTo>
                  <a:lnTo>
                    <a:pt x="614" y="236"/>
                  </a:lnTo>
                  <a:lnTo>
                    <a:pt x="612" y="238"/>
                  </a:lnTo>
                  <a:lnTo>
                    <a:pt x="610" y="240"/>
                  </a:lnTo>
                  <a:lnTo>
                    <a:pt x="610" y="246"/>
                  </a:lnTo>
                  <a:lnTo>
                    <a:pt x="606" y="250"/>
                  </a:lnTo>
                  <a:lnTo>
                    <a:pt x="602" y="252"/>
                  </a:lnTo>
                  <a:lnTo>
                    <a:pt x="594" y="260"/>
                  </a:lnTo>
                  <a:lnTo>
                    <a:pt x="582" y="270"/>
                  </a:lnTo>
                  <a:lnTo>
                    <a:pt x="570" y="284"/>
                  </a:lnTo>
                  <a:lnTo>
                    <a:pt x="556" y="296"/>
                  </a:lnTo>
                  <a:lnTo>
                    <a:pt x="556" y="296"/>
                  </a:lnTo>
                  <a:lnTo>
                    <a:pt x="554" y="300"/>
                  </a:lnTo>
                  <a:lnTo>
                    <a:pt x="552" y="304"/>
                  </a:lnTo>
                  <a:lnTo>
                    <a:pt x="552" y="308"/>
                  </a:lnTo>
                  <a:lnTo>
                    <a:pt x="550" y="316"/>
                  </a:lnTo>
                  <a:lnTo>
                    <a:pt x="550" y="316"/>
                  </a:lnTo>
                  <a:lnTo>
                    <a:pt x="550" y="320"/>
                  </a:lnTo>
                  <a:lnTo>
                    <a:pt x="550" y="324"/>
                  </a:lnTo>
                  <a:lnTo>
                    <a:pt x="552" y="332"/>
                  </a:lnTo>
                  <a:lnTo>
                    <a:pt x="554" y="338"/>
                  </a:lnTo>
                  <a:lnTo>
                    <a:pt x="558" y="346"/>
                  </a:lnTo>
                  <a:lnTo>
                    <a:pt x="560" y="348"/>
                  </a:lnTo>
                  <a:lnTo>
                    <a:pt x="566" y="356"/>
                  </a:lnTo>
                  <a:lnTo>
                    <a:pt x="572" y="368"/>
                  </a:lnTo>
                  <a:lnTo>
                    <a:pt x="574" y="382"/>
                  </a:lnTo>
                  <a:lnTo>
                    <a:pt x="572" y="398"/>
                  </a:lnTo>
                  <a:lnTo>
                    <a:pt x="572" y="400"/>
                  </a:lnTo>
                  <a:lnTo>
                    <a:pt x="570" y="400"/>
                  </a:lnTo>
                  <a:lnTo>
                    <a:pt x="570" y="402"/>
                  </a:lnTo>
                  <a:lnTo>
                    <a:pt x="568" y="404"/>
                  </a:lnTo>
                  <a:lnTo>
                    <a:pt x="566" y="404"/>
                  </a:lnTo>
                  <a:lnTo>
                    <a:pt x="562" y="404"/>
                  </a:lnTo>
                  <a:lnTo>
                    <a:pt x="558" y="400"/>
                  </a:lnTo>
                  <a:lnTo>
                    <a:pt x="554" y="394"/>
                  </a:lnTo>
                  <a:lnTo>
                    <a:pt x="550" y="392"/>
                  </a:lnTo>
                  <a:lnTo>
                    <a:pt x="542" y="384"/>
                  </a:lnTo>
                  <a:lnTo>
                    <a:pt x="532" y="368"/>
                  </a:lnTo>
                  <a:lnTo>
                    <a:pt x="528" y="348"/>
                  </a:lnTo>
                  <a:lnTo>
                    <a:pt x="528" y="346"/>
                  </a:lnTo>
                  <a:lnTo>
                    <a:pt x="528" y="344"/>
                  </a:lnTo>
                  <a:lnTo>
                    <a:pt x="528" y="340"/>
                  </a:lnTo>
                  <a:lnTo>
                    <a:pt x="526" y="336"/>
                  </a:lnTo>
                  <a:lnTo>
                    <a:pt x="524" y="332"/>
                  </a:lnTo>
                  <a:lnTo>
                    <a:pt x="520" y="330"/>
                  </a:lnTo>
                  <a:lnTo>
                    <a:pt x="516" y="326"/>
                  </a:lnTo>
                  <a:lnTo>
                    <a:pt x="510" y="326"/>
                  </a:lnTo>
                  <a:lnTo>
                    <a:pt x="504" y="324"/>
                  </a:lnTo>
                  <a:lnTo>
                    <a:pt x="490" y="324"/>
                  </a:lnTo>
                  <a:lnTo>
                    <a:pt x="472" y="322"/>
                  </a:lnTo>
                  <a:lnTo>
                    <a:pt x="456" y="322"/>
                  </a:lnTo>
                  <a:lnTo>
                    <a:pt x="446" y="324"/>
                  </a:lnTo>
                  <a:lnTo>
                    <a:pt x="446" y="324"/>
                  </a:lnTo>
                  <a:lnTo>
                    <a:pt x="444" y="328"/>
                  </a:lnTo>
                  <a:lnTo>
                    <a:pt x="438" y="330"/>
                  </a:lnTo>
                  <a:lnTo>
                    <a:pt x="426" y="332"/>
                  </a:lnTo>
                  <a:lnTo>
                    <a:pt x="406" y="332"/>
                  </a:lnTo>
                  <a:lnTo>
                    <a:pt x="402" y="332"/>
                  </a:lnTo>
                  <a:lnTo>
                    <a:pt x="394" y="332"/>
                  </a:lnTo>
                  <a:lnTo>
                    <a:pt x="382" y="334"/>
                  </a:lnTo>
                  <a:lnTo>
                    <a:pt x="372" y="340"/>
                  </a:lnTo>
                  <a:lnTo>
                    <a:pt x="354" y="348"/>
                  </a:lnTo>
                  <a:lnTo>
                    <a:pt x="342" y="366"/>
                  </a:lnTo>
                  <a:lnTo>
                    <a:pt x="342" y="368"/>
                  </a:lnTo>
                  <a:lnTo>
                    <a:pt x="344" y="370"/>
                  </a:lnTo>
                  <a:lnTo>
                    <a:pt x="344" y="372"/>
                  </a:lnTo>
                  <a:lnTo>
                    <a:pt x="344" y="376"/>
                  </a:lnTo>
                  <a:lnTo>
                    <a:pt x="344" y="378"/>
                  </a:lnTo>
                  <a:lnTo>
                    <a:pt x="344" y="382"/>
                  </a:lnTo>
                  <a:lnTo>
                    <a:pt x="340" y="382"/>
                  </a:lnTo>
                  <a:lnTo>
                    <a:pt x="338" y="382"/>
                  </a:lnTo>
                  <a:lnTo>
                    <a:pt x="330" y="376"/>
                  </a:lnTo>
                  <a:lnTo>
                    <a:pt x="320" y="366"/>
                  </a:lnTo>
                  <a:lnTo>
                    <a:pt x="308" y="350"/>
                  </a:lnTo>
                  <a:lnTo>
                    <a:pt x="308" y="350"/>
                  </a:lnTo>
                  <a:lnTo>
                    <a:pt x="306" y="348"/>
                  </a:lnTo>
                  <a:lnTo>
                    <a:pt x="304" y="344"/>
                  </a:lnTo>
                  <a:lnTo>
                    <a:pt x="300" y="342"/>
                  </a:lnTo>
                  <a:lnTo>
                    <a:pt x="296" y="338"/>
                  </a:lnTo>
                  <a:lnTo>
                    <a:pt x="292" y="336"/>
                  </a:lnTo>
                  <a:lnTo>
                    <a:pt x="288" y="336"/>
                  </a:lnTo>
                  <a:lnTo>
                    <a:pt x="286" y="338"/>
                  </a:lnTo>
                  <a:lnTo>
                    <a:pt x="284" y="338"/>
                  </a:lnTo>
                  <a:lnTo>
                    <a:pt x="282" y="340"/>
                  </a:lnTo>
                  <a:lnTo>
                    <a:pt x="278" y="340"/>
                  </a:lnTo>
                  <a:lnTo>
                    <a:pt x="272" y="340"/>
                  </a:lnTo>
                  <a:lnTo>
                    <a:pt x="266" y="336"/>
                  </a:lnTo>
                  <a:lnTo>
                    <a:pt x="262" y="334"/>
                  </a:lnTo>
                  <a:lnTo>
                    <a:pt x="254" y="328"/>
                  </a:lnTo>
                  <a:lnTo>
                    <a:pt x="246" y="316"/>
                  </a:lnTo>
                  <a:lnTo>
                    <a:pt x="242" y="300"/>
                  </a:lnTo>
                  <a:lnTo>
                    <a:pt x="240" y="298"/>
                  </a:lnTo>
                  <a:lnTo>
                    <a:pt x="238" y="298"/>
                  </a:lnTo>
                  <a:lnTo>
                    <a:pt x="234" y="296"/>
                  </a:lnTo>
                  <a:lnTo>
                    <a:pt x="228" y="296"/>
                  </a:lnTo>
                  <a:lnTo>
                    <a:pt x="224" y="296"/>
                  </a:lnTo>
                  <a:lnTo>
                    <a:pt x="218" y="296"/>
                  </a:lnTo>
                  <a:lnTo>
                    <a:pt x="214" y="300"/>
                  </a:lnTo>
                  <a:lnTo>
                    <a:pt x="210" y="302"/>
                  </a:lnTo>
                  <a:lnTo>
                    <a:pt x="198" y="306"/>
                  </a:lnTo>
                  <a:lnTo>
                    <a:pt x="180" y="306"/>
                  </a:lnTo>
                  <a:lnTo>
                    <a:pt x="176" y="306"/>
                  </a:lnTo>
                  <a:lnTo>
                    <a:pt x="166" y="304"/>
                  </a:lnTo>
                  <a:lnTo>
                    <a:pt x="152" y="300"/>
                  </a:lnTo>
                  <a:lnTo>
                    <a:pt x="140" y="296"/>
                  </a:lnTo>
                  <a:lnTo>
                    <a:pt x="130" y="290"/>
                  </a:lnTo>
                  <a:lnTo>
                    <a:pt x="128" y="288"/>
                  </a:lnTo>
                  <a:lnTo>
                    <a:pt x="124" y="286"/>
                  </a:lnTo>
                  <a:lnTo>
                    <a:pt x="112" y="288"/>
                  </a:lnTo>
                  <a:lnTo>
                    <a:pt x="98" y="296"/>
                  </a:lnTo>
                  <a:lnTo>
                    <a:pt x="96" y="294"/>
                  </a:lnTo>
                  <a:lnTo>
                    <a:pt x="96" y="292"/>
                  </a:lnTo>
                  <a:lnTo>
                    <a:pt x="94" y="288"/>
                  </a:lnTo>
                  <a:lnTo>
                    <a:pt x="90" y="282"/>
                  </a:lnTo>
                  <a:lnTo>
                    <a:pt x="88" y="276"/>
                  </a:lnTo>
                  <a:lnTo>
                    <a:pt x="84" y="272"/>
                  </a:lnTo>
                  <a:lnTo>
                    <a:pt x="80" y="268"/>
                  </a:lnTo>
                  <a:lnTo>
                    <a:pt x="74" y="266"/>
                  </a:lnTo>
                  <a:lnTo>
                    <a:pt x="74" y="266"/>
                  </a:lnTo>
                  <a:lnTo>
                    <a:pt x="70" y="264"/>
                  </a:lnTo>
                  <a:lnTo>
                    <a:pt x="66" y="262"/>
                  </a:lnTo>
                  <a:lnTo>
                    <a:pt x="60" y="258"/>
                  </a:lnTo>
                  <a:lnTo>
                    <a:pt x="52" y="252"/>
                  </a:lnTo>
                  <a:lnTo>
                    <a:pt x="46" y="242"/>
                  </a:lnTo>
                  <a:lnTo>
                    <a:pt x="42" y="240"/>
                  </a:lnTo>
                  <a:lnTo>
                    <a:pt x="36" y="230"/>
                  </a:lnTo>
                  <a:lnTo>
                    <a:pt x="26" y="216"/>
                  </a:lnTo>
                  <a:lnTo>
                    <a:pt x="16" y="200"/>
                  </a:lnTo>
                  <a:lnTo>
                    <a:pt x="8" y="180"/>
                  </a:lnTo>
                  <a:lnTo>
                    <a:pt x="2" y="156"/>
                  </a:lnTo>
                  <a:lnTo>
                    <a:pt x="2" y="152"/>
                  </a:lnTo>
                  <a:lnTo>
                    <a:pt x="0" y="140"/>
                  </a:lnTo>
                  <a:lnTo>
                    <a:pt x="0" y="124"/>
                  </a:lnTo>
                  <a:lnTo>
                    <a:pt x="0" y="110"/>
                  </a:lnTo>
                  <a:lnTo>
                    <a:pt x="4" y="104"/>
                  </a:lnTo>
                  <a:lnTo>
                    <a:pt x="6" y="102"/>
                  </a:lnTo>
                  <a:lnTo>
                    <a:pt x="6" y="102"/>
                  </a:lnTo>
                  <a:lnTo>
                    <a:pt x="8" y="100"/>
                  </a:lnTo>
                  <a:lnTo>
                    <a:pt x="10" y="96"/>
                  </a:lnTo>
                  <a:lnTo>
                    <a:pt x="10" y="92"/>
                  </a:lnTo>
                  <a:lnTo>
                    <a:pt x="10" y="86"/>
                  </a:lnTo>
                  <a:lnTo>
                    <a:pt x="8" y="80"/>
                  </a:lnTo>
                  <a:lnTo>
                    <a:pt x="8" y="76"/>
                  </a:lnTo>
                  <a:lnTo>
                    <a:pt x="6" y="62"/>
                  </a:lnTo>
                  <a:lnTo>
                    <a:pt x="6" y="46"/>
                  </a:lnTo>
                  <a:lnTo>
                    <a:pt x="4" y="30"/>
                  </a:lnTo>
                  <a:lnTo>
                    <a:pt x="4" y="20"/>
                  </a:lnTo>
                  <a:lnTo>
                    <a:pt x="6" y="20"/>
                  </a:lnTo>
                  <a:lnTo>
                    <a:pt x="8" y="20"/>
                  </a:lnTo>
                  <a:lnTo>
                    <a:pt x="10" y="22"/>
                  </a:lnTo>
                  <a:lnTo>
                    <a:pt x="14" y="22"/>
                  </a:lnTo>
                  <a:lnTo>
                    <a:pt x="16" y="20"/>
                  </a:lnTo>
                  <a:lnTo>
                    <a:pt x="18" y="18"/>
                  </a:lnTo>
                  <a:lnTo>
                    <a:pt x="18" y="14"/>
                  </a:lnTo>
                  <a:lnTo>
                    <a:pt x="18" y="0"/>
                  </a:lnTo>
                  <a:lnTo>
                    <a:pt x="380" y="0"/>
                  </a:lnTo>
                  <a:lnTo>
                    <a:pt x="392" y="10"/>
                  </a:lnTo>
                  <a:lnTo>
                    <a:pt x="416" y="12"/>
                  </a:lnTo>
                  <a:lnTo>
                    <a:pt x="418" y="16"/>
                  </a:lnTo>
                  <a:lnTo>
                    <a:pt x="422" y="18"/>
                  </a:lnTo>
                  <a:lnTo>
                    <a:pt x="426" y="20"/>
                  </a:lnTo>
                  <a:lnTo>
                    <a:pt x="430" y="20"/>
                  </a:lnTo>
                  <a:lnTo>
                    <a:pt x="432" y="20"/>
                  </a:lnTo>
                  <a:lnTo>
                    <a:pt x="434" y="20"/>
                  </a:lnTo>
                  <a:lnTo>
                    <a:pt x="432" y="22"/>
                  </a:lnTo>
                  <a:lnTo>
                    <a:pt x="432" y="24"/>
                  </a:lnTo>
                  <a:lnTo>
                    <a:pt x="428" y="28"/>
                  </a:lnTo>
                  <a:lnTo>
                    <a:pt x="424" y="32"/>
                  </a:lnTo>
                  <a:lnTo>
                    <a:pt x="422" y="34"/>
                  </a:lnTo>
                  <a:lnTo>
                    <a:pt x="420" y="36"/>
                  </a:lnTo>
                  <a:lnTo>
                    <a:pt x="416" y="38"/>
                  </a:lnTo>
                  <a:lnTo>
                    <a:pt x="416" y="40"/>
                  </a:lnTo>
                  <a:lnTo>
                    <a:pt x="416" y="42"/>
                  </a:lnTo>
                  <a:lnTo>
                    <a:pt x="418" y="42"/>
                  </a:lnTo>
                  <a:lnTo>
                    <a:pt x="422" y="44"/>
                  </a:lnTo>
                  <a:lnTo>
                    <a:pt x="428" y="44"/>
                  </a:lnTo>
                  <a:lnTo>
                    <a:pt x="432" y="44"/>
                  </a:lnTo>
                  <a:lnTo>
                    <a:pt x="442" y="44"/>
                  </a:lnTo>
                  <a:lnTo>
                    <a:pt x="454" y="42"/>
                  </a:lnTo>
                  <a:lnTo>
                    <a:pt x="464" y="38"/>
                  </a:lnTo>
                  <a:lnTo>
                    <a:pt x="464" y="38"/>
                  </a:lnTo>
                  <a:lnTo>
                    <a:pt x="466" y="40"/>
                  </a:lnTo>
                  <a:lnTo>
                    <a:pt x="468" y="40"/>
                  </a:lnTo>
                  <a:lnTo>
                    <a:pt x="470" y="42"/>
                  </a:lnTo>
                  <a:lnTo>
                    <a:pt x="476" y="42"/>
                  </a:lnTo>
                  <a:lnTo>
                    <a:pt x="484" y="42"/>
                  </a:lnTo>
                  <a:lnTo>
                    <a:pt x="484" y="42"/>
                  </a:lnTo>
                  <a:lnTo>
                    <a:pt x="486" y="42"/>
                  </a:lnTo>
                  <a:lnTo>
                    <a:pt x="490" y="40"/>
                  </a:lnTo>
                  <a:lnTo>
                    <a:pt x="492" y="40"/>
                  </a:lnTo>
                  <a:lnTo>
                    <a:pt x="496" y="40"/>
                  </a:lnTo>
                  <a:lnTo>
                    <a:pt x="500" y="42"/>
                  </a:lnTo>
                  <a:lnTo>
                    <a:pt x="502" y="44"/>
                  </a:lnTo>
                  <a:lnTo>
                    <a:pt x="502" y="46"/>
                  </a:lnTo>
                  <a:lnTo>
                    <a:pt x="502" y="48"/>
                  </a:lnTo>
                  <a:lnTo>
                    <a:pt x="502" y="50"/>
                  </a:lnTo>
                  <a:lnTo>
                    <a:pt x="502" y="52"/>
                  </a:lnTo>
                  <a:lnTo>
                    <a:pt x="498" y="56"/>
                  </a:lnTo>
                  <a:lnTo>
                    <a:pt x="496" y="58"/>
                  </a:lnTo>
                  <a:lnTo>
                    <a:pt x="490" y="60"/>
                  </a:lnTo>
                  <a:lnTo>
                    <a:pt x="490" y="58"/>
                  </a:lnTo>
                  <a:lnTo>
                    <a:pt x="488" y="58"/>
                  </a:lnTo>
                  <a:lnTo>
                    <a:pt x="484" y="58"/>
                  </a:lnTo>
                  <a:lnTo>
                    <a:pt x="482" y="58"/>
                  </a:lnTo>
                  <a:lnTo>
                    <a:pt x="478" y="58"/>
                  </a:lnTo>
                  <a:lnTo>
                    <a:pt x="476" y="62"/>
                  </a:lnTo>
                  <a:lnTo>
                    <a:pt x="472" y="66"/>
                  </a:lnTo>
                  <a:lnTo>
                    <a:pt x="470" y="72"/>
                  </a:lnTo>
                  <a:lnTo>
                    <a:pt x="472" y="72"/>
                  </a:lnTo>
                  <a:lnTo>
                    <a:pt x="472" y="72"/>
                  </a:lnTo>
                  <a:lnTo>
                    <a:pt x="474" y="74"/>
                  </a:lnTo>
                  <a:lnTo>
                    <a:pt x="476" y="76"/>
                  </a:lnTo>
                  <a:lnTo>
                    <a:pt x="476" y="80"/>
                  </a:lnTo>
                  <a:lnTo>
                    <a:pt x="476" y="84"/>
                  </a:lnTo>
                  <a:lnTo>
                    <a:pt x="474" y="90"/>
                  </a:lnTo>
                  <a:lnTo>
                    <a:pt x="472" y="92"/>
                  </a:lnTo>
                  <a:lnTo>
                    <a:pt x="470" y="102"/>
                  </a:lnTo>
                  <a:lnTo>
                    <a:pt x="468" y="114"/>
                  </a:lnTo>
                  <a:lnTo>
                    <a:pt x="468" y="126"/>
                  </a:lnTo>
                  <a:lnTo>
                    <a:pt x="472" y="134"/>
                  </a:lnTo>
                  <a:lnTo>
                    <a:pt x="472" y="134"/>
                  </a:lnTo>
                  <a:lnTo>
                    <a:pt x="474" y="134"/>
                  </a:lnTo>
                  <a:lnTo>
                    <a:pt x="478" y="132"/>
                  </a:lnTo>
                  <a:lnTo>
                    <a:pt x="480" y="130"/>
                  </a:lnTo>
                  <a:lnTo>
                    <a:pt x="484" y="126"/>
                  </a:lnTo>
                  <a:lnTo>
                    <a:pt x="486" y="122"/>
                  </a:lnTo>
                  <a:lnTo>
                    <a:pt x="488" y="116"/>
                  </a:lnTo>
                  <a:lnTo>
                    <a:pt x="490" y="108"/>
                  </a:lnTo>
                  <a:lnTo>
                    <a:pt x="494" y="82"/>
                  </a:lnTo>
                  <a:lnTo>
                    <a:pt x="500" y="78"/>
                  </a:lnTo>
                  <a:lnTo>
                    <a:pt x="500" y="78"/>
                  </a:lnTo>
                  <a:lnTo>
                    <a:pt x="500" y="74"/>
                  </a:lnTo>
                  <a:lnTo>
                    <a:pt x="500" y="72"/>
                  </a:lnTo>
                  <a:lnTo>
                    <a:pt x="502" y="68"/>
                  </a:lnTo>
                  <a:lnTo>
                    <a:pt x="504" y="64"/>
                  </a:lnTo>
                  <a:lnTo>
                    <a:pt x="506" y="62"/>
                  </a:lnTo>
                  <a:lnTo>
                    <a:pt x="508" y="62"/>
                  </a:lnTo>
                  <a:lnTo>
                    <a:pt x="508" y="62"/>
                  </a:lnTo>
                  <a:lnTo>
                    <a:pt x="510" y="62"/>
                  </a:lnTo>
                  <a:lnTo>
                    <a:pt x="514" y="62"/>
                  </a:lnTo>
                  <a:lnTo>
                    <a:pt x="516" y="64"/>
                  </a:lnTo>
                  <a:lnTo>
                    <a:pt x="520" y="64"/>
                  </a:lnTo>
                  <a:lnTo>
                    <a:pt x="522" y="68"/>
                  </a:lnTo>
                  <a:lnTo>
                    <a:pt x="524" y="72"/>
                  </a:lnTo>
                  <a:lnTo>
                    <a:pt x="524" y="76"/>
                  </a:lnTo>
                  <a:lnTo>
                    <a:pt x="520" y="86"/>
                  </a:lnTo>
                  <a:lnTo>
                    <a:pt x="520" y="88"/>
                  </a:lnTo>
                  <a:lnTo>
                    <a:pt x="520" y="88"/>
                  </a:lnTo>
                  <a:lnTo>
                    <a:pt x="518" y="90"/>
                  </a:lnTo>
                  <a:lnTo>
                    <a:pt x="518" y="92"/>
                  </a:lnTo>
                  <a:lnTo>
                    <a:pt x="520" y="92"/>
                  </a:lnTo>
                  <a:lnTo>
                    <a:pt x="524" y="92"/>
                  </a:lnTo>
                  <a:lnTo>
                    <a:pt x="526" y="90"/>
                  </a:lnTo>
                  <a:lnTo>
                    <a:pt x="528" y="88"/>
                  </a:lnTo>
                  <a:lnTo>
                    <a:pt x="528" y="90"/>
                  </a:lnTo>
                  <a:lnTo>
                    <a:pt x="530" y="92"/>
                  </a:lnTo>
                  <a:lnTo>
                    <a:pt x="534" y="96"/>
                  </a:lnTo>
                  <a:lnTo>
                    <a:pt x="536" y="100"/>
                  </a:lnTo>
                  <a:lnTo>
                    <a:pt x="536" y="104"/>
                  </a:lnTo>
                  <a:lnTo>
                    <a:pt x="536" y="108"/>
                  </a:lnTo>
                  <a:lnTo>
                    <a:pt x="536" y="114"/>
                  </a:lnTo>
                  <a:lnTo>
                    <a:pt x="536" y="118"/>
                  </a:lnTo>
                  <a:lnTo>
                    <a:pt x="536" y="120"/>
                  </a:lnTo>
                  <a:lnTo>
                    <a:pt x="534" y="122"/>
                  </a:lnTo>
                  <a:lnTo>
                    <a:pt x="534" y="124"/>
                  </a:lnTo>
                  <a:lnTo>
                    <a:pt x="534" y="126"/>
                  </a:lnTo>
                  <a:lnTo>
                    <a:pt x="536" y="126"/>
                  </a:lnTo>
                  <a:lnTo>
                    <a:pt x="536" y="128"/>
                  </a:lnTo>
                  <a:lnTo>
                    <a:pt x="540" y="128"/>
                  </a:lnTo>
                  <a:lnTo>
                    <a:pt x="546" y="128"/>
                  </a:lnTo>
                  <a:lnTo>
                    <a:pt x="554" y="128"/>
                  </a:lnTo>
                  <a:lnTo>
                    <a:pt x="560" y="128"/>
                  </a:lnTo>
                  <a:lnTo>
                    <a:pt x="568" y="126"/>
                  </a:lnTo>
                  <a:lnTo>
                    <a:pt x="572" y="124"/>
                  </a:lnTo>
                  <a:lnTo>
                    <a:pt x="576" y="122"/>
                  </a:lnTo>
                  <a:lnTo>
                    <a:pt x="582" y="118"/>
                  </a:lnTo>
                  <a:lnTo>
                    <a:pt x="586" y="114"/>
                  </a:lnTo>
                  <a:lnTo>
                    <a:pt x="590" y="110"/>
                  </a:lnTo>
                  <a:lnTo>
                    <a:pt x="592" y="106"/>
                  </a:lnTo>
                  <a:lnTo>
                    <a:pt x="594" y="104"/>
                  </a:lnTo>
                  <a:lnTo>
                    <a:pt x="592" y="102"/>
                  </a:lnTo>
                  <a:lnTo>
                    <a:pt x="592" y="98"/>
                  </a:lnTo>
                  <a:lnTo>
                    <a:pt x="594" y="96"/>
                  </a:lnTo>
                  <a:lnTo>
                    <a:pt x="596" y="94"/>
                  </a:lnTo>
                  <a:lnTo>
                    <a:pt x="600" y="92"/>
                  </a:lnTo>
                  <a:lnTo>
                    <a:pt x="606" y="90"/>
                  </a:lnTo>
                  <a:lnTo>
                    <a:pt x="614" y="90"/>
                  </a:lnTo>
                  <a:lnTo>
                    <a:pt x="620" y="90"/>
                  </a:lnTo>
                  <a:lnTo>
                    <a:pt x="626" y="88"/>
                  </a:lnTo>
                  <a:lnTo>
                    <a:pt x="630" y="86"/>
                  </a:lnTo>
                  <a:lnTo>
                    <a:pt x="634" y="82"/>
                  </a:lnTo>
                  <a:lnTo>
                    <a:pt x="638" y="78"/>
                  </a:lnTo>
                  <a:lnTo>
                    <a:pt x="640" y="76"/>
                  </a:lnTo>
                </a:path>
              </a:pathLst>
            </a:custGeom>
            <a:solidFill>
              <a:srgbClr val="E00024"/>
            </a:solidFill>
            <a:ln w="6350">
              <a:solidFill>
                <a:schemeClr val="bg1"/>
              </a:solidFill>
              <a:prstDash val="solid"/>
              <a:round/>
            </a:ln>
            <a:effectLst/>
            <a:extLst/>
          </p:spPr>
          <p:txBody>
            <a:bodyPr/>
            <a:lstStyle/>
            <a:p>
              <a:endParaRPr altLang="en-US" lang="zh-CN"/>
            </a:p>
          </p:txBody>
        </p:sp>
        <p:sp>
          <p:nvSpPr>
            <p:cNvPr id="602" name="Freeform 559"/>
            <p:cNvSpPr/>
            <p:nvPr/>
          </p:nvSpPr>
          <p:spPr bwMode="gray">
            <a:xfrm>
              <a:off x="8490682" y="2670815"/>
              <a:ext cx="251790" cy="181315"/>
            </a:xfrm>
            <a:custGeom>
              <a:gdLst>
                <a:gd fmla="*/ 0 w 136" name="T0"/>
                <a:gd fmla="*/ 32 h 98" name="T1"/>
                <a:gd fmla="*/ 22 w 136" name="T2"/>
                <a:gd fmla="*/ 48 h 98" name="T3"/>
                <a:gd fmla="*/ 6 w 136" name="T4"/>
                <a:gd fmla="*/ 54 h 98" name="T5"/>
                <a:gd fmla="*/ 2 w 136" name="T6"/>
                <a:gd fmla="*/ 54 h 98" name="T7"/>
                <a:gd fmla="*/ 0 w 136" name="T8"/>
                <a:gd fmla="*/ 58 h 98" name="T9"/>
                <a:gd fmla="*/ 2 w 136" name="T10"/>
                <a:gd fmla="*/ 64 h 98" name="T11"/>
                <a:gd fmla="*/ 20 w 136" name="T12"/>
                <a:gd fmla="*/ 68 h 98" name="T13"/>
                <a:gd fmla="*/ 56 w 136" name="T14"/>
                <a:gd fmla="*/ 98 h 98" name="T15"/>
                <a:gd fmla="*/ 60 w 136" name="T16"/>
                <a:gd fmla="*/ 96 h 98" name="T17"/>
                <a:gd fmla="*/ 70 w 136" name="T18"/>
                <a:gd fmla="*/ 92 h 98" name="T19"/>
                <a:gd fmla="*/ 76 w 136" name="T20"/>
                <a:gd fmla="*/ 88 h 98" name="T21"/>
                <a:gd fmla="*/ 86 w 136" name="T22"/>
                <a:gd fmla="*/ 86 h 98" name="T23"/>
                <a:gd fmla="*/ 94 w 136" name="T24"/>
                <a:gd fmla="*/ 88 h 98" name="T25"/>
                <a:gd fmla="*/ 100 w 136" name="T26"/>
                <a:gd fmla="*/ 86 h 98" name="T27"/>
                <a:gd fmla="*/ 122 w 136" name="T28"/>
                <a:gd fmla="*/ 72 h 98" name="T29"/>
                <a:gd fmla="*/ 136 w 136" name="T30"/>
                <a:gd fmla="*/ 44 h 98" name="T31"/>
                <a:gd fmla="*/ 134 w 136" name="T32"/>
                <a:gd fmla="*/ 40 h 98" name="T33"/>
                <a:gd fmla="*/ 130 w 136" name="T34"/>
                <a:gd fmla="*/ 32 h 98" name="T35"/>
                <a:gd fmla="*/ 124 w 136" name="T36"/>
                <a:gd fmla="*/ 24 h 98" name="T37"/>
                <a:gd fmla="*/ 118 w 136" name="T38"/>
                <a:gd fmla="*/ 22 h 98" name="T39"/>
                <a:gd fmla="*/ 118 w 136" name="T40"/>
                <a:gd fmla="*/ 20 h 98" name="T41"/>
                <a:gd fmla="*/ 118 w 136" name="T42"/>
                <a:gd fmla="*/ 16 h 98" name="T43"/>
                <a:gd fmla="*/ 114 w 136" name="T44"/>
                <a:gd fmla="*/ 10 h 98" name="T45"/>
                <a:gd fmla="*/ 106 w 136" name="T46"/>
                <a:gd fmla="*/ 8 h 98" name="T47"/>
                <a:gd fmla="*/ 102 w 136" name="T48"/>
                <a:gd fmla="*/ 10 h 98" name="T49"/>
                <a:gd fmla="*/ 94 w 136" name="T50"/>
                <a:gd fmla="*/ 14 h 98" name="T51"/>
                <a:gd fmla="*/ 86 w 136" name="T52"/>
                <a:gd fmla="*/ 18 h 98" name="T53"/>
                <a:gd fmla="*/ 82 w 136" name="T54"/>
                <a:gd fmla="*/ 22 h 98" name="T55"/>
                <a:gd fmla="*/ 76 w 136" name="T56"/>
                <a:gd fmla="*/ 20 h 98" name="T57"/>
                <a:gd fmla="*/ 70 w 136" name="T58"/>
                <a:gd fmla="*/ 16 h 98" name="T59"/>
                <a:gd fmla="*/ 68 w 136" name="T60"/>
                <a:gd fmla="*/ 12 h 98" name="T61"/>
                <a:gd fmla="*/ 60 w 136" name="T62"/>
                <a:gd fmla="*/ 6 h 98" name="T63"/>
                <a:gd fmla="*/ 50 w 136" name="T64"/>
                <a:gd fmla="*/ 8 h 98" name="T65"/>
                <a:gd fmla="*/ 44 w 136" name="T66"/>
                <a:gd fmla="*/ 16 h 98" name="T67"/>
                <a:gd fmla="*/ 44 w 136" name="T68"/>
                <a:gd fmla="*/ 24 h 98" name="T69"/>
                <a:gd fmla="*/ 44 w 136" name="T70"/>
                <a:gd fmla="*/ 28 h 98" name="T71"/>
                <a:gd fmla="*/ 40 w 136" name="T72"/>
                <a:gd fmla="*/ 28 h 98" name="T73"/>
                <a:gd fmla="*/ 34 w 136" name="T74"/>
                <a:gd fmla="*/ 22 h 98" name="T75"/>
                <a:gd fmla="*/ 32 w 136" name="T76"/>
                <a:gd fmla="*/ 16 h 98" name="T77"/>
                <a:gd fmla="*/ 26 w 136" name="T78"/>
                <a:gd fmla="*/ 8 h 98" name="T79"/>
                <a:gd fmla="*/ 18 w 136" name="T80"/>
                <a:gd fmla="*/ 0 h 98" name="T81"/>
                <a:gd fmla="*/ 14 w 136" name="T82"/>
                <a:gd fmla="*/ 0 h 98"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98" w="136">
                  <a:moveTo>
                    <a:pt x="12" y="4"/>
                  </a:moveTo>
                  <a:lnTo>
                    <a:pt x="0" y="32"/>
                  </a:lnTo>
                  <a:lnTo>
                    <a:pt x="16" y="36"/>
                  </a:lnTo>
                  <a:lnTo>
                    <a:pt x="22" y="48"/>
                  </a:lnTo>
                  <a:lnTo>
                    <a:pt x="6" y="54"/>
                  </a:lnTo>
                  <a:lnTo>
                    <a:pt x="6" y="54"/>
                  </a:lnTo>
                  <a:lnTo>
                    <a:pt x="4" y="54"/>
                  </a:lnTo>
                  <a:lnTo>
                    <a:pt x="2" y="54"/>
                  </a:lnTo>
                  <a:lnTo>
                    <a:pt x="2" y="56"/>
                  </a:lnTo>
                  <a:lnTo>
                    <a:pt x="0" y="58"/>
                  </a:lnTo>
                  <a:lnTo>
                    <a:pt x="0" y="60"/>
                  </a:lnTo>
                  <a:lnTo>
                    <a:pt x="2" y="64"/>
                  </a:lnTo>
                  <a:lnTo>
                    <a:pt x="6" y="68"/>
                  </a:lnTo>
                  <a:lnTo>
                    <a:pt x="20" y="68"/>
                  </a:lnTo>
                  <a:lnTo>
                    <a:pt x="38" y="86"/>
                  </a:lnTo>
                  <a:lnTo>
                    <a:pt x="56" y="98"/>
                  </a:lnTo>
                  <a:lnTo>
                    <a:pt x="58" y="98"/>
                  </a:lnTo>
                  <a:lnTo>
                    <a:pt x="60" y="96"/>
                  </a:lnTo>
                  <a:lnTo>
                    <a:pt x="66" y="94"/>
                  </a:lnTo>
                  <a:lnTo>
                    <a:pt x="70" y="92"/>
                  </a:lnTo>
                  <a:lnTo>
                    <a:pt x="74" y="90"/>
                  </a:lnTo>
                  <a:lnTo>
                    <a:pt x="76" y="88"/>
                  </a:lnTo>
                  <a:lnTo>
                    <a:pt x="82" y="86"/>
                  </a:lnTo>
                  <a:lnTo>
                    <a:pt x="86" y="86"/>
                  </a:lnTo>
                  <a:lnTo>
                    <a:pt x="90" y="86"/>
                  </a:lnTo>
                  <a:lnTo>
                    <a:pt x="94" y="88"/>
                  </a:lnTo>
                  <a:lnTo>
                    <a:pt x="96" y="88"/>
                  </a:lnTo>
                  <a:lnTo>
                    <a:pt x="100" y="86"/>
                  </a:lnTo>
                  <a:lnTo>
                    <a:pt x="110" y="80"/>
                  </a:lnTo>
                  <a:lnTo>
                    <a:pt x="122" y="72"/>
                  </a:lnTo>
                  <a:lnTo>
                    <a:pt x="132" y="58"/>
                  </a:lnTo>
                  <a:lnTo>
                    <a:pt x="136" y="44"/>
                  </a:lnTo>
                  <a:lnTo>
                    <a:pt x="136" y="42"/>
                  </a:lnTo>
                  <a:lnTo>
                    <a:pt x="134" y="40"/>
                  </a:lnTo>
                  <a:lnTo>
                    <a:pt x="132" y="36"/>
                  </a:lnTo>
                  <a:lnTo>
                    <a:pt x="130" y="32"/>
                  </a:lnTo>
                  <a:lnTo>
                    <a:pt x="126" y="28"/>
                  </a:lnTo>
                  <a:lnTo>
                    <a:pt x="124" y="24"/>
                  </a:lnTo>
                  <a:lnTo>
                    <a:pt x="120" y="22"/>
                  </a:lnTo>
                  <a:lnTo>
                    <a:pt x="118" y="22"/>
                  </a:lnTo>
                  <a:lnTo>
                    <a:pt x="118" y="20"/>
                  </a:lnTo>
                  <a:lnTo>
                    <a:pt x="118" y="20"/>
                  </a:lnTo>
                  <a:lnTo>
                    <a:pt x="118" y="18"/>
                  </a:lnTo>
                  <a:lnTo>
                    <a:pt x="118" y="16"/>
                  </a:lnTo>
                  <a:lnTo>
                    <a:pt x="118" y="12"/>
                  </a:lnTo>
                  <a:lnTo>
                    <a:pt x="114" y="10"/>
                  </a:lnTo>
                  <a:lnTo>
                    <a:pt x="112" y="10"/>
                  </a:lnTo>
                  <a:lnTo>
                    <a:pt x="106" y="8"/>
                  </a:lnTo>
                  <a:lnTo>
                    <a:pt x="104" y="10"/>
                  </a:lnTo>
                  <a:lnTo>
                    <a:pt x="102" y="10"/>
                  </a:lnTo>
                  <a:lnTo>
                    <a:pt x="98" y="12"/>
                  </a:lnTo>
                  <a:lnTo>
                    <a:pt x="94" y="14"/>
                  </a:lnTo>
                  <a:lnTo>
                    <a:pt x="90" y="16"/>
                  </a:lnTo>
                  <a:lnTo>
                    <a:pt x="86" y="18"/>
                  </a:lnTo>
                  <a:lnTo>
                    <a:pt x="84" y="20"/>
                  </a:lnTo>
                  <a:lnTo>
                    <a:pt x="82" y="22"/>
                  </a:lnTo>
                  <a:lnTo>
                    <a:pt x="78" y="22"/>
                  </a:lnTo>
                  <a:lnTo>
                    <a:pt x="76" y="20"/>
                  </a:lnTo>
                  <a:lnTo>
                    <a:pt x="72" y="18"/>
                  </a:lnTo>
                  <a:lnTo>
                    <a:pt x="70" y="16"/>
                  </a:lnTo>
                  <a:lnTo>
                    <a:pt x="70" y="14"/>
                  </a:lnTo>
                  <a:lnTo>
                    <a:pt x="68" y="12"/>
                  </a:lnTo>
                  <a:lnTo>
                    <a:pt x="64" y="8"/>
                  </a:lnTo>
                  <a:lnTo>
                    <a:pt x="60" y="6"/>
                  </a:lnTo>
                  <a:lnTo>
                    <a:pt x="56" y="6"/>
                  </a:lnTo>
                  <a:lnTo>
                    <a:pt x="50" y="8"/>
                  </a:lnTo>
                  <a:lnTo>
                    <a:pt x="46" y="12"/>
                  </a:lnTo>
                  <a:lnTo>
                    <a:pt x="44" y="16"/>
                  </a:lnTo>
                  <a:lnTo>
                    <a:pt x="44" y="20"/>
                  </a:lnTo>
                  <a:lnTo>
                    <a:pt x="44" y="24"/>
                  </a:lnTo>
                  <a:lnTo>
                    <a:pt x="44" y="26"/>
                  </a:lnTo>
                  <a:lnTo>
                    <a:pt x="44" y="28"/>
                  </a:lnTo>
                  <a:lnTo>
                    <a:pt x="42" y="28"/>
                  </a:lnTo>
                  <a:lnTo>
                    <a:pt x="40" y="28"/>
                  </a:lnTo>
                  <a:lnTo>
                    <a:pt x="38" y="24"/>
                  </a:lnTo>
                  <a:lnTo>
                    <a:pt x="34" y="22"/>
                  </a:lnTo>
                  <a:lnTo>
                    <a:pt x="34" y="18"/>
                  </a:lnTo>
                  <a:lnTo>
                    <a:pt x="32" y="16"/>
                  </a:lnTo>
                  <a:lnTo>
                    <a:pt x="28" y="12"/>
                  </a:lnTo>
                  <a:lnTo>
                    <a:pt x="26" y="8"/>
                  </a:lnTo>
                  <a:lnTo>
                    <a:pt x="22" y="4"/>
                  </a:lnTo>
                  <a:lnTo>
                    <a:pt x="18" y="0"/>
                  </a:lnTo>
                  <a:lnTo>
                    <a:pt x="16" y="0"/>
                  </a:lnTo>
                  <a:lnTo>
                    <a:pt x="14" y="0"/>
                  </a:lnTo>
                  <a:lnTo>
                    <a:pt x="12" y="4"/>
                  </a:lnTo>
                </a:path>
              </a:pathLst>
            </a:custGeom>
            <a:solidFill>
              <a:schemeClr val="bg1">
                <a:lumMod val="75000"/>
              </a:schemeClr>
            </a:solidFill>
            <a:ln w="6350">
              <a:solidFill>
                <a:schemeClr val="bg1"/>
              </a:solidFill>
              <a:prstDash val="solid"/>
              <a:round/>
            </a:ln>
            <a:effectLst/>
            <a:extLst/>
          </p:spPr>
          <p:txBody>
            <a:bodyPr/>
            <a:lstStyle/>
            <a:p>
              <a:endParaRPr altLang="en-US" lang="zh-CN"/>
            </a:p>
          </p:txBody>
        </p:sp>
      </p:grpSp>
      <p:grpSp>
        <p:nvGrpSpPr>
          <p:cNvPr id="380" name="组合 379"/>
          <p:cNvGrpSpPr/>
          <p:nvPr/>
        </p:nvGrpSpPr>
        <p:grpSpPr>
          <a:xfrm>
            <a:off x="2878544" y="592776"/>
            <a:ext cx="6549601" cy="5562678"/>
            <a:chOff x="508487" y="248400"/>
            <a:chExt cx="7662957" cy="6508269"/>
          </a:xfrm>
        </p:grpSpPr>
        <p:sp>
          <p:nvSpPr>
            <p:cNvPr id="381" name="939439.625287.753.55.1255">
              <a:hlinkClick action="ppaction://macro?name=Slide1.939439.625287.753.55.1255_click" highlightClick="1"/>
              <a:hlinkHover action="ppaction://noaction" highlightClick="1"/>
            </p:cNvPr>
            <p:cNvSpPr>
              <a:spLocks noChangeAspect="1"/>
            </p:cNvSpPr>
            <p:nvPr/>
          </p:nvSpPr>
          <p:spPr bwMode="auto">
            <a:xfrm rot="180000">
              <a:off x="5984753" y="6031793"/>
              <a:ext cx="121508" cy="77630"/>
            </a:xfrm>
            <a:custGeom>
              <a:gdLst>
                <a:gd fmla="*/ 4 w 59" name="T0"/>
                <a:gd fmla="*/ 11 h 42" name="T1"/>
                <a:gd fmla="*/ 26 w 59" name="T2"/>
                <a:gd fmla="*/ 17 h 42" name="T3"/>
                <a:gd fmla="*/ 48 w 59" name="T4"/>
                <a:gd fmla="*/ 0 h 42" name="T5"/>
                <a:gd fmla="*/ 58 w 59" name="T6"/>
                <a:gd fmla="*/ 30 h 42" name="T7"/>
                <a:gd fmla="*/ 35 w 59" name="T8"/>
                <a:gd fmla="*/ 41 h 42" name="T9"/>
                <a:gd fmla="*/ 5 w 59" name="T10"/>
                <a:gd fmla="*/ 39 h 42" name="T11"/>
                <a:gd fmla="*/ 0 w 59" name="T12"/>
                <a:gd fmla="*/ 17 h 42" name="T13"/>
                <a:gd fmla="*/ 4 w 59" name="T14"/>
                <a:gd fmla="*/ 11 h 42" name="T15"/>
                <a:gd fmla="*/ 4 w 59" name="T16"/>
                <a:gd fmla="*/ 11 h 42" name="T17"/>
                <a:gd fmla="*/ 4 w 59" name="T18"/>
                <a:gd fmla="*/ 11 h 42"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42" w="59">
                  <a:moveTo>
                    <a:pt x="4" y="11"/>
                  </a:moveTo>
                  <a:lnTo>
                    <a:pt x="26" y="17"/>
                  </a:lnTo>
                  <a:lnTo>
                    <a:pt x="48" y="0"/>
                  </a:lnTo>
                  <a:lnTo>
                    <a:pt x="58" y="30"/>
                  </a:lnTo>
                  <a:lnTo>
                    <a:pt x="35" y="41"/>
                  </a:lnTo>
                  <a:lnTo>
                    <a:pt x="5" y="39"/>
                  </a:lnTo>
                  <a:lnTo>
                    <a:pt x="0" y="17"/>
                  </a:lnTo>
                  <a:lnTo>
                    <a:pt x="4" y="11"/>
                  </a:lnTo>
                  <a:lnTo>
                    <a:pt x="4" y="11"/>
                  </a:lnTo>
                  <a:lnTo>
                    <a:pt x="4" y="11"/>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nchor="b" bIns="0" lIns="0" rIns="0" tIns="0"/>
            <a:lstStyle/>
            <a:p>
              <a:endParaRPr altLang="en-US" lang="zh-CN"/>
            </a:p>
          </p:txBody>
        </p:sp>
        <p:sp>
          <p:nvSpPr>
            <p:cNvPr id="382" name="海南">
              <a:hlinkClick action="ppaction://macro?name=Slide1.海南_click" highlightClick="1"/>
              <a:hlinkHover action="ppaction://noaction" highlightClick="1"/>
            </p:cNvPr>
            <p:cNvSpPr>
              <a:spLocks noChangeAspect="1"/>
            </p:cNvSpPr>
            <p:nvPr/>
          </p:nvSpPr>
          <p:spPr bwMode="auto">
            <a:xfrm rot="180000">
              <a:off x="5140100" y="6501594"/>
              <a:ext cx="380949" cy="255075"/>
            </a:xfrm>
            <a:custGeom>
              <a:gdLst>
                <a:gd fmla="*/ 181 w 182" name="T0"/>
                <a:gd fmla="*/ 29 h 166" name="T1"/>
                <a:gd fmla="*/ 148 w 182" name="T2"/>
                <a:gd fmla="*/ 86 h 166" name="T3"/>
                <a:gd fmla="*/ 148 w 182" name="T4"/>
                <a:gd fmla="*/ 112 h 166" name="T5"/>
                <a:gd fmla="*/ 83 w 182" name="T6"/>
                <a:gd fmla="*/ 165 h 166" name="T7"/>
                <a:gd fmla="*/ 14 w 182" name="T8"/>
                <a:gd fmla="*/ 142 h 166" name="T9"/>
                <a:gd fmla="*/ 0 w 182" name="T10"/>
                <a:gd fmla="*/ 93 h 166" name="T11"/>
                <a:gd fmla="*/ 4 w 182" name="T12"/>
                <a:gd fmla="*/ 72 h 166" name="T13"/>
                <a:gd fmla="*/ 41 w 182" name="T14"/>
                <a:gd fmla="*/ 34 h 166" name="T15"/>
                <a:gd fmla="*/ 54 w 182" name="T16"/>
                <a:gd fmla="*/ 24 h 166" name="T17"/>
                <a:gd fmla="*/ 114 w 182" name="T18"/>
                <a:gd fmla="*/ 12 h 166" name="T19"/>
                <a:gd fmla="*/ 142 w 182" name="T20"/>
                <a:gd fmla="*/ 10 h 166" name="T21"/>
                <a:gd fmla="*/ 152 w 182" name="T22"/>
                <a:gd fmla="*/ 0 h 166" name="T23"/>
                <a:gd fmla="*/ 171 w 182" name="T24"/>
                <a:gd fmla="*/ 5 h 166" name="T25"/>
                <a:gd fmla="*/ 181 w 182" name="T26"/>
                <a:gd fmla="*/ 29 h 166" name="T27"/>
                <a:gd fmla="*/ 181 w 182" name="T28"/>
                <a:gd fmla="*/ 29 h 166" name="T29"/>
                <a:gd fmla="*/ 181 w 182" name="T30"/>
                <a:gd fmla="*/ 29 h 166" name="T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b="b" l="0" r="r" t="0"/>
              <a:pathLst>
                <a:path h="166" w="182">
                  <a:moveTo>
                    <a:pt x="181" y="29"/>
                  </a:moveTo>
                  <a:lnTo>
                    <a:pt x="148" y="86"/>
                  </a:lnTo>
                  <a:lnTo>
                    <a:pt x="148" y="112"/>
                  </a:lnTo>
                  <a:lnTo>
                    <a:pt x="83" y="165"/>
                  </a:lnTo>
                  <a:lnTo>
                    <a:pt x="14" y="142"/>
                  </a:lnTo>
                  <a:lnTo>
                    <a:pt x="0" y="93"/>
                  </a:lnTo>
                  <a:lnTo>
                    <a:pt x="4" y="72"/>
                  </a:lnTo>
                  <a:lnTo>
                    <a:pt x="41" y="34"/>
                  </a:lnTo>
                  <a:lnTo>
                    <a:pt x="54" y="24"/>
                  </a:lnTo>
                  <a:lnTo>
                    <a:pt x="114" y="12"/>
                  </a:lnTo>
                  <a:lnTo>
                    <a:pt x="142" y="10"/>
                  </a:lnTo>
                  <a:lnTo>
                    <a:pt x="152" y="0"/>
                  </a:lnTo>
                  <a:lnTo>
                    <a:pt x="171" y="5"/>
                  </a:lnTo>
                  <a:lnTo>
                    <a:pt x="181" y="29"/>
                  </a:lnTo>
                  <a:lnTo>
                    <a:pt x="181" y="29"/>
                  </a:lnTo>
                  <a:lnTo>
                    <a:pt x="181" y="29"/>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83" name="上海">
              <a:hlinkClick action="ppaction://macro?name=Slide1.上海_click" highlightClick="1"/>
              <a:hlinkHover action="ppaction://noaction" highlightClick="1"/>
            </p:cNvPr>
            <p:cNvSpPr>
              <a:spLocks noChangeAspect="1"/>
            </p:cNvSpPr>
            <p:nvPr/>
          </p:nvSpPr>
          <p:spPr bwMode="auto">
            <a:xfrm rot="180000">
              <a:off x="6943517" y="4264508"/>
              <a:ext cx="121508" cy="155262"/>
            </a:xfrm>
            <a:custGeom>
              <a:gdLst>
                <a:gd fmla="*/ 25 w 62" name="T0"/>
                <a:gd fmla="*/ 64 h 65" name="T1"/>
                <a:gd fmla="*/ 0 w 62" name="T2"/>
                <a:gd fmla="*/ 42 h 65" name="T3"/>
                <a:gd fmla="*/ 11 w 62" name="T4"/>
                <a:gd fmla="*/ 27 h 65" name="T5"/>
                <a:gd fmla="*/ 21 w 62" name="T6"/>
                <a:gd fmla="*/ 0 h 65" name="T7"/>
                <a:gd fmla="*/ 49 w 62" name="T8"/>
                <a:gd fmla="*/ 11 h 65" name="T9"/>
                <a:gd fmla="*/ 61 w 62" name="T10"/>
                <a:gd fmla="*/ 29 h 65" name="T11"/>
                <a:gd fmla="*/ 52 w 62" name="T12"/>
                <a:gd fmla="*/ 43 h 65" name="T13"/>
                <a:gd fmla="*/ 25 w 62" name="T14"/>
                <a:gd fmla="*/ 64 h 65" name="T15"/>
                <a:gd fmla="*/ 25 w 62" name="T16"/>
                <a:gd fmla="*/ 64 h 65"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65" w="62">
                  <a:moveTo>
                    <a:pt x="25" y="64"/>
                  </a:moveTo>
                  <a:lnTo>
                    <a:pt x="0" y="42"/>
                  </a:lnTo>
                  <a:lnTo>
                    <a:pt x="11" y="27"/>
                  </a:lnTo>
                  <a:lnTo>
                    <a:pt x="21" y="0"/>
                  </a:lnTo>
                  <a:lnTo>
                    <a:pt x="49" y="11"/>
                  </a:lnTo>
                  <a:lnTo>
                    <a:pt x="61" y="29"/>
                  </a:lnTo>
                  <a:lnTo>
                    <a:pt x="52" y="43"/>
                  </a:lnTo>
                  <a:lnTo>
                    <a:pt x="25" y="64"/>
                  </a:lnTo>
                  <a:lnTo>
                    <a:pt x="25" y="64"/>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84" name="河南">
              <a:hlinkClick action="ppaction://macro?name=Slide1.河南_click" highlightClick="1"/>
              <a:hlinkHover action="ppaction://noaction" highlightClick="1"/>
            </p:cNvPr>
            <p:cNvSpPr>
              <a:spLocks noChangeAspect="1"/>
            </p:cNvSpPr>
            <p:nvPr/>
          </p:nvSpPr>
          <p:spPr bwMode="auto">
            <a:xfrm rot="180000">
              <a:off x="5349074" y="3535502"/>
              <a:ext cx="899828" cy="861339"/>
            </a:xfrm>
            <a:custGeom>
              <a:gdLst>
                <a:gd fmla="*/ 50 w 426" name="T0"/>
                <a:gd fmla="*/ 268 h 385" name="T1"/>
                <a:gd fmla="*/ 111 w 426" name="T2"/>
                <a:gd fmla="*/ 322 h 385" name="T3"/>
                <a:gd fmla="*/ 162 w 426" name="T4"/>
                <a:gd fmla="*/ 333 h 385" name="T5"/>
                <a:gd fmla="*/ 208 w 426" name="T6"/>
                <a:gd fmla="*/ 326 h 385" name="T7"/>
                <a:gd fmla="*/ 222 w 426" name="T8"/>
                <a:gd fmla="*/ 333 h 385" name="T9"/>
                <a:gd fmla="*/ 238 w 426" name="T10"/>
                <a:gd fmla="*/ 323 h 385" name="T11"/>
                <a:gd fmla="*/ 249 w 426" name="T12"/>
                <a:gd fmla="*/ 335 h 385" name="T13"/>
                <a:gd fmla="*/ 256 w 426" name="T14"/>
                <a:gd fmla="*/ 354 h 385" name="T15"/>
                <a:gd fmla="*/ 278 w 426" name="T16"/>
                <a:gd fmla="*/ 366 h 385" name="T17"/>
                <a:gd fmla="*/ 307 w 426" name="T18"/>
                <a:gd fmla="*/ 366 h 385" name="T19"/>
                <a:gd fmla="*/ 329 w 426" name="T20"/>
                <a:gd fmla="*/ 384 h 385" name="T21"/>
                <a:gd fmla="*/ 349 w 426" name="T22"/>
                <a:gd fmla="*/ 375 h 385" name="T23"/>
                <a:gd fmla="*/ 364 w 426" name="T24"/>
                <a:gd fmla="*/ 384 h 385" name="T25"/>
                <a:gd fmla="*/ 377 w 426" name="T26"/>
                <a:gd fmla="*/ 359 h 385" name="T27"/>
                <a:gd fmla="*/ 396 w 426" name="T28"/>
                <a:gd fmla="*/ 350 h 385" name="T29"/>
                <a:gd fmla="*/ 399 w 426" name="T30"/>
                <a:gd fmla="*/ 329 h 385" name="T31"/>
                <a:gd fmla="*/ 393 w 426" name="T32"/>
                <a:gd fmla="*/ 292 h 385" name="T33"/>
                <a:gd fmla="*/ 389 w 426" name="T34"/>
                <a:gd fmla="*/ 288 h 385" name="T35"/>
                <a:gd fmla="*/ 370 w 426" name="T36"/>
                <a:gd fmla="*/ 307 h 385" name="T37"/>
                <a:gd fmla="*/ 342 w 426" name="T38"/>
                <a:gd fmla="*/ 285 h 385" name="T39"/>
                <a:gd fmla="*/ 321 w 426" name="T40"/>
                <a:gd fmla="*/ 259 h 385" name="T41"/>
                <a:gd fmla="*/ 342 w 426" name="T42"/>
                <a:gd fmla="*/ 244 h 385" name="T43"/>
                <a:gd fmla="*/ 348 w 426" name="T44"/>
                <a:gd fmla="*/ 219 h 385" name="T45"/>
                <a:gd fmla="*/ 360 w 426" name="T46"/>
                <a:gd fmla="*/ 209 h 385" name="T47"/>
                <a:gd fmla="*/ 358 w 426" name="T48"/>
                <a:gd fmla="*/ 174 h 385" name="T49"/>
                <a:gd fmla="*/ 367 w 426" name="T50"/>
                <a:gd fmla="*/ 168 h 385" name="T51"/>
                <a:gd fmla="*/ 384 w 426" name="T52"/>
                <a:gd fmla="*/ 178 h 385" name="T53"/>
                <a:gd fmla="*/ 396 w 426" name="T54"/>
                <a:gd fmla="*/ 192 h 385" name="T55"/>
                <a:gd fmla="*/ 417 w 426" name="T56"/>
                <a:gd fmla="*/ 178 h 385" name="T57"/>
                <a:gd fmla="*/ 425 w 426" name="T58"/>
                <a:gd fmla="*/ 169 h 385" name="T59"/>
                <a:gd fmla="*/ 421 w 426" name="T60"/>
                <a:gd fmla="*/ 152 h 385" name="T61"/>
                <a:gd fmla="*/ 396 w 426" name="T62"/>
                <a:gd fmla="*/ 137 h 385" name="T63"/>
                <a:gd fmla="*/ 391 w 426" name="T64"/>
                <a:gd fmla="*/ 120 h 385" name="T65"/>
                <a:gd fmla="*/ 344 w 426" name="T66"/>
                <a:gd fmla="*/ 126 h 385" name="T67"/>
                <a:gd fmla="*/ 315 w 426" name="T68"/>
                <a:gd fmla="*/ 101 h 385" name="T69"/>
                <a:gd fmla="*/ 302 w 426" name="T70"/>
                <a:gd fmla="*/ 96 h 385" name="T71"/>
                <a:gd fmla="*/ 302 w 426" name="T72"/>
                <a:gd fmla="*/ 80 h 385" name="T73"/>
                <a:gd fmla="*/ 366 w 426" name="T74"/>
                <a:gd fmla="*/ 7 h 385" name="T75"/>
                <a:gd fmla="*/ 342 w 426" name="T76"/>
                <a:gd fmla="*/ 13 h 385" name="T77"/>
                <a:gd fmla="*/ 328 w 426" name="T78"/>
                <a:gd fmla="*/ 24 h 385" name="T79"/>
                <a:gd fmla="*/ 321 w 426" name="T80"/>
                <a:gd fmla="*/ 15 h 385" name="T81"/>
                <a:gd fmla="*/ 321 w 426" name="T82"/>
                <a:gd fmla="*/ 4 h 385" name="T83"/>
                <a:gd fmla="*/ 310 w 426" name="T84"/>
                <a:gd fmla="*/ 0 h 385" name="T85"/>
                <a:gd fmla="*/ 281 w 426" name="T86"/>
                <a:gd fmla="*/ 12 h 385" name="T87"/>
                <a:gd fmla="*/ 208 w 426" name="T88"/>
                <a:gd fmla="*/ 2 h 385" name="T89"/>
                <a:gd fmla="*/ 203 w 426" name="T90"/>
                <a:gd fmla="*/ 63 h 385" name="T91"/>
                <a:gd fmla="*/ 168 w 426" name="T92"/>
                <a:gd fmla="*/ 91 h 385" name="T93"/>
                <a:gd fmla="*/ 120 w 426" name="T94"/>
                <a:gd fmla="*/ 101 h 385" name="T95"/>
                <a:gd fmla="*/ 54 w 426" name="T96"/>
                <a:gd fmla="*/ 147 h 385" name="T97"/>
                <a:gd fmla="*/ 0 w 426" name="T98"/>
                <a:gd fmla="*/ 161 h 385" name="T99"/>
                <a:gd fmla="*/ 0 w 426" name="T100"/>
                <a:gd fmla="*/ 171 h 385" name="T101"/>
                <a:gd fmla="*/ 50 w 426" name="T102"/>
                <a:gd fmla="*/ 246 h 385" name="T103"/>
                <a:gd fmla="*/ 50 w 426" name="T104"/>
                <a:gd fmla="*/ 268 h 385" name="T105"/>
                <a:gd fmla="*/ 50 w 426" name="T106"/>
                <a:gd fmla="*/ 268 h 385" name="T10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b="b" l="0" r="r" t="0"/>
              <a:pathLst>
                <a:path h="385" w="426">
                  <a:moveTo>
                    <a:pt x="50" y="268"/>
                  </a:moveTo>
                  <a:lnTo>
                    <a:pt x="111" y="322"/>
                  </a:lnTo>
                  <a:lnTo>
                    <a:pt x="162" y="333"/>
                  </a:lnTo>
                  <a:lnTo>
                    <a:pt x="208" y="326"/>
                  </a:lnTo>
                  <a:lnTo>
                    <a:pt x="222" y="333"/>
                  </a:lnTo>
                  <a:lnTo>
                    <a:pt x="238" y="323"/>
                  </a:lnTo>
                  <a:lnTo>
                    <a:pt x="249" y="335"/>
                  </a:lnTo>
                  <a:lnTo>
                    <a:pt x="256" y="354"/>
                  </a:lnTo>
                  <a:lnTo>
                    <a:pt x="278" y="366"/>
                  </a:lnTo>
                  <a:lnTo>
                    <a:pt x="307" y="366"/>
                  </a:lnTo>
                  <a:lnTo>
                    <a:pt x="329" y="384"/>
                  </a:lnTo>
                  <a:lnTo>
                    <a:pt x="349" y="375"/>
                  </a:lnTo>
                  <a:lnTo>
                    <a:pt x="364" y="384"/>
                  </a:lnTo>
                  <a:lnTo>
                    <a:pt x="377" y="359"/>
                  </a:lnTo>
                  <a:lnTo>
                    <a:pt x="396" y="350"/>
                  </a:lnTo>
                  <a:lnTo>
                    <a:pt x="399" y="329"/>
                  </a:lnTo>
                  <a:lnTo>
                    <a:pt x="393" y="292"/>
                  </a:lnTo>
                  <a:lnTo>
                    <a:pt x="389" y="288"/>
                  </a:lnTo>
                  <a:lnTo>
                    <a:pt x="370" y="307"/>
                  </a:lnTo>
                  <a:lnTo>
                    <a:pt x="342" y="285"/>
                  </a:lnTo>
                  <a:lnTo>
                    <a:pt x="321" y="259"/>
                  </a:lnTo>
                  <a:lnTo>
                    <a:pt x="342" y="244"/>
                  </a:lnTo>
                  <a:lnTo>
                    <a:pt x="348" y="219"/>
                  </a:lnTo>
                  <a:lnTo>
                    <a:pt x="360" y="209"/>
                  </a:lnTo>
                  <a:lnTo>
                    <a:pt x="358" y="174"/>
                  </a:lnTo>
                  <a:lnTo>
                    <a:pt x="367" y="168"/>
                  </a:lnTo>
                  <a:lnTo>
                    <a:pt x="384" y="178"/>
                  </a:lnTo>
                  <a:lnTo>
                    <a:pt x="396" y="192"/>
                  </a:lnTo>
                  <a:lnTo>
                    <a:pt x="417" y="178"/>
                  </a:lnTo>
                  <a:lnTo>
                    <a:pt x="425" y="169"/>
                  </a:lnTo>
                  <a:lnTo>
                    <a:pt x="421" y="152"/>
                  </a:lnTo>
                  <a:lnTo>
                    <a:pt x="396" y="137"/>
                  </a:lnTo>
                  <a:lnTo>
                    <a:pt x="391" y="120"/>
                  </a:lnTo>
                  <a:lnTo>
                    <a:pt x="344" y="126"/>
                  </a:lnTo>
                  <a:lnTo>
                    <a:pt x="315" y="101"/>
                  </a:lnTo>
                  <a:lnTo>
                    <a:pt x="302" y="96"/>
                  </a:lnTo>
                  <a:lnTo>
                    <a:pt x="302" y="80"/>
                  </a:lnTo>
                  <a:lnTo>
                    <a:pt x="366" y="7"/>
                  </a:lnTo>
                  <a:lnTo>
                    <a:pt x="342" y="13"/>
                  </a:lnTo>
                  <a:lnTo>
                    <a:pt x="328" y="24"/>
                  </a:lnTo>
                  <a:lnTo>
                    <a:pt x="321" y="15"/>
                  </a:lnTo>
                  <a:lnTo>
                    <a:pt x="321" y="4"/>
                  </a:lnTo>
                  <a:lnTo>
                    <a:pt x="310" y="0"/>
                  </a:lnTo>
                  <a:lnTo>
                    <a:pt x="281" y="12"/>
                  </a:lnTo>
                  <a:lnTo>
                    <a:pt x="208" y="2"/>
                  </a:lnTo>
                  <a:lnTo>
                    <a:pt x="203" y="63"/>
                  </a:lnTo>
                  <a:lnTo>
                    <a:pt x="168" y="91"/>
                  </a:lnTo>
                  <a:lnTo>
                    <a:pt x="120" y="101"/>
                  </a:lnTo>
                  <a:lnTo>
                    <a:pt x="54" y="147"/>
                  </a:lnTo>
                  <a:lnTo>
                    <a:pt x="0" y="161"/>
                  </a:lnTo>
                  <a:lnTo>
                    <a:pt x="0" y="171"/>
                  </a:lnTo>
                  <a:lnTo>
                    <a:pt x="50" y="246"/>
                  </a:lnTo>
                  <a:lnTo>
                    <a:pt x="50" y="268"/>
                  </a:lnTo>
                  <a:lnTo>
                    <a:pt x="50" y="268"/>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85" name="台湾">
              <a:hlinkClick action="ppaction://macro?name=Slide1.台湾_click" highlightClick="1"/>
              <a:hlinkHover action="ppaction://noaction" highlightClick="1"/>
            </p:cNvPr>
            <p:cNvSpPr>
              <a:spLocks noChangeAspect="1"/>
            </p:cNvSpPr>
            <p:nvPr/>
          </p:nvSpPr>
          <p:spPr bwMode="auto">
            <a:xfrm rot="180000">
              <a:off x="6940356" y="5399666"/>
              <a:ext cx="206896" cy="643231"/>
            </a:xfrm>
            <a:custGeom>
              <a:gdLst>
                <a:gd fmla="*/ 26 w 106" name="T0"/>
                <a:gd fmla="*/ 37 h 289" name="T1"/>
                <a:gd fmla="*/ 29 w 106" name="T2"/>
                <a:gd fmla="*/ 34 h 289" name="T3"/>
                <a:gd fmla="*/ 38 w 106" name="T4"/>
                <a:gd fmla="*/ 17 h 289" name="T5"/>
                <a:gd fmla="*/ 61 w 106" name="T6"/>
                <a:gd fmla="*/ 1 h 289" name="T7"/>
                <a:gd fmla="*/ 67 w 106" name="T8"/>
                <a:gd fmla="*/ 1 h 289" name="T9"/>
                <a:gd fmla="*/ 82 w 106" name="T10"/>
                <a:gd fmla="*/ 5 h 289" name="T11"/>
                <a:gd fmla="*/ 87 w 106" name="T12"/>
                <a:gd fmla="*/ 10 h 289" name="T13"/>
                <a:gd fmla="*/ 97 w 106" name="T14"/>
                <a:gd fmla="*/ 17 h 289" name="T15"/>
                <a:gd fmla="*/ 100 w 106" name="T16"/>
                <a:gd fmla="*/ 29 h 289" name="T17"/>
                <a:gd fmla="*/ 91 w 106" name="T18"/>
                <a:gd fmla="*/ 39 h 289" name="T19"/>
                <a:gd fmla="*/ 91 w 106" name="T20"/>
                <a:gd fmla="*/ 54 h 289" name="T21"/>
                <a:gd fmla="*/ 101 w 106" name="T22"/>
                <a:gd fmla="*/ 73 h 289" name="T23"/>
                <a:gd fmla="*/ 91 w 106" name="T24"/>
                <a:gd fmla="*/ 95 h 289" name="T25"/>
                <a:gd fmla="*/ 96 w 106" name="T26"/>
                <a:gd fmla="*/ 109 h 289" name="T27"/>
                <a:gd fmla="*/ 96 w 106" name="T28"/>
                <a:gd fmla="*/ 118 h 289" name="T29"/>
                <a:gd fmla="*/ 100 w 106" name="T30"/>
                <a:gd fmla="*/ 141 h 289" name="T31"/>
                <a:gd fmla="*/ 104 w 106" name="T32"/>
                <a:gd fmla="*/ 161 h 289" name="T33"/>
                <a:gd fmla="*/ 103 w 106" name="T34"/>
                <a:gd fmla="*/ 178 h 289" name="T35"/>
                <a:gd fmla="*/ 100 w 106" name="T36"/>
                <a:gd fmla="*/ 185 h 289" name="T37"/>
                <a:gd fmla="*/ 97 w 106" name="T38"/>
                <a:gd fmla="*/ 192 h 289" name="T39"/>
                <a:gd fmla="*/ 96 w 106" name="T40"/>
                <a:gd fmla="*/ 196 h 289" name="T41"/>
                <a:gd fmla="*/ 95 w 106" name="T42"/>
                <a:gd fmla="*/ 210 h 289" name="T43"/>
                <a:gd fmla="*/ 90 w 106" name="T44"/>
                <a:gd fmla="*/ 215 h 289" name="T45"/>
                <a:gd fmla="*/ 85 w 106" name="T46"/>
                <a:gd fmla="*/ 227 h 289" name="T47"/>
                <a:gd fmla="*/ 81 w 106" name="T48"/>
                <a:gd fmla="*/ 229 h 289" name="T49"/>
                <a:gd fmla="*/ 78 w 106" name="T50"/>
                <a:gd fmla="*/ 232 h 289" name="T51"/>
                <a:gd fmla="*/ 76 w 106" name="T52"/>
                <a:gd fmla="*/ 253 h 289" name="T53"/>
                <a:gd fmla="*/ 70 w 106" name="T54"/>
                <a:gd fmla="*/ 263 h 289" name="T55"/>
                <a:gd fmla="*/ 73 w 106" name="T56"/>
                <a:gd fmla="*/ 280 h 289" name="T57"/>
                <a:gd fmla="*/ 76 w 106" name="T58"/>
                <a:gd fmla="*/ 284 h 289" name="T59"/>
                <a:gd fmla="*/ 72 w 106" name="T60"/>
                <a:gd fmla="*/ 283 h 289" name="T61"/>
                <a:gd fmla="*/ 65 w 106" name="T62"/>
                <a:gd fmla="*/ 281 h 289" name="T63"/>
                <a:gd fmla="*/ 63 w 106" name="T64"/>
                <a:gd fmla="*/ 285 h 289" name="T65"/>
                <a:gd fmla="*/ 62 w 106" name="T66"/>
                <a:gd fmla="*/ 286 h 289" name="T67"/>
                <a:gd fmla="*/ 57 w 106" name="T68"/>
                <a:gd fmla="*/ 287 h 289" name="T69"/>
                <a:gd fmla="*/ 57 w 106" name="T70"/>
                <a:gd fmla="*/ 281 h 289" name="T71"/>
                <a:gd fmla="*/ 52 w 106" name="T72"/>
                <a:gd fmla="*/ 274 h 289" name="T73"/>
                <a:gd fmla="*/ 51 w 106" name="T74"/>
                <a:gd fmla="*/ 262 h 289" name="T75"/>
                <a:gd fmla="*/ 40 w 106" name="T76"/>
                <a:gd fmla="*/ 256 h 289" name="T77"/>
                <a:gd fmla="*/ 33 w 106" name="T78"/>
                <a:gd fmla="*/ 251 h 289" name="T79"/>
                <a:gd fmla="*/ 28 w 106" name="T80"/>
                <a:gd fmla="*/ 240 h 289" name="T81"/>
                <a:gd fmla="*/ 25 w 106" name="T82"/>
                <a:gd fmla="*/ 234 h 289" name="T83"/>
                <a:gd fmla="*/ 19 w 106" name="T84"/>
                <a:gd fmla="*/ 229 h 289" name="T85"/>
                <a:gd fmla="*/ 13 w 106" name="T86"/>
                <a:gd fmla="*/ 213 h 289" name="T87"/>
                <a:gd fmla="*/ 6 w 106" name="T88"/>
                <a:gd fmla="*/ 203 h 289" name="T89"/>
                <a:gd fmla="*/ 7 w 106" name="T90"/>
                <a:gd fmla="*/ 185 h 289" name="T91"/>
                <a:gd fmla="*/ 9 w 106" name="T92"/>
                <a:gd fmla="*/ 182 h 289" name="T93"/>
                <a:gd fmla="*/ 5 w 106" name="T94"/>
                <a:gd fmla="*/ 173 h 289" name="T95"/>
                <a:gd fmla="*/ 1 w 106" name="T96"/>
                <a:gd fmla="*/ 166 h 289" name="T97"/>
                <a:gd fmla="*/ 0 w 106" name="T98"/>
                <a:gd fmla="*/ 157 h 289" name="T99"/>
                <a:gd fmla="*/ 4 w 106" name="T100"/>
                <a:gd fmla="*/ 154 h 289" name="T101"/>
                <a:gd fmla="*/ 4 w 106" name="T102"/>
                <a:gd fmla="*/ 153 h 289" name="T103"/>
                <a:gd fmla="*/ 6 w 106" name="T104"/>
                <a:gd fmla="*/ 141 h 289" name="T105"/>
                <a:gd fmla="*/ 5 w 106" name="T106"/>
                <a:gd fmla="*/ 137 h 289" name="T107"/>
                <a:gd fmla="*/ 5 w 106" name="T108"/>
                <a:gd fmla="*/ 133 h 289" name="T109"/>
                <a:gd fmla="*/ 5 w 106" name="T110"/>
                <a:gd fmla="*/ 100 h 289" name="T111"/>
                <a:gd fmla="*/ 6 w 106" name="T112"/>
                <a:gd fmla="*/ 95 h 289" name="T113"/>
                <a:gd fmla="*/ 9 w 106" name="T114"/>
                <a:gd fmla="*/ 92 h 289" name="T115"/>
                <a:gd fmla="*/ 14 w 106" name="T116"/>
                <a:gd fmla="*/ 75 h 289" name="T117"/>
                <a:gd fmla="*/ 24 w 106" name="T118"/>
                <a:gd fmla="*/ 49 h 289" name="T119"/>
                <a:gd fmla="*/ 24 w 106" name="T120"/>
                <a:gd fmla="*/ 41 h 289" name="T121"/>
                <a:gd fmla="*/ 23 w 106" name="T122"/>
                <a:gd fmla="*/ 40 h 289" name="T1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b="b" l="0" r="r" t="0"/>
              <a:pathLst>
                <a:path h="289" w="105">
                  <a:moveTo>
                    <a:pt x="23" y="40"/>
                  </a:moveTo>
                  <a:lnTo>
                    <a:pt x="23" y="41"/>
                  </a:lnTo>
                  <a:lnTo>
                    <a:pt x="23" y="41"/>
                  </a:lnTo>
                  <a:lnTo>
                    <a:pt x="23" y="41"/>
                  </a:lnTo>
                  <a:lnTo>
                    <a:pt x="23" y="41"/>
                  </a:lnTo>
                  <a:lnTo>
                    <a:pt x="23" y="41"/>
                  </a:lnTo>
                  <a:lnTo>
                    <a:pt x="23" y="41"/>
                  </a:lnTo>
                  <a:lnTo>
                    <a:pt x="23" y="41"/>
                  </a:lnTo>
                  <a:lnTo>
                    <a:pt x="24" y="39"/>
                  </a:lnTo>
                  <a:lnTo>
                    <a:pt x="24" y="39"/>
                  </a:lnTo>
                  <a:lnTo>
                    <a:pt x="24" y="39"/>
                  </a:lnTo>
                  <a:lnTo>
                    <a:pt x="24" y="39"/>
                  </a:lnTo>
                  <a:lnTo>
                    <a:pt x="24" y="39"/>
                  </a:lnTo>
                  <a:lnTo>
                    <a:pt x="24" y="39"/>
                  </a:lnTo>
                  <a:lnTo>
                    <a:pt x="24" y="39"/>
                  </a:lnTo>
                  <a:lnTo>
                    <a:pt x="24" y="39"/>
                  </a:lnTo>
                  <a:lnTo>
                    <a:pt x="26" y="37"/>
                  </a:lnTo>
                  <a:lnTo>
                    <a:pt x="26" y="37"/>
                  </a:lnTo>
                  <a:lnTo>
                    <a:pt x="26" y="37"/>
                  </a:lnTo>
                  <a:lnTo>
                    <a:pt x="26" y="37"/>
                  </a:lnTo>
                  <a:lnTo>
                    <a:pt x="26" y="37"/>
                  </a:lnTo>
                  <a:lnTo>
                    <a:pt x="26" y="37"/>
                  </a:lnTo>
                  <a:lnTo>
                    <a:pt x="26" y="37"/>
                  </a:lnTo>
                  <a:lnTo>
                    <a:pt x="26" y="37"/>
                  </a:lnTo>
                  <a:lnTo>
                    <a:pt x="28" y="36"/>
                  </a:lnTo>
                  <a:lnTo>
                    <a:pt x="28" y="36"/>
                  </a:lnTo>
                  <a:lnTo>
                    <a:pt x="28" y="36"/>
                  </a:lnTo>
                  <a:lnTo>
                    <a:pt x="28" y="36"/>
                  </a:lnTo>
                  <a:lnTo>
                    <a:pt x="28" y="36"/>
                  </a:lnTo>
                  <a:lnTo>
                    <a:pt x="28" y="36"/>
                  </a:lnTo>
                  <a:lnTo>
                    <a:pt x="28" y="36"/>
                  </a:lnTo>
                  <a:lnTo>
                    <a:pt x="28" y="36"/>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29" y="34"/>
                  </a:lnTo>
                  <a:lnTo>
                    <a:pt x="30" y="33"/>
                  </a:lnTo>
                  <a:lnTo>
                    <a:pt x="30" y="33"/>
                  </a:lnTo>
                  <a:lnTo>
                    <a:pt x="30" y="33"/>
                  </a:lnTo>
                  <a:lnTo>
                    <a:pt x="30" y="33"/>
                  </a:lnTo>
                  <a:lnTo>
                    <a:pt x="30" y="33"/>
                  </a:lnTo>
                  <a:lnTo>
                    <a:pt x="30" y="33"/>
                  </a:lnTo>
                  <a:lnTo>
                    <a:pt x="30" y="33"/>
                  </a:lnTo>
                  <a:lnTo>
                    <a:pt x="30" y="33"/>
                  </a:lnTo>
                  <a:lnTo>
                    <a:pt x="31" y="31"/>
                  </a:lnTo>
                  <a:lnTo>
                    <a:pt x="31" y="31"/>
                  </a:lnTo>
                  <a:lnTo>
                    <a:pt x="31" y="31"/>
                  </a:lnTo>
                  <a:lnTo>
                    <a:pt x="31" y="31"/>
                  </a:lnTo>
                  <a:lnTo>
                    <a:pt x="32" y="31"/>
                  </a:lnTo>
                  <a:lnTo>
                    <a:pt x="32" y="31"/>
                  </a:lnTo>
                  <a:lnTo>
                    <a:pt x="32" y="31"/>
                  </a:lnTo>
                  <a:lnTo>
                    <a:pt x="32" y="31"/>
                  </a:lnTo>
                  <a:lnTo>
                    <a:pt x="34" y="29"/>
                  </a:lnTo>
                  <a:lnTo>
                    <a:pt x="34" y="29"/>
                  </a:lnTo>
                  <a:lnTo>
                    <a:pt x="34" y="27"/>
                  </a:lnTo>
                  <a:lnTo>
                    <a:pt x="34" y="24"/>
                  </a:lnTo>
                  <a:lnTo>
                    <a:pt x="36" y="22"/>
                  </a:lnTo>
                  <a:lnTo>
                    <a:pt x="36" y="21"/>
                  </a:lnTo>
                  <a:lnTo>
                    <a:pt x="38" y="19"/>
                  </a:lnTo>
                  <a:lnTo>
                    <a:pt x="38" y="17"/>
                  </a:lnTo>
                  <a:lnTo>
                    <a:pt x="39" y="15"/>
                  </a:lnTo>
                  <a:lnTo>
                    <a:pt x="39" y="15"/>
                  </a:lnTo>
                  <a:lnTo>
                    <a:pt x="42" y="13"/>
                  </a:lnTo>
                  <a:lnTo>
                    <a:pt x="42" y="11"/>
                  </a:lnTo>
                  <a:lnTo>
                    <a:pt x="44" y="9"/>
                  </a:lnTo>
                  <a:lnTo>
                    <a:pt x="44" y="9"/>
                  </a:lnTo>
                  <a:lnTo>
                    <a:pt x="46" y="7"/>
                  </a:lnTo>
                  <a:lnTo>
                    <a:pt x="47" y="5"/>
                  </a:lnTo>
                  <a:lnTo>
                    <a:pt x="49" y="3"/>
                  </a:lnTo>
                  <a:lnTo>
                    <a:pt x="49" y="3"/>
                  </a:lnTo>
                  <a:lnTo>
                    <a:pt x="50" y="3"/>
                  </a:lnTo>
                  <a:lnTo>
                    <a:pt x="50" y="3"/>
                  </a:lnTo>
                  <a:lnTo>
                    <a:pt x="52" y="3"/>
                  </a:lnTo>
                  <a:lnTo>
                    <a:pt x="52" y="3"/>
                  </a:lnTo>
                  <a:lnTo>
                    <a:pt x="54" y="3"/>
                  </a:lnTo>
                  <a:lnTo>
                    <a:pt x="54" y="3"/>
                  </a:lnTo>
                  <a:lnTo>
                    <a:pt x="57" y="1"/>
                  </a:lnTo>
                  <a:lnTo>
                    <a:pt x="57" y="1"/>
                  </a:lnTo>
                  <a:lnTo>
                    <a:pt x="57" y="1"/>
                  </a:lnTo>
                  <a:lnTo>
                    <a:pt x="57" y="1"/>
                  </a:lnTo>
                  <a:lnTo>
                    <a:pt x="58" y="1"/>
                  </a:lnTo>
                  <a:lnTo>
                    <a:pt x="58" y="1"/>
                  </a:lnTo>
                  <a:lnTo>
                    <a:pt x="61" y="1"/>
                  </a:lnTo>
                  <a:lnTo>
                    <a:pt x="61" y="1"/>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3" y="0"/>
                  </a:lnTo>
                  <a:lnTo>
                    <a:pt x="64" y="0"/>
                  </a:lnTo>
                  <a:lnTo>
                    <a:pt x="64" y="1"/>
                  </a:lnTo>
                  <a:lnTo>
                    <a:pt x="64" y="1"/>
                  </a:lnTo>
                  <a:lnTo>
                    <a:pt x="64" y="1"/>
                  </a:lnTo>
                  <a:lnTo>
                    <a:pt x="67" y="1"/>
                  </a:lnTo>
                  <a:lnTo>
                    <a:pt x="67" y="1"/>
                  </a:lnTo>
                  <a:lnTo>
                    <a:pt x="67" y="1"/>
                  </a:lnTo>
                  <a:lnTo>
                    <a:pt x="67" y="1"/>
                  </a:lnTo>
                  <a:lnTo>
                    <a:pt x="68" y="1"/>
                  </a:lnTo>
                  <a:lnTo>
                    <a:pt x="68" y="1"/>
                  </a:lnTo>
                  <a:lnTo>
                    <a:pt x="68" y="1"/>
                  </a:lnTo>
                  <a:lnTo>
                    <a:pt x="68" y="1"/>
                  </a:lnTo>
                  <a:lnTo>
                    <a:pt x="71" y="1"/>
                  </a:lnTo>
                  <a:lnTo>
                    <a:pt x="71" y="1"/>
                  </a:lnTo>
                  <a:lnTo>
                    <a:pt x="73" y="1"/>
                  </a:lnTo>
                  <a:lnTo>
                    <a:pt x="73" y="1"/>
                  </a:lnTo>
                  <a:lnTo>
                    <a:pt x="75" y="0"/>
                  </a:lnTo>
                  <a:lnTo>
                    <a:pt x="75" y="3"/>
                  </a:lnTo>
                  <a:lnTo>
                    <a:pt x="75" y="3"/>
                  </a:lnTo>
                  <a:lnTo>
                    <a:pt x="75" y="3"/>
                  </a:lnTo>
                  <a:lnTo>
                    <a:pt x="76" y="3"/>
                  </a:lnTo>
                  <a:lnTo>
                    <a:pt x="76" y="3"/>
                  </a:lnTo>
                  <a:lnTo>
                    <a:pt x="76" y="3"/>
                  </a:lnTo>
                  <a:lnTo>
                    <a:pt x="76" y="3"/>
                  </a:lnTo>
                  <a:lnTo>
                    <a:pt x="78" y="3"/>
                  </a:lnTo>
                  <a:lnTo>
                    <a:pt x="78" y="5"/>
                  </a:lnTo>
                  <a:lnTo>
                    <a:pt x="78" y="5"/>
                  </a:lnTo>
                  <a:lnTo>
                    <a:pt x="78" y="5"/>
                  </a:lnTo>
                  <a:lnTo>
                    <a:pt x="81" y="5"/>
                  </a:lnTo>
                  <a:lnTo>
                    <a:pt x="81" y="5"/>
                  </a:lnTo>
                  <a:lnTo>
                    <a:pt x="82" y="5"/>
                  </a:lnTo>
                  <a:lnTo>
                    <a:pt x="82" y="5"/>
                  </a:lnTo>
                  <a:lnTo>
                    <a:pt x="84" y="5"/>
                  </a:lnTo>
                  <a:lnTo>
                    <a:pt x="84" y="7"/>
                  </a:lnTo>
                  <a:lnTo>
                    <a:pt x="84" y="7"/>
                  </a:lnTo>
                  <a:lnTo>
                    <a:pt x="84" y="7"/>
                  </a:lnTo>
                  <a:lnTo>
                    <a:pt x="84" y="7"/>
                  </a:lnTo>
                  <a:lnTo>
                    <a:pt x="84" y="7"/>
                  </a:lnTo>
                  <a:lnTo>
                    <a:pt x="84" y="7"/>
                  </a:lnTo>
                  <a:lnTo>
                    <a:pt x="84" y="7"/>
                  </a:lnTo>
                  <a:lnTo>
                    <a:pt x="85" y="7"/>
                  </a:lnTo>
                  <a:lnTo>
                    <a:pt x="85" y="7"/>
                  </a:lnTo>
                  <a:lnTo>
                    <a:pt x="85" y="7"/>
                  </a:lnTo>
                  <a:lnTo>
                    <a:pt x="85" y="7"/>
                  </a:lnTo>
                  <a:lnTo>
                    <a:pt x="85" y="7"/>
                  </a:lnTo>
                  <a:lnTo>
                    <a:pt x="85" y="7"/>
                  </a:lnTo>
                  <a:lnTo>
                    <a:pt x="85" y="7"/>
                  </a:lnTo>
                  <a:lnTo>
                    <a:pt x="85" y="7"/>
                  </a:lnTo>
                  <a:lnTo>
                    <a:pt x="87" y="7"/>
                  </a:lnTo>
                  <a:lnTo>
                    <a:pt x="87" y="9"/>
                  </a:lnTo>
                  <a:lnTo>
                    <a:pt x="87" y="9"/>
                  </a:lnTo>
                  <a:lnTo>
                    <a:pt x="87" y="9"/>
                  </a:lnTo>
                  <a:lnTo>
                    <a:pt x="87" y="9"/>
                  </a:lnTo>
                  <a:lnTo>
                    <a:pt x="87" y="10"/>
                  </a:lnTo>
                  <a:lnTo>
                    <a:pt x="87" y="10"/>
                  </a:lnTo>
                  <a:lnTo>
                    <a:pt x="87" y="10"/>
                  </a:lnTo>
                  <a:lnTo>
                    <a:pt x="90" y="10"/>
                  </a:lnTo>
                  <a:lnTo>
                    <a:pt x="90" y="13"/>
                  </a:lnTo>
                  <a:lnTo>
                    <a:pt x="90" y="13"/>
                  </a:lnTo>
                  <a:lnTo>
                    <a:pt x="90" y="13"/>
                  </a:lnTo>
                  <a:lnTo>
                    <a:pt x="92" y="13"/>
                  </a:lnTo>
                  <a:lnTo>
                    <a:pt x="92" y="13"/>
                  </a:lnTo>
                  <a:lnTo>
                    <a:pt x="92" y="13"/>
                  </a:lnTo>
                  <a:lnTo>
                    <a:pt x="92" y="13"/>
                  </a:lnTo>
                  <a:lnTo>
                    <a:pt x="94" y="13"/>
                  </a:lnTo>
                  <a:lnTo>
                    <a:pt x="94" y="15"/>
                  </a:lnTo>
                  <a:lnTo>
                    <a:pt x="94" y="15"/>
                  </a:lnTo>
                  <a:lnTo>
                    <a:pt x="94" y="15"/>
                  </a:lnTo>
                  <a:lnTo>
                    <a:pt x="94" y="15"/>
                  </a:lnTo>
                  <a:lnTo>
                    <a:pt x="94" y="15"/>
                  </a:lnTo>
                  <a:lnTo>
                    <a:pt x="94" y="15"/>
                  </a:lnTo>
                  <a:lnTo>
                    <a:pt x="94" y="15"/>
                  </a:lnTo>
                  <a:lnTo>
                    <a:pt x="96" y="15"/>
                  </a:lnTo>
                  <a:lnTo>
                    <a:pt x="96" y="17"/>
                  </a:lnTo>
                  <a:lnTo>
                    <a:pt x="96" y="17"/>
                  </a:lnTo>
                  <a:lnTo>
                    <a:pt x="96" y="17"/>
                  </a:lnTo>
                  <a:lnTo>
                    <a:pt x="97" y="17"/>
                  </a:lnTo>
                  <a:lnTo>
                    <a:pt x="97" y="17"/>
                  </a:lnTo>
                  <a:lnTo>
                    <a:pt x="97" y="17"/>
                  </a:lnTo>
                  <a:lnTo>
                    <a:pt x="97" y="17"/>
                  </a:lnTo>
                  <a:lnTo>
                    <a:pt x="100" y="17"/>
                  </a:lnTo>
                  <a:lnTo>
                    <a:pt x="100" y="20"/>
                  </a:lnTo>
                  <a:lnTo>
                    <a:pt x="100" y="20"/>
                  </a:lnTo>
                  <a:lnTo>
                    <a:pt x="100" y="20"/>
                  </a:lnTo>
                  <a:lnTo>
                    <a:pt x="100" y="20"/>
                  </a:lnTo>
                  <a:lnTo>
                    <a:pt x="100" y="22"/>
                  </a:lnTo>
                  <a:lnTo>
                    <a:pt x="100" y="22"/>
                  </a:lnTo>
                  <a:lnTo>
                    <a:pt x="100" y="22"/>
                  </a:lnTo>
                  <a:lnTo>
                    <a:pt x="100" y="22"/>
                  </a:lnTo>
                  <a:lnTo>
                    <a:pt x="100" y="24"/>
                  </a:lnTo>
                  <a:lnTo>
                    <a:pt x="100" y="24"/>
                  </a:lnTo>
                  <a:lnTo>
                    <a:pt x="100" y="24"/>
                  </a:lnTo>
                  <a:lnTo>
                    <a:pt x="100" y="24"/>
                  </a:lnTo>
                  <a:lnTo>
                    <a:pt x="100" y="25"/>
                  </a:lnTo>
                  <a:lnTo>
                    <a:pt x="100" y="25"/>
                  </a:lnTo>
                  <a:lnTo>
                    <a:pt x="100" y="25"/>
                  </a:lnTo>
                  <a:lnTo>
                    <a:pt x="102" y="25"/>
                  </a:lnTo>
                  <a:lnTo>
                    <a:pt x="100" y="27"/>
                  </a:lnTo>
                  <a:lnTo>
                    <a:pt x="100" y="27"/>
                  </a:lnTo>
                  <a:lnTo>
                    <a:pt x="100" y="27"/>
                  </a:lnTo>
                  <a:lnTo>
                    <a:pt x="100" y="27"/>
                  </a:lnTo>
                  <a:lnTo>
                    <a:pt x="100" y="29"/>
                  </a:lnTo>
                  <a:lnTo>
                    <a:pt x="100" y="29"/>
                  </a:lnTo>
                  <a:lnTo>
                    <a:pt x="100" y="29"/>
                  </a:lnTo>
                  <a:lnTo>
                    <a:pt x="100" y="29"/>
                  </a:lnTo>
                  <a:lnTo>
                    <a:pt x="98" y="32"/>
                  </a:lnTo>
                  <a:lnTo>
                    <a:pt x="98" y="32"/>
                  </a:lnTo>
                  <a:lnTo>
                    <a:pt x="98" y="32"/>
                  </a:lnTo>
                  <a:lnTo>
                    <a:pt x="98" y="32"/>
                  </a:lnTo>
                  <a:lnTo>
                    <a:pt x="98" y="32"/>
                  </a:lnTo>
                  <a:lnTo>
                    <a:pt x="98" y="32"/>
                  </a:lnTo>
                  <a:lnTo>
                    <a:pt x="98" y="32"/>
                  </a:lnTo>
                  <a:lnTo>
                    <a:pt x="98" y="32"/>
                  </a:lnTo>
                  <a:lnTo>
                    <a:pt x="96" y="34"/>
                  </a:lnTo>
                  <a:lnTo>
                    <a:pt x="96" y="34"/>
                  </a:lnTo>
                  <a:lnTo>
                    <a:pt x="96" y="34"/>
                  </a:lnTo>
                  <a:lnTo>
                    <a:pt x="96" y="34"/>
                  </a:lnTo>
                  <a:lnTo>
                    <a:pt x="93" y="36"/>
                  </a:lnTo>
                  <a:lnTo>
                    <a:pt x="93" y="36"/>
                  </a:lnTo>
                  <a:lnTo>
                    <a:pt x="93" y="36"/>
                  </a:lnTo>
                  <a:lnTo>
                    <a:pt x="93" y="36"/>
                  </a:lnTo>
                  <a:lnTo>
                    <a:pt x="91" y="38"/>
                  </a:lnTo>
                  <a:lnTo>
                    <a:pt x="91" y="38"/>
                  </a:lnTo>
                  <a:lnTo>
                    <a:pt x="91" y="38"/>
                  </a:lnTo>
                  <a:lnTo>
                    <a:pt x="91" y="38"/>
                  </a:lnTo>
                  <a:lnTo>
                    <a:pt x="91" y="39"/>
                  </a:lnTo>
                  <a:lnTo>
                    <a:pt x="91" y="39"/>
                  </a:lnTo>
                  <a:lnTo>
                    <a:pt x="91" y="39"/>
                  </a:lnTo>
                  <a:lnTo>
                    <a:pt x="91" y="39"/>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1"/>
                  </a:lnTo>
                  <a:lnTo>
                    <a:pt x="90" y="44"/>
                  </a:lnTo>
                  <a:lnTo>
                    <a:pt x="90" y="46"/>
                  </a:lnTo>
                  <a:lnTo>
                    <a:pt x="90" y="48"/>
                  </a:lnTo>
                  <a:lnTo>
                    <a:pt x="91" y="48"/>
                  </a:lnTo>
                  <a:lnTo>
                    <a:pt x="91" y="50"/>
                  </a:lnTo>
                  <a:lnTo>
                    <a:pt x="91" y="52"/>
                  </a:lnTo>
                  <a:lnTo>
                    <a:pt x="91" y="54"/>
                  </a:lnTo>
                  <a:lnTo>
                    <a:pt x="93" y="54"/>
                  </a:lnTo>
                  <a:lnTo>
                    <a:pt x="93" y="56"/>
                  </a:lnTo>
                  <a:lnTo>
                    <a:pt x="93" y="58"/>
                  </a:lnTo>
                  <a:lnTo>
                    <a:pt x="93" y="61"/>
                  </a:lnTo>
                  <a:lnTo>
                    <a:pt x="96" y="61"/>
                  </a:lnTo>
                  <a:lnTo>
                    <a:pt x="96" y="63"/>
                  </a:lnTo>
                  <a:lnTo>
                    <a:pt x="96" y="63"/>
                  </a:lnTo>
                  <a:lnTo>
                    <a:pt x="96" y="65"/>
                  </a:lnTo>
                  <a:lnTo>
                    <a:pt x="98" y="65"/>
                  </a:lnTo>
                  <a:lnTo>
                    <a:pt x="98" y="68"/>
                  </a:lnTo>
                  <a:lnTo>
                    <a:pt x="98" y="68"/>
                  </a:lnTo>
                  <a:lnTo>
                    <a:pt x="98" y="68"/>
                  </a:lnTo>
                  <a:lnTo>
                    <a:pt x="99" y="68"/>
                  </a:lnTo>
                  <a:lnTo>
                    <a:pt x="99" y="70"/>
                  </a:lnTo>
                  <a:lnTo>
                    <a:pt x="99" y="70"/>
                  </a:lnTo>
                  <a:lnTo>
                    <a:pt x="99" y="70"/>
                  </a:lnTo>
                  <a:lnTo>
                    <a:pt x="100" y="70"/>
                  </a:lnTo>
                  <a:lnTo>
                    <a:pt x="100" y="72"/>
                  </a:lnTo>
                  <a:lnTo>
                    <a:pt x="100" y="72"/>
                  </a:lnTo>
                  <a:lnTo>
                    <a:pt x="100" y="72"/>
                  </a:lnTo>
                  <a:lnTo>
                    <a:pt x="101" y="72"/>
                  </a:lnTo>
                  <a:lnTo>
                    <a:pt x="101" y="73"/>
                  </a:lnTo>
                  <a:lnTo>
                    <a:pt x="101" y="73"/>
                  </a:lnTo>
                  <a:lnTo>
                    <a:pt x="101" y="73"/>
                  </a:lnTo>
                  <a:lnTo>
                    <a:pt x="103" y="73"/>
                  </a:lnTo>
                  <a:lnTo>
                    <a:pt x="101" y="75"/>
                  </a:lnTo>
                  <a:lnTo>
                    <a:pt x="100" y="75"/>
                  </a:lnTo>
                  <a:lnTo>
                    <a:pt x="98" y="77"/>
                  </a:lnTo>
                  <a:lnTo>
                    <a:pt x="98" y="77"/>
                  </a:lnTo>
                  <a:lnTo>
                    <a:pt x="96" y="79"/>
                  </a:lnTo>
                  <a:lnTo>
                    <a:pt x="96" y="79"/>
                  </a:lnTo>
                  <a:lnTo>
                    <a:pt x="95" y="80"/>
                  </a:lnTo>
                  <a:lnTo>
                    <a:pt x="95" y="80"/>
                  </a:lnTo>
                  <a:lnTo>
                    <a:pt x="92" y="82"/>
                  </a:lnTo>
                  <a:lnTo>
                    <a:pt x="92" y="82"/>
                  </a:lnTo>
                  <a:lnTo>
                    <a:pt x="92" y="85"/>
                  </a:lnTo>
                  <a:lnTo>
                    <a:pt x="92" y="85"/>
                  </a:lnTo>
                  <a:lnTo>
                    <a:pt x="91" y="87"/>
                  </a:lnTo>
                  <a:lnTo>
                    <a:pt x="91" y="87"/>
                  </a:lnTo>
                  <a:lnTo>
                    <a:pt x="91" y="89"/>
                  </a:lnTo>
                  <a:lnTo>
                    <a:pt x="91" y="89"/>
                  </a:lnTo>
                  <a:lnTo>
                    <a:pt x="91" y="91"/>
                  </a:lnTo>
                  <a:lnTo>
                    <a:pt x="91" y="91"/>
                  </a:lnTo>
                  <a:lnTo>
                    <a:pt x="91" y="93"/>
                  </a:lnTo>
                  <a:lnTo>
                    <a:pt x="91" y="93"/>
                  </a:lnTo>
                  <a:lnTo>
                    <a:pt x="91" y="95"/>
                  </a:lnTo>
                  <a:lnTo>
                    <a:pt x="91" y="95"/>
                  </a:lnTo>
                  <a:lnTo>
                    <a:pt x="91" y="95"/>
                  </a:lnTo>
                  <a:lnTo>
                    <a:pt x="92" y="95"/>
                  </a:lnTo>
                  <a:lnTo>
                    <a:pt x="92" y="97"/>
                  </a:lnTo>
                  <a:lnTo>
                    <a:pt x="92" y="97"/>
                  </a:lnTo>
                  <a:lnTo>
                    <a:pt x="92" y="98"/>
                  </a:lnTo>
                  <a:lnTo>
                    <a:pt x="92" y="98"/>
                  </a:lnTo>
                  <a:lnTo>
                    <a:pt x="92" y="100"/>
                  </a:lnTo>
                  <a:lnTo>
                    <a:pt x="92" y="100"/>
                  </a:lnTo>
                  <a:lnTo>
                    <a:pt x="92" y="100"/>
                  </a:lnTo>
                  <a:lnTo>
                    <a:pt x="95" y="100"/>
                  </a:lnTo>
                  <a:lnTo>
                    <a:pt x="95" y="102"/>
                  </a:lnTo>
                  <a:lnTo>
                    <a:pt x="95" y="102"/>
                  </a:lnTo>
                  <a:lnTo>
                    <a:pt x="95" y="102"/>
                  </a:lnTo>
                  <a:lnTo>
                    <a:pt x="96" y="102"/>
                  </a:lnTo>
                  <a:lnTo>
                    <a:pt x="96" y="104"/>
                  </a:lnTo>
                  <a:lnTo>
                    <a:pt x="96" y="104"/>
                  </a:lnTo>
                  <a:lnTo>
                    <a:pt x="96" y="104"/>
                  </a:lnTo>
                  <a:lnTo>
                    <a:pt x="96" y="104"/>
                  </a:lnTo>
                  <a:lnTo>
                    <a:pt x="96" y="106"/>
                  </a:lnTo>
                  <a:lnTo>
                    <a:pt x="96" y="106"/>
                  </a:lnTo>
                  <a:lnTo>
                    <a:pt x="96" y="106"/>
                  </a:lnTo>
                  <a:lnTo>
                    <a:pt x="96" y="106"/>
                  </a:lnTo>
                  <a:lnTo>
                    <a:pt x="96" y="109"/>
                  </a:lnTo>
                  <a:lnTo>
                    <a:pt x="96" y="109"/>
                  </a:lnTo>
                  <a:lnTo>
                    <a:pt x="96" y="109"/>
                  </a:lnTo>
                  <a:lnTo>
                    <a:pt x="98" y="109"/>
                  </a:lnTo>
                  <a:lnTo>
                    <a:pt x="97" y="111"/>
                  </a:lnTo>
                  <a:lnTo>
                    <a:pt x="97" y="111"/>
                  </a:lnTo>
                  <a:lnTo>
                    <a:pt x="97" y="111"/>
                  </a:lnTo>
                  <a:lnTo>
                    <a:pt x="97" y="111"/>
                  </a:lnTo>
                  <a:lnTo>
                    <a:pt x="97" y="113"/>
                  </a:lnTo>
                  <a:lnTo>
                    <a:pt x="97" y="113"/>
                  </a:lnTo>
                  <a:lnTo>
                    <a:pt x="97" y="113"/>
                  </a:lnTo>
                  <a:lnTo>
                    <a:pt x="97" y="113"/>
                  </a:lnTo>
                  <a:lnTo>
                    <a:pt x="97" y="115"/>
                  </a:lnTo>
                  <a:lnTo>
                    <a:pt x="97" y="115"/>
                  </a:lnTo>
                  <a:lnTo>
                    <a:pt x="97" y="115"/>
                  </a:lnTo>
                  <a:lnTo>
                    <a:pt x="97" y="115"/>
                  </a:lnTo>
                  <a:lnTo>
                    <a:pt x="97" y="116"/>
                  </a:lnTo>
                  <a:lnTo>
                    <a:pt x="97" y="116"/>
                  </a:lnTo>
                  <a:lnTo>
                    <a:pt x="97" y="116"/>
                  </a:lnTo>
                  <a:lnTo>
                    <a:pt x="97" y="116"/>
                  </a:lnTo>
                  <a:lnTo>
                    <a:pt x="96" y="118"/>
                  </a:lnTo>
                  <a:lnTo>
                    <a:pt x="96" y="118"/>
                  </a:lnTo>
                  <a:lnTo>
                    <a:pt x="96" y="118"/>
                  </a:lnTo>
                  <a:lnTo>
                    <a:pt x="96" y="118"/>
                  </a:lnTo>
                  <a:lnTo>
                    <a:pt x="96" y="118"/>
                  </a:lnTo>
                  <a:lnTo>
                    <a:pt x="96" y="118"/>
                  </a:lnTo>
                  <a:lnTo>
                    <a:pt x="96" y="118"/>
                  </a:lnTo>
                  <a:lnTo>
                    <a:pt x="96" y="118"/>
                  </a:lnTo>
                  <a:lnTo>
                    <a:pt x="96" y="121"/>
                  </a:lnTo>
                  <a:lnTo>
                    <a:pt x="96" y="121"/>
                  </a:lnTo>
                  <a:lnTo>
                    <a:pt x="96" y="121"/>
                  </a:lnTo>
                  <a:lnTo>
                    <a:pt x="96" y="121"/>
                  </a:lnTo>
                  <a:lnTo>
                    <a:pt x="96" y="121"/>
                  </a:lnTo>
                  <a:lnTo>
                    <a:pt x="96" y="121"/>
                  </a:lnTo>
                  <a:lnTo>
                    <a:pt x="96" y="121"/>
                  </a:lnTo>
                  <a:lnTo>
                    <a:pt x="96" y="121"/>
                  </a:lnTo>
                  <a:lnTo>
                    <a:pt x="96" y="123"/>
                  </a:lnTo>
                  <a:lnTo>
                    <a:pt x="96" y="125"/>
                  </a:lnTo>
                  <a:lnTo>
                    <a:pt x="96" y="127"/>
                  </a:lnTo>
                  <a:lnTo>
                    <a:pt x="96" y="127"/>
                  </a:lnTo>
                  <a:lnTo>
                    <a:pt x="96" y="129"/>
                  </a:lnTo>
                  <a:lnTo>
                    <a:pt x="96" y="129"/>
                  </a:lnTo>
                  <a:lnTo>
                    <a:pt x="96" y="131"/>
                  </a:lnTo>
                  <a:lnTo>
                    <a:pt x="97" y="131"/>
                  </a:lnTo>
                  <a:lnTo>
                    <a:pt x="97" y="133"/>
                  </a:lnTo>
                  <a:lnTo>
                    <a:pt x="97" y="135"/>
                  </a:lnTo>
                  <a:lnTo>
                    <a:pt x="97" y="137"/>
                  </a:lnTo>
                  <a:lnTo>
                    <a:pt x="100" y="137"/>
                  </a:lnTo>
                  <a:lnTo>
                    <a:pt x="100" y="139"/>
                  </a:lnTo>
                  <a:lnTo>
                    <a:pt x="100" y="139"/>
                  </a:lnTo>
                  <a:lnTo>
                    <a:pt x="100" y="141"/>
                  </a:lnTo>
                  <a:lnTo>
                    <a:pt x="102" y="141"/>
                  </a:lnTo>
                  <a:lnTo>
                    <a:pt x="102" y="143"/>
                  </a:lnTo>
                  <a:lnTo>
                    <a:pt x="102" y="143"/>
                  </a:lnTo>
                  <a:lnTo>
                    <a:pt x="102" y="145"/>
                  </a:lnTo>
                  <a:lnTo>
                    <a:pt x="102" y="145"/>
                  </a:lnTo>
                  <a:lnTo>
                    <a:pt x="102" y="147"/>
                  </a:lnTo>
                  <a:lnTo>
                    <a:pt x="102" y="147"/>
                  </a:lnTo>
                  <a:lnTo>
                    <a:pt x="102" y="150"/>
                  </a:lnTo>
                  <a:lnTo>
                    <a:pt x="102" y="150"/>
                  </a:lnTo>
                  <a:lnTo>
                    <a:pt x="102" y="152"/>
                  </a:lnTo>
                  <a:lnTo>
                    <a:pt x="102" y="152"/>
                  </a:lnTo>
                  <a:lnTo>
                    <a:pt x="102" y="154"/>
                  </a:lnTo>
                  <a:lnTo>
                    <a:pt x="102" y="154"/>
                  </a:lnTo>
                  <a:lnTo>
                    <a:pt x="102" y="156"/>
                  </a:lnTo>
                  <a:lnTo>
                    <a:pt x="102" y="156"/>
                  </a:lnTo>
                  <a:lnTo>
                    <a:pt x="102" y="157"/>
                  </a:lnTo>
                  <a:lnTo>
                    <a:pt x="104" y="157"/>
                  </a:lnTo>
                  <a:lnTo>
                    <a:pt x="104" y="159"/>
                  </a:lnTo>
                  <a:lnTo>
                    <a:pt x="104" y="159"/>
                  </a:lnTo>
                  <a:lnTo>
                    <a:pt x="104" y="159"/>
                  </a:lnTo>
                  <a:lnTo>
                    <a:pt x="104" y="159"/>
                  </a:lnTo>
                  <a:lnTo>
                    <a:pt x="104" y="161"/>
                  </a:lnTo>
                  <a:lnTo>
                    <a:pt x="104" y="161"/>
                  </a:lnTo>
                  <a:lnTo>
                    <a:pt x="104" y="161"/>
                  </a:lnTo>
                  <a:lnTo>
                    <a:pt x="104" y="161"/>
                  </a:lnTo>
                  <a:lnTo>
                    <a:pt x="104" y="163"/>
                  </a:lnTo>
                  <a:lnTo>
                    <a:pt x="104" y="163"/>
                  </a:lnTo>
                  <a:lnTo>
                    <a:pt x="104" y="163"/>
                  </a:lnTo>
                  <a:lnTo>
                    <a:pt x="104" y="163"/>
                  </a:lnTo>
                  <a:lnTo>
                    <a:pt x="104" y="163"/>
                  </a:lnTo>
                  <a:lnTo>
                    <a:pt x="104" y="163"/>
                  </a:lnTo>
                  <a:lnTo>
                    <a:pt x="104" y="163"/>
                  </a:lnTo>
                  <a:lnTo>
                    <a:pt x="105" y="163"/>
                  </a:lnTo>
                  <a:lnTo>
                    <a:pt x="104" y="165"/>
                  </a:lnTo>
                  <a:lnTo>
                    <a:pt x="104" y="165"/>
                  </a:lnTo>
                  <a:lnTo>
                    <a:pt x="104" y="167"/>
                  </a:lnTo>
                  <a:lnTo>
                    <a:pt x="104" y="167"/>
                  </a:lnTo>
                  <a:lnTo>
                    <a:pt x="104" y="169"/>
                  </a:lnTo>
                  <a:lnTo>
                    <a:pt x="104" y="169"/>
                  </a:lnTo>
                  <a:lnTo>
                    <a:pt x="104" y="171"/>
                  </a:lnTo>
                  <a:lnTo>
                    <a:pt x="104" y="171"/>
                  </a:lnTo>
                  <a:lnTo>
                    <a:pt x="103" y="173"/>
                  </a:lnTo>
                  <a:lnTo>
                    <a:pt x="103" y="173"/>
                  </a:lnTo>
                  <a:lnTo>
                    <a:pt x="103" y="175"/>
                  </a:lnTo>
                  <a:lnTo>
                    <a:pt x="103" y="175"/>
                  </a:lnTo>
                  <a:lnTo>
                    <a:pt x="103" y="177"/>
                  </a:lnTo>
                  <a:lnTo>
                    <a:pt x="103" y="177"/>
                  </a:lnTo>
                  <a:lnTo>
                    <a:pt x="103" y="178"/>
                  </a:lnTo>
                  <a:lnTo>
                    <a:pt x="103" y="178"/>
                  </a:lnTo>
                  <a:lnTo>
                    <a:pt x="102" y="180"/>
                  </a:lnTo>
                  <a:lnTo>
                    <a:pt x="102" y="180"/>
                  </a:lnTo>
                  <a:lnTo>
                    <a:pt x="102" y="180"/>
                  </a:lnTo>
                  <a:lnTo>
                    <a:pt x="102" y="180"/>
                  </a:lnTo>
                  <a:lnTo>
                    <a:pt x="102" y="180"/>
                  </a:lnTo>
                  <a:lnTo>
                    <a:pt x="102" y="180"/>
                  </a:lnTo>
                  <a:lnTo>
                    <a:pt x="102" y="180"/>
                  </a:lnTo>
                  <a:lnTo>
                    <a:pt x="102" y="180"/>
                  </a:lnTo>
                  <a:lnTo>
                    <a:pt x="102" y="181"/>
                  </a:lnTo>
                  <a:lnTo>
                    <a:pt x="102" y="181"/>
                  </a:lnTo>
                  <a:lnTo>
                    <a:pt x="102" y="181"/>
                  </a:lnTo>
                  <a:lnTo>
                    <a:pt x="102" y="181"/>
                  </a:lnTo>
                  <a:lnTo>
                    <a:pt x="102" y="181"/>
                  </a:lnTo>
                  <a:lnTo>
                    <a:pt x="102" y="181"/>
                  </a:lnTo>
                  <a:lnTo>
                    <a:pt x="102" y="181"/>
                  </a:lnTo>
                  <a:lnTo>
                    <a:pt x="102" y="181"/>
                  </a:lnTo>
                  <a:lnTo>
                    <a:pt x="100" y="183"/>
                  </a:lnTo>
                  <a:lnTo>
                    <a:pt x="100" y="183"/>
                  </a:lnTo>
                  <a:lnTo>
                    <a:pt x="100" y="183"/>
                  </a:lnTo>
                  <a:lnTo>
                    <a:pt x="100" y="183"/>
                  </a:lnTo>
                  <a:lnTo>
                    <a:pt x="100" y="185"/>
                  </a:lnTo>
                  <a:lnTo>
                    <a:pt x="100" y="185"/>
                  </a:lnTo>
                  <a:lnTo>
                    <a:pt x="100" y="185"/>
                  </a:lnTo>
                  <a:lnTo>
                    <a:pt x="100" y="185"/>
                  </a:lnTo>
                  <a:lnTo>
                    <a:pt x="100" y="187"/>
                  </a:lnTo>
                  <a:lnTo>
                    <a:pt x="100" y="187"/>
                  </a:lnTo>
                  <a:lnTo>
                    <a:pt x="100" y="187"/>
                  </a:lnTo>
                  <a:lnTo>
                    <a:pt x="100" y="187"/>
                  </a:lnTo>
                  <a:lnTo>
                    <a:pt x="100" y="189"/>
                  </a:lnTo>
                  <a:lnTo>
                    <a:pt x="100" y="189"/>
                  </a:lnTo>
                  <a:lnTo>
                    <a:pt x="100" y="189"/>
                  </a:lnTo>
                  <a:lnTo>
                    <a:pt x="100" y="189"/>
                  </a:lnTo>
                  <a:lnTo>
                    <a:pt x="97" y="191"/>
                  </a:lnTo>
                  <a:lnTo>
                    <a:pt x="97" y="191"/>
                  </a:lnTo>
                  <a:lnTo>
                    <a:pt x="97" y="191"/>
                  </a:lnTo>
                  <a:lnTo>
                    <a:pt x="97" y="191"/>
                  </a:lnTo>
                  <a:lnTo>
                    <a:pt x="97" y="191"/>
                  </a:lnTo>
                  <a:lnTo>
                    <a:pt x="97" y="191"/>
                  </a:lnTo>
                  <a:lnTo>
                    <a:pt x="97" y="191"/>
                  </a:lnTo>
                  <a:lnTo>
                    <a:pt x="97" y="191"/>
                  </a:lnTo>
                  <a:lnTo>
                    <a:pt x="97" y="192"/>
                  </a:lnTo>
                  <a:lnTo>
                    <a:pt x="97" y="192"/>
                  </a:lnTo>
                  <a:lnTo>
                    <a:pt x="97" y="192"/>
                  </a:lnTo>
                  <a:lnTo>
                    <a:pt x="97" y="192"/>
                  </a:lnTo>
                  <a:lnTo>
                    <a:pt x="97" y="192"/>
                  </a:lnTo>
                  <a:lnTo>
                    <a:pt x="97" y="192"/>
                  </a:lnTo>
                  <a:lnTo>
                    <a:pt x="97" y="192"/>
                  </a:lnTo>
                  <a:lnTo>
                    <a:pt x="97" y="192"/>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3"/>
                  </a:lnTo>
                  <a:lnTo>
                    <a:pt x="96" y="195"/>
                  </a:lnTo>
                  <a:lnTo>
                    <a:pt x="96" y="195"/>
                  </a:lnTo>
                  <a:lnTo>
                    <a:pt x="96" y="195"/>
                  </a:lnTo>
                  <a:lnTo>
                    <a:pt x="96" y="195"/>
                  </a:lnTo>
                  <a:lnTo>
                    <a:pt x="96" y="196"/>
                  </a:lnTo>
                  <a:lnTo>
                    <a:pt x="96" y="196"/>
                  </a:lnTo>
                  <a:lnTo>
                    <a:pt x="96" y="196"/>
                  </a:lnTo>
                  <a:lnTo>
                    <a:pt x="96" y="196"/>
                  </a:lnTo>
                  <a:lnTo>
                    <a:pt x="96" y="198"/>
                  </a:lnTo>
                  <a:lnTo>
                    <a:pt x="96" y="198"/>
                  </a:lnTo>
                  <a:lnTo>
                    <a:pt x="96" y="198"/>
                  </a:lnTo>
                  <a:lnTo>
                    <a:pt x="96" y="198"/>
                  </a:lnTo>
                  <a:lnTo>
                    <a:pt x="96" y="198"/>
                  </a:lnTo>
                  <a:lnTo>
                    <a:pt x="96" y="198"/>
                  </a:lnTo>
                  <a:lnTo>
                    <a:pt x="96" y="198"/>
                  </a:lnTo>
                  <a:lnTo>
                    <a:pt x="96" y="198"/>
                  </a:lnTo>
                  <a:lnTo>
                    <a:pt x="96" y="200"/>
                  </a:lnTo>
                  <a:lnTo>
                    <a:pt x="96" y="200"/>
                  </a:lnTo>
                  <a:lnTo>
                    <a:pt x="96" y="203"/>
                  </a:lnTo>
                  <a:lnTo>
                    <a:pt x="96" y="203"/>
                  </a:lnTo>
                  <a:lnTo>
                    <a:pt x="96" y="205"/>
                  </a:lnTo>
                  <a:lnTo>
                    <a:pt x="96" y="205"/>
                  </a:lnTo>
                  <a:lnTo>
                    <a:pt x="96" y="205"/>
                  </a:lnTo>
                  <a:lnTo>
                    <a:pt x="96" y="205"/>
                  </a:lnTo>
                  <a:lnTo>
                    <a:pt x="95" y="207"/>
                  </a:lnTo>
                  <a:lnTo>
                    <a:pt x="95" y="207"/>
                  </a:lnTo>
                  <a:lnTo>
                    <a:pt x="95" y="208"/>
                  </a:lnTo>
                  <a:lnTo>
                    <a:pt x="95" y="208"/>
                  </a:lnTo>
                  <a:lnTo>
                    <a:pt x="95" y="210"/>
                  </a:lnTo>
                  <a:lnTo>
                    <a:pt x="95" y="210"/>
                  </a:lnTo>
                  <a:lnTo>
                    <a:pt x="95" y="210"/>
                  </a:lnTo>
                  <a:lnTo>
                    <a:pt x="95" y="210"/>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3" y="211"/>
                  </a:lnTo>
                  <a:lnTo>
                    <a:pt x="91" y="213"/>
                  </a:lnTo>
                  <a:lnTo>
                    <a:pt x="91" y="213"/>
                  </a:lnTo>
                  <a:lnTo>
                    <a:pt x="91" y="213"/>
                  </a:lnTo>
                  <a:lnTo>
                    <a:pt x="91" y="213"/>
                  </a:lnTo>
                  <a:lnTo>
                    <a:pt x="90" y="215"/>
                  </a:lnTo>
                  <a:lnTo>
                    <a:pt x="90" y="215"/>
                  </a:lnTo>
                  <a:lnTo>
                    <a:pt x="90" y="215"/>
                  </a:lnTo>
                  <a:lnTo>
                    <a:pt x="90" y="215"/>
                  </a:lnTo>
                  <a:lnTo>
                    <a:pt x="87" y="217"/>
                  </a:lnTo>
                  <a:lnTo>
                    <a:pt x="87" y="217"/>
                  </a:lnTo>
                  <a:lnTo>
                    <a:pt x="87" y="217"/>
                  </a:lnTo>
                  <a:lnTo>
                    <a:pt x="87" y="217"/>
                  </a:lnTo>
                  <a:lnTo>
                    <a:pt x="87" y="217"/>
                  </a:lnTo>
                  <a:lnTo>
                    <a:pt x="87" y="217"/>
                  </a:lnTo>
                  <a:lnTo>
                    <a:pt x="87" y="217"/>
                  </a:lnTo>
                  <a:lnTo>
                    <a:pt x="87" y="217"/>
                  </a:lnTo>
                  <a:lnTo>
                    <a:pt x="86" y="219"/>
                  </a:lnTo>
                  <a:lnTo>
                    <a:pt x="86" y="219"/>
                  </a:lnTo>
                  <a:lnTo>
                    <a:pt x="86" y="220"/>
                  </a:lnTo>
                  <a:lnTo>
                    <a:pt x="86" y="220"/>
                  </a:lnTo>
                  <a:lnTo>
                    <a:pt x="86" y="222"/>
                  </a:lnTo>
                  <a:lnTo>
                    <a:pt x="86" y="222"/>
                  </a:lnTo>
                  <a:lnTo>
                    <a:pt x="86" y="222"/>
                  </a:lnTo>
                  <a:lnTo>
                    <a:pt x="86" y="222"/>
                  </a:lnTo>
                  <a:lnTo>
                    <a:pt x="85" y="224"/>
                  </a:lnTo>
                  <a:lnTo>
                    <a:pt x="85" y="224"/>
                  </a:lnTo>
                  <a:lnTo>
                    <a:pt x="85" y="224"/>
                  </a:lnTo>
                  <a:lnTo>
                    <a:pt x="85" y="224"/>
                  </a:lnTo>
                  <a:lnTo>
                    <a:pt x="85" y="227"/>
                  </a:lnTo>
                  <a:lnTo>
                    <a:pt x="85" y="227"/>
                  </a:lnTo>
                  <a:lnTo>
                    <a:pt x="85" y="227"/>
                  </a:lnTo>
                  <a:lnTo>
                    <a:pt x="85"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3" y="227"/>
                  </a:lnTo>
                  <a:lnTo>
                    <a:pt x="81" y="229"/>
                  </a:lnTo>
                  <a:lnTo>
                    <a:pt x="81" y="229"/>
                  </a:lnTo>
                  <a:lnTo>
                    <a:pt x="81" y="229"/>
                  </a:lnTo>
                  <a:lnTo>
                    <a:pt x="81" y="229"/>
                  </a:lnTo>
                  <a:lnTo>
                    <a:pt x="81" y="229"/>
                  </a:lnTo>
                  <a:lnTo>
                    <a:pt x="81" y="229"/>
                  </a:lnTo>
                  <a:lnTo>
                    <a:pt x="81" y="229"/>
                  </a:lnTo>
                  <a:lnTo>
                    <a:pt x="81" y="229"/>
                  </a:lnTo>
                  <a:lnTo>
                    <a:pt x="79" y="230"/>
                  </a:lnTo>
                  <a:lnTo>
                    <a:pt x="79" y="230"/>
                  </a:lnTo>
                  <a:lnTo>
                    <a:pt x="79" y="230"/>
                  </a:lnTo>
                  <a:lnTo>
                    <a:pt x="79" y="230"/>
                  </a:lnTo>
                  <a:lnTo>
                    <a:pt x="79" y="230"/>
                  </a:lnTo>
                  <a:lnTo>
                    <a:pt x="79" y="230"/>
                  </a:lnTo>
                  <a:lnTo>
                    <a:pt x="79" y="230"/>
                  </a:lnTo>
                  <a:lnTo>
                    <a:pt x="79" y="230"/>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2"/>
                  </a:lnTo>
                  <a:lnTo>
                    <a:pt x="78" y="234"/>
                  </a:lnTo>
                  <a:lnTo>
                    <a:pt x="78" y="234"/>
                  </a:lnTo>
                  <a:lnTo>
                    <a:pt x="78" y="236"/>
                  </a:lnTo>
                  <a:lnTo>
                    <a:pt x="78" y="236"/>
                  </a:lnTo>
                  <a:lnTo>
                    <a:pt x="78" y="238"/>
                  </a:lnTo>
                  <a:lnTo>
                    <a:pt x="78" y="238"/>
                  </a:lnTo>
                  <a:lnTo>
                    <a:pt x="78" y="241"/>
                  </a:lnTo>
                  <a:lnTo>
                    <a:pt x="78" y="241"/>
                  </a:lnTo>
                  <a:lnTo>
                    <a:pt x="78" y="243"/>
                  </a:lnTo>
                  <a:lnTo>
                    <a:pt x="78" y="243"/>
                  </a:lnTo>
                  <a:lnTo>
                    <a:pt x="78" y="245"/>
                  </a:lnTo>
                  <a:lnTo>
                    <a:pt x="78" y="245"/>
                  </a:lnTo>
                  <a:lnTo>
                    <a:pt x="78" y="247"/>
                  </a:lnTo>
                  <a:lnTo>
                    <a:pt x="78" y="247"/>
                  </a:lnTo>
                  <a:lnTo>
                    <a:pt x="78" y="249"/>
                  </a:lnTo>
                  <a:lnTo>
                    <a:pt x="78" y="249"/>
                  </a:lnTo>
                  <a:lnTo>
                    <a:pt x="76" y="251"/>
                  </a:lnTo>
                  <a:lnTo>
                    <a:pt x="76" y="251"/>
                  </a:lnTo>
                  <a:lnTo>
                    <a:pt x="76" y="251"/>
                  </a:lnTo>
                  <a:lnTo>
                    <a:pt x="76" y="251"/>
                  </a:lnTo>
                  <a:lnTo>
                    <a:pt x="76" y="253"/>
                  </a:lnTo>
                  <a:lnTo>
                    <a:pt x="76" y="253"/>
                  </a:lnTo>
                  <a:lnTo>
                    <a:pt x="76" y="253"/>
                  </a:lnTo>
                  <a:lnTo>
                    <a:pt x="76" y="253"/>
                  </a:lnTo>
                  <a:lnTo>
                    <a:pt x="73" y="255"/>
                  </a:lnTo>
                  <a:lnTo>
                    <a:pt x="73" y="255"/>
                  </a:lnTo>
                  <a:lnTo>
                    <a:pt x="73" y="255"/>
                  </a:lnTo>
                  <a:lnTo>
                    <a:pt x="73" y="255"/>
                  </a:lnTo>
                  <a:lnTo>
                    <a:pt x="73" y="256"/>
                  </a:lnTo>
                  <a:lnTo>
                    <a:pt x="73" y="256"/>
                  </a:lnTo>
                  <a:lnTo>
                    <a:pt x="73" y="256"/>
                  </a:lnTo>
                  <a:lnTo>
                    <a:pt x="73" y="256"/>
                  </a:lnTo>
                  <a:lnTo>
                    <a:pt x="72" y="258"/>
                  </a:lnTo>
                  <a:lnTo>
                    <a:pt x="72" y="258"/>
                  </a:lnTo>
                  <a:lnTo>
                    <a:pt x="72" y="258"/>
                  </a:lnTo>
                  <a:lnTo>
                    <a:pt x="72" y="258"/>
                  </a:lnTo>
                  <a:lnTo>
                    <a:pt x="71" y="260"/>
                  </a:lnTo>
                  <a:lnTo>
                    <a:pt x="71" y="260"/>
                  </a:lnTo>
                  <a:lnTo>
                    <a:pt x="71" y="260"/>
                  </a:lnTo>
                  <a:lnTo>
                    <a:pt x="71" y="260"/>
                  </a:lnTo>
                  <a:lnTo>
                    <a:pt x="70" y="262"/>
                  </a:lnTo>
                  <a:lnTo>
                    <a:pt x="70" y="262"/>
                  </a:lnTo>
                  <a:lnTo>
                    <a:pt x="70" y="262"/>
                  </a:lnTo>
                  <a:lnTo>
                    <a:pt x="70" y="262"/>
                  </a:lnTo>
                  <a:lnTo>
                    <a:pt x="70" y="263"/>
                  </a:lnTo>
                  <a:lnTo>
                    <a:pt x="70" y="263"/>
                  </a:lnTo>
                  <a:lnTo>
                    <a:pt x="70" y="263"/>
                  </a:lnTo>
                  <a:lnTo>
                    <a:pt x="70" y="263"/>
                  </a:lnTo>
                  <a:lnTo>
                    <a:pt x="70" y="265"/>
                  </a:lnTo>
                  <a:lnTo>
                    <a:pt x="70" y="265"/>
                  </a:lnTo>
                  <a:lnTo>
                    <a:pt x="70" y="267"/>
                  </a:lnTo>
                  <a:lnTo>
                    <a:pt x="70" y="267"/>
                  </a:lnTo>
                  <a:lnTo>
                    <a:pt x="70" y="270"/>
                  </a:lnTo>
                  <a:lnTo>
                    <a:pt x="70" y="270"/>
                  </a:lnTo>
                  <a:lnTo>
                    <a:pt x="70" y="271"/>
                  </a:lnTo>
                  <a:lnTo>
                    <a:pt x="71" y="271"/>
                  </a:lnTo>
                  <a:lnTo>
                    <a:pt x="71" y="273"/>
                  </a:lnTo>
                  <a:lnTo>
                    <a:pt x="71" y="273"/>
                  </a:lnTo>
                  <a:lnTo>
                    <a:pt x="71" y="275"/>
                  </a:lnTo>
                  <a:lnTo>
                    <a:pt x="72" y="275"/>
                  </a:lnTo>
                  <a:lnTo>
                    <a:pt x="72" y="277"/>
                  </a:lnTo>
                  <a:lnTo>
                    <a:pt x="72" y="277"/>
                  </a:lnTo>
                  <a:lnTo>
                    <a:pt x="72" y="277"/>
                  </a:lnTo>
                  <a:lnTo>
                    <a:pt x="73" y="277"/>
                  </a:lnTo>
                  <a:lnTo>
                    <a:pt x="73" y="280"/>
                  </a:lnTo>
                  <a:lnTo>
                    <a:pt x="73" y="280"/>
                  </a:lnTo>
                  <a:lnTo>
                    <a:pt x="73" y="280"/>
                  </a:lnTo>
                  <a:lnTo>
                    <a:pt x="73" y="280"/>
                  </a:lnTo>
                  <a:lnTo>
                    <a:pt x="73" y="280"/>
                  </a:lnTo>
                  <a:lnTo>
                    <a:pt x="73" y="280"/>
                  </a:lnTo>
                  <a:lnTo>
                    <a:pt x="73" y="280"/>
                  </a:lnTo>
                  <a:lnTo>
                    <a:pt x="74" y="280"/>
                  </a:lnTo>
                  <a:lnTo>
                    <a:pt x="74" y="280"/>
                  </a:lnTo>
                  <a:lnTo>
                    <a:pt x="74" y="280"/>
                  </a:lnTo>
                  <a:lnTo>
                    <a:pt x="74" y="280"/>
                  </a:lnTo>
                  <a:lnTo>
                    <a:pt x="74" y="280"/>
                  </a:lnTo>
                  <a:lnTo>
                    <a:pt x="74" y="280"/>
                  </a:lnTo>
                  <a:lnTo>
                    <a:pt x="74" y="280"/>
                  </a:lnTo>
                  <a:lnTo>
                    <a:pt x="74" y="280"/>
                  </a:lnTo>
                  <a:lnTo>
                    <a:pt x="76" y="280"/>
                  </a:lnTo>
                  <a:lnTo>
                    <a:pt x="76" y="282"/>
                  </a:lnTo>
                  <a:lnTo>
                    <a:pt x="76" y="282"/>
                  </a:lnTo>
                  <a:lnTo>
                    <a:pt x="76" y="282"/>
                  </a:lnTo>
                  <a:lnTo>
                    <a:pt x="76" y="282"/>
                  </a:lnTo>
                  <a:lnTo>
                    <a:pt x="76" y="282"/>
                  </a:lnTo>
                  <a:lnTo>
                    <a:pt x="76" y="282"/>
                  </a:lnTo>
                  <a:lnTo>
                    <a:pt x="76" y="282"/>
                  </a:lnTo>
                  <a:lnTo>
                    <a:pt x="76" y="282"/>
                  </a:lnTo>
                  <a:lnTo>
                    <a:pt x="76" y="284"/>
                  </a:lnTo>
                  <a:lnTo>
                    <a:pt x="76" y="284"/>
                  </a:lnTo>
                  <a:lnTo>
                    <a:pt x="76" y="284"/>
                  </a:lnTo>
                  <a:lnTo>
                    <a:pt x="76" y="284"/>
                  </a:lnTo>
                  <a:lnTo>
                    <a:pt x="76" y="284"/>
                  </a:lnTo>
                  <a:lnTo>
                    <a:pt x="76" y="284"/>
                  </a:lnTo>
                  <a:lnTo>
                    <a:pt x="76" y="284"/>
                  </a:lnTo>
                  <a:lnTo>
                    <a:pt x="76" y="284"/>
                  </a:lnTo>
                  <a:lnTo>
                    <a:pt x="74" y="284"/>
                  </a:lnTo>
                  <a:lnTo>
                    <a:pt x="74" y="284"/>
                  </a:lnTo>
                  <a:lnTo>
                    <a:pt x="74" y="284"/>
                  </a:lnTo>
                  <a:lnTo>
                    <a:pt x="74" y="284"/>
                  </a:lnTo>
                  <a:lnTo>
                    <a:pt x="74" y="284"/>
                  </a:lnTo>
                  <a:lnTo>
                    <a:pt x="74" y="284"/>
                  </a:lnTo>
                  <a:lnTo>
                    <a:pt x="74" y="284"/>
                  </a:lnTo>
                  <a:lnTo>
                    <a:pt x="74" y="284"/>
                  </a:lnTo>
                  <a:lnTo>
                    <a:pt x="73" y="284"/>
                  </a:lnTo>
                  <a:lnTo>
                    <a:pt x="73" y="284"/>
                  </a:lnTo>
                  <a:lnTo>
                    <a:pt x="73" y="284"/>
                  </a:lnTo>
                  <a:lnTo>
                    <a:pt x="73" y="284"/>
                  </a:lnTo>
                  <a:lnTo>
                    <a:pt x="73" y="284"/>
                  </a:lnTo>
                  <a:lnTo>
                    <a:pt x="73" y="284"/>
                  </a:lnTo>
                  <a:lnTo>
                    <a:pt x="73" y="284"/>
                  </a:lnTo>
                  <a:lnTo>
                    <a:pt x="73" y="283"/>
                  </a:lnTo>
                  <a:lnTo>
                    <a:pt x="72" y="283"/>
                  </a:lnTo>
                  <a:lnTo>
                    <a:pt x="72" y="283"/>
                  </a:lnTo>
                  <a:lnTo>
                    <a:pt x="72" y="283"/>
                  </a:lnTo>
                  <a:lnTo>
                    <a:pt x="72" y="283"/>
                  </a:lnTo>
                  <a:lnTo>
                    <a:pt x="72" y="283"/>
                  </a:lnTo>
                  <a:lnTo>
                    <a:pt x="72" y="283"/>
                  </a:lnTo>
                  <a:lnTo>
                    <a:pt x="72" y="283"/>
                  </a:lnTo>
                  <a:lnTo>
                    <a:pt x="72" y="281"/>
                  </a:lnTo>
                  <a:lnTo>
                    <a:pt x="70" y="281"/>
                  </a:lnTo>
                  <a:lnTo>
                    <a:pt x="70" y="281"/>
                  </a:lnTo>
                  <a:lnTo>
                    <a:pt x="70" y="281"/>
                  </a:lnTo>
                  <a:lnTo>
                    <a:pt x="70" y="281"/>
                  </a:lnTo>
                  <a:lnTo>
                    <a:pt x="70" y="281"/>
                  </a:lnTo>
                  <a:lnTo>
                    <a:pt x="70" y="281"/>
                  </a:lnTo>
                  <a:lnTo>
                    <a:pt x="70" y="281"/>
                  </a:lnTo>
                  <a:lnTo>
                    <a:pt x="70" y="280"/>
                  </a:lnTo>
                  <a:lnTo>
                    <a:pt x="68" y="281"/>
                  </a:lnTo>
                  <a:lnTo>
                    <a:pt x="68" y="281"/>
                  </a:lnTo>
                  <a:lnTo>
                    <a:pt x="68" y="281"/>
                  </a:lnTo>
                  <a:lnTo>
                    <a:pt x="68" y="281"/>
                  </a:lnTo>
                  <a:lnTo>
                    <a:pt x="67" y="281"/>
                  </a:lnTo>
                  <a:lnTo>
                    <a:pt x="67" y="281"/>
                  </a:lnTo>
                  <a:lnTo>
                    <a:pt x="67" y="281"/>
                  </a:lnTo>
                  <a:lnTo>
                    <a:pt x="67" y="281"/>
                  </a:lnTo>
                  <a:lnTo>
                    <a:pt x="65" y="281"/>
                  </a:lnTo>
                  <a:lnTo>
                    <a:pt x="65" y="281"/>
                  </a:lnTo>
                  <a:lnTo>
                    <a:pt x="65" y="281"/>
                  </a:lnTo>
                  <a:lnTo>
                    <a:pt x="65" y="281"/>
                  </a:lnTo>
                  <a:lnTo>
                    <a:pt x="65" y="281"/>
                  </a:lnTo>
                  <a:lnTo>
                    <a:pt x="65" y="281"/>
                  </a:lnTo>
                  <a:lnTo>
                    <a:pt x="65" y="281"/>
                  </a:lnTo>
                  <a:lnTo>
                    <a:pt x="65" y="281"/>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5" y="283"/>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3" y="285"/>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62" y="286"/>
                  </a:lnTo>
                  <a:lnTo>
                    <a:pt x="59" y="288"/>
                  </a:lnTo>
                  <a:lnTo>
                    <a:pt x="59" y="288"/>
                  </a:lnTo>
                  <a:lnTo>
                    <a:pt x="59" y="288"/>
                  </a:lnTo>
                  <a:lnTo>
                    <a:pt x="59" y="288"/>
                  </a:lnTo>
                  <a:lnTo>
                    <a:pt x="59" y="288"/>
                  </a:lnTo>
                  <a:lnTo>
                    <a:pt x="59" y="288"/>
                  </a:lnTo>
                  <a:lnTo>
                    <a:pt x="59" y="288"/>
                  </a:lnTo>
                  <a:lnTo>
                    <a:pt x="59" y="288"/>
                  </a:lnTo>
                  <a:lnTo>
                    <a:pt x="58" y="288"/>
                  </a:lnTo>
                  <a:lnTo>
                    <a:pt x="58" y="288"/>
                  </a:lnTo>
                  <a:lnTo>
                    <a:pt x="58" y="288"/>
                  </a:lnTo>
                  <a:lnTo>
                    <a:pt x="58" y="288"/>
                  </a:lnTo>
                  <a:lnTo>
                    <a:pt x="58" y="288"/>
                  </a:lnTo>
                  <a:lnTo>
                    <a:pt x="58" y="288"/>
                  </a:lnTo>
                  <a:lnTo>
                    <a:pt x="58" y="288"/>
                  </a:lnTo>
                  <a:lnTo>
                    <a:pt x="58"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7"/>
                  </a:lnTo>
                  <a:lnTo>
                    <a:pt x="57" y="286"/>
                  </a:lnTo>
                  <a:lnTo>
                    <a:pt x="57" y="286"/>
                  </a:lnTo>
                  <a:lnTo>
                    <a:pt x="57" y="286"/>
                  </a:lnTo>
                  <a:lnTo>
                    <a:pt x="57" y="286"/>
                  </a:lnTo>
                  <a:lnTo>
                    <a:pt x="57" y="285"/>
                  </a:lnTo>
                  <a:lnTo>
                    <a:pt x="57" y="285"/>
                  </a:lnTo>
                  <a:lnTo>
                    <a:pt x="57" y="285"/>
                  </a:lnTo>
                  <a:lnTo>
                    <a:pt x="57" y="285"/>
                  </a:lnTo>
                  <a:lnTo>
                    <a:pt x="57" y="282"/>
                  </a:lnTo>
                  <a:lnTo>
                    <a:pt x="57" y="282"/>
                  </a:lnTo>
                  <a:lnTo>
                    <a:pt x="57" y="282"/>
                  </a:lnTo>
                  <a:lnTo>
                    <a:pt x="57" y="282"/>
                  </a:lnTo>
                  <a:lnTo>
                    <a:pt x="57" y="281"/>
                  </a:lnTo>
                  <a:lnTo>
                    <a:pt x="57" y="281"/>
                  </a:lnTo>
                  <a:lnTo>
                    <a:pt x="57" y="281"/>
                  </a:lnTo>
                  <a:lnTo>
                    <a:pt x="57" y="281"/>
                  </a:lnTo>
                  <a:lnTo>
                    <a:pt x="57" y="279"/>
                  </a:lnTo>
                  <a:lnTo>
                    <a:pt x="55" y="279"/>
                  </a:lnTo>
                  <a:lnTo>
                    <a:pt x="55" y="279"/>
                  </a:lnTo>
                  <a:lnTo>
                    <a:pt x="55" y="279"/>
                  </a:lnTo>
                  <a:lnTo>
                    <a:pt x="55" y="279"/>
                  </a:lnTo>
                  <a:lnTo>
                    <a:pt x="54" y="279"/>
                  </a:lnTo>
                  <a:lnTo>
                    <a:pt x="54" y="279"/>
                  </a:lnTo>
                  <a:lnTo>
                    <a:pt x="54" y="279"/>
                  </a:lnTo>
                  <a:lnTo>
                    <a:pt x="54" y="278"/>
                  </a:lnTo>
                  <a:lnTo>
                    <a:pt x="54" y="278"/>
                  </a:lnTo>
                  <a:lnTo>
                    <a:pt x="54" y="278"/>
                  </a:lnTo>
                  <a:lnTo>
                    <a:pt x="54" y="278"/>
                  </a:lnTo>
                  <a:lnTo>
                    <a:pt x="54" y="278"/>
                  </a:lnTo>
                  <a:lnTo>
                    <a:pt x="54" y="278"/>
                  </a:lnTo>
                  <a:lnTo>
                    <a:pt x="54" y="278"/>
                  </a:lnTo>
                  <a:lnTo>
                    <a:pt x="54" y="278"/>
                  </a:lnTo>
                  <a:lnTo>
                    <a:pt x="54" y="276"/>
                  </a:lnTo>
                  <a:lnTo>
                    <a:pt x="52" y="276"/>
                  </a:lnTo>
                  <a:lnTo>
                    <a:pt x="52" y="276"/>
                  </a:lnTo>
                  <a:lnTo>
                    <a:pt x="52" y="276"/>
                  </a:lnTo>
                  <a:lnTo>
                    <a:pt x="52" y="274"/>
                  </a:lnTo>
                  <a:lnTo>
                    <a:pt x="52" y="274"/>
                  </a:lnTo>
                  <a:lnTo>
                    <a:pt x="52" y="274"/>
                  </a:lnTo>
                  <a:lnTo>
                    <a:pt x="52" y="274"/>
                  </a:lnTo>
                  <a:lnTo>
                    <a:pt x="52" y="272"/>
                  </a:lnTo>
                  <a:lnTo>
                    <a:pt x="52" y="272"/>
                  </a:lnTo>
                  <a:lnTo>
                    <a:pt x="52" y="272"/>
                  </a:lnTo>
                  <a:lnTo>
                    <a:pt x="52" y="272"/>
                  </a:lnTo>
                  <a:lnTo>
                    <a:pt x="52" y="270"/>
                  </a:lnTo>
                  <a:lnTo>
                    <a:pt x="52" y="270"/>
                  </a:lnTo>
                  <a:lnTo>
                    <a:pt x="52" y="268"/>
                  </a:lnTo>
                  <a:lnTo>
                    <a:pt x="52" y="268"/>
                  </a:lnTo>
                  <a:lnTo>
                    <a:pt x="52" y="266"/>
                  </a:lnTo>
                  <a:lnTo>
                    <a:pt x="52" y="266"/>
                  </a:lnTo>
                  <a:lnTo>
                    <a:pt x="52" y="266"/>
                  </a:lnTo>
                  <a:lnTo>
                    <a:pt x="52" y="266"/>
                  </a:lnTo>
                  <a:lnTo>
                    <a:pt x="52" y="266"/>
                  </a:lnTo>
                  <a:lnTo>
                    <a:pt x="52" y="266"/>
                  </a:lnTo>
                  <a:lnTo>
                    <a:pt x="52" y="266"/>
                  </a:lnTo>
                  <a:lnTo>
                    <a:pt x="52" y="266"/>
                  </a:lnTo>
                  <a:lnTo>
                    <a:pt x="52" y="264"/>
                  </a:lnTo>
                  <a:lnTo>
                    <a:pt x="51" y="264"/>
                  </a:lnTo>
                  <a:lnTo>
                    <a:pt x="51" y="264"/>
                  </a:lnTo>
                  <a:lnTo>
                    <a:pt x="51" y="264"/>
                  </a:lnTo>
                  <a:lnTo>
                    <a:pt x="51" y="262"/>
                  </a:lnTo>
                  <a:lnTo>
                    <a:pt x="51" y="262"/>
                  </a:lnTo>
                  <a:lnTo>
                    <a:pt x="51" y="262"/>
                  </a:lnTo>
                  <a:lnTo>
                    <a:pt x="51" y="262"/>
                  </a:lnTo>
                  <a:lnTo>
                    <a:pt x="51" y="260"/>
                  </a:lnTo>
                  <a:lnTo>
                    <a:pt x="49" y="260"/>
                  </a:lnTo>
                  <a:lnTo>
                    <a:pt x="49" y="260"/>
                  </a:lnTo>
                  <a:lnTo>
                    <a:pt x="49" y="260"/>
                  </a:lnTo>
                  <a:lnTo>
                    <a:pt x="49" y="260"/>
                  </a:lnTo>
                  <a:lnTo>
                    <a:pt x="48" y="260"/>
                  </a:lnTo>
                  <a:lnTo>
                    <a:pt x="48" y="260"/>
                  </a:lnTo>
                  <a:lnTo>
                    <a:pt x="48" y="260"/>
                  </a:lnTo>
                  <a:lnTo>
                    <a:pt x="48" y="258"/>
                  </a:lnTo>
                  <a:lnTo>
                    <a:pt x="46" y="258"/>
                  </a:lnTo>
                  <a:lnTo>
                    <a:pt x="46" y="258"/>
                  </a:lnTo>
                  <a:lnTo>
                    <a:pt x="46" y="258"/>
                  </a:lnTo>
                  <a:lnTo>
                    <a:pt x="46" y="258"/>
                  </a:lnTo>
                  <a:lnTo>
                    <a:pt x="46" y="258"/>
                  </a:lnTo>
                  <a:lnTo>
                    <a:pt x="46" y="258"/>
                  </a:lnTo>
                  <a:lnTo>
                    <a:pt x="46" y="258"/>
                  </a:lnTo>
                  <a:lnTo>
                    <a:pt x="46" y="256"/>
                  </a:lnTo>
                  <a:lnTo>
                    <a:pt x="44" y="256"/>
                  </a:lnTo>
                  <a:lnTo>
                    <a:pt x="44" y="256"/>
                  </a:lnTo>
                  <a:lnTo>
                    <a:pt x="43" y="256"/>
                  </a:lnTo>
                  <a:lnTo>
                    <a:pt x="43" y="256"/>
                  </a:lnTo>
                  <a:lnTo>
                    <a:pt x="40" y="256"/>
                  </a:lnTo>
                  <a:lnTo>
                    <a:pt x="40" y="256"/>
                  </a:lnTo>
                  <a:lnTo>
                    <a:pt x="40" y="256"/>
                  </a:lnTo>
                  <a:lnTo>
                    <a:pt x="40" y="254"/>
                  </a:lnTo>
                  <a:lnTo>
                    <a:pt x="38" y="254"/>
                  </a:lnTo>
                  <a:lnTo>
                    <a:pt x="38" y="254"/>
                  </a:lnTo>
                  <a:lnTo>
                    <a:pt x="38" y="254"/>
                  </a:lnTo>
                  <a:lnTo>
                    <a:pt x="38" y="254"/>
                  </a:lnTo>
                  <a:lnTo>
                    <a:pt x="36" y="254"/>
                  </a:lnTo>
                  <a:lnTo>
                    <a:pt x="36" y="254"/>
                  </a:lnTo>
                  <a:lnTo>
                    <a:pt x="36" y="254"/>
                  </a:lnTo>
                  <a:lnTo>
                    <a:pt x="36" y="252"/>
                  </a:lnTo>
                  <a:lnTo>
                    <a:pt x="34" y="252"/>
                  </a:lnTo>
                  <a:lnTo>
                    <a:pt x="34" y="252"/>
                  </a:lnTo>
                  <a:lnTo>
                    <a:pt x="34" y="252"/>
                  </a:lnTo>
                  <a:lnTo>
                    <a:pt x="34" y="252"/>
                  </a:lnTo>
                  <a:lnTo>
                    <a:pt x="34" y="252"/>
                  </a:lnTo>
                  <a:lnTo>
                    <a:pt x="34" y="252"/>
                  </a:lnTo>
                  <a:lnTo>
                    <a:pt x="34" y="252"/>
                  </a:lnTo>
                  <a:lnTo>
                    <a:pt x="34" y="251"/>
                  </a:lnTo>
                  <a:lnTo>
                    <a:pt x="33" y="251"/>
                  </a:lnTo>
                  <a:lnTo>
                    <a:pt x="33" y="251"/>
                  </a:lnTo>
                  <a:lnTo>
                    <a:pt x="33" y="251"/>
                  </a:lnTo>
                  <a:lnTo>
                    <a:pt x="33" y="251"/>
                  </a:lnTo>
                  <a:lnTo>
                    <a:pt x="33" y="251"/>
                  </a:lnTo>
                  <a:lnTo>
                    <a:pt x="33" y="251"/>
                  </a:lnTo>
                  <a:lnTo>
                    <a:pt x="33" y="251"/>
                  </a:lnTo>
                  <a:lnTo>
                    <a:pt x="33" y="250"/>
                  </a:lnTo>
                  <a:lnTo>
                    <a:pt x="31" y="250"/>
                  </a:lnTo>
                  <a:lnTo>
                    <a:pt x="31" y="250"/>
                  </a:lnTo>
                  <a:lnTo>
                    <a:pt x="31" y="250"/>
                  </a:lnTo>
                  <a:lnTo>
                    <a:pt x="31" y="248"/>
                  </a:lnTo>
                  <a:lnTo>
                    <a:pt x="29" y="248"/>
                  </a:lnTo>
                  <a:lnTo>
                    <a:pt x="29" y="248"/>
                  </a:lnTo>
                  <a:lnTo>
                    <a:pt x="29" y="248"/>
                  </a:lnTo>
                  <a:lnTo>
                    <a:pt x="29" y="246"/>
                  </a:lnTo>
                  <a:lnTo>
                    <a:pt x="28" y="246"/>
                  </a:lnTo>
                  <a:lnTo>
                    <a:pt x="28" y="246"/>
                  </a:lnTo>
                  <a:lnTo>
                    <a:pt x="28" y="246"/>
                  </a:lnTo>
                  <a:lnTo>
                    <a:pt x="28" y="243"/>
                  </a:lnTo>
                  <a:lnTo>
                    <a:pt x="28" y="243"/>
                  </a:lnTo>
                  <a:lnTo>
                    <a:pt x="28" y="242"/>
                  </a:lnTo>
                  <a:lnTo>
                    <a:pt x="28" y="242"/>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28" y="240"/>
                  </a:lnTo>
                  <a:lnTo>
                    <a:pt x="30" y="238"/>
                  </a:lnTo>
                  <a:lnTo>
                    <a:pt x="28" y="238"/>
                  </a:lnTo>
                  <a:lnTo>
                    <a:pt x="28" y="238"/>
                  </a:lnTo>
                  <a:lnTo>
                    <a:pt x="28" y="238"/>
                  </a:lnTo>
                  <a:lnTo>
                    <a:pt x="28" y="238"/>
                  </a:lnTo>
                  <a:lnTo>
                    <a:pt x="27" y="238"/>
                  </a:lnTo>
                  <a:lnTo>
                    <a:pt x="27" y="238"/>
                  </a:lnTo>
                  <a:lnTo>
                    <a:pt x="27" y="238"/>
                  </a:lnTo>
                  <a:lnTo>
                    <a:pt x="27" y="236"/>
                  </a:lnTo>
                  <a:lnTo>
                    <a:pt x="25" y="236"/>
                  </a:lnTo>
                  <a:lnTo>
                    <a:pt x="25" y="236"/>
                  </a:lnTo>
                  <a:lnTo>
                    <a:pt x="25" y="236"/>
                  </a:lnTo>
                  <a:lnTo>
                    <a:pt x="25" y="234"/>
                  </a:lnTo>
                  <a:lnTo>
                    <a:pt x="25" y="234"/>
                  </a:lnTo>
                  <a:lnTo>
                    <a:pt x="25" y="234"/>
                  </a:lnTo>
                  <a:lnTo>
                    <a:pt x="25" y="234"/>
                  </a:lnTo>
                  <a:lnTo>
                    <a:pt x="25" y="232"/>
                  </a:lnTo>
                  <a:lnTo>
                    <a:pt x="23" y="232"/>
                  </a:lnTo>
                  <a:lnTo>
                    <a:pt x="23" y="232"/>
                  </a:lnTo>
                  <a:lnTo>
                    <a:pt x="23" y="232"/>
                  </a:lnTo>
                  <a:lnTo>
                    <a:pt x="23" y="232"/>
                  </a:lnTo>
                  <a:lnTo>
                    <a:pt x="23" y="232"/>
                  </a:lnTo>
                  <a:lnTo>
                    <a:pt x="23" y="232"/>
                  </a:lnTo>
                  <a:lnTo>
                    <a:pt x="23" y="232"/>
                  </a:lnTo>
                  <a:lnTo>
                    <a:pt x="23" y="232"/>
                  </a:lnTo>
                  <a:lnTo>
                    <a:pt x="21" y="232"/>
                  </a:lnTo>
                  <a:lnTo>
                    <a:pt x="21" y="232"/>
                  </a:lnTo>
                  <a:lnTo>
                    <a:pt x="21" y="232"/>
                  </a:lnTo>
                  <a:lnTo>
                    <a:pt x="21" y="232"/>
                  </a:lnTo>
                  <a:lnTo>
                    <a:pt x="21" y="232"/>
                  </a:lnTo>
                  <a:lnTo>
                    <a:pt x="21" y="232"/>
                  </a:lnTo>
                  <a:lnTo>
                    <a:pt x="21" y="232"/>
                  </a:lnTo>
                  <a:lnTo>
                    <a:pt x="21" y="230"/>
                  </a:lnTo>
                  <a:lnTo>
                    <a:pt x="19" y="230"/>
                  </a:lnTo>
                  <a:lnTo>
                    <a:pt x="19" y="230"/>
                  </a:lnTo>
                  <a:lnTo>
                    <a:pt x="19" y="230"/>
                  </a:lnTo>
                  <a:lnTo>
                    <a:pt x="19" y="229"/>
                  </a:lnTo>
                  <a:lnTo>
                    <a:pt x="19" y="229"/>
                  </a:lnTo>
                  <a:lnTo>
                    <a:pt x="19" y="229"/>
                  </a:lnTo>
                  <a:lnTo>
                    <a:pt x="19" y="229"/>
                  </a:lnTo>
                  <a:lnTo>
                    <a:pt x="19" y="227"/>
                  </a:lnTo>
                  <a:lnTo>
                    <a:pt x="19" y="227"/>
                  </a:lnTo>
                  <a:lnTo>
                    <a:pt x="19" y="227"/>
                  </a:lnTo>
                  <a:lnTo>
                    <a:pt x="19" y="227"/>
                  </a:lnTo>
                  <a:lnTo>
                    <a:pt x="19" y="225"/>
                  </a:lnTo>
                  <a:lnTo>
                    <a:pt x="19" y="225"/>
                  </a:lnTo>
                  <a:lnTo>
                    <a:pt x="19" y="225"/>
                  </a:lnTo>
                  <a:lnTo>
                    <a:pt x="19" y="225"/>
                  </a:lnTo>
                  <a:lnTo>
                    <a:pt x="19" y="223"/>
                  </a:lnTo>
                  <a:lnTo>
                    <a:pt x="17" y="223"/>
                  </a:lnTo>
                  <a:lnTo>
                    <a:pt x="17" y="223"/>
                  </a:lnTo>
                  <a:lnTo>
                    <a:pt x="17" y="223"/>
                  </a:lnTo>
                  <a:lnTo>
                    <a:pt x="17" y="221"/>
                  </a:lnTo>
                  <a:lnTo>
                    <a:pt x="15" y="221"/>
                  </a:lnTo>
                  <a:lnTo>
                    <a:pt x="15" y="219"/>
                  </a:lnTo>
                  <a:lnTo>
                    <a:pt x="15" y="219"/>
                  </a:lnTo>
                  <a:lnTo>
                    <a:pt x="15" y="217"/>
                  </a:lnTo>
                  <a:lnTo>
                    <a:pt x="13" y="217"/>
                  </a:lnTo>
                  <a:lnTo>
                    <a:pt x="13" y="217"/>
                  </a:lnTo>
                  <a:lnTo>
                    <a:pt x="13" y="217"/>
                  </a:lnTo>
                  <a:lnTo>
                    <a:pt x="13" y="215"/>
                  </a:lnTo>
                  <a:lnTo>
                    <a:pt x="13" y="215"/>
                  </a:lnTo>
                  <a:lnTo>
                    <a:pt x="13" y="213"/>
                  </a:lnTo>
                  <a:lnTo>
                    <a:pt x="13" y="213"/>
                  </a:lnTo>
                  <a:lnTo>
                    <a:pt x="13" y="211"/>
                  </a:lnTo>
                  <a:lnTo>
                    <a:pt x="11" y="211"/>
                  </a:lnTo>
                  <a:lnTo>
                    <a:pt x="11" y="211"/>
                  </a:lnTo>
                  <a:lnTo>
                    <a:pt x="11" y="211"/>
                  </a:lnTo>
                  <a:lnTo>
                    <a:pt x="11" y="211"/>
                  </a:lnTo>
                  <a:lnTo>
                    <a:pt x="11" y="211"/>
                  </a:lnTo>
                  <a:lnTo>
                    <a:pt x="11" y="211"/>
                  </a:lnTo>
                  <a:lnTo>
                    <a:pt x="11" y="211"/>
                  </a:lnTo>
                  <a:lnTo>
                    <a:pt x="11" y="211"/>
                  </a:lnTo>
                  <a:lnTo>
                    <a:pt x="10" y="211"/>
                  </a:lnTo>
                  <a:lnTo>
                    <a:pt x="10" y="211"/>
                  </a:lnTo>
                  <a:lnTo>
                    <a:pt x="10" y="211"/>
                  </a:lnTo>
                  <a:lnTo>
                    <a:pt x="10" y="211"/>
                  </a:lnTo>
                  <a:lnTo>
                    <a:pt x="10" y="211"/>
                  </a:lnTo>
                  <a:lnTo>
                    <a:pt x="10" y="211"/>
                  </a:lnTo>
                  <a:lnTo>
                    <a:pt x="10" y="211"/>
                  </a:lnTo>
                  <a:lnTo>
                    <a:pt x="10" y="209"/>
                  </a:lnTo>
                  <a:lnTo>
                    <a:pt x="8" y="209"/>
                  </a:lnTo>
                  <a:lnTo>
                    <a:pt x="8" y="207"/>
                  </a:lnTo>
                  <a:lnTo>
                    <a:pt x="8" y="207"/>
                  </a:lnTo>
                  <a:lnTo>
                    <a:pt x="8" y="205"/>
                  </a:lnTo>
                  <a:lnTo>
                    <a:pt x="6" y="205"/>
                  </a:lnTo>
                  <a:lnTo>
                    <a:pt x="6" y="203"/>
                  </a:lnTo>
                  <a:lnTo>
                    <a:pt x="6" y="203"/>
                  </a:lnTo>
                  <a:lnTo>
                    <a:pt x="6" y="201"/>
                  </a:lnTo>
                  <a:lnTo>
                    <a:pt x="5" y="201"/>
                  </a:lnTo>
                  <a:lnTo>
                    <a:pt x="5" y="199"/>
                  </a:lnTo>
                  <a:lnTo>
                    <a:pt x="5" y="199"/>
                  </a:lnTo>
                  <a:lnTo>
                    <a:pt x="5" y="197"/>
                  </a:lnTo>
                  <a:lnTo>
                    <a:pt x="5" y="197"/>
                  </a:lnTo>
                  <a:lnTo>
                    <a:pt x="5" y="195"/>
                  </a:lnTo>
                  <a:lnTo>
                    <a:pt x="5" y="193"/>
                  </a:lnTo>
                  <a:lnTo>
                    <a:pt x="8" y="191"/>
                  </a:lnTo>
                  <a:lnTo>
                    <a:pt x="7" y="191"/>
                  </a:lnTo>
                  <a:lnTo>
                    <a:pt x="7" y="191"/>
                  </a:lnTo>
                  <a:lnTo>
                    <a:pt x="7" y="191"/>
                  </a:lnTo>
                  <a:lnTo>
                    <a:pt x="7" y="190"/>
                  </a:lnTo>
                  <a:lnTo>
                    <a:pt x="7" y="190"/>
                  </a:lnTo>
                  <a:lnTo>
                    <a:pt x="7" y="190"/>
                  </a:lnTo>
                  <a:lnTo>
                    <a:pt x="7" y="190"/>
                  </a:lnTo>
                  <a:lnTo>
                    <a:pt x="7" y="188"/>
                  </a:lnTo>
                  <a:lnTo>
                    <a:pt x="7" y="188"/>
                  </a:lnTo>
                  <a:lnTo>
                    <a:pt x="7" y="188"/>
                  </a:lnTo>
                  <a:lnTo>
                    <a:pt x="7" y="188"/>
                  </a:lnTo>
                  <a:lnTo>
                    <a:pt x="7" y="185"/>
                  </a:lnTo>
                  <a:lnTo>
                    <a:pt x="7" y="185"/>
                  </a:lnTo>
                  <a:lnTo>
                    <a:pt x="7" y="185"/>
                  </a:lnTo>
                  <a:lnTo>
                    <a:pt x="7" y="185"/>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3"/>
                  </a:lnTo>
                  <a:lnTo>
                    <a:pt x="9" y="182"/>
                  </a:lnTo>
                  <a:lnTo>
                    <a:pt x="9" y="182"/>
                  </a:lnTo>
                  <a:lnTo>
                    <a:pt x="9" y="182"/>
                  </a:lnTo>
                  <a:lnTo>
                    <a:pt x="9" y="182"/>
                  </a:lnTo>
                  <a:lnTo>
                    <a:pt x="9" y="182"/>
                  </a:lnTo>
                  <a:lnTo>
                    <a:pt x="9" y="182"/>
                  </a:lnTo>
                  <a:lnTo>
                    <a:pt x="9" y="182"/>
                  </a:lnTo>
                  <a:lnTo>
                    <a:pt x="9" y="182"/>
                  </a:lnTo>
                  <a:lnTo>
                    <a:pt x="9" y="180"/>
                  </a:lnTo>
                  <a:lnTo>
                    <a:pt x="9" y="180"/>
                  </a:lnTo>
                  <a:lnTo>
                    <a:pt x="9" y="180"/>
                  </a:lnTo>
                  <a:lnTo>
                    <a:pt x="9" y="180"/>
                  </a:lnTo>
                  <a:lnTo>
                    <a:pt x="9" y="178"/>
                  </a:lnTo>
                  <a:lnTo>
                    <a:pt x="9" y="178"/>
                  </a:lnTo>
                  <a:lnTo>
                    <a:pt x="9" y="178"/>
                  </a:lnTo>
                  <a:lnTo>
                    <a:pt x="9" y="178"/>
                  </a:lnTo>
                  <a:lnTo>
                    <a:pt x="9" y="176"/>
                  </a:lnTo>
                  <a:lnTo>
                    <a:pt x="7" y="176"/>
                  </a:lnTo>
                  <a:lnTo>
                    <a:pt x="7" y="176"/>
                  </a:lnTo>
                  <a:lnTo>
                    <a:pt x="7" y="176"/>
                  </a:lnTo>
                  <a:lnTo>
                    <a:pt x="7" y="176"/>
                  </a:lnTo>
                  <a:lnTo>
                    <a:pt x="6" y="176"/>
                  </a:lnTo>
                  <a:lnTo>
                    <a:pt x="6" y="176"/>
                  </a:lnTo>
                  <a:lnTo>
                    <a:pt x="6" y="176"/>
                  </a:lnTo>
                  <a:lnTo>
                    <a:pt x="6" y="174"/>
                  </a:lnTo>
                  <a:lnTo>
                    <a:pt x="5" y="174"/>
                  </a:lnTo>
                  <a:lnTo>
                    <a:pt x="5" y="174"/>
                  </a:lnTo>
                  <a:lnTo>
                    <a:pt x="5" y="174"/>
                  </a:lnTo>
                  <a:lnTo>
                    <a:pt x="5" y="173"/>
                  </a:lnTo>
                  <a:lnTo>
                    <a:pt x="5" y="173"/>
                  </a:lnTo>
                  <a:lnTo>
                    <a:pt x="5" y="173"/>
                  </a:lnTo>
                  <a:lnTo>
                    <a:pt x="5" y="173"/>
                  </a:lnTo>
                  <a:lnTo>
                    <a:pt x="5"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4" y="171"/>
                  </a:lnTo>
                  <a:lnTo>
                    <a:pt x="2" y="171"/>
                  </a:lnTo>
                  <a:lnTo>
                    <a:pt x="2" y="171"/>
                  </a:lnTo>
                  <a:lnTo>
                    <a:pt x="2" y="171"/>
                  </a:lnTo>
                  <a:lnTo>
                    <a:pt x="2" y="169"/>
                  </a:lnTo>
                  <a:lnTo>
                    <a:pt x="1" y="169"/>
                  </a:lnTo>
                  <a:lnTo>
                    <a:pt x="1" y="166"/>
                  </a:lnTo>
                  <a:lnTo>
                    <a:pt x="1" y="166"/>
                  </a:lnTo>
                  <a:lnTo>
                    <a:pt x="1" y="164"/>
                  </a:lnTo>
                  <a:lnTo>
                    <a:pt x="0" y="164"/>
                  </a:lnTo>
                  <a:lnTo>
                    <a:pt x="0" y="164"/>
                  </a:lnTo>
                  <a:lnTo>
                    <a:pt x="0" y="164"/>
                  </a:lnTo>
                  <a:lnTo>
                    <a:pt x="0" y="162"/>
                  </a:lnTo>
                  <a:lnTo>
                    <a:pt x="0" y="162"/>
                  </a:lnTo>
                  <a:lnTo>
                    <a:pt x="0" y="160"/>
                  </a:lnTo>
                  <a:lnTo>
                    <a:pt x="0" y="160"/>
                  </a:lnTo>
                  <a:lnTo>
                    <a:pt x="0" y="158"/>
                  </a:lnTo>
                  <a:lnTo>
                    <a:pt x="0" y="158"/>
                  </a:lnTo>
                  <a:lnTo>
                    <a:pt x="0" y="158"/>
                  </a:lnTo>
                  <a:lnTo>
                    <a:pt x="0" y="158"/>
                  </a:lnTo>
                  <a:lnTo>
                    <a:pt x="0" y="158"/>
                  </a:lnTo>
                  <a:lnTo>
                    <a:pt x="0" y="158"/>
                  </a:lnTo>
                  <a:lnTo>
                    <a:pt x="0" y="158"/>
                  </a:lnTo>
                  <a:lnTo>
                    <a:pt x="0" y="158"/>
                  </a:lnTo>
                  <a:lnTo>
                    <a:pt x="0" y="157"/>
                  </a:lnTo>
                  <a:lnTo>
                    <a:pt x="0" y="157"/>
                  </a:lnTo>
                  <a:lnTo>
                    <a:pt x="0" y="157"/>
                  </a:lnTo>
                  <a:lnTo>
                    <a:pt x="0" y="157"/>
                  </a:lnTo>
                  <a:lnTo>
                    <a:pt x="0" y="157"/>
                  </a:lnTo>
                  <a:lnTo>
                    <a:pt x="0" y="157"/>
                  </a:lnTo>
                  <a:lnTo>
                    <a:pt x="0" y="157"/>
                  </a:lnTo>
                  <a:lnTo>
                    <a:pt x="0" y="157"/>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1" y="156"/>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4"/>
                  </a:lnTo>
                  <a:lnTo>
                    <a:pt x="4" y="153"/>
                  </a:lnTo>
                  <a:lnTo>
                    <a:pt x="4" y="153"/>
                  </a:lnTo>
                  <a:lnTo>
                    <a:pt x="4" y="153"/>
                  </a:lnTo>
                  <a:lnTo>
                    <a:pt x="4" y="153"/>
                  </a:lnTo>
                  <a:lnTo>
                    <a:pt x="4" y="153"/>
                  </a:lnTo>
                  <a:lnTo>
                    <a:pt x="4" y="153"/>
                  </a:lnTo>
                  <a:lnTo>
                    <a:pt x="4" y="153"/>
                  </a:lnTo>
                  <a:lnTo>
                    <a:pt x="4" y="153"/>
                  </a:lnTo>
                  <a:lnTo>
                    <a:pt x="5" y="151"/>
                  </a:lnTo>
                  <a:lnTo>
                    <a:pt x="5" y="151"/>
                  </a:lnTo>
                  <a:lnTo>
                    <a:pt x="5" y="151"/>
                  </a:lnTo>
                  <a:lnTo>
                    <a:pt x="5" y="151"/>
                  </a:lnTo>
                  <a:lnTo>
                    <a:pt x="5" y="149"/>
                  </a:lnTo>
                  <a:lnTo>
                    <a:pt x="5" y="149"/>
                  </a:lnTo>
                  <a:lnTo>
                    <a:pt x="5" y="149"/>
                  </a:lnTo>
                  <a:lnTo>
                    <a:pt x="5" y="149"/>
                  </a:lnTo>
                  <a:lnTo>
                    <a:pt x="6" y="147"/>
                  </a:lnTo>
                  <a:lnTo>
                    <a:pt x="6" y="147"/>
                  </a:lnTo>
                  <a:lnTo>
                    <a:pt x="6" y="147"/>
                  </a:lnTo>
                  <a:lnTo>
                    <a:pt x="6" y="147"/>
                  </a:lnTo>
                  <a:lnTo>
                    <a:pt x="6" y="145"/>
                  </a:lnTo>
                  <a:lnTo>
                    <a:pt x="6" y="145"/>
                  </a:lnTo>
                  <a:lnTo>
                    <a:pt x="6" y="143"/>
                  </a:lnTo>
                  <a:lnTo>
                    <a:pt x="6" y="143"/>
                  </a:lnTo>
                  <a:lnTo>
                    <a:pt x="6" y="141"/>
                  </a:lnTo>
                  <a:lnTo>
                    <a:pt x="6" y="141"/>
                  </a:lnTo>
                  <a:lnTo>
                    <a:pt x="6" y="141"/>
                  </a:lnTo>
                  <a:lnTo>
                    <a:pt x="6" y="141"/>
                  </a:lnTo>
                  <a:lnTo>
                    <a:pt x="6" y="141"/>
                  </a:lnTo>
                  <a:lnTo>
                    <a:pt x="6" y="141"/>
                  </a:lnTo>
                  <a:lnTo>
                    <a:pt x="6" y="141"/>
                  </a:lnTo>
                  <a:lnTo>
                    <a:pt x="6" y="141"/>
                  </a:lnTo>
                  <a:lnTo>
                    <a:pt x="6" y="140"/>
                  </a:lnTo>
                  <a:lnTo>
                    <a:pt x="6" y="140"/>
                  </a:lnTo>
                  <a:lnTo>
                    <a:pt x="6" y="140"/>
                  </a:lnTo>
                  <a:lnTo>
                    <a:pt x="6" y="140"/>
                  </a:lnTo>
                  <a:lnTo>
                    <a:pt x="6" y="140"/>
                  </a:lnTo>
                  <a:lnTo>
                    <a:pt x="6" y="140"/>
                  </a:lnTo>
                  <a:lnTo>
                    <a:pt x="6" y="140"/>
                  </a:lnTo>
                  <a:lnTo>
                    <a:pt x="6" y="140"/>
                  </a:lnTo>
                  <a:lnTo>
                    <a:pt x="6" y="138"/>
                  </a:lnTo>
                  <a:lnTo>
                    <a:pt x="5" y="138"/>
                  </a:lnTo>
                  <a:lnTo>
                    <a:pt x="5" y="138"/>
                  </a:lnTo>
                  <a:lnTo>
                    <a:pt x="5" y="138"/>
                  </a:lnTo>
                  <a:lnTo>
                    <a:pt x="5" y="138"/>
                  </a:lnTo>
                  <a:lnTo>
                    <a:pt x="5" y="138"/>
                  </a:lnTo>
                  <a:lnTo>
                    <a:pt x="5" y="138"/>
                  </a:lnTo>
                  <a:lnTo>
                    <a:pt x="5" y="138"/>
                  </a:lnTo>
                  <a:lnTo>
                    <a:pt x="5" y="137"/>
                  </a:lnTo>
                  <a:lnTo>
                    <a:pt x="5" y="137"/>
                  </a:lnTo>
                  <a:lnTo>
                    <a:pt x="5" y="137"/>
                  </a:lnTo>
                  <a:lnTo>
                    <a:pt x="5" y="137"/>
                  </a:lnTo>
                  <a:lnTo>
                    <a:pt x="5" y="137"/>
                  </a:lnTo>
                  <a:lnTo>
                    <a:pt x="5" y="137"/>
                  </a:lnTo>
                  <a:lnTo>
                    <a:pt x="5" y="137"/>
                  </a:lnTo>
                  <a:lnTo>
                    <a:pt x="5" y="137"/>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5"/>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5" y="133"/>
                  </a:lnTo>
                  <a:lnTo>
                    <a:pt x="7" y="130"/>
                  </a:lnTo>
                  <a:lnTo>
                    <a:pt x="6" y="130"/>
                  </a:lnTo>
                  <a:lnTo>
                    <a:pt x="6" y="128"/>
                  </a:lnTo>
                  <a:lnTo>
                    <a:pt x="6" y="126"/>
                  </a:lnTo>
                  <a:lnTo>
                    <a:pt x="6" y="123"/>
                  </a:lnTo>
                  <a:lnTo>
                    <a:pt x="6" y="121"/>
                  </a:lnTo>
                  <a:lnTo>
                    <a:pt x="6" y="119"/>
                  </a:lnTo>
                  <a:lnTo>
                    <a:pt x="6" y="117"/>
                  </a:lnTo>
                  <a:lnTo>
                    <a:pt x="7" y="115"/>
                  </a:lnTo>
                  <a:lnTo>
                    <a:pt x="7" y="113"/>
                  </a:lnTo>
                  <a:lnTo>
                    <a:pt x="7" y="111"/>
                  </a:lnTo>
                  <a:lnTo>
                    <a:pt x="7" y="109"/>
                  </a:lnTo>
                  <a:lnTo>
                    <a:pt x="7" y="106"/>
                  </a:lnTo>
                  <a:lnTo>
                    <a:pt x="5" y="104"/>
                  </a:lnTo>
                  <a:lnTo>
                    <a:pt x="5" y="102"/>
                  </a:lnTo>
                  <a:lnTo>
                    <a:pt x="5" y="100"/>
                  </a:lnTo>
                  <a:lnTo>
                    <a:pt x="5" y="98"/>
                  </a:lnTo>
                  <a:lnTo>
                    <a:pt x="5" y="98"/>
                  </a:lnTo>
                  <a:lnTo>
                    <a:pt x="5" y="98"/>
                  </a:lnTo>
                  <a:lnTo>
                    <a:pt x="5" y="98"/>
                  </a:lnTo>
                  <a:lnTo>
                    <a:pt x="5" y="98"/>
                  </a:lnTo>
                  <a:lnTo>
                    <a:pt x="5" y="98"/>
                  </a:lnTo>
                  <a:lnTo>
                    <a:pt x="5" y="98"/>
                  </a:lnTo>
                  <a:lnTo>
                    <a:pt x="5" y="98"/>
                  </a:lnTo>
                  <a:lnTo>
                    <a:pt x="5" y="97"/>
                  </a:lnTo>
                  <a:lnTo>
                    <a:pt x="5" y="97"/>
                  </a:lnTo>
                  <a:lnTo>
                    <a:pt x="5" y="97"/>
                  </a:lnTo>
                  <a:lnTo>
                    <a:pt x="5" y="97"/>
                  </a:lnTo>
                  <a:lnTo>
                    <a:pt x="5" y="97"/>
                  </a:lnTo>
                  <a:lnTo>
                    <a:pt x="5" y="97"/>
                  </a:lnTo>
                  <a:lnTo>
                    <a:pt x="5" y="97"/>
                  </a:lnTo>
                  <a:lnTo>
                    <a:pt x="5" y="97"/>
                  </a:lnTo>
                  <a:lnTo>
                    <a:pt x="6" y="95"/>
                  </a:lnTo>
                  <a:lnTo>
                    <a:pt x="6" y="95"/>
                  </a:lnTo>
                  <a:lnTo>
                    <a:pt x="6" y="95"/>
                  </a:lnTo>
                  <a:lnTo>
                    <a:pt x="6" y="95"/>
                  </a:lnTo>
                  <a:lnTo>
                    <a:pt x="6" y="95"/>
                  </a:lnTo>
                  <a:lnTo>
                    <a:pt x="6" y="95"/>
                  </a:lnTo>
                  <a:lnTo>
                    <a:pt x="6" y="95"/>
                  </a:lnTo>
                  <a:lnTo>
                    <a:pt x="6" y="95"/>
                  </a:lnTo>
                  <a:lnTo>
                    <a:pt x="8" y="95"/>
                  </a:lnTo>
                  <a:lnTo>
                    <a:pt x="8" y="95"/>
                  </a:lnTo>
                  <a:lnTo>
                    <a:pt x="8" y="95"/>
                  </a:lnTo>
                  <a:lnTo>
                    <a:pt x="8" y="95"/>
                  </a:lnTo>
                  <a:lnTo>
                    <a:pt x="8" y="95"/>
                  </a:lnTo>
                  <a:lnTo>
                    <a:pt x="8" y="95"/>
                  </a:lnTo>
                  <a:lnTo>
                    <a:pt x="8" y="95"/>
                  </a:lnTo>
                  <a:lnTo>
                    <a:pt x="8" y="95"/>
                  </a:lnTo>
                  <a:lnTo>
                    <a:pt x="9" y="94"/>
                  </a:lnTo>
                  <a:lnTo>
                    <a:pt x="9" y="94"/>
                  </a:lnTo>
                  <a:lnTo>
                    <a:pt x="9" y="94"/>
                  </a:lnTo>
                  <a:lnTo>
                    <a:pt x="9" y="94"/>
                  </a:lnTo>
                  <a:lnTo>
                    <a:pt x="9" y="94"/>
                  </a:lnTo>
                  <a:lnTo>
                    <a:pt x="9" y="94"/>
                  </a:lnTo>
                  <a:lnTo>
                    <a:pt x="9" y="94"/>
                  </a:lnTo>
                  <a:lnTo>
                    <a:pt x="9" y="94"/>
                  </a:lnTo>
                  <a:lnTo>
                    <a:pt x="9" y="92"/>
                  </a:lnTo>
                  <a:lnTo>
                    <a:pt x="9" y="92"/>
                  </a:lnTo>
                  <a:lnTo>
                    <a:pt x="9" y="92"/>
                  </a:lnTo>
                  <a:lnTo>
                    <a:pt x="9" y="92"/>
                  </a:lnTo>
                  <a:lnTo>
                    <a:pt x="9" y="92"/>
                  </a:lnTo>
                  <a:lnTo>
                    <a:pt x="9" y="92"/>
                  </a:lnTo>
                  <a:lnTo>
                    <a:pt x="9" y="92"/>
                  </a:lnTo>
                  <a:lnTo>
                    <a:pt x="9" y="92"/>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90"/>
                  </a:lnTo>
                  <a:lnTo>
                    <a:pt x="10" y="88"/>
                  </a:lnTo>
                  <a:lnTo>
                    <a:pt x="10" y="87"/>
                  </a:lnTo>
                  <a:lnTo>
                    <a:pt x="10" y="85"/>
                  </a:lnTo>
                  <a:lnTo>
                    <a:pt x="10" y="83"/>
                  </a:lnTo>
                  <a:lnTo>
                    <a:pt x="13" y="81"/>
                  </a:lnTo>
                  <a:lnTo>
                    <a:pt x="13" y="79"/>
                  </a:lnTo>
                  <a:lnTo>
                    <a:pt x="14" y="77"/>
                  </a:lnTo>
                  <a:lnTo>
                    <a:pt x="14" y="75"/>
                  </a:lnTo>
                  <a:lnTo>
                    <a:pt x="15" y="73"/>
                  </a:lnTo>
                  <a:lnTo>
                    <a:pt x="15" y="72"/>
                  </a:lnTo>
                  <a:lnTo>
                    <a:pt x="16" y="70"/>
                  </a:lnTo>
                  <a:lnTo>
                    <a:pt x="16" y="68"/>
                  </a:lnTo>
                  <a:lnTo>
                    <a:pt x="19" y="65"/>
                  </a:lnTo>
                  <a:lnTo>
                    <a:pt x="19" y="63"/>
                  </a:lnTo>
                  <a:lnTo>
                    <a:pt x="20" y="61"/>
                  </a:lnTo>
                  <a:lnTo>
                    <a:pt x="20" y="59"/>
                  </a:lnTo>
                  <a:lnTo>
                    <a:pt x="23" y="57"/>
                  </a:lnTo>
                  <a:lnTo>
                    <a:pt x="23" y="57"/>
                  </a:lnTo>
                  <a:lnTo>
                    <a:pt x="23" y="57"/>
                  </a:lnTo>
                  <a:lnTo>
                    <a:pt x="23" y="57"/>
                  </a:lnTo>
                  <a:lnTo>
                    <a:pt x="23" y="55"/>
                  </a:lnTo>
                  <a:lnTo>
                    <a:pt x="23" y="55"/>
                  </a:lnTo>
                  <a:lnTo>
                    <a:pt x="23" y="55"/>
                  </a:lnTo>
                  <a:lnTo>
                    <a:pt x="23" y="55"/>
                  </a:lnTo>
                  <a:lnTo>
                    <a:pt x="24" y="53"/>
                  </a:lnTo>
                  <a:lnTo>
                    <a:pt x="24" y="53"/>
                  </a:lnTo>
                  <a:lnTo>
                    <a:pt x="24" y="53"/>
                  </a:lnTo>
                  <a:lnTo>
                    <a:pt x="24" y="53"/>
                  </a:lnTo>
                  <a:lnTo>
                    <a:pt x="24" y="51"/>
                  </a:lnTo>
                  <a:lnTo>
                    <a:pt x="24" y="51"/>
                  </a:lnTo>
                  <a:lnTo>
                    <a:pt x="24" y="49"/>
                  </a:lnTo>
                  <a:lnTo>
                    <a:pt x="24" y="49"/>
                  </a:lnTo>
                  <a:lnTo>
                    <a:pt x="25" y="47"/>
                  </a:lnTo>
                  <a:lnTo>
                    <a:pt x="24" y="47"/>
                  </a:lnTo>
                  <a:lnTo>
                    <a:pt x="24" y="47"/>
                  </a:lnTo>
                  <a:lnTo>
                    <a:pt x="24" y="47"/>
                  </a:lnTo>
                  <a:lnTo>
                    <a:pt x="24" y="47"/>
                  </a:lnTo>
                  <a:lnTo>
                    <a:pt x="24" y="47"/>
                  </a:lnTo>
                  <a:lnTo>
                    <a:pt x="24" y="47"/>
                  </a:lnTo>
                  <a:lnTo>
                    <a:pt x="24" y="47"/>
                  </a:lnTo>
                  <a:lnTo>
                    <a:pt x="24" y="45"/>
                  </a:lnTo>
                  <a:lnTo>
                    <a:pt x="24" y="45"/>
                  </a:lnTo>
                  <a:lnTo>
                    <a:pt x="24" y="45"/>
                  </a:lnTo>
                  <a:lnTo>
                    <a:pt x="24" y="45"/>
                  </a:lnTo>
                  <a:lnTo>
                    <a:pt x="24" y="43"/>
                  </a:lnTo>
                  <a:lnTo>
                    <a:pt x="24" y="43"/>
                  </a:lnTo>
                  <a:lnTo>
                    <a:pt x="24" y="43"/>
                  </a:lnTo>
                  <a:lnTo>
                    <a:pt x="24" y="43"/>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4" y="41"/>
                  </a:lnTo>
                  <a:lnTo>
                    <a:pt x="25"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lnTo>
                    <a:pt x="23" y="40"/>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86" name="广东">
              <a:hlinkClick action="ppaction://macro?name=Slide1.广东_click" highlightClick="1"/>
              <a:hlinkHover action="ppaction://noaction" highlightClick="1"/>
            </p:cNvPr>
            <p:cNvSpPr>
              <a:spLocks noChangeAspect="1"/>
            </p:cNvSpPr>
            <p:nvPr/>
          </p:nvSpPr>
          <p:spPr bwMode="auto">
            <a:xfrm rot="180000">
              <a:off x="5311550" y="5495077"/>
              <a:ext cx="1162552" cy="1016602"/>
            </a:xfrm>
            <a:custGeom>
              <a:gdLst>
                <a:gd fmla="*/ 161 w 548" name="T0"/>
                <a:gd fmla="*/ 65 h 455" name="T1"/>
                <a:gd fmla="*/ 168 w 548" name="T2"/>
                <a:gd fmla="*/ 36 h 455" name="T3"/>
                <a:gd fmla="*/ 219 w 548" name="T4"/>
                <a:gd fmla="*/ 52 h 455" name="T5"/>
                <a:gd fmla="*/ 216 w 548" name="T6"/>
                <a:gd fmla="*/ 28 h 455" name="T7"/>
                <a:gd fmla="*/ 238 w 548" name="T8"/>
                <a:gd fmla="*/ 2 h 455" name="T9"/>
                <a:gd fmla="*/ 294 w 548" name="T10"/>
                <a:gd fmla="*/ 0 h 455" name="T11"/>
                <a:gd fmla="*/ 344 w 548" name="T12"/>
                <a:gd fmla="*/ 4 h 455" name="T13"/>
                <a:gd fmla="*/ 340 w 548" name="T14"/>
                <a:gd fmla="*/ 32 h 455" name="T15"/>
                <a:gd fmla="*/ 322 w 548" name="T16"/>
                <a:gd fmla="*/ 67 h 455" name="T17"/>
                <a:gd fmla="*/ 406 w 548" name="T18"/>
                <a:gd fmla="*/ 45 h 455" name="T19"/>
                <a:gd fmla="*/ 440 w 548" name="T20"/>
                <a:gd fmla="*/ 52 h 455" name="T21"/>
                <a:gd fmla="*/ 435 w 548" name="T22"/>
                <a:gd fmla="*/ 26 h 455" name="T23"/>
                <a:gd fmla="*/ 492 w 548" name="T24"/>
                <a:gd fmla="*/ 43 h 455" name="T25"/>
                <a:gd fmla="*/ 525 w 548" name="T26"/>
                <a:gd fmla="*/ 67 h 455" name="T27"/>
                <a:gd fmla="*/ 532 w 548" name="T28"/>
                <a:gd fmla="*/ 127 h 455" name="T29"/>
                <a:gd fmla="*/ 507 w 548" name="T30"/>
                <a:gd fmla="*/ 154 h 455" name="T31"/>
                <a:gd fmla="*/ 460 w 548" name="T32"/>
                <a:gd fmla="*/ 195 h 455" name="T33"/>
                <a:gd fmla="*/ 436 w 548" name="T34"/>
                <a:gd fmla="*/ 203 h 455" name="T35"/>
                <a:gd fmla="*/ 426 w 548" name="T36"/>
                <a:gd fmla="*/ 207 h 455" name="T37"/>
                <a:gd fmla="*/ 386 w 548" name="T38"/>
                <a:gd fmla="*/ 221 h 455" name="T39"/>
                <a:gd fmla="*/ 358 w 548" name="T40"/>
                <a:gd fmla="*/ 224 h 455" name="T41"/>
                <a:gd fmla="*/ 283 w 548" name="T42"/>
                <a:gd fmla="*/ 214 h 455" name="T43"/>
                <a:gd fmla="*/ 293 w 548" name="T44"/>
                <a:gd fmla="*/ 267 h 455" name="T45"/>
                <a:gd fmla="*/ 246 w 548" name="T46"/>
                <a:gd fmla="*/ 302 h 455" name="T47"/>
                <a:gd fmla="*/ 198 w 548" name="T48"/>
                <a:gd fmla="*/ 316 h 455" name="T49"/>
                <a:gd fmla="*/ 142 w 548" name="T50"/>
                <a:gd fmla="*/ 338 h 455" name="T51"/>
                <a:gd fmla="*/ 54 w 548" name="T52"/>
                <a:gd fmla="*/ 380 h 455" name="T53"/>
                <a:gd fmla="*/ 67 w 548" name="T54"/>
                <a:gd fmla="*/ 438 h 455" name="T55"/>
                <a:gd fmla="*/ 26 w 548" name="T56"/>
                <a:gd fmla="*/ 453 h 455" name="T57"/>
                <a:gd fmla="*/ 5 w 548" name="T58"/>
                <a:gd fmla="*/ 372 h 455" name="T59"/>
                <a:gd fmla="*/ 24 w 548" name="T60"/>
                <a:gd fmla="*/ 325 h 455" name="T61"/>
                <a:gd fmla="*/ 46 w 548" name="T62"/>
                <a:gd fmla="*/ 303 h 455" name="T63"/>
                <a:gd fmla="*/ 74 w 548" name="T64"/>
                <a:gd fmla="*/ 265 h 455" name="T65"/>
                <a:gd fmla="*/ 115 w 548" name="T66"/>
                <a:gd fmla="*/ 187 h 455" name="T67"/>
                <a:gd fmla="*/ 146 w 548" name="T68"/>
                <a:gd fmla="*/ 128 h 455" name="T69"/>
                <a:gd fmla="*/ 146 w 548" name="T70"/>
                <a:gd fmla="*/ 77 h 455"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455" w="548">
                  <a:moveTo>
                    <a:pt x="146" y="77"/>
                  </a:moveTo>
                  <a:lnTo>
                    <a:pt x="161" y="65"/>
                  </a:lnTo>
                  <a:lnTo>
                    <a:pt x="161" y="43"/>
                  </a:lnTo>
                  <a:lnTo>
                    <a:pt x="168" y="36"/>
                  </a:lnTo>
                  <a:lnTo>
                    <a:pt x="187" y="38"/>
                  </a:lnTo>
                  <a:lnTo>
                    <a:pt x="219" y="52"/>
                  </a:lnTo>
                  <a:lnTo>
                    <a:pt x="224" y="41"/>
                  </a:lnTo>
                  <a:lnTo>
                    <a:pt x="216" y="28"/>
                  </a:lnTo>
                  <a:lnTo>
                    <a:pt x="219" y="19"/>
                  </a:lnTo>
                  <a:lnTo>
                    <a:pt x="238" y="2"/>
                  </a:lnTo>
                  <a:lnTo>
                    <a:pt x="274" y="12"/>
                  </a:lnTo>
                  <a:lnTo>
                    <a:pt x="294" y="0"/>
                  </a:lnTo>
                  <a:lnTo>
                    <a:pt x="309" y="14"/>
                  </a:lnTo>
                  <a:lnTo>
                    <a:pt x="344" y="4"/>
                  </a:lnTo>
                  <a:lnTo>
                    <a:pt x="350" y="18"/>
                  </a:lnTo>
                  <a:lnTo>
                    <a:pt x="340" y="32"/>
                  </a:lnTo>
                  <a:lnTo>
                    <a:pt x="322" y="60"/>
                  </a:lnTo>
                  <a:lnTo>
                    <a:pt x="322" y="67"/>
                  </a:lnTo>
                  <a:lnTo>
                    <a:pt x="332" y="74"/>
                  </a:lnTo>
                  <a:lnTo>
                    <a:pt x="406" y="45"/>
                  </a:lnTo>
                  <a:lnTo>
                    <a:pt x="433" y="60"/>
                  </a:lnTo>
                  <a:lnTo>
                    <a:pt x="440" y="52"/>
                  </a:lnTo>
                  <a:lnTo>
                    <a:pt x="433" y="36"/>
                  </a:lnTo>
                  <a:lnTo>
                    <a:pt x="435" y="26"/>
                  </a:lnTo>
                  <a:lnTo>
                    <a:pt x="483" y="36"/>
                  </a:lnTo>
                  <a:lnTo>
                    <a:pt x="492" y="43"/>
                  </a:lnTo>
                  <a:lnTo>
                    <a:pt x="506" y="41"/>
                  </a:lnTo>
                  <a:lnTo>
                    <a:pt x="525" y="67"/>
                  </a:lnTo>
                  <a:lnTo>
                    <a:pt x="547" y="115"/>
                  </a:lnTo>
                  <a:lnTo>
                    <a:pt x="532" y="127"/>
                  </a:lnTo>
                  <a:lnTo>
                    <a:pt x="520" y="150"/>
                  </a:lnTo>
                  <a:lnTo>
                    <a:pt x="507" y="154"/>
                  </a:lnTo>
                  <a:lnTo>
                    <a:pt x="497" y="177"/>
                  </a:lnTo>
                  <a:lnTo>
                    <a:pt x="460" y="195"/>
                  </a:lnTo>
                  <a:lnTo>
                    <a:pt x="446" y="187"/>
                  </a:lnTo>
                  <a:lnTo>
                    <a:pt x="436" y="203"/>
                  </a:lnTo>
                  <a:lnTo>
                    <a:pt x="436" y="207"/>
                  </a:lnTo>
                  <a:lnTo>
                    <a:pt x="426" y="207"/>
                  </a:lnTo>
                  <a:lnTo>
                    <a:pt x="405" y="207"/>
                  </a:lnTo>
                  <a:lnTo>
                    <a:pt x="386" y="221"/>
                  </a:lnTo>
                  <a:lnTo>
                    <a:pt x="373" y="213"/>
                  </a:lnTo>
                  <a:lnTo>
                    <a:pt x="358" y="224"/>
                  </a:lnTo>
                  <a:lnTo>
                    <a:pt x="317" y="241"/>
                  </a:lnTo>
                  <a:lnTo>
                    <a:pt x="283" y="214"/>
                  </a:lnTo>
                  <a:lnTo>
                    <a:pt x="280" y="236"/>
                  </a:lnTo>
                  <a:lnTo>
                    <a:pt x="293" y="267"/>
                  </a:lnTo>
                  <a:lnTo>
                    <a:pt x="262" y="279"/>
                  </a:lnTo>
                  <a:lnTo>
                    <a:pt x="246" y="302"/>
                  </a:lnTo>
                  <a:lnTo>
                    <a:pt x="214" y="309"/>
                  </a:lnTo>
                  <a:lnTo>
                    <a:pt x="198" y="316"/>
                  </a:lnTo>
                  <a:lnTo>
                    <a:pt x="165" y="316"/>
                  </a:lnTo>
                  <a:lnTo>
                    <a:pt x="142" y="338"/>
                  </a:lnTo>
                  <a:lnTo>
                    <a:pt x="83" y="359"/>
                  </a:lnTo>
                  <a:lnTo>
                    <a:pt x="54" y="380"/>
                  </a:lnTo>
                  <a:lnTo>
                    <a:pt x="40" y="394"/>
                  </a:lnTo>
                  <a:lnTo>
                    <a:pt x="67" y="438"/>
                  </a:lnTo>
                  <a:lnTo>
                    <a:pt x="48" y="454"/>
                  </a:lnTo>
                  <a:lnTo>
                    <a:pt x="26" y="453"/>
                  </a:lnTo>
                  <a:lnTo>
                    <a:pt x="0" y="406"/>
                  </a:lnTo>
                  <a:lnTo>
                    <a:pt x="5" y="372"/>
                  </a:lnTo>
                  <a:lnTo>
                    <a:pt x="5" y="356"/>
                  </a:lnTo>
                  <a:lnTo>
                    <a:pt x="24" y="325"/>
                  </a:lnTo>
                  <a:lnTo>
                    <a:pt x="48" y="319"/>
                  </a:lnTo>
                  <a:lnTo>
                    <a:pt x="46" y="303"/>
                  </a:lnTo>
                  <a:lnTo>
                    <a:pt x="71" y="293"/>
                  </a:lnTo>
                  <a:lnTo>
                    <a:pt x="74" y="265"/>
                  </a:lnTo>
                  <a:lnTo>
                    <a:pt x="117" y="231"/>
                  </a:lnTo>
                  <a:lnTo>
                    <a:pt x="115" y="187"/>
                  </a:lnTo>
                  <a:lnTo>
                    <a:pt x="147" y="144"/>
                  </a:lnTo>
                  <a:lnTo>
                    <a:pt x="146" y="128"/>
                  </a:lnTo>
                  <a:lnTo>
                    <a:pt x="157" y="112"/>
                  </a:lnTo>
                  <a:lnTo>
                    <a:pt x="146" y="77"/>
                  </a:lnTo>
                  <a:lnTo>
                    <a:pt x="146" y="77"/>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87" name="广西">
              <a:hlinkClick action="ppaction://macro?name=Slide1.广西_click" highlightClick="1"/>
              <a:hlinkHover action="ppaction://noaction" highlightClick="1"/>
            </p:cNvPr>
            <p:cNvSpPr>
              <a:spLocks noChangeAspect="1"/>
            </p:cNvSpPr>
            <p:nvPr/>
          </p:nvSpPr>
          <p:spPr bwMode="auto">
            <a:xfrm rot="180000">
              <a:off x="4453853" y="5354660"/>
              <a:ext cx="1195393" cy="898306"/>
            </a:xfrm>
            <a:custGeom>
              <a:gdLst>
                <a:gd fmla="*/ 26 w 568" name="T0"/>
                <a:gd fmla="*/ 159 h 410" name="T1"/>
                <a:gd fmla="*/ 63 w 568" name="T2"/>
                <a:gd fmla="*/ 141 h 410" name="T3"/>
                <a:gd fmla="*/ 122 w 568" name="T4"/>
                <a:gd fmla="*/ 157 h 410" name="T5"/>
                <a:gd fmla="*/ 134 w 568" name="T6"/>
                <a:gd fmla="*/ 131 h 410" name="T7"/>
                <a:gd fmla="*/ 216 w 568" name="T8"/>
                <a:gd fmla="*/ 99 h 410" name="T9"/>
                <a:gd fmla="*/ 283 w 568" name="T10"/>
                <a:gd fmla="*/ 81 h 410" name="T11"/>
                <a:gd fmla="*/ 311 w 568" name="T12"/>
                <a:gd fmla="*/ 88 h 410" name="T13"/>
                <a:gd fmla="*/ 334 w 568" name="T14"/>
                <a:gd fmla="*/ 71 h 410" name="T15"/>
                <a:gd fmla="*/ 342 w 568" name="T16"/>
                <a:gd fmla="*/ 55 h 410" name="T17"/>
                <a:gd fmla="*/ 370 w 568" name="T18"/>
                <a:gd fmla="*/ 35 h 410" name="T19"/>
                <a:gd fmla="*/ 407 w 568" name="T20"/>
                <a:gd fmla="*/ 15 h 410" name="T21"/>
                <a:gd fmla="*/ 423 w 568" name="T22"/>
                <a:gd fmla="*/ 33 h 410" name="T23"/>
                <a:gd fmla="*/ 458 w 568" name="T24"/>
                <a:gd fmla="*/ 7 h 410" name="T25"/>
                <a:gd fmla="*/ 495 w 568" name="T26"/>
                <a:gd fmla="*/ 7 h 410" name="T27"/>
                <a:gd fmla="*/ 514 w 568" name="T28"/>
                <a:gd fmla="*/ 37 h 410" name="T29"/>
                <a:gd fmla="*/ 492 w 568" name="T30"/>
                <a:gd fmla="*/ 90 h 410" name="T31"/>
                <a:gd fmla="*/ 492 w 568" name="T32"/>
                <a:gd fmla="*/ 114 h 410" name="T33"/>
                <a:gd fmla="*/ 529 w 568" name="T34"/>
                <a:gd fmla="*/ 133 h 410" name="T35"/>
                <a:gd fmla="*/ 556 w 568" name="T36"/>
                <a:gd fmla="*/ 124 h 410" name="T37"/>
                <a:gd fmla="*/ 556 w 568" name="T38"/>
                <a:gd fmla="*/ 175 h 410" name="T39"/>
                <a:gd fmla="*/ 525 w 568" name="T40"/>
                <a:gd fmla="*/ 234 h 410" name="T41"/>
                <a:gd fmla="*/ 484 w 568" name="T42"/>
                <a:gd fmla="*/ 312 h 410" name="T43"/>
                <a:gd fmla="*/ 456 w 568" name="T44"/>
                <a:gd fmla="*/ 350 h 410" name="T45"/>
                <a:gd fmla="*/ 434 w 568" name="T46"/>
                <a:gd fmla="*/ 372 h 410" name="T47"/>
                <a:gd fmla="*/ 368 w 568" name="T48"/>
                <a:gd fmla="*/ 409 h 410" name="T49"/>
                <a:gd fmla="*/ 317 w 568" name="T50"/>
                <a:gd fmla="*/ 380 h 410" name="T51"/>
                <a:gd fmla="*/ 264 w 568" name="T52"/>
                <a:gd fmla="*/ 408 h 410" name="T53"/>
                <a:gd fmla="*/ 178 w 568" name="T54"/>
                <a:gd fmla="*/ 376 h 410" name="T55"/>
                <a:gd fmla="*/ 182 w 568" name="T56"/>
                <a:gd fmla="*/ 317 h 410" name="T57"/>
                <a:gd fmla="*/ 142 w 568" name="T58"/>
                <a:gd fmla="*/ 304 h 410" name="T59"/>
                <a:gd fmla="*/ 114 w 568" name="T60"/>
                <a:gd fmla="*/ 304 h 410" name="T61"/>
                <a:gd fmla="*/ 98 w 568" name="T62"/>
                <a:gd fmla="*/ 261 h 410" name="T63"/>
                <a:gd fmla="*/ 124 w 568" name="T64"/>
                <a:gd fmla="*/ 254 h 410" name="T65"/>
                <a:gd fmla="*/ 122 w 568" name="T66"/>
                <a:gd fmla="*/ 218 h 410" name="T67"/>
                <a:gd fmla="*/ 48 w 568" name="T68"/>
                <a:gd fmla="*/ 188 h 410" name="T69"/>
                <a:gd fmla="*/ 13 w 568" name="T70"/>
                <a:gd fmla="*/ 188 h 410" name="T71"/>
                <a:gd fmla="*/ 2 w 568" name="T72"/>
                <a:gd fmla="*/ 157 h 410"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410" w="568">
                  <a:moveTo>
                    <a:pt x="2" y="157"/>
                  </a:moveTo>
                  <a:lnTo>
                    <a:pt x="26" y="159"/>
                  </a:lnTo>
                  <a:lnTo>
                    <a:pt x="52" y="135"/>
                  </a:lnTo>
                  <a:lnTo>
                    <a:pt x="63" y="141"/>
                  </a:lnTo>
                  <a:lnTo>
                    <a:pt x="114" y="162"/>
                  </a:lnTo>
                  <a:lnTo>
                    <a:pt x="122" y="157"/>
                  </a:lnTo>
                  <a:lnTo>
                    <a:pt x="124" y="140"/>
                  </a:lnTo>
                  <a:lnTo>
                    <a:pt x="134" y="131"/>
                  </a:lnTo>
                  <a:lnTo>
                    <a:pt x="204" y="85"/>
                  </a:lnTo>
                  <a:lnTo>
                    <a:pt x="216" y="99"/>
                  </a:lnTo>
                  <a:lnTo>
                    <a:pt x="259" y="112"/>
                  </a:lnTo>
                  <a:lnTo>
                    <a:pt x="283" y="81"/>
                  </a:lnTo>
                  <a:lnTo>
                    <a:pt x="294" y="88"/>
                  </a:lnTo>
                  <a:lnTo>
                    <a:pt x="311" y="88"/>
                  </a:lnTo>
                  <a:lnTo>
                    <a:pt x="311" y="79"/>
                  </a:lnTo>
                  <a:lnTo>
                    <a:pt x="334" y="71"/>
                  </a:lnTo>
                  <a:lnTo>
                    <a:pt x="334" y="65"/>
                  </a:lnTo>
                  <a:lnTo>
                    <a:pt x="342" y="55"/>
                  </a:lnTo>
                  <a:lnTo>
                    <a:pt x="347" y="56"/>
                  </a:lnTo>
                  <a:lnTo>
                    <a:pt x="370" y="35"/>
                  </a:lnTo>
                  <a:lnTo>
                    <a:pt x="389" y="39"/>
                  </a:lnTo>
                  <a:lnTo>
                    <a:pt x="407" y="15"/>
                  </a:lnTo>
                  <a:lnTo>
                    <a:pt x="415" y="35"/>
                  </a:lnTo>
                  <a:lnTo>
                    <a:pt x="423" y="33"/>
                  </a:lnTo>
                  <a:lnTo>
                    <a:pt x="452" y="6"/>
                  </a:lnTo>
                  <a:lnTo>
                    <a:pt x="458" y="7"/>
                  </a:lnTo>
                  <a:lnTo>
                    <a:pt x="472" y="0"/>
                  </a:lnTo>
                  <a:lnTo>
                    <a:pt x="495" y="7"/>
                  </a:lnTo>
                  <a:lnTo>
                    <a:pt x="495" y="33"/>
                  </a:lnTo>
                  <a:lnTo>
                    <a:pt x="514" y="37"/>
                  </a:lnTo>
                  <a:lnTo>
                    <a:pt x="509" y="63"/>
                  </a:lnTo>
                  <a:lnTo>
                    <a:pt x="492" y="90"/>
                  </a:lnTo>
                  <a:lnTo>
                    <a:pt x="484" y="114"/>
                  </a:lnTo>
                  <a:lnTo>
                    <a:pt x="492" y="114"/>
                  </a:lnTo>
                  <a:lnTo>
                    <a:pt x="511" y="95"/>
                  </a:lnTo>
                  <a:lnTo>
                    <a:pt x="529" y="133"/>
                  </a:lnTo>
                  <a:lnTo>
                    <a:pt x="542" y="124"/>
                  </a:lnTo>
                  <a:lnTo>
                    <a:pt x="556" y="124"/>
                  </a:lnTo>
                  <a:lnTo>
                    <a:pt x="567" y="159"/>
                  </a:lnTo>
                  <a:lnTo>
                    <a:pt x="556" y="175"/>
                  </a:lnTo>
                  <a:lnTo>
                    <a:pt x="557" y="191"/>
                  </a:lnTo>
                  <a:lnTo>
                    <a:pt x="525" y="234"/>
                  </a:lnTo>
                  <a:lnTo>
                    <a:pt x="527" y="278"/>
                  </a:lnTo>
                  <a:lnTo>
                    <a:pt x="484" y="312"/>
                  </a:lnTo>
                  <a:lnTo>
                    <a:pt x="481" y="340"/>
                  </a:lnTo>
                  <a:lnTo>
                    <a:pt x="456" y="350"/>
                  </a:lnTo>
                  <a:lnTo>
                    <a:pt x="458" y="366"/>
                  </a:lnTo>
                  <a:lnTo>
                    <a:pt x="434" y="372"/>
                  </a:lnTo>
                  <a:lnTo>
                    <a:pt x="415" y="403"/>
                  </a:lnTo>
                  <a:lnTo>
                    <a:pt x="368" y="409"/>
                  </a:lnTo>
                  <a:lnTo>
                    <a:pt x="342" y="390"/>
                  </a:lnTo>
                  <a:lnTo>
                    <a:pt x="317" y="380"/>
                  </a:lnTo>
                  <a:lnTo>
                    <a:pt x="289" y="406"/>
                  </a:lnTo>
                  <a:lnTo>
                    <a:pt x="264" y="408"/>
                  </a:lnTo>
                  <a:lnTo>
                    <a:pt x="236" y="409"/>
                  </a:lnTo>
                  <a:lnTo>
                    <a:pt x="178" y="376"/>
                  </a:lnTo>
                  <a:lnTo>
                    <a:pt x="167" y="347"/>
                  </a:lnTo>
                  <a:lnTo>
                    <a:pt x="182" y="317"/>
                  </a:lnTo>
                  <a:lnTo>
                    <a:pt x="164" y="304"/>
                  </a:lnTo>
                  <a:lnTo>
                    <a:pt x="142" y="304"/>
                  </a:lnTo>
                  <a:lnTo>
                    <a:pt x="137" y="299"/>
                  </a:lnTo>
                  <a:lnTo>
                    <a:pt x="114" y="304"/>
                  </a:lnTo>
                  <a:lnTo>
                    <a:pt x="89" y="288"/>
                  </a:lnTo>
                  <a:lnTo>
                    <a:pt x="98" y="261"/>
                  </a:lnTo>
                  <a:lnTo>
                    <a:pt x="117" y="260"/>
                  </a:lnTo>
                  <a:lnTo>
                    <a:pt x="124" y="254"/>
                  </a:lnTo>
                  <a:lnTo>
                    <a:pt x="130" y="231"/>
                  </a:lnTo>
                  <a:lnTo>
                    <a:pt x="122" y="218"/>
                  </a:lnTo>
                  <a:lnTo>
                    <a:pt x="58" y="206"/>
                  </a:lnTo>
                  <a:lnTo>
                    <a:pt x="48" y="188"/>
                  </a:lnTo>
                  <a:lnTo>
                    <a:pt x="29" y="188"/>
                  </a:lnTo>
                  <a:lnTo>
                    <a:pt x="13" y="188"/>
                  </a:lnTo>
                  <a:lnTo>
                    <a:pt x="0" y="167"/>
                  </a:lnTo>
                  <a:lnTo>
                    <a:pt x="2" y="157"/>
                  </a:lnTo>
                  <a:lnTo>
                    <a:pt x="2" y="157"/>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88" name="福建">
              <a:hlinkClick action="ppaction://macro?name=Slide1.福建_click" highlightClick="1"/>
              <a:hlinkHover action="ppaction://noaction" highlightClick="1"/>
            </p:cNvPr>
            <p:cNvSpPr>
              <a:spLocks noChangeAspect="1"/>
            </p:cNvSpPr>
            <p:nvPr/>
          </p:nvSpPr>
          <p:spPr bwMode="auto">
            <a:xfrm rot="180000">
              <a:off x="6265864" y="4928337"/>
              <a:ext cx="656809" cy="857641"/>
            </a:xfrm>
            <a:custGeom>
              <a:gdLst>
                <a:gd fmla="*/ 0 w 309" name="T0"/>
                <a:gd fmla="*/ 299 h 389" name="T1"/>
                <a:gd fmla="*/ 11 w 309" name="T2"/>
                <a:gd fmla="*/ 232 h 389" name="T3"/>
                <a:gd fmla="*/ 22 w 309" name="T4"/>
                <a:gd fmla="*/ 214 h 389" name="T5"/>
                <a:gd fmla="*/ 26 w 309" name="T6"/>
                <a:gd fmla="*/ 195 h 389" name="T7"/>
                <a:gd fmla="*/ 41 w 309" name="T8"/>
                <a:gd fmla="*/ 168 h 389" name="T9"/>
                <a:gd fmla="*/ 33 w 309" name="T10"/>
                <a:gd fmla="*/ 157 h 389" name="T11"/>
                <a:gd fmla="*/ 35 w 309" name="T12"/>
                <a:gd fmla="*/ 134 h 389" name="T13"/>
                <a:gd fmla="*/ 66 w 309" name="T14"/>
                <a:gd fmla="*/ 98 h 389" name="T15"/>
                <a:gd fmla="*/ 63 w 309" name="T16"/>
                <a:gd fmla="*/ 75 h 389" name="T17"/>
                <a:gd fmla="*/ 85 w 309" name="T18"/>
                <a:gd fmla="*/ 40 h 389" name="T19"/>
                <a:gd fmla="*/ 105 w 309" name="T20"/>
                <a:gd fmla="*/ 45 h 389" name="T21"/>
                <a:gd fmla="*/ 146 w 309" name="T22"/>
                <a:gd fmla="*/ 16 h 389" name="T23"/>
                <a:gd fmla="*/ 153 w 309" name="T24"/>
                <a:gd fmla="*/ 0 h 389" name="T25"/>
                <a:gd fmla="*/ 177 w 309" name="T26"/>
                <a:gd fmla="*/ 5 h 389" name="T27"/>
                <a:gd fmla="*/ 190 w 309" name="T28"/>
                <a:gd fmla="*/ 37 h 389" name="T29"/>
                <a:gd fmla="*/ 201 w 309" name="T30"/>
                <a:gd fmla="*/ 61 h 389" name="T31"/>
                <a:gd fmla="*/ 226 w 309" name="T32"/>
                <a:gd fmla="*/ 61 h 389" name="T33"/>
                <a:gd fmla="*/ 244 w 309" name="T34"/>
                <a:gd fmla="*/ 40 h 389" name="T35"/>
                <a:gd fmla="*/ 267 w 309" name="T36"/>
                <a:gd fmla="*/ 64 h 389" name="T37"/>
                <a:gd fmla="*/ 308 w 309" name="T38"/>
                <a:gd fmla="*/ 48 h 389" name="T39"/>
                <a:gd fmla="*/ 282 w 309" name="T40"/>
                <a:gd fmla="*/ 112 h 389" name="T41"/>
                <a:gd fmla="*/ 267 w 309" name="T42"/>
                <a:gd fmla="*/ 104 h 389" name="T43"/>
                <a:gd fmla="*/ 256 w 309" name="T44"/>
                <a:gd fmla="*/ 109 h 389" name="T45"/>
                <a:gd fmla="*/ 255 w 309" name="T46"/>
                <a:gd fmla="*/ 115 h 389" name="T47"/>
                <a:gd fmla="*/ 269 w 309" name="T48"/>
                <a:gd fmla="*/ 131 h 389" name="T49"/>
                <a:gd fmla="*/ 266 w 309" name="T50"/>
                <a:gd fmla="*/ 189 h 389" name="T51"/>
                <a:gd fmla="*/ 269 w 309" name="T52"/>
                <a:gd fmla="*/ 208 h 389" name="T53"/>
                <a:gd fmla="*/ 266 w 309" name="T54"/>
                <a:gd fmla="*/ 213 h 389" name="T55"/>
                <a:gd fmla="*/ 249 w 309" name="T56"/>
                <a:gd fmla="*/ 209 h 389" name="T57"/>
                <a:gd fmla="*/ 238 w 309" name="T58"/>
                <a:gd fmla="*/ 220 h 389" name="T59"/>
                <a:gd fmla="*/ 245 w 309" name="T60"/>
                <a:gd fmla="*/ 235 h 389" name="T61"/>
                <a:gd fmla="*/ 225 w 309" name="T62"/>
                <a:gd fmla="*/ 255 h 389" name="T63"/>
                <a:gd fmla="*/ 229 w 309" name="T64"/>
                <a:gd fmla="*/ 263 h 389" name="T65"/>
                <a:gd fmla="*/ 208 w 309" name="T66"/>
                <a:gd fmla="*/ 273 h 389" name="T67"/>
                <a:gd fmla="*/ 211 w 309" name="T68"/>
                <a:gd fmla="*/ 289 h 389" name="T69"/>
                <a:gd fmla="*/ 205 w 309" name="T70"/>
                <a:gd fmla="*/ 296 h 389" name="T71"/>
                <a:gd fmla="*/ 177 w 309" name="T72"/>
                <a:gd fmla="*/ 296 h 389" name="T73"/>
                <a:gd fmla="*/ 162 w 309" name="T74"/>
                <a:gd fmla="*/ 309 h 389" name="T75"/>
                <a:gd fmla="*/ 160 w 309" name="T76"/>
                <a:gd fmla="*/ 314 h 389" name="T77"/>
                <a:gd fmla="*/ 173 w 309" name="T78"/>
                <a:gd fmla="*/ 323 h 389" name="T79"/>
                <a:gd fmla="*/ 159 w 309" name="T80"/>
                <a:gd fmla="*/ 345 h 389" name="T81"/>
                <a:gd fmla="*/ 140 w 309" name="T82"/>
                <a:gd fmla="*/ 370 h 389" name="T83"/>
                <a:gd fmla="*/ 132 w 309" name="T84"/>
                <a:gd fmla="*/ 367 h 389" name="T85"/>
                <a:gd fmla="*/ 112 w 309" name="T86"/>
                <a:gd fmla="*/ 388 h 389" name="T87"/>
                <a:gd fmla="*/ 90 w 309" name="T88"/>
                <a:gd fmla="*/ 340 h 389" name="T89"/>
                <a:gd fmla="*/ 71 w 309" name="T90"/>
                <a:gd fmla="*/ 314 h 389" name="T91"/>
                <a:gd fmla="*/ 57 w 309" name="T92"/>
                <a:gd fmla="*/ 316 h 389" name="T93"/>
                <a:gd fmla="*/ 48 w 309" name="T94"/>
                <a:gd fmla="*/ 309 h 389" name="T95"/>
                <a:gd fmla="*/ 0 w 309" name="T96"/>
                <a:gd fmla="*/ 299 h 389" name="T97"/>
                <a:gd fmla="*/ 0 w 309" name="T98"/>
                <a:gd fmla="*/ 299 h 389" name="T9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b="b" l="0" r="r" t="0"/>
              <a:pathLst>
                <a:path h="389" w="309">
                  <a:moveTo>
                    <a:pt x="0" y="299"/>
                  </a:moveTo>
                  <a:lnTo>
                    <a:pt x="11" y="232"/>
                  </a:lnTo>
                  <a:lnTo>
                    <a:pt x="22" y="214"/>
                  </a:lnTo>
                  <a:lnTo>
                    <a:pt x="26" y="195"/>
                  </a:lnTo>
                  <a:lnTo>
                    <a:pt x="41" y="168"/>
                  </a:lnTo>
                  <a:lnTo>
                    <a:pt x="33" y="157"/>
                  </a:lnTo>
                  <a:lnTo>
                    <a:pt x="35" y="134"/>
                  </a:lnTo>
                  <a:lnTo>
                    <a:pt x="66" y="98"/>
                  </a:lnTo>
                  <a:lnTo>
                    <a:pt x="63" y="75"/>
                  </a:lnTo>
                  <a:lnTo>
                    <a:pt x="85" y="40"/>
                  </a:lnTo>
                  <a:lnTo>
                    <a:pt x="105" y="45"/>
                  </a:lnTo>
                  <a:lnTo>
                    <a:pt x="146" y="16"/>
                  </a:lnTo>
                  <a:lnTo>
                    <a:pt x="153" y="0"/>
                  </a:lnTo>
                  <a:lnTo>
                    <a:pt x="177" y="5"/>
                  </a:lnTo>
                  <a:lnTo>
                    <a:pt x="190" y="37"/>
                  </a:lnTo>
                  <a:lnTo>
                    <a:pt x="201" y="61"/>
                  </a:lnTo>
                  <a:lnTo>
                    <a:pt x="226" y="61"/>
                  </a:lnTo>
                  <a:lnTo>
                    <a:pt x="244" y="40"/>
                  </a:lnTo>
                  <a:lnTo>
                    <a:pt x="267" y="64"/>
                  </a:lnTo>
                  <a:lnTo>
                    <a:pt x="308" y="48"/>
                  </a:lnTo>
                  <a:lnTo>
                    <a:pt x="282" y="112"/>
                  </a:lnTo>
                  <a:lnTo>
                    <a:pt x="267" y="104"/>
                  </a:lnTo>
                  <a:lnTo>
                    <a:pt x="256" y="109"/>
                  </a:lnTo>
                  <a:lnTo>
                    <a:pt x="255" y="115"/>
                  </a:lnTo>
                  <a:lnTo>
                    <a:pt x="269" y="131"/>
                  </a:lnTo>
                  <a:lnTo>
                    <a:pt x="266" y="189"/>
                  </a:lnTo>
                  <a:lnTo>
                    <a:pt x="269" y="208"/>
                  </a:lnTo>
                  <a:lnTo>
                    <a:pt x="266" y="213"/>
                  </a:lnTo>
                  <a:lnTo>
                    <a:pt x="249" y="209"/>
                  </a:lnTo>
                  <a:lnTo>
                    <a:pt x="238" y="220"/>
                  </a:lnTo>
                  <a:lnTo>
                    <a:pt x="245" y="235"/>
                  </a:lnTo>
                  <a:lnTo>
                    <a:pt x="225" y="255"/>
                  </a:lnTo>
                  <a:lnTo>
                    <a:pt x="229" y="263"/>
                  </a:lnTo>
                  <a:lnTo>
                    <a:pt x="208" y="273"/>
                  </a:lnTo>
                  <a:lnTo>
                    <a:pt x="211" y="289"/>
                  </a:lnTo>
                  <a:lnTo>
                    <a:pt x="205" y="296"/>
                  </a:lnTo>
                  <a:lnTo>
                    <a:pt x="177" y="296"/>
                  </a:lnTo>
                  <a:lnTo>
                    <a:pt x="162" y="309"/>
                  </a:lnTo>
                  <a:lnTo>
                    <a:pt x="160" y="314"/>
                  </a:lnTo>
                  <a:lnTo>
                    <a:pt x="173" y="323"/>
                  </a:lnTo>
                  <a:lnTo>
                    <a:pt x="159" y="345"/>
                  </a:lnTo>
                  <a:lnTo>
                    <a:pt x="140" y="370"/>
                  </a:lnTo>
                  <a:lnTo>
                    <a:pt x="132" y="367"/>
                  </a:lnTo>
                  <a:lnTo>
                    <a:pt x="112" y="388"/>
                  </a:lnTo>
                  <a:lnTo>
                    <a:pt x="90" y="340"/>
                  </a:lnTo>
                  <a:lnTo>
                    <a:pt x="71" y="314"/>
                  </a:lnTo>
                  <a:lnTo>
                    <a:pt x="57" y="316"/>
                  </a:lnTo>
                  <a:lnTo>
                    <a:pt x="48" y="309"/>
                  </a:lnTo>
                  <a:lnTo>
                    <a:pt x="0" y="299"/>
                  </a:lnTo>
                  <a:lnTo>
                    <a:pt x="0" y="299"/>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89" name="江西">
              <a:hlinkClick action="ppaction://macro?name=Slide1.江西_click" highlightClick="1"/>
              <a:hlinkHover action="ppaction://noaction" highlightClick="1"/>
            </p:cNvPr>
            <p:cNvSpPr>
              <a:spLocks noChangeAspect="1"/>
            </p:cNvSpPr>
            <p:nvPr/>
          </p:nvSpPr>
          <p:spPr bwMode="auto">
            <a:xfrm rot="180000">
              <a:off x="5874900" y="4635941"/>
              <a:ext cx="729058" cy="1053566"/>
            </a:xfrm>
            <a:custGeom>
              <a:gdLst>
                <a:gd fmla="*/ 7 w 341" name="T0"/>
                <a:gd fmla="*/ 103 h 473" name="T1"/>
                <a:gd fmla="*/ 29 w 341" name="T2"/>
                <a:gd fmla="*/ 146 h 473" name="T3"/>
                <a:gd fmla="*/ 32 w 341" name="T4"/>
                <a:gd fmla="*/ 168 h 473" name="T5"/>
                <a:gd fmla="*/ 20 w 341" name="T6"/>
                <a:gd fmla="*/ 190 h 473" name="T7"/>
                <a:gd fmla="*/ 3 w 341" name="T8"/>
                <a:gd fmla="*/ 203 h 473" name="T9"/>
                <a:gd fmla="*/ 0 w 341" name="T10"/>
                <a:gd fmla="*/ 243 h 473" name="T11"/>
                <a:gd fmla="*/ 5 w 341" name="T12"/>
                <a:gd fmla="*/ 249 h 473" name="T13"/>
                <a:gd fmla="*/ 14 w 341" name="T14"/>
                <a:gd fmla="*/ 245 h 473" name="T15"/>
                <a:gd fmla="*/ 20 w 341" name="T16"/>
                <a:gd fmla="*/ 249 h 473" name="T17"/>
                <a:gd fmla="*/ 20 w 341" name="T18"/>
                <a:gd fmla="*/ 275 h 473" name="T19"/>
                <a:gd fmla="*/ 32 w 341" name="T20"/>
                <a:gd fmla="*/ 305 h 473" name="T21"/>
                <a:gd fmla="*/ 45 w 341" name="T22"/>
                <a:gd fmla="*/ 310 h 473" name="T23"/>
                <a:gd fmla="*/ 46 w 341" name="T24"/>
                <a:gd fmla="*/ 354 h 473" name="T25"/>
                <a:gd fmla="*/ 38 w 341" name="T26"/>
                <a:gd fmla="*/ 384 h 473" name="T27"/>
                <a:gd fmla="*/ 46 w 341" name="T28"/>
                <a:gd fmla="*/ 398 h 473" name="T29"/>
                <a:gd fmla="*/ 61 w 341" name="T30"/>
                <a:gd fmla="*/ 412 h 473" name="T31"/>
                <a:gd fmla="*/ 96 w 341" name="T32"/>
                <a:gd fmla="*/ 402 h 473" name="T33"/>
                <a:gd fmla="*/ 102 w 341" name="T34"/>
                <a:gd fmla="*/ 416 h 473" name="T35"/>
                <a:gd fmla="*/ 92 w 341" name="T36"/>
                <a:gd fmla="*/ 430 h 473" name="T37"/>
                <a:gd fmla="*/ 74 w 341" name="T38"/>
                <a:gd fmla="*/ 458 h 473" name="T39"/>
                <a:gd fmla="*/ 74 w 341" name="T40"/>
                <a:gd fmla="*/ 465 h 473" name="T41"/>
                <a:gd fmla="*/ 84 w 341" name="T42"/>
                <a:gd fmla="*/ 472 h 473" name="T43"/>
                <a:gd fmla="*/ 158 w 341" name="T44"/>
                <a:gd fmla="*/ 443 h 473" name="T45"/>
                <a:gd fmla="*/ 185 w 341" name="T46"/>
                <a:gd fmla="*/ 458 h 473" name="T47"/>
                <a:gd fmla="*/ 192 w 341" name="T48"/>
                <a:gd fmla="*/ 450 h 473" name="T49"/>
                <a:gd fmla="*/ 185 w 341" name="T50"/>
                <a:gd fmla="*/ 434 h 473" name="T51"/>
                <a:gd fmla="*/ 187 w 341" name="T52"/>
                <a:gd fmla="*/ 424 h 473" name="T53"/>
                <a:gd fmla="*/ 198 w 341" name="T54"/>
                <a:gd fmla="*/ 357 h 473" name="T55"/>
                <a:gd fmla="*/ 209 w 341" name="T56"/>
                <a:gd fmla="*/ 339 h 473" name="T57"/>
                <a:gd fmla="*/ 213 w 341" name="T58"/>
                <a:gd fmla="*/ 320 h 473" name="T59"/>
                <a:gd fmla="*/ 228 w 341" name="T60"/>
                <a:gd fmla="*/ 293 h 473" name="T61"/>
                <a:gd fmla="*/ 220 w 341" name="T62"/>
                <a:gd fmla="*/ 282 h 473" name="T63"/>
                <a:gd fmla="*/ 222 w 341" name="T64"/>
                <a:gd fmla="*/ 259 h 473" name="T65"/>
                <a:gd fmla="*/ 253 w 341" name="T66"/>
                <a:gd fmla="*/ 223 h 473" name="T67"/>
                <a:gd fmla="*/ 250 w 341" name="T68"/>
                <a:gd fmla="*/ 200 h 473" name="T69"/>
                <a:gd fmla="*/ 272 w 341" name="T70"/>
                <a:gd fmla="*/ 165 h 473" name="T71"/>
                <a:gd fmla="*/ 292 w 341" name="T72"/>
                <a:gd fmla="*/ 170 h 473" name="T73"/>
                <a:gd fmla="*/ 333 w 341" name="T74"/>
                <a:gd fmla="*/ 141 h 473" name="T75"/>
                <a:gd fmla="*/ 340 w 341" name="T76"/>
                <a:gd fmla="*/ 125 h 473" name="T77"/>
                <a:gd fmla="*/ 314 w 341" name="T78"/>
                <a:gd fmla="*/ 77 h 473" name="T79"/>
                <a:gd fmla="*/ 298 w 341" name="T80"/>
                <a:gd fmla="*/ 53 h 473" name="T81"/>
                <a:gd fmla="*/ 308 w 341" name="T82"/>
                <a:gd fmla="*/ 41 h 473" name="T83"/>
                <a:gd fmla="*/ 294 w 341" name="T84"/>
                <a:gd fmla="*/ 28 h 473" name="T85"/>
                <a:gd fmla="*/ 254 w 341" name="T86"/>
                <a:gd fmla="*/ 28 h 473" name="T87"/>
                <a:gd fmla="*/ 238 w 341" name="T88"/>
                <a:gd fmla="*/ 10 h 473" name="T89"/>
                <a:gd fmla="*/ 207 w 341" name="T90"/>
                <a:gd fmla="*/ 40 h 473" name="T91"/>
                <a:gd fmla="*/ 195 w 341" name="T92"/>
                <a:gd fmla="*/ 35 h 473" name="T93"/>
                <a:gd fmla="*/ 209 w 341" name="T94"/>
                <a:gd fmla="*/ 11 h 473" name="T95"/>
                <a:gd fmla="*/ 207 w 341" name="T96"/>
                <a:gd fmla="*/ 3 h 473" name="T97"/>
                <a:gd fmla="*/ 195 w 341" name="T98"/>
                <a:gd fmla="*/ 0 h 473" name="T99"/>
                <a:gd fmla="*/ 158 w 341" name="T100"/>
                <a:gd fmla="*/ 20 h 473" name="T101"/>
                <a:gd fmla="*/ 130 w 341" name="T102"/>
                <a:gd fmla="*/ 30 h 473" name="T103"/>
                <a:gd fmla="*/ 106 w 341" name="T104"/>
                <a:gd fmla="*/ 28 h 473" name="T105"/>
                <a:gd fmla="*/ 53 w 341" name="T106"/>
                <a:gd fmla="*/ 75 h 473" name="T107"/>
                <a:gd fmla="*/ 26 w 341" name="T108"/>
                <a:gd fmla="*/ 84 h 473" name="T109"/>
                <a:gd fmla="*/ 7 w 341" name="T110"/>
                <a:gd fmla="*/ 103 h 473" name="T111"/>
                <a:gd fmla="*/ 7 w 341" name="T112"/>
                <a:gd fmla="*/ 103 h 473"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472" w="341">
                  <a:moveTo>
                    <a:pt x="7" y="103"/>
                  </a:moveTo>
                  <a:lnTo>
                    <a:pt x="29" y="146"/>
                  </a:lnTo>
                  <a:lnTo>
                    <a:pt x="32" y="168"/>
                  </a:lnTo>
                  <a:lnTo>
                    <a:pt x="20" y="190"/>
                  </a:lnTo>
                  <a:lnTo>
                    <a:pt x="3" y="203"/>
                  </a:lnTo>
                  <a:lnTo>
                    <a:pt x="0" y="243"/>
                  </a:lnTo>
                  <a:lnTo>
                    <a:pt x="5" y="249"/>
                  </a:lnTo>
                  <a:lnTo>
                    <a:pt x="14" y="245"/>
                  </a:lnTo>
                  <a:lnTo>
                    <a:pt x="20" y="249"/>
                  </a:lnTo>
                  <a:lnTo>
                    <a:pt x="20" y="275"/>
                  </a:lnTo>
                  <a:lnTo>
                    <a:pt x="32" y="305"/>
                  </a:lnTo>
                  <a:lnTo>
                    <a:pt x="45" y="310"/>
                  </a:lnTo>
                  <a:lnTo>
                    <a:pt x="46" y="354"/>
                  </a:lnTo>
                  <a:lnTo>
                    <a:pt x="38" y="384"/>
                  </a:lnTo>
                  <a:lnTo>
                    <a:pt x="46" y="398"/>
                  </a:lnTo>
                  <a:lnTo>
                    <a:pt x="61" y="412"/>
                  </a:lnTo>
                  <a:lnTo>
                    <a:pt x="96" y="402"/>
                  </a:lnTo>
                  <a:lnTo>
                    <a:pt x="102" y="416"/>
                  </a:lnTo>
                  <a:lnTo>
                    <a:pt x="92" y="430"/>
                  </a:lnTo>
                  <a:lnTo>
                    <a:pt x="74" y="458"/>
                  </a:lnTo>
                  <a:lnTo>
                    <a:pt x="74" y="465"/>
                  </a:lnTo>
                  <a:lnTo>
                    <a:pt x="84" y="472"/>
                  </a:lnTo>
                  <a:lnTo>
                    <a:pt x="158" y="443"/>
                  </a:lnTo>
                  <a:lnTo>
                    <a:pt x="185" y="458"/>
                  </a:lnTo>
                  <a:lnTo>
                    <a:pt x="192" y="450"/>
                  </a:lnTo>
                  <a:lnTo>
                    <a:pt x="185" y="434"/>
                  </a:lnTo>
                  <a:lnTo>
                    <a:pt x="187" y="424"/>
                  </a:lnTo>
                  <a:lnTo>
                    <a:pt x="198" y="357"/>
                  </a:lnTo>
                  <a:lnTo>
                    <a:pt x="209" y="339"/>
                  </a:lnTo>
                  <a:lnTo>
                    <a:pt x="213" y="320"/>
                  </a:lnTo>
                  <a:lnTo>
                    <a:pt x="228" y="293"/>
                  </a:lnTo>
                  <a:lnTo>
                    <a:pt x="220" y="282"/>
                  </a:lnTo>
                  <a:lnTo>
                    <a:pt x="222" y="259"/>
                  </a:lnTo>
                  <a:lnTo>
                    <a:pt x="253" y="223"/>
                  </a:lnTo>
                  <a:lnTo>
                    <a:pt x="250" y="200"/>
                  </a:lnTo>
                  <a:lnTo>
                    <a:pt x="272" y="165"/>
                  </a:lnTo>
                  <a:lnTo>
                    <a:pt x="292" y="170"/>
                  </a:lnTo>
                  <a:lnTo>
                    <a:pt x="333" y="141"/>
                  </a:lnTo>
                  <a:lnTo>
                    <a:pt x="340" y="125"/>
                  </a:lnTo>
                  <a:lnTo>
                    <a:pt x="314" y="77"/>
                  </a:lnTo>
                  <a:lnTo>
                    <a:pt x="298" y="53"/>
                  </a:lnTo>
                  <a:lnTo>
                    <a:pt x="308" y="41"/>
                  </a:lnTo>
                  <a:lnTo>
                    <a:pt x="294" y="28"/>
                  </a:lnTo>
                  <a:lnTo>
                    <a:pt x="254" y="28"/>
                  </a:lnTo>
                  <a:lnTo>
                    <a:pt x="238" y="10"/>
                  </a:lnTo>
                  <a:lnTo>
                    <a:pt x="207" y="40"/>
                  </a:lnTo>
                  <a:lnTo>
                    <a:pt x="195" y="35"/>
                  </a:lnTo>
                  <a:lnTo>
                    <a:pt x="209" y="11"/>
                  </a:lnTo>
                  <a:lnTo>
                    <a:pt x="207" y="3"/>
                  </a:lnTo>
                  <a:lnTo>
                    <a:pt x="195" y="0"/>
                  </a:lnTo>
                  <a:lnTo>
                    <a:pt x="158" y="20"/>
                  </a:lnTo>
                  <a:lnTo>
                    <a:pt x="130" y="30"/>
                  </a:lnTo>
                  <a:lnTo>
                    <a:pt x="106" y="28"/>
                  </a:lnTo>
                  <a:lnTo>
                    <a:pt x="53" y="75"/>
                  </a:lnTo>
                  <a:lnTo>
                    <a:pt x="26" y="84"/>
                  </a:lnTo>
                  <a:lnTo>
                    <a:pt x="7" y="103"/>
                  </a:lnTo>
                  <a:lnTo>
                    <a:pt x="7" y="103"/>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0" name="湖南">
              <a:hlinkClick action="ppaction://macro?name=Slide1.湖南_click" highlightClick="1"/>
              <a:hlinkHover action="ppaction://noaction" highlightClick="1"/>
            </p:cNvPr>
            <p:cNvSpPr>
              <a:spLocks noChangeAspect="1"/>
            </p:cNvSpPr>
            <p:nvPr/>
          </p:nvSpPr>
          <p:spPr bwMode="auto">
            <a:xfrm rot="180000">
              <a:off x="5163449" y="4697517"/>
              <a:ext cx="830862" cy="975936"/>
            </a:xfrm>
            <a:custGeom>
              <a:gdLst>
                <a:gd fmla="*/ 335 w 392" name="T0"/>
                <a:gd fmla="*/ 54 h 439" name="T1"/>
                <a:gd fmla="*/ 328 w 392" name="T2"/>
                <a:gd fmla="*/ 16 h 439" name="T3"/>
                <a:gd fmla="*/ 300 w 392" name="T4"/>
                <a:gd fmla="*/ 22 h 439" name="T5"/>
                <a:gd fmla="*/ 278 w 392" name="T6"/>
                <a:gd fmla="*/ 35 h 439" name="T7"/>
                <a:gd fmla="*/ 258 w 392" name="T8"/>
                <a:gd fmla="*/ 19 h 439" name="T9"/>
                <a:gd fmla="*/ 220 w 392" name="T10"/>
                <a:gd fmla="*/ 26 h 439" name="T11"/>
                <a:gd fmla="*/ 106 w 392" name="T12"/>
                <a:gd fmla="*/ 0 h 439" name="T13"/>
                <a:gd fmla="*/ 115 w 392" name="T14"/>
                <a:gd fmla="*/ 29 h 439" name="T15"/>
                <a:gd fmla="*/ 62 w 392" name="T16"/>
                <a:gd fmla="*/ 29 h 439" name="T17"/>
                <a:gd fmla="*/ 18 w 392" name="T18"/>
                <a:gd fmla="*/ 84 h 439" name="T19"/>
                <a:gd fmla="*/ 36 w 392" name="T20"/>
                <a:gd fmla="*/ 210 h 439" name="T21"/>
                <a:gd fmla="*/ 4 w 392" name="T22"/>
                <a:gd fmla="*/ 255 h 439" name="T23"/>
                <a:gd fmla="*/ 48 w 392" name="T24"/>
                <a:gd fmla="*/ 260 h 439" name="T25"/>
                <a:gd fmla="*/ 57 w 392" name="T26"/>
                <a:gd fmla="*/ 340 h 439" name="T27"/>
                <a:gd fmla="*/ 94 w 392" name="T28"/>
                <a:gd fmla="*/ 320 h 439" name="T29"/>
                <a:gd fmla="*/ 110 w 392" name="T30"/>
                <a:gd fmla="*/ 338 h 439" name="T31"/>
                <a:gd fmla="*/ 145 w 392" name="T32"/>
                <a:gd fmla="*/ 312 h 439" name="T33"/>
                <a:gd fmla="*/ 182 w 392" name="T34"/>
                <a:gd fmla="*/ 312 h 439" name="T35"/>
                <a:gd fmla="*/ 201 w 392" name="T36"/>
                <a:gd fmla="*/ 342 h 439" name="T37"/>
                <a:gd fmla="*/ 179 w 392" name="T38"/>
                <a:gd fmla="*/ 395 h 439" name="T39"/>
                <a:gd fmla="*/ 179 w 392" name="T40"/>
                <a:gd fmla="*/ 419 h 439" name="T41"/>
                <a:gd fmla="*/ 216 w 392" name="T42"/>
                <a:gd fmla="*/ 438 h 439" name="T43"/>
                <a:gd fmla="*/ 243 w 392" name="T44"/>
                <a:gd fmla="*/ 429 h 439" name="T45"/>
                <a:gd fmla="*/ 258 w 392" name="T46"/>
                <a:gd fmla="*/ 395 h 439" name="T47"/>
                <a:gd fmla="*/ 284 w 392" name="T48"/>
                <a:gd fmla="*/ 390 h 439" name="T49"/>
                <a:gd fmla="*/ 321 w 392" name="T50"/>
                <a:gd fmla="*/ 393 h 439" name="T51"/>
                <a:gd fmla="*/ 316 w 392" name="T52"/>
                <a:gd fmla="*/ 371 h 439" name="T53"/>
                <a:gd fmla="*/ 371 w 392" name="T54"/>
                <a:gd fmla="*/ 364 h 439" name="T55"/>
                <a:gd fmla="*/ 383 w 392" name="T56"/>
                <a:gd fmla="*/ 338 h 439" name="T57"/>
                <a:gd fmla="*/ 390 w 392" name="T58"/>
                <a:gd fmla="*/ 264 h 439" name="T59"/>
                <a:gd fmla="*/ 365 w 392" name="T60"/>
                <a:gd fmla="*/ 229 h 439" name="T61"/>
                <a:gd fmla="*/ 359 w 392" name="T62"/>
                <a:gd fmla="*/ 199 h 439" name="T63"/>
                <a:gd fmla="*/ 345 w 392" name="T64"/>
                <a:gd fmla="*/ 197 h 439" name="T65"/>
                <a:gd fmla="*/ 365 w 392" name="T66"/>
                <a:gd fmla="*/ 144 h 439" name="T67"/>
                <a:gd fmla="*/ 374 w 392" name="T68"/>
                <a:gd fmla="*/ 100 h 439" name="T69"/>
                <a:gd fmla="*/ 352 w 392" name="T70"/>
                <a:gd fmla="*/ 57 h 439" name="T7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b="b" l="0" r="r" t="0"/>
              <a:pathLst>
                <a:path h="439" w="392">
                  <a:moveTo>
                    <a:pt x="352" y="57"/>
                  </a:moveTo>
                  <a:lnTo>
                    <a:pt x="335" y="54"/>
                  </a:lnTo>
                  <a:lnTo>
                    <a:pt x="328" y="43"/>
                  </a:lnTo>
                  <a:lnTo>
                    <a:pt x="328" y="16"/>
                  </a:lnTo>
                  <a:lnTo>
                    <a:pt x="318" y="4"/>
                  </a:lnTo>
                  <a:lnTo>
                    <a:pt x="300" y="22"/>
                  </a:lnTo>
                  <a:lnTo>
                    <a:pt x="292" y="35"/>
                  </a:lnTo>
                  <a:lnTo>
                    <a:pt x="278" y="35"/>
                  </a:lnTo>
                  <a:lnTo>
                    <a:pt x="275" y="14"/>
                  </a:lnTo>
                  <a:lnTo>
                    <a:pt x="258" y="19"/>
                  </a:lnTo>
                  <a:lnTo>
                    <a:pt x="236" y="35"/>
                  </a:lnTo>
                  <a:lnTo>
                    <a:pt x="220" y="26"/>
                  </a:lnTo>
                  <a:lnTo>
                    <a:pt x="191" y="6"/>
                  </a:lnTo>
                  <a:lnTo>
                    <a:pt x="106" y="0"/>
                  </a:lnTo>
                  <a:lnTo>
                    <a:pt x="97" y="9"/>
                  </a:lnTo>
                  <a:lnTo>
                    <a:pt x="115" y="29"/>
                  </a:lnTo>
                  <a:lnTo>
                    <a:pt x="94" y="43"/>
                  </a:lnTo>
                  <a:lnTo>
                    <a:pt x="62" y="29"/>
                  </a:lnTo>
                  <a:lnTo>
                    <a:pt x="29" y="57"/>
                  </a:lnTo>
                  <a:lnTo>
                    <a:pt x="18" y="84"/>
                  </a:lnTo>
                  <a:lnTo>
                    <a:pt x="21" y="144"/>
                  </a:lnTo>
                  <a:lnTo>
                    <a:pt x="36" y="210"/>
                  </a:lnTo>
                  <a:lnTo>
                    <a:pt x="0" y="249"/>
                  </a:lnTo>
                  <a:lnTo>
                    <a:pt x="4" y="255"/>
                  </a:lnTo>
                  <a:lnTo>
                    <a:pt x="36" y="245"/>
                  </a:lnTo>
                  <a:lnTo>
                    <a:pt x="48" y="260"/>
                  </a:lnTo>
                  <a:lnTo>
                    <a:pt x="39" y="306"/>
                  </a:lnTo>
                  <a:lnTo>
                    <a:pt x="57" y="340"/>
                  </a:lnTo>
                  <a:lnTo>
                    <a:pt x="76" y="344"/>
                  </a:lnTo>
                  <a:lnTo>
                    <a:pt x="94" y="320"/>
                  </a:lnTo>
                  <a:lnTo>
                    <a:pt x="102" y="340"/>
                  </a:lnTo>
                  <a:lnTo>
                    <a:pt x="110" y="338"/>
                  </a:lnTo>
                  <a:lnTo>
                    <a:pt x="139" y="311"/>
                  </a:lnTo>
                  <a:lnTo>
                    <a:pt x="145" y="312"/>
                  </a:lnTo>
                  <a:lnTo>
                    <a:pt x="159" y="305"/>
                  </a:lnTo>
                  <a:lnTo>
                    <a:pt x="182" y="312"/>
                  </a:lnTo>
                  <a:lnTo>
                    <a:pt x="182" y="338"/>
                  </a:lnTo>
                  <a:lnTo>
                    <a:pt x="201" y="342"/>
                  </a:lnTo>
                  <a:lnTo>
                    <a:pt x="196" y="368"/>
                  </a:lnTo>
                  <a:lnTo>
                    <a:pt x="179" y="395"/>
                  </a:lnTo>
                  <a:lnTo>
                    <a:pt x="171" y="419"/>
                  </a:lnTo>
                  <a:lnTo>
                    <a:pt x="179" y="419"/>
                  </a:lnTo>
                  <a:lnTo>
                    <a:pt x="198" y="400"/>
                  </a:lnTo>
                  <a:lnTo>
                    <a:pt x="216" y="438"/>
                  </a:lnTo>
                  <a:lnTo>
                    <a:pt x="229" y="429"/>
                  </a:lnTo>
                  <a:lnTo>
                    <a:pt x="243" y="429"/>
                  </a:lnTo>
                  <a:lnTo>
                    <a:pt x="258" y="417"/>
                  </a:lnTo>
                  <a:lnTo>
                    <a:pt x="258" y="395"/>
                  </a:lnTo>
                  <a:lnTo>
                    <a:pt x="265" y="388"/>
                  </a:lnTo>
                  <a:lnTo>
                    <a:pt x="284" y="390"/>
                  </a:lnTo>
                  <a:lnTo>
                    <a:pt x="316" y="404"/>
                  </a:lnTo>
                  <a:lnTo>
                    <a:pt x="321" y="393"/>
                  </a:lnTo>
                  <a:lnTo>
                    <a:pt x="313" y="380"/>
                  </a:lnTo>
                  <a:lnTo>
                    <a:pt x="316" y="371"/>
                  </a:lnTo>
                  <a:lnTo>
                    <a:pt x="335" y="354"/>
                  </a:lnTo>
                  <a:lnTo>
                    <a:pt x="371" y="364"/>
                  </a:lnTo>
                  <a:lnTo>
                    <a:pt x="391" y="352"/>
                  </a:lnTo>
                  <a:lnTo>
                    <a:pt x="383" y="338"/>
                  </a:lnTo>
                  <a:lnTo>
                    <a:pt x="391" y="308"/>
                  </a:lnTo>
                  <a:lnTo>
                    <a:pt x="390" y="264"/>
                  </a:lnTo>
                  <a:lnTo>
                    <a:pt x="377" y="259"/>
                  </a:lnTo>
                  <a:lnTo>
                    <a:pt x="365" y="229"/>
                  </a:lnTo>
                  <a:lnTo>
                    <a:pt x="365" y="203"/>
                  </a:lnTo>
                  <a:lnTo>
                    <a:pt x="359" y="199"/>
                  </a:lnTo>
                  <a:lnTo>
                    <a:pt x="350" y="203"/>
                  </a:lnTo>
                  <a:lnTo>
                    <a:pt x="345" y="197"/>
                  </a:lnTo>
                  <a:lnTo>
                    <a:pt x="348" y="157"/>
                  </a:lnTo>
                  <a:lnTo>
                    <a:pt x="365" y="144"/>
                  </a:lnTo>
                  <a:lnTo>
                    <a:pt x="377" y="122"/>
                  </a:lnTo>
                  <a:lnTo>
                    <a:pt x="374" y="100"/>
                  </a:lnTo>
                  <a:lnTo>
                    <a:pt x="352" y="57"/>
                  </a:lnTo>
                  <a:lnTo>
                    <a:pt x="352" y="57"/>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1" name="贵州">
              <a:hlinkClick action="ppaction://macro?name=Slide1.贵州_click" highlightClick="1"/>
              <a:hlinkHover action="ppaction://noaction" highlightClick="1"/>
            </p:cNvPr>
            <p:cNvSpPr>
              <a:spLocks noChangeAspect="1"/>
            </p:cNvSpPr>
            <p:nvPr/>
          </p:nvSpPr>
          <p:spPr bwMode="auto">
            <a:xfrm rot="180000">
              <a:off x="4343390" y="4852878"/>
              <a:ext cx="916248" cy="839159"/>
            </a:xfrm>
            <a:custGeom>
              <a:gdLst>
                <a:gd fmla="*/ 121 w 439" name="T0"/>
                <a:gd fmla="*/ 128 h 383" name="T1"/>
                <a:gd fmla="*/ 111 w 439" name="T2"/>
                <a:gd fmla="*/ 158 h 383" name="T3"/>
                <a:gd fmla="*/ 92 w 439" name="T4"/>
                <a:gd fmla="*/ 164 h 383" name="T5"/>
                <a:gd fmla="*/ 51 w 439" name="T6"/>
                <a:gd fmla="*/ 158 h 383" name="T7"/>
                <a:gd fmla="*/ 43 w 439" name="T8"/>
                <a:gd fmla="*/ 168 h 383" name="T9"/>
                <a:gd fmla="*/ 20 w 439" name="T10"/>
                <a:gd fmla="*/ 160 h 383" name="T11"/>
                <a:gd fmla="*/ 0 w 439" name="T12"/>
                <a:gd fmla="*/ 189 h 383" name="T13"/>
                <a:gd fmla="*/ 9 w 439" name="T14"/>
                <a:gd fmla="*/ 197 h 383" name="T15"/>
                <a:gd fmla="*/ 9 w 439" name="T16"/>
                <a:gd fmla="*/ 216 h 383" name="T17"/>
                <a:gd fmla="*/ 19 w 439" name="T18"/>
                <a:gd fmla="*/ 232 h 383" name="T19"/>
                <a:gd fmla="*/ 59 w 439" name="T20"/>
                <a:gd fmla="*/ 220 h 383" name="T21"/>
                <a:gd fmla="*/ 72 w 439" name="T22"/>
                <a:gd fmla="*/ 230 h 383" name="T23"/>
                <a:gd fmla="*/ 53 w 439" name="T24"/>
                <a:gd fmla="*/ 308 h 383" name="T25"/>
                <a:gd fmla="*/ 77 w 439" name="T26"/>
                <a:gd fmla="*/ 332 h 383" name="T27"/>
                <a:gd fmla="*/ 70 w 439" name="T28"/>
                <a:gd fmla="*/ 377 h 383" name="T29"/>
                <a:gd fmla="*/ 94 w 439" name="T30"/>
                <a:gd fmla="*/ 379 h 383" name="T31"/>
                <a:gd fmla="*/ 120 w 439" name="T32"/>
                <a:gd fmla="*/ 355 h 383" name="T33"/>
                <a:gd fmla="*/ 131 w 439" name="T34"/>
                <a:gd fmla="*/ 361 h 383" name="T35"/>
                <a:gd fmla="*/ 182 w 439" name="T36"/>
                <a:gd fmla="*/ 382 h 383" name="T37"/>
                <a:gd fmla="*/ 190 w 439" name="T38"/>
                <a:gd fmla="*/ 377 h 383" name="T39"/>
                <a:gd fmla="*/ 192 w 439" name="T40"/>
                <a:gd fmla="*/ 360 h 383" name="T41"/>
                <a:gd fmla="*/ 202 w 439" name="T42"/>
                <a:gd fmla="*/ 351 h 383" name="T43"/>
                <a:gd fmla="*/ 272 w 439" name="T44"/>
                <a:gd fmla="*/ 305 h 383" name="T45"/>
                <a:gd fmla="*/ 284 w 439" name="T46"/>
                <a:gd fmla="*/ 319 h 383" name="T47"/>
                <a:gd fmla="*/ 327 w 439" name="T48"/>
                <a:gd fmla="*/ 332 h 383" name="T49"/>
                <a:gd fmla="*/ 351 w 439" name="T50"/>
                <a:gd fmla="*/ 301 h 383" name="T51"/>
                <a:gd fmla="*/ 362 w 439" name="T52"/>
                <a:gd fmla="*/ 308 h 383" name="T53"/>
                <a:gd fmla="*/ 379 w 439" name="T54"/>
                <a:gd fmla="*/ 308 h 383" name="T55"/>
                <a:gd fmla="*/ 379 w 439" name="T56"/>
                <a:gd fmla="*/ 299 h 383" name="T57"/>
                <a:gd fmla="*/ 402 w 439" name="T58"/>
                <a:gd fmla="*/ 291 h 383" name="T59"/>
                <a:gd fmla="*/ 402 w 439" name="T60"/>
                <a:gd fmla="*/ 285 h 383" name="T61"/>
                <a:gd fmla="*/ 410 w 439" name="T62"/>
                <a:gd fmla="*/ 275 h 383" name="T63"/>
                <a:gd fmla="*/ 415 w 439" name="T64"/>
                <a:gd fmla="*/ 276 h 383" name="T65"/>
                <a:gd fmla="*/ 438 w 439" name="T66"/>
                <a:gd fmla="*/ 255 h 383" name="T67"/>
                <a:gd fmla="*/ 420 w 439" name="T68"/>
                <a:gd fmla="*/ 221 h 383" name="T69"/>
                <a:gd fmla="*/ 429 w 439" name="T70"/>
                <a:gd fmla="*/ 175 h 383" name="T71"/>
                <a:gd fmla="*/ 417 w 439" name="T72"/>
                <a:gd fmla="*/ 160 h 383" name="T73"/>
                <a:gd fmla="*/ 385 w 439" name="T74"/>
                <a:gd fmla="*/ 170 h 383" name="T75"/>
                <a:gd fmla="*/ 381 w 439" name="T76"/>
                <a:gd fmla="*/ 164 h 383" name="T77"/>
                <a:gd fmla="*/ 417 w 439" name="T78"/>
                <a:gd fmla="*/ 125 h 383" name="T79"/>
                <a:gd fmla="*/ 402 w 439" name="T80"/>
                <a:gd fmla="*/ 59 h 383" name="T81"/>
                <a:gd fmla="*/ 377 w 439" name="T82"/>
                <a:gd fmla="*/ 78 h 383" name="T83"/>
                <a:gd fmla="*/ 355 w 439" name="T84"/>
                <a:gd fmla="*/ 55 h 383" name="T85"/>
                <a:gd fmla="*/ 334 w 439" name="T86"/>
                <a:gd fmla="*/ 27 h 383" name="T87"/>
                <a:gd fmla="*/ 333 w 439" name="T88"/>
                <a:gd fmla="*/ 10 h 383" name="T89"/>
                <a:gd fmla="*/ 318 w 439" name="T90"/>
                <a:gd fmla="*/ 8 h 383" name="T91"/>
                <a:gd fmla="*/ 301 w 439" name="T92"/>
                <a:gd fmla="*/ 13 h 383" name="T93"/>
                <a:gd fmla="*/ 274 w 439" name="T94"/>
                <a:gd fmla="*/ 0 h 383" name="T95"/>
                <a:gd fmla="*/ 260 w 439" name="T96"/>
                <a:gd fmla="*/ 31 h 383" name="T97"/>
                <a:gd fmla="*/ 236 w 439" name="T98"/>
                <a:gd fmla="*/ 34 h 383" name="T99"/>
                <a:gd fmla="*/ 220 w 439" name="T100"/>
                <a:gd fmla="*/ 59 h 383" name="T101"/>
                <a:gd fmla="*/ 208 w 439" name="T102"/>
                <a:gd fmla="*/ 55 h 383" name="T103"/>
                <a:gd fmla="*/ 192 w 439" name="T104"/>
                <a:gd fmla="*/ 59 h 383" name="T105"/>
                <a:gd fmla="*/ 166 w 439" name="T106"/>
                <a:gd fmla="*/ 44 h 383" name="T107"/>
                <a:gd fmla="*/ 145 w 439" name="T108"/>
                <a:gd fmla="*/ 69 h 383" name="T109"/>
                <a:gd fmla="*/ 145 w 439" name="T110"/>
                <a:gd fmla="*/ 79 h 383" name="T111"/>
                <a:gd fmla="*/ 186 w 439" name="T112"/>
                <a:gd fmla="*/ 101 h 383" name="T113"/>
                <a:gd fmla="*/ 196 w 439" name="T114"/>
                <a:gd fmla="*/ 118 h 383" name="T115"/>
                <a:gd fmla="*/ 166 w 439" name="T116"/>
                <a:gd fmla="*/ 129 h 383" name="T117"/>
                <a:gd fmla="*/ 121 w 439" name="T118"/>
                <a:gd fmla="*/ 128 h 383" name="T119"/>
                <a:gd fmla="*/ 121 w 439" name="T120"/>
                <a:gd fmla="*/ 128 h 383" name="T1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b="b" l="0" r="r" t="0"/>
              <a:pathLst>
                <a:path h="383" w="439">
                  <a:moveTo>
                    <a:pt x="121" y="128"/>
                  </a:moveTo>
                  <a:lnTo>
                    <a:pt x="111" y="158"/>
                  </a:lnTo>
                  <a:lnTo>
                    <a:pt x="92" y="164"/>
                  </a:lnTo>
                  <a:lnTo>
                    <a:pt x="51" y="158"/>
                  </a:lnTo>
                  <a:lnTo>
                    <a:pt x="43" y="168"/>
                  </a:lnTo>
                  <a:lnTo>
                    <a:pt x="20" y="160"/>
                  </a:lnTo>
                  <a:lnTo>
                    <a:pt x="0" y="189"/>
                  </a:lnTo>
                  <a:lnTo>
                    <a:pt x="9" y="197"/>
                  </a:lnTo>
                  <a:lnTo>
                    <a:pt x="9" y="216"/>
                  </a:lnTo>
                  <a:lnTo>
                    <a:pt x="19" y="232"/>
                  </a:lnTo>
                  <a:lnTo>
                    <a:pt x="59" y="220"/>
                  </a:lnTo>
                  <a:lnTo>
                    <a:pt x="72" y="230"/>
                  </a:lnTo>
                  <a:lnTo>
                    <a:pt x="53" y="308"/>
                  </a:lnTo>
                  <a:lnTo>
                    <a:pt x="77" y="332"/>
                  </a:lnTo>
                  <a:lnTo>
                    <a:pt x="70" y="377"/>
                  </a:lnTo>
                  <a:lnTo>
                    <a:pt x="94" y="379"/>
                  </a:lnTo>
                  <a:lnTo>
                    <a:pt x="120" y="355"/>
                  </a:lnTo>
                  <a:lnTo>
                    <a:pt x="131" y="361"/>
                  </a:lnTo>
                  <a:lnTo>
                    <a:pt x="182" y="382"/>
                  </a:lnTo>
                  <a:lnTo>
                    <a:pt x="190" y="377"/>
                  </a:lnTo>
                  <a:lnTo>
                    <a:pt x="192" y="360"/>
                  </a:lnTo>
                  <a:lnTo>
                    <a:pt x="202" y="351"/>
                  </a:lnTo>
                  <a:lnTo>
                    <a:pt x="272" y="305"/>
                  </a:lnTo>
                  <a:lnTo>
                    <a:pt x="284" y="319"/>
                  </a:lnTo>
                  <a:lnTo>
                    <a:pt x="327" y="332"/>
                  </a:lnTo>
                  <a:lnTo>
                    <a:pt x="351" y="301"/>
                  </a:lnTo>
                  <a:lnTo>
                    <a:pt x="362" y="308"/>
                  </a:lnTo>
                  <a:lnTo>
                    <a:pt x="379" y="308"/>
                  </a:lnTo>
                  <a:lnTo>
                    <a:pt x="379" y="299"/>
                  </a:lnTo>
                  <a:lnTo>
                    <a:pt x="402" y="291"/>
                  </a:lnTo>
                  <a:lnTo>
                    <a:pt x="402" y="285"/>
                  </a:lnTo>
                  <a:lnTo>
                    <a:pt x="410" y="275"/>
                  </a:lnTo>
                  <a:lnTo>
                    <a:pt x="415" y="276"/>
                  </a:lnTo>
                  <a:lnTo>
                    <a:pt x="438" y="255"/>
                  </a:lnTo>
                  <a:lnTo>
                    <a:pt x="420" y="221"/>
                  </a:lnTo>
                  <a:lnTo>
                    <a:pt x="429" y="175"/>
                  </a:lnTo>
                  <a:lnTo>
                    <a:pt x="417" y="160"/>
                  </a:lnTo>
                  <a:lnTo>
                    <a:pt x="385" y="170"/>
                  </a:lnTo>
                  <a:lnTo>
                    <a:pt x="381" y="164"/>
                  </a:lnTo>
                  <a:lnTo>
                    <a:pt x="417" y="125"/>
                  </a:lnTo>
                  <a:lnTo>
                    <a:pt x="402" y="59"/>
                  </a:lnTo>
                  <a:lnTo>
                    <a:pt x="377" y="78"/>
                  </a:lnTo>
                  <a:lnTo>
                    <a:pt x="355" y="55"/>
                  </a:lnTo>
                  <a:lnTo>
                    <a:pt x="334" y="27"/>
                  </a:lnTo>
                  <a:lnTo>
                    <a:pt x="333" y="10"/>
                  </a:lnTo>
                  <a:lnTo>
                    <a:pt x="318" y="8"/>
                  </a:lnTo>
                  <a:lnTo>
                    <a:pt x="301" y="13"/>
                  </a:lnTo>
                  <a:lnTo>
                    <a:pt x="274" y="0"/>
                  </a:lnTo>
                  <a:lnTo>
                    <a:pt x="260" y="31"/>
                  </a:lnTo>
                  <a:lnTo>
                    <a:pt x="236" y="34"/>
                  </a:lnTo>
                  <a:lnTo>
                    <a:pt x="220" y="59"/>
                  </a:lnTo>
                  <a:lnTo>
                    <a:pt x="208" y="55"/>
                  </a:lnTo>
                  <a:lnTo>
                    <a:pt x="192" y="59"/>
                  </a:lnTo>
                  <a:lnTo>
                    <a:pt x="166" y="44"/>
                  </a:lnTo>
                  <a:lnTo>
                    <a:pt x="145" y="69"/>
                  </a:lnTo>
                  <a:lnTo>
                    <a:pt x="145" y="79"/>
                  </a:lnTo>
                  <a:lnTo>
                    <a:pt x="186" y="101"/>
                  </a:lnTo>
                  <a:lnTo>
                    <a:pt x="196" y="118"/>
                  </a:lnTo>
                  <a:lnTo>
                    <a:pt x="166" y="129"/>
                  </a:lnTo>
                  <a:lnTo>
                    <a:pt x="121" y="128"/>
                  </a:lnTo>
                  <a:lnTo>
                    <a:pt x="121" y="128"/>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2" name="浙江">
              <a:hlinkClick action="ppaction://macro?name=Slide1.浙江_click" highlightClick="1"/>
              <a:hlinkHover action="ppaction://noaction" highlightClick="1"/>
            </p:cNvPr>
            <p:cNvSpPr>
              <a:spLocks noChangeAspect="1"/>
            </p:cNvSpPr>
            <p:nvPr/>
          </p:nvSpPr>
          <p:spPr bwMode="auto">
            <a:xfrm rot="180000">
              <a:off x="6542370" y="4370409"/>
              <a:ext cx="571424" cy="706075"/>
            </a:xfrm>
            <a:custGeom>
              <a:gdLst>
                <a:gd fmla="*/ 197 w 274" name="T0"/>
                <a:gd fmla="*/ 303 h 320" name="T1"/>
                <a:gd fmla="*/ 156 w 274" name="T2"/>
                <a:gd fmla="*/ 319 h 320" name="T3"/>
                <a:gd fmla="*/ 133 w 274" name="T4"/>
                <a:gd fmla="*/ 295 h 320" name="T5"/>
                <a:gd fmla="*/ 115 w 274" name="T6"/>
                <a:gd fmla="*/ 316 h 320" name="T7"/>
                <a:gd fmla="*/ 90 w 274" name="T8"/>
                <a:gd fmla="*/ 316 h 320" name="T9"/>
                <a:gd fmla="*/ 79 w 274" name="T10"/>
                <a:gd fmla="*/ 292 h 320" name="T11"/>
                <a:gd fmla="*/ 66 w 274" name="T12"/>
                <a:gd fmla="*/ 260 h 320" name="T13"/>
                <a:gd fmla="*/ 42 w 274" name="T14"/>
                <a:gd fmla="*/ 255 h 320" name="T15"/>
                <a:gd fmla="*/ 16 w 274" name="T16"/>
                <a:gd fmla="*/ 207 h 320" name="T17"/>
                <a:gd fmla="*/ 0 w 274" name="T18"/>
                <a:gd fmla="*/ 183 h 320" name="T19"/>
                <a:gd fmla="*/ 10 w 274" name="T20"/>
                <a:gd fmla="*/ 171 h 320" name="T21"/>
                <a:gd fmla="*/ 16 w 274" name="T22"/>
                <a:gd fmla="*/ 166 h 320" name="T23"/>
                <a:gd fmla="*/ 43 w 274" name="T24"/>
                <a:gd fmla="*/ 128 h 320" name="T25"/>
                <a:gd fmla="*/ 42 w 274" name="T26"/>
                <a:gd fmla="*/ 96 h 320" name="T27"/>
                <a:gd fmla="*/ 51 w 274" name="T28"/>
                <a:gd fmla="*/ 83 h 320" name="T29"/>
                <a:gd fmla="*/ 72 w 274" name="T30"/>
                <a:gd fmla="*/ 79 h 320" name="T31"/>
                <a:gd fmla="*/ 79 w 274" name="T32"/>
                <a:gd fmla="*/ 70 h 320" name="T33"/>
                <a:gd fmla="*/ 71 w 274" name="T34"/>
                <a:gd fmla="*/ 55 h 320" name="T35"/>
                <a:gd fmla="*/ 82 w 274" name="T36"/>
                <a:gd fmla="*/ 41 h 320" name="T37"/>
                <a:gd fmla="*/ 82 w 274" name="T38"/>
                <a:gd fmla="*/ 11 h 320" name="T39"/>
                <a:gd fmla="*/ 97 w 274" name="T40"/>
                <a:gd fmla="*/ 4 h 320" name="T41"/>
                <a:gd fmla="*/ 123 w 274" name="T42"/>
                <a:gd fmla="*/ 20 h 320" name="T43"/>
                <a:gd fmla="*/ 155 w 274" name="T44"/>
                <a:gd fmla="*/ 25 h 320" name="T45"/>
                <a:gd fmla="*/ 176 w 274" name="T46"/>
                <a:gd fmla="*/ 0 h 320" name="T47"/>
                <a:gd fmla="*/ 201 w 274" name="T48"/>
                <a:gd fmla="*/ 22 h 320" name="T49"/>
                <a:gd fmla="*/ 190 w 274" name="T50"/>
                <a:gd fmla="*/ 30 h 320" name="T51"/>
                <a:gd fmla="*/ 177 w 274" name="T52"/>
                <a:gd fmla="*/ 50 h 320" name="T53"/>
                <a:gd fmla="*/ 156 w 274" name="T54"/>
                <a:gd fmla="*/ 55 h 320" name="T55"/>
                <a:gd fmla="*/ 149 w 274" name="T56"/>
                <a:gd fmla="*/ 61 h 320" name="T57"/>
                <a:gd fmla="*/ 168 w 274" name="T58"/>
                <a:gd fmla="*/ 73 h 320" name="T59"/>
                <a:gd fmla="*/ 206 w 274" name="T60"/>
                <a:gd fmla="*/ 55 h 320" name="T61"/>
                <a:gd fmla="*/ 267 w 274" name="T62"/>
                <a:gd fmla="*/ 81 h 320" name="T63"/>
                <a:gd fmla="*/ 273 w 274" name="T64"/>
                <a:gd fmla="*/ 133 h 320" name="T65"/>
                <a:gd fmla="*/ 249 w 274" name="T66"/>
                <a:gd fmla="*/ 133 h 320" name="T67"/>
                <a:gd fmla="*/ 247 w 274" name="T68"/>
                <a:gd fmla="*/ 148 h 320" name="T69"/>
                <a:gd fmla="*/ 260 w 274" name="T70"/>
                <a:gd fmla="*/ 170 h 320" name="T71"/>
                <a:gd fmla="*/ 249 w 274" name="T72"/>
                <a:gd fmla="*/ 183 h 320" name="T73"/>
                <a:gd fmla="*/ 261 w 274" name="T74"/>
                <a:gd fmla="*/ 204 h 320" name="T75"/>
                <a:gd fmla="*/ 241 w 274" name="T76"/>
                <a:gd fmla="*/ 228 h 320" name="T77"/>
                <a:gd fmla="*/ 232 w 274" name="T78"/>
                <a:gd fmla="*/ 215 h 320" name="T79"/>
                <a:gd fmla="*/ 202 w 274" name="T80"/>
                <a:gd fmla="*/ 292 h 320" name="T81"/>
                <a:gd fmla="*/ 197 w 274" name="T82"/>
                <a:gd fmla="*/ 303 h 320" name="T83"/>
                <a:gd fmla="*/ 197 w 274" name="T84"/>
                <a:gd fmla="*/ 303 h 320"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320" w="274">
                  <a:moveTo>
                    <a:pt x="197" y="303"/>
                  </a:moveTo>
                  <a:lnTo>
                    <a:pt x="156" y="319"/>
                  </a:lnTo>
                  <a:lnTo>
                    <a:pt x="133" y="295"/>
                  </a:lnTo>
                  <a:lnTo>
                    <a:pt x="115" y="316"/>
                  </a:lnTo>
                  <a:lnTo>
                    <a:pt x="90" y="316"/>
                  </a:lnTo>
                  <a:lnTo>
                    <a:pt x="79" y="292"/>
                  </a:lnTo>
                  <a:lnTo>
                    <a:pt x="66" y="260"/>
                  </a:lnTo>
                  <a:lnTo>
                    <a:pt x="42" y="255"/>
                  </a:lnTo>
                  <a:lnTo>
                    <a:pt x="16" y="207"/>
                  </a:lnTo>
                  <a:lnTo>
                    <a:pt x="0" y="183"/>
                  </a:lnTo>
                  <a:lnTo>
                    <a:pt x="10" y="171"/>
                  </a:lnTo>
                  <a:lnTo>
                    <a:pt x="16" y="166"/>
                  </a:lnTo>
                  <a:lnTo>
                    <a:pt x="43" y="128"/>
                  </a:lnTo>
                  <a:lnTo>
                    <a:pt x="42" y="96"/>
                  </a:lnTo>
                  <a:lnTo>
                    <a:pt x="51" y="83"/>
                  </a:lnTo>
                  <a:lnTo>
                    <a:pt x="72" y="79"/>
                  </a:lnTo>
                  <a:lnTo>
                    <a:pt x="79" y="70"/>
                  </a:lnTo>
                  <a:lnTo>
                    <a:pt x="71" y="55"/>
                  </a:lnTo>
                  <a:lnTo>
                    <a:pt x="82" y="41"/>
                  </a:lnTo>
                  <a:lnTo>
                    <a:pt x="82" y="11"/>
                  </a:lnTo>
                  <a:lnTo>
                    <a:pt x="97" y="4"/>
                  </a:lnTo>
                  <a:lnTo>
                    <a:pt x="123" y="20"/>
                  </a:lnTo>
                  <a:lnTo>
                    <a:pt x="155" y="25"/>
                  </a:lnTo>
                  <a:lnTo>
                    <a:pt x="176" y="0"/>
                  </a:lnTo>
                  <a:lnTo>
                    <a:pt x="201" y="22"/>
                  </a:lnTo>
                  <a:lnTo>
                    <a:pt x="190" y="30"/>
                  </a:lnTo>
                  <a:lnTo>
                    <a:pt x="177" y="50"/>
                  </a:lnTo>
                  <a:lnTo>
                    <a:pt x="156" y="55"/>
                  </a:lnTo>
                  <a:lnTo>
                    <a:pt x="149" y="61"/>
                  </a:lnTo>
                  <a:lnTo>
                    <a:pt x="168" y="73"/>
                  </a:lnTo>
                  <a:lnTo>
                    <a:pt x="206" y="55"/>
                  </a:lnTo>
                  <a:lnTo>
                    <a:pt x="267" y="81"/>
                  </a:lnTo>
                  <a:lnTo>
                    <a:pt x="273" y="133"/>
                  </a:lnTo>
                  <a:lnTo>
                    <a:pt x="249" y="133"/>
                  </a:lnTo>
                  <a:lnTo>
                    <a:pt x="247" y="148"/>
                  </a:lnTo>
                  <a:lnTo>
                    <a:pt x="260" y="170"/>
                  </a:lnTo>
                  <a:lnTo>
                    <a:pt x="249" y="183"/>
                  </a:lnTo>
                  <a:lnTo>
                    <a:pt x="261" y="204"/>
                  </a:lnTo>
                  <a:lnTo>
                    <a:pt x="241" y="228"/>
                  </a:lnTo>
                  <a:lnTo>
                    <a:pt x="232" y="215"/>
                  </a:lnTo>
                  <a:lnTo>
                    <a:pt x="202" y="292"/>
                  </a:lnTo>
                  <a:lnTo>
                    <a:pt x="197" y="303"/>
                  </a:lnTo>
                  <a:lnTo>
                    <a:pt x="197" y="303"/>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3" name="安徽">
              <a:hlinkClick action="ppaction://macro?name=Slide1.安徽_click" highlightClick="1"/>
              <a:hlinkHover action="ppaction://noaction" highlightClick="1"/>
            </p:cNvPr>
            <p:cNvSpPr>
              <a:spLocks noChangeAspect="1"/>
            </p:cNvSpPr>
            <p:nvPr/>
          </p:nvSpPr>
          <p:spPr bwMode="auto">
            <a:xfrm rot="180000">
              <a:off x="6009977" y="3821126"/>
              <a:ext cx="729058" cy="916789"/>
            </a:xfrm>
            <a:custGeom>
              <a:gdLst>
                <a:gd fmla="*/ 82 w 343" name="T0"/>
                <a:gd fmla="*/ 0 h 408" name="T1"/>
                <a:gd fmla="*/ 142 w 343" name="T2"/>
                <a:gd fmla="*/ 35 h 408" name="T3"/>
                <a:gd fmla="*/ 188 w 343" name="T4"/>
                <a:gd fmla="*/ 55 h 408" name="T5"/>
                <a:gd fmla="*/ 210 w 343" name="T6"/>
                <a:gd fmla="*/ 59 h 408" name="T7"/>
                <a:gd fmla="*/ 221 w 343" name="T8"/>
                <a:gd fmla="*/ 108 h 408" name="T9"/>
                <a:gd fmla="*/ 258 w 343" name="T10"/>
                <a:gd fmla="*/ 129 h 408" name="T11"/>
                <a:gd fmla="*/ 285 w 343" name="T12"/>
                <a:gd fmla="*/ 112 h 408" name="T13"/>
                <a:gd fmla="*/ 295 w 343" name="T14"/>
                <a:gd fmla="*/ 141 h 408" name="T15"/>
                <a:gd fmla="*/ 261 w 343" name="T16"/>
                <a:gd fmla="*/ 159 h 408" name="T17"/>
                <a:gd fmla="*/ 248 w 343" name="T18"/>
                <a:gd fmla="*/ 184 h 408" name="T19"/>
                <a:gd fmla="*/ 285 w 343" name="T20"/>
                <a:gd fmla="*/ 220 h 408" name="T21"/>
                <a:gd fmla="*/ 342 w 343" name="T22"/>
                <a:gd fmla="*/ 247 h 408" name="T23"/>
                <a:gd fmla="*/ 331 w 343" name="T24"/>
                <a:gd fmla="*/ 291 h 408" name="T25"/>
                <a:gd fmla="*/ 332 w 343" name="T26"/>
                <a:gd fmla="*/ 315 h 408" name="T27"/>
                <a:gd fmla="*/ 302 w 343" name="T28"/>
                <a:gd fmla="*/ 332 h 408" name="T29"/>
                <a:gd fmla="*/ 276 w 343" name="T30"/>
                <a:gd fmla="*/ 402 h 408" name="T31"/>
                <a:gd fmla="*/ 256 w 343" name="T32"/>
                <a:gd fmla="*/ 394 h 408" name="T33"/>
                <a:gd fmla="*/ 200 w 343" name="T34"/>
                <a:gd fmla="*/ 376 h 408" name="T35"/>
                <a:gd fmla="*/ 157 w 343" name="T36"/>
                <a:gd fmla="*/ 401 h 408" name="T37"/>
                <a:gd fmla="*/ 169 w 343" name="T38"/>
                <a:gd fmla="*/ 369 h 408" name="T39"/>
                <a:gd fmla="*/ 120 w 343" name="T40"/>
                <a:gd fmla="*/ 386 h 408" name="T41"/>
                <a:gd fmla="*/ 96 w 343" name="T42"/>
                <a:gd fmla="*/ 299 h 408" name="T43"/>
                <a:gd fmla="*/ 75 w 343" name="T44"/>
                <a:gd fmla="*/ 286 h 408" name="T45"/>
                <a:gd fmla="*/ 56 w 343" name="T46"/>
                <a:gd fmla="*/ 242 h 408" name="T47"/>
                <a:gd fmla="*/ 78 w 343" name="T48"/>
                <a:gd fmla="*/ 212 h 408" name="T49"/>
                <a:gd fmla="*/ 68 w 343" name="T50"/>
                <a:gd fmla="*/ 171 h 408" name="T51"/>
                <a:gd fmla="*/ 21 w 343" name="T52"/>
                <a:gd fmla="*/ 168 h 408" name="T53"/>
                <a:gd fmla="*/ 21 w 343" name="T54"/>
                <a:gd fmla="*/ 127 h 408" name="T55"/>
                <a:gd fmla="*/ 39 w 343" name="T56"/>
                <a:gd fmla="*/ 92 h 408" name="T57"/>
                <a:gd fmla="*/ 46 w 343" name="T58"/>
                <a:gd fmla="*/ 51 h 408" name="T59"/>
                <a:gd fmla="*/ 75 w 343" name="T60"/>
                <a:gd fmla="*/ 75 h 408" name="T61"/>
                <a:gd fmla="*/ 104 w 343" name="T62"/>
                <a:gd fmla="*/ 52 h 408" name="T63"/>
                <a:gd fmla="*/ 75 w 343" name="T64"/>
                <a:gd fmla="*/ 20 h 408" name="T65"/>
                <a:gd fmla="*/ 70 w 343" name="T66"/>
                <a:gd fmla="*/ 3 h 408"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408" w="343">
                  <a:moveTo>
                    <a:pt x="70" y="3"/>
                  </a:moveTo>
                  <a:lnTo>
                    <a:pt x="82" y="0"/>
                  </a:lnTo>
                  <a:lnTo>
                    <a:pt x="123" y="16"/>
                  </a:lnTo>
                  <a:lnTo>
                    <a:pt x="142" y="35"/>
                  </a:lnTo>
                  <a:lnTo>
                    <a:pt x="174" y="44"/>
                  </a:lnTo>
                  <a:lnTo>
                    <a:pt x="188" y="55"/>
                  </a:lnTo>
                  <a:lnTo>
                    <a:pt x="206" y="52"/>
                  </a:lnTo>
                  <a:lnTo>
                    <a:pt x="210" y="59"/>
                  </a:lnTo>
                  <a:lnTo>
                    <a:pt x="204" y="99"/>
                  </a:lnTo>
                  <a:lnTo>
                    <a:pt x="221" y="108"/>
                  </a:lnTo>
                  <a:lnTo>
                    <a:pt x="231" y="123"/>
                  </a:lnTo>
                  <a:lnTo>
                    <a:pt x="258" y="129"/>
                  </a:lnTo>
                  <a:lnTo>
                    <a:pt x="268" y="111"/>
                  </a:lnTo>
                  <a:lnTo>
                    <a:pt x="285" y="112"/>
                  </a:lnTo>
                  <a:lnTo>
                    <a:pt x="297" y="127"/>
                  </a:lnTo>
                  <a:lnTo>
                    <a:pt x="295" y="141"/>
                  </a:lnTo>
                  <a:lnTo>
                    <a:pt x="261" y="145"/>
                  </a:lnTo>
                  <a:lnTo>
                    <a:pt x="261" y="159"/>
                  </a:lnTo>
                  <a:lnTo>
                    <a:pt x="261" y="170"/>
                  </a:lnTo>
                  <a:lnTo>
                    <a:pt x="248" y="184"/>
                  </a:lnTo>
                  <a:lnTo>
                    <a:pt x="258" y="200"/>
                  </a:lnTo>
                  <a:lnTo>
                    <a:pt x="285" y="220"/>
                  </a:lnTo>
                  <a:lnTo>
                    <a:pt x="287" y="242"/>
                  </a:lnTo>
                  <a:lnTo>
                    <a:pt x="342" y="247"/>
                  </a:lnTo>
                  <a:lnTo>
                    <a:pt x="342" y="277"/>
                  </a:lnTo>
                  <a:lnTo>
                    <a:pt x="331" y="291"/>
                  </a:lnTo>
                  <a:lnTo>
                    <a:pt x="339" y="306"/>
                  </a:lnTo>
                  <a:lnTo>
                    <a:pt x="332" y="315"/>
                  </a:lnTo>
                  <a:lnTo>
                    <a:pt x="311" y="319"/>
                  </a:lnTo>
                  <a:lnTo>
                    <a:pt x="302" y="332"/>
                  </a:lnTo>
                  <a:lnTo>
                    <a:pt x="303" y="364"/>
                  </a:lnTo>
                  <a:lnTo>
                    <a:pt x="276" y="402"/>
                  </a:lnTo>
                  <a:lnTo>
                    <a:pt x="270" y="407"/>
                  </a:lnTo>
                  <a:lnTo>
                    <a:pt x="256" y="394"/>
                  </a:lnTo>
                  <a:lnTo>
                    <a:pt x="216" y="394"/>
                  </a:lnTo>
                  <a:lnTo>
                    <a:pt x="200" y="376"/>
                  </a:lnTo>
                  <a:lnTo>
                    <a:pt x="169" y="406"/>
                  </a:lnTo>
                  <a:lnTo>
                    <a:pt x="157" y="401"/>
                  </a:lnTo>
                  <a:lnTo>
                    <a:pt x="171" y="377"/>
                  </a:lnTo>
                  <a:lnTo>
                    <a:pt x="169" y="369"/>
                  </a:lnTo>
                  <a:lnTo>
                    <a:pt x="157" y="366"/>
                  </a:lnTo>
                  <a:lnTo>
                    <a:pt x="120" y="386"/>
                  </a:lnTo>
                  <a:lnTo>
                    <a:pt x="85" y="319"/>
                  </a:lnTo>
                  <a:lnTo>
                    <a:pt x="96" y="299"/>
                  </a:lnTo>
                  <a:lnTo>
                    <a:pt x="93" y="291"/>
                  </a:lnTo>
                  <a:lnTo>
                    <a:pt x="75" y="286"/>
                  </a:lnTo>
                  <a:lnTo>
                    <a:pt x="43" y="267"/>
                  </a:lnTo>
                  <a:lnTo>
                    <a:pt x="56" y="242"/>
                  </a:lnTo>
                  <a:lnTo>
                    <a:pt x="75" y="233"/>
                  </a:lnTo>
                  <a:lnTo>
                    <a:pt x="78" y="212"/>
                  </a:lnTo>
                  <a:lnTo>
                    <a:pt x="72" y="175"/>
                  </a:lnTo>
                  <a:lnTo>
                    <a:pt x="68" y="171"/>
                  </a:lnTo>
                  <a:lnTo>
                    <a:pt x="49" y="190"/>
                  </a:lnTo>
                  <a:lnTo>
                    <a:pt x="21" y="168"/>
                  </a:lnTo>
                  <a:lnTo>
                    <a:pt x="0" y="142"/>
                  </a:lnTo>
                  <a:lnTo>
                    <a:pt x="21" y="127"/>
                  </a:lnTo>
                  <a:lnTo>
                    <a:pt x="27" y="102"/>
                  </a:lnTo>
                  <a:lnTo>
                    <a:pt x="39" y="92"/>
                  </a:lnTo>
                  <a:lnTo>
                    <a:pt x="37" y="57"/>
                  </a:lnTo>
                  <a:lnTo>
                    <a:pt x="46" y="51"/>
                  </a:lnTo>
                  <a:lnTo>
                    <a:pt x="63" y="61"/>
                  </a:lnTo>
                  <a:lnTo>
                    <a:pt x="75" y="75"/>
                  </a:lnTo>
                  <a:lnTo>
                    <a:pt x="96" y="61"/>
                  </a:lnTo>
                  <a:lnTo>
                    <a:pt x="104" y="52"/>
                  </a:lnTo>
                  <a:lnTo>
                    <a:pt x="100" y="35"/>
                  </a:lnTo>
                  <a:lnTo>
                    <a:pt x="75" y="20"/>
                  </a:lnTo>
                  <a:lnTo>
                    <a:pt x="70" y="3"/>
                  </a:lnTo>
                  <a:lnTo>
                    <a:pt x="70" y="3"/>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4" name="江苏">
              <a:hlinkClick action="ppaction://macro?name=Slide1.江苏_click" highlightClick="1"/>
              <a:hlinkHover action="ppaction://noaction" highlightClick="1"/>
            </p:cNvPr>
            <p:cNvSpPr>
              <a:spLocks noChangeAspect="1"/>
            </p:cNvSpPr>
            <p:nvPr/>
          </p:nvSpPr>
          <p:spPr bwMode="auto">
            <a:xfrm rot="180000">
              <a:off x="6195514" y="3715343"/>
              <a:ext cx="847284" cy="702378"/>
            </a:xfrm>
            <a:custGeom>
              <a:gdLst>
                <a:gd fmla="*/ 375 w 404" name="T0"/>
                <a:gd fmla="*/ 255 h 323" name="T1"/>
                <a:gd fmla="*/ 365 w 404" name="T2"/>
                <a:gd fmla="*/ 282 h 323" name="T3"/>
                <a:gd fmla="*/ 354 w 404" name="T4"/>
                <a:gd fmla="*/ 297 h 323" name="T5"/>
                <a:gd fmla="*/ 333 w 404" name="T6"/>
                <a:gd fmla="*/ 322 h 323" name="T7"/>
                <a:gd fmla="*/ 301 w 404" name="T8"/>
                <a:gd fmla="*/ 317 h 323" name="T9"/>
                <a:gd fmla="*/ 275 w 404" name="T10"/>
                <a:gd fmla="*/ 301 h 323" name="T11"/>
                <a:gd fmla="*/ 260 w 404" name="T12"/>
                <a:gd fmla="*/ 308 h 323" name="T13"/>
                <a:gd fmla="*/ 205 w 404" name="T14"/>
                <a:gd fmla="*/ 303 h 323" name="T15"/>
                <a:gd fmla="*/ 203 w 404" name="T16"/>
                <a:gd fmla="*/ 281 h 323" name="T17"/>
                <a:gd fmla="*/ 176 w 404" name="T18"/>
                <a:gd fmla="*/ 261 h 323" name="T19"/>
                <a:gd fmla="*/ 166 w 404" name="T20"/>
                <a:gd fmla="*/ 245 h 323" name="T21"/>
                <a:gd fmla="*/ 179 w 404" name="T22"/>
                <a:gd fmla="*/ 231 h 323" name="T23"/>
                <a:gd fmla="*/ 179 w 404" name="T24"/>
                <a:gd fmla="*/ 220 h 323" name="T25"/>
                <a:gd fmla="*/ 179 w 404" name="T26"/>
                <a:gd fmla="*/ 206 h 323" name="T27"/>
                <a:gd fmla="*/ 213 w 404" name="T28"/>
                <a:gd fmla="*/ 202 h 323" name="T29"/>
                <a:gd fmla="*/ 215 w 404" name="T30"/>
                <a:gd fmla="*/ 188 h 323" name="T31"/>
                <a:gd fmla="*/ 203 w 404" name="T32"/>
                <a:gd fmla="*/ 173 h 323" name="T33"/>
                <a:gd fmla="*/ 186 w 404" name="T34"/>
                <a:gd fmla="*/ 172 h 323" name="T35"/>
                <a:gd fmla="*/ 176 w 404" name="T36"/>
                <a:gd fmla="*/ 190 h 323" name="T37"/>
                <a:gd fmla="*/ 149 w 404" name="T38"/>
                <a:gd fmla="*/ 184 h 323" name="T39"/>
                <a:gd fmla="*/ 139 w 404" name="T40"/>
                <a:gd fmla="*/ 169 h 323" name="T41"/>
                <a:gd fmla="*/ 122 w 404" name="T42"/>
                <a:gd fmla="*/ 160 h 323" name="T43"/>
                <a:gd fmla="*/ 128 w 404" name="T44"/>
                <a:gd fmla="*/ 120 h 323" name="T45"/>
                <a:gd fmla="*/ 124 w 404" name="T46"/>
                <a:gd fmla="*/ 113 h 323" name="T47"/>
                <a:gd fmla="*/ 106 w 404" name="T48"/>
                <a:gd fmla="*/ 116 h 323" name="T49"/>
                <a:gd fmla="*/ 92 w 404" name="T50"/>
                <a:gd fmla="*/ 105 h 323" name="T51"/>
                <a:gd fmla="*/ 60 w 404" name="T52"/>
                <a:gd fmla="*/ 96 h 323" name="T53"/>
                <a:gd fmla="*/ 41 w 404" name="T54"/>
                <a:gd fmla="*/ 77 h 323" name="T55"/>
                <a:gd fmla="*/ 0 w 404" name="T56"/>
                <a:gd fmla="*/ 61 h 323" name="T57"/>
                <a:gd fmla="*/ 3 w 404" name="T58"/>
                <a:gd fmla="*/ 42 h 323" name="T59"/>
                <a:gd fmla="*/ 20 w 404" name="T60"/>
                <a:gd fmla="*/ 35 h 323" name="T61"/>
                <a:gd fmla="*/ 50 w 404" name="T62"/>
                <a:gd fmla="*/ 61 h 323" name="T63"/>
                <a:gd fmla="*/ 60 w 404" name="T64"/>
                <a:gd fmla="*/ 61 h 323" name="T65"/>
                <a:gd fmla="*/ 87 w 404" name="T66"/>
                <a:gd fmla="*/ 57 h 323" name="T67"/>
                <a:gd fmla="*/ 103 w 404" name="T68"/>
                <a:gd fmla="*/ 45 h 323" name="T69"/>
                <a:gd fmla="*/ 125 w 404" name="T70"/>
                <a:gd fmla="*/ 62 h 323" name="T71"/>
                <a:gd fmla="*/ 134 w 404" name="T72"/>
                <a:gd fmla="*/ 46 h 323" name="T73"/>
                <a:gd fmla="*/ 138 w 404" name="T74"/>
                <a:gd fmla="*/ 36 h 323" name="T75"/>
                <a:gd fmla="*/ 156 w 404" name="T76"/>
                <a:gd fmla="*/ 26 h 323" name="T77"/>
                <a:gd fmla="*/ 161 w 404" name="T78"/>
                <a:gd fmla="*/ 4 h 323" name="T79"/>
                <a:gd fmla="*/ 179 w 404" name="T80"/>
                <a:gd fmla="*/ 0 h 323" name="T81"/>
                <a:gd fmla="*/ 226 w 404" name="T82"/>
                <a:gd fmla="*/ 31 h 323" name="T83"/>
                <a:gd fmla="*/ 258 w 404" name="T84"/>
                <a:gd fmla="*/ 45 h 323" name="T85"/>
                <a:gd fmla="*/ 322 w 404" name="T86"/>
                <a:gd fmla="*/ 150 h 323" name="T87"/>
                <a:gd fmla="*/ 319 w 404" name="T88"/>
                <a:gd fmla="*/ 161 h 323" name="T89"/>
                <a:gd fmla="*/ 362 w 404" name="T90"/>
                <a:gd fmla="*/ 181 h 323" name="T91"/>
                <a:gd fmla="*/ 374 w 404" name="T92"/>
                <a:gd fmla="*/ 198 h 323" name="T93"/>
                <a:gd fmla="*/ 393 w 404" name="T94"/>
                <a:gd fmla="*/ 208 h 323" name="T95"/>
                <a:gd fmla="*/ 403 w 404" name="T96"/>
                <a:gd fmla="*/ 227 h 323" name="T97"/>
                <a:gd fmla="*/ 389 w 404" name="T98"/>
                <a:gd fmla="*/ 232 h 323" name="T99"/>
                <a:gd fmla="*/ 368 w 404" name="T100"/>
                <a:gd fmla="*/ 226 h 323" name="T101"/>
                <a:gd fmla="*/ 338 w 404" name="T102"/>
                <a:gd fmla="*/ 226 h 323" name="T103"/>
                <a:gd fmla="*/ 311 w 404" name="T104"/>
                <a:gd fmla="*/ 216 h 323" name="T105"/>
                <a:gd fmla="*/ 298 w 404" name="T106"/>
                <a:gd fmla="*/ 226 h 323" name="T107"/>
                <a:gd fmla="*/ 325 w 404" name="T108"/>
                <a:gd fmla="*/ 232 h 323" name="T109"/>
                <a:gd fmla="*/ 349 w 404" name="T110"/>
                <a:gd fmla="*/ 243 h 323" name="T111"/>
                <a:gd fmla="*/ 375 w 404" name="T112"/>
                <a:gd fmla="*/ 255 h 323" name="T113"/>
                <a:gd fmla="*/ 375 w 404" name="T114"/>
                <a:gd fmla="*/ 255 h 323" name="T11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b="b" l="0" r="r" t="0"/>
              <a:pathLst>
                <a:path h="323" w="403">
                  <a:moveTo>
                    <a:pt x="375" y="255"/>
                  </a:moveTo>
                  <a:lnTo>
                    <a:pt x="365" y="282"/>
                  </a:lnTo>
                  <a:lnTo>
                    <a:pt x="354" y="297"/>
                  </a:lnTo>
                  <a:lnTo>
                    <a:pt x="333" y="322"/>
                  </a:lnTo>
                  <a:lnTo>
                    <a:pt x="301" y="317"/>
                  </a:lnTo>
                  <a:lnTo>
                    <a:pt x="275" y="301"/>
                  </a:lnTo>
                  <a:lnTo>
                    <a:pt x="260" y="308"/>
                  </a:lnTo>
                  <a:lnTo>
                    <a:pt x="205" y="303"/>
                  </a:lnTo>
                  <a:lnTo>
                    <a:pt x="203" y="281"/>
                  </a:lnTo>
                  <a:lnTo>
                    <a:pt x="176" y="261"/>
                  </a:lnTo>
                  <a:lnTo>
                    <a:pt x="166" y="245"/>
                  </a:lnTo>
                  <a:lnTo>
                    <a:pt x="179" y="231"/>
                  </a:lnTo>
                  <a:lnTo>
                    <a:pt x="179" y="220"/>
                  </a:lnTo>
                  <a:lnTo>
                    <a:pt x="179" y="206"/>
                  </a:lnTo>
                  <a:lnTo>
                    <a:pt x="213" y="202"/>
                  </a:lnTo>
                  <a:lnTo>
                    <a:pt x="215" y="188"/>
                  </a:lnTo>
                  <a:lnTo>
                    <a:pt x="203" y="173"/>
                  </a:lnTo>
                  <a:lnTo>
                    <a:pt x="186" y="172"/>
                  </a:lnTo>
                  <a:lnTo>
                    <a:pt x="176" y="190"/>
                  </a:lnTo>
                  <a:lnTo>
                    <a:pt x="149" y="184"/>
                  </a:lnTo>
                  <a:lnTo>
                    <a:pt x="139" y="169"/>
                  </a:lnTo>
                  <a:lnTo>
                    <a:pt x="122" y="160"/>
                  </a:lnTo>
                  <a:lnTo>
                    <a:pt x="128" y="120"/>
                  </a:lnTo>
                  <a:lnTo>
                    <a:pt x="124" y="113"/>
                  </a:lnTo>
                  <a:lnTo>
                    <a:pt x="106" y="116"/>
                  </a:lnTo>
                  <a:lnTo>
                    <a:pt x="92" y="105"/>
                  </a:lnTo>
                  <a:lnTo>
                    <a:pt x="60" y="96"/>
                  </a:lnTo>
                  <a:lnTo>
                    <a:pt x="41" y="77"/>
                  </a:lnTo>
                  <a:lnTo>
                    <a:pt x="0" y="61"/>
                  </a:lnTo>
                  <a:lnTo>
                    <a:pt x="3" y="42"/>
                  </a:lnTo>
                  <a:lnTo>
                    <a:pt x="20" y="35"/>
                  </a:lnTo>
                  <a:lnTo>
                    <a:pt x="50" y="61"/>
                  </a:lnTo>
                  <a:lnTo>
                    <a:pt x="60" y="61"/>
                  </a:lnTo>
                  <a:lnTo>
                    <a:pt x="87" y="57"/>
                  </a:lnTo>
                  <a:lnTo>
                    <a:pt x="103" y="45"/>
                  </a:lnTo>
                  <a:lnTo>
                    <a:pt x="125" y="62"/>
                  </a:lnTo>
                  <a:lnTo>
                    <a:pt x="134" y="46"/>
                  </a:lnTo>
                  <a:lnTo>
                    <a:pt x="138" y="36"/>
                  </a:lnTo>
                  <a:lnTo>
                    <a:pt x="156" y="26"/>
                  </a:lnTo>
                  <a:lnTo>
                    <a:pt x="161" y="4"/>
                  </a:lnTo>
                  <a:lnTo>
                    <a:pt x="179" y="0"/>
                  </a:lnTo>
                  <a:lnTo>
                    <a:pt x="226" y="31"/>
                  </a:lnTo>
                  <a:lnTo>
                    <a:pt x="258" y="45"/>
                  </a:lnTo>
                  <a:lnTo>
                    <a:pt x="322" y="150"/>
                  </a:lnTo>
                  <a:lnTo>
                    <a:pt x="319" y="161"/>
                  </a:lnTo>
                  <a:lnTo>
                    <a:pt x="362" y="181"/>
                  </a:lnTo>
                  <a:lnTo>
                    <a:pt x="374" y="198"/>
                  </a:lnTo>
                  <a:lnTo>
                    <a:pt x="393" y="208"/>
                  </a:lnTo>
                  <a:lnTo>
                    <a:pt x="403" y="227"/>
                  </a:lnTo>
                  <a:lnTo>
                    <a:pt x="389" y="232"/>
                  </a:lnTo>
                  <a:lnTo>
                    <a:pt x="368" y="226"/>
                  </a:lnTo>
                  <a:lnTo>
                    <a:pt x="338" y="226"/>
                  </a:lnTo>
                  <a:lnTo>
                    <a:pt x="311" y="216"/>
                  </a:lnTo>
                  <a:lnTo>
                    <a:pt x="298" y="226"/>
                  </a:lnTo>
                  <a:lnTo>
                    <a:pt x="325" y="232"/>
                  </a:lnTo>
                  <a:lnTo>
                    <a:pt x="349" y="243"/>
                  </a:lnTo>
                  <a:lnTo>
                    <a:pt x="375" y="255"/>
                  </a:lnTo>
                  <a:lnTo>
                    <a:pt x="375" y="255"/>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5" name="湖北">
              <a:hlinkClick action="ppaction://macro?name=Slide1.湖北_click" highlightClick="1"/>
              <a:hlinkHover action="ppaction://noaction" highlightClick="1"/>
            </p:cNvPr>
            <p:cNvSpPr>
              <a:spLocks noChangeAspect="1"/>
            </p:cNvSpPr>
            <p:nvPr/>
          </p:nvSpPr>
          <p:spPr bwMode="auto">
            <a:xfrm rot="180000">
              <a:off x="5077563" y="4117119"/>
              <a:ext cx="1178974" cy="780008"/>
            </a:xfrm>
            <a:custGeom>
              <a:gdLst>
                <a:gd fmla="*/ 76 w 551" name="T0"/>
                <a:gd fmla="*/ 318 h 346" name="T1"/>
                <a:gd fmla="*/ 141 w 551" name="T2"/>
                <a:gd fmla="*/ 304 h 346" name="T3"/>
                <a:gd fmla="*/ 144 w 551" name="T4"/>
                <a:gd fmla="*/ 270 h 346" name="T5"/>
                <a:gd fmla="*/ 238 w 551" name="T6"/>
                <a:gd fmla="*/ 267 h 346" name="T7"/>
                <a:gd fmla="*/ 283 w 551" name="T8"/>
                <a:gd fmla="*/ 296 h 346" name="T9"/>
                <a:gd fmla="*/ 322 w 551" name="T10"/>
                <a:gd fmla="*/ 275 h 346" name="T11"/>
                <a:gd fmla="*/ 339 w 551" name="T12"/>
                <a:gd fmla="*/ 296 h 346" name="T13"/>
                <a:gd fmla="*/ 365 w 551" name="T14"/>
                <a:gd fmla="*/ 265 h 346" name="T15"/>
                <a:gd fmla="*/ 375 w 551" name="T16"/>
                <a:gd fmla="*/ 304 h 346" name="T17"/>
                <a:gd fmla="*/ 399 w 551" name="T18"/>
                <a:gd fmla="*/ 318 h 346" name="T19"/>
                <a:gd fmla="*/ 445 w 551" name="T20"/>
                <a:gd fmla="*/ 290 h 346" name="T21"/>
                <a:gd fmla="*/ 522 w 551" name="T22"/>
                <a:gd fmla="*/ 245 h 346" name="T23"/>
                <a:gd fmla="*/ 515 w 551" name="T24"/>
                <a:gd fmla="*/ 168 h 346" name="T25"/>
                <a:gd fmla="*/ 523 w 551" name="T26"/>
                <a:gd fmla="*/ 140 h 346" name="T27"/>
                <a:gd fmla="*/ 473 w 551" name="T28"/>
                <a:gd fmla="*/ 116 h 346" name="T29"/>
                <a:gd fmla="*/ 438 w 551" name="T30"/>
                <a:gd fmla="*/ 116 h 346" name="T31"/>
                <a:gd fmla="*/ 387 w 551" name="T32"/>
                <a:gd fmla="*/ 98 h 346" name="T33"/>
                <a:gd fmla="*/ 358 w 551" name="T34"/>
                <a:gd fmla="*/ 67 h 346" name="T35"/>
                <a:gd fmla="*/ 331 w 551" name="T36"/>
                <a:gd fmla="*/ 65 h 346" name="T37"/>
                <a:gd fmla="*/ 271 w 551" name="T38"/>
                <a:gd fmla="*/ 65 h 346" name="T39"/>
                <a:gd fmla="*/ 159 w 551" name="T40"/>
                <a:gd fmla="*/ 0 h 346" name="T41"/>
                <a:gd fmla="*/ 135 w 551" name="T42"/>
                <a:gd fmla="*/ 8 h 346" name="T43"/>
                <a:gd fmla="*/ 68 w 551" name="T44"/>
                <a:gd fmla="*/ 8 h 346" name="T45"/>
                <a:gd fmla="*/ 76 w 551" name="T46"/>
                <a:gd fmla="*/ 31 h 346" name="T47"/>
                <a:gd fmla="*/ 108 w 551" name="T48"/>
                <a:gd fmla="*/ 41 h 346" name="T49"/>
                <a:gd fmla="*/ 73 w 551" name="T50"/>
                <a:gd fmla="*/ 65 h 346" name="T51"/>
                <a:gd fmla="*/ 73 w 551" name="T52"/>
                <a:gd fmla="*/ 95 h 346" name="T53"/>
                <a:gd fmla="*/ 93 w 551" name="T54"/>
                <a:gd fmla="*/ 125 h 346" name="T55"/>
                <a:gd fmla="*/ 117 w 551" name="T56"/>
                <a:gd fmla="*/ 189 h 346" name="T57"/>
                <a:gd fmla="*/ 100 w 551" name="T58"/>
                <a:gd fmla="*/ 200 h 346" name="T59"/>
                <a:gd fmla="*/ 14 w 551" name="T60"/>
                <a:gd fmla="*/ 233 h 346" name="T61"/>
                <a:gd fmla="*/ 12 w 551" name="T62"/>
                <a:gd fmla="*/ 263 h 346" name="T63"/>
                <a:gd fmla="*/ 28 w 551" name="T64"/>
                <a:gd fmla="*/ 298 h 346" name="T65"/>
                <a:gd fmla="*/ 65 w 551" name="T66"/>
                <a:gd fmla="*/ 345 h 346"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346" w="551">
                  <a:moveTo>
                    <a:pt x="65" y="345"/>
                  </a:moveTo>
                  <a:lnTo>
                    <a:pt x="76" y="318"/>
                  </a:lnTo>
                  <a:lnTo>
                    <a:pt x="109" y="290"/>
                  </a:lnTo>
                  <a:lnTo>
                    <a:pt x="141" y="304"/>
                  </a:lnTo>
                  <a:lnTo>
                    <a:pt x="162" y="290"/>
                  </a:lnTo>
                  <a:lnTo>
                    <a:pt x="144" y="270"/>
                  </a:lnTo>
                  <a:lnTo>
                    <a:pt x="153" y="261"/>
                  </a:lnTo>
                  <a:lnTo>
                    <a:pt x="238" y="267"/>
                  </a:lnTo>
                  <a:lnTo>
                    <a:pt x="267" y="287"/>
                  </a:lnTo>
                  <a:lnTo>
                    <a:pt x="283" y="296"/>
                  </a:lnTo>
                  <a:lnTo>
                    <a:pt x="305" y="280"/>
                  </a:lnTo>
                  <a:lnTo>
                    <a:pt x="322" y="275"/>
                  </a:lnTo>
                  <a:lnTo>
                    <a:pt x="325" y="296"/>
                  </a:lnTo>
                  <a:lnTo>
                    <a:pt x="339" y="296"/>
                  </a:lnTo>
                  <a:lnTo>
                    <a:pt x="347" y="283"/>
                  </a:lnTo>
                  <a:lnTo>
                    <a:pt x="365" y="265"/>
                  </a:lnTo>
                  <a:lnTo>
                    <a:pt x="375" y="277"/>
                  </a:lnTo>
                  <a:lnTo>
                    <a:pt x="375" y="304"/>
                  </a:lnTo>
                  <a:lnTo>
                    <a:pt x="382" y="315"/>
                  </a:lnTo>
                  <a:lnTo>
                    <a:pt x="399" y="318"/>
                  </a:lnTo>
                  <a:lnTo>
                    <a:pt x="418" y="299"/>
                  </a:lnTo>
                  <a:lnTo>
                    <a:pt x="445" y="290"/>
                  </a:lnTo>
                  <a:lnTo>
                    <a:pt x="498" y="243"/>
                  </a:lnTo>
                  <a:lnTo>
                    <a:pt x="522" y="245"/>
                  </a:lnTo>
                  <a:lnTo>
                    <a:pt x="550" y="235"/>
                  </a:lnTo>
                  <a:lnTo>
                    <a:pt x="515" y="168"/>
                  </a:lnTo>
                  <a:lnTo>
                    <a:pt x="526" y="148"/>
                  </a:lnTo>
                  <a:lnTo>
                    <a:pt x="523" y="140"/>
                  </a:lnTo>
                  <a:lnTo>
                    <a:pt x="505" y="135"/>
                  </a:lnTo>
                  <a:lnTo>
                    <a:pt x="473" y="116"/>
                  </a:lnTo>
                  <a:lnTo>
                    <a:pt x="458" y="107"/>
                  </a:lnTo>
                  <a:lnTo>
                    <a:pt x="438" y="116"/>
                  </a:lnTo>
                  <a:lnTo>
                    <a:pt x="416" y="98"/>
                  </a:lnTo>
                  <a:lnTo>
                    <a:pt x="387" y="98"/>
                  </a:lnTo>
                  <a:lnTo>
                    <a:pt x="365" y="86"/>
                  </a:lnTo>
                  <a:lnTo>
                    <a:pt x="358" y="67"/>
                  </a:lnTo>
                  <a:lnTo>
                    <a:pt x="347" y="55"/>
                  </a:lnTo>
                  <a:lnTo>
                    <a:pt x="331" y="65"/>
                  </a:lnTo>
                  <a:lnTo>
                    <a:pt x="317" y="58"/>
                  </a:lnTo>
                  <a:lnTo>
                    <a:pt x="271" y="65"/>
                  </a:lnTo>
                  <a:lnTo>
                    <a:pt x="220" y="54"/>
                  </a:lnTo>
                  <a:lnTo>
                    <a:pt x="159" y="0"/>
                  </a:lnTo>
                  <a:lnTo>
                    <a:pt x="143" y="14"/>
                  </a:lnTo>
                  <a:lnTo>
                    <a:pt x="135" y="8"/>
                  </a:lnTo>
                  <a:lnTo>
                    <a:pt x="123" y="8"/>
                  </a:lnTo>
                  <a:lnTo>
                    <a:pt x="68" y="8"/>
                  </a:lnTo>
                  <a:lnTo>
                    <a:pt x="59" y="15"/>
                  </a:lnTo>
                  <a:lnTo>
                    <a:pt x="76" y="31"/>
                  </a:lnTo>
                  <a:lnTo>
                    <a:pt x="93" y="35"/>
                  </a:lnTo>
                  <a:lnTo>
                    <a:pt x="108" y="41"/>
                  </a:lnTo>
                  <a:lnTo>
                    <a:pt x="100" y="52"/>
                  </a:lnTo>
                  <a:lnTo>
                    <a:pt x="73" y="65"/>
                  </a:lnTo>
                  <a:lnTo>
                    <a:pt x="68" y="87"/>
                  </a:lnTo>
                  <a:lnTo>
                    <a:pt x="73" y="95"/>
                  </a:lnTo>
                  <a:lnTo>
                    <a:pt x="76" y="122"/>
                  </a:lnTo>
                  <a:lnTo>
                    <a:pt x="93" y="125"/>
                  </a:lnTo>
                  <a:lnTo>
                    <a:pt x="109" y="146"/>
                  </a:lnTo>
                  <a:lnTo>
                    <a:pt x="117" y="189"/>
                  </a:lnTo>
                  <a:lnTo>
                    <a:pt x="111" y="203"/>
                  </a:lnTo>
                  <a:lnTo>
                    <a:pt x="100" y="200"/>
                  </a:lnTo>
                  <a:lnTo>
                    <a:pt x="69" y="225"/>
                  </a:lnTo>
                  <a:lnTo>
                    <a:pt x="14" y="233"/>
                  </a:lnTo>
                  <a:lnTo>
                    <a:pt x="0" y="248"/>
                  </a:lnTo>
                  <a:lnTo>
                    <a:pt x="12" y="263"/>
                  </a:lnTo>
                  <a:lnTo>
                    <a:pt x="13" y="295"/>
                  </a:lnTo>
                  <a:lnTo>
                    <a:pt x="28" y="298"/>
                  </a:lnTo>
                  <a:lnTo>
                    <a:pt x="65" y="345"/>
                  </a:lnTo>
                  <a:lnTo>
                    <a:pt x="65" y="345"/>
                  </a:lnTo>
                </a:path>
              </a:pathLst>
            </a:custGeom>
            <a:solidFill>
              <a:srgbClr val="E00024"/>
            </a:solidFill>
            <a:ln cap="flat" cmpd="sng" w="3175">
              <a:solidFill>
                <a:schemeClr val="bg1"/>
              </a:solidFill>
              <a:prstDash val="solid"/>
              <a:round/>
              <a:headEnd len="med" type="none" w="med"/>
              <a:tailEnd len="med" type="none" w="med"/>
            </a:ln>
            <a:effectLst/>
            <a:extLst/>
          </p:spPr>
          <p:txBody>
            <a:bodyPr/>
            <a:lstStyle/>
            <a:p>
              <a:endParaRPr altLang="en-US" lang="zh-CN">
                <a:solidFill>
                  <a:srgbClr val="E94C65"/>
                </a:solidFill>
              </a:endParaRPr>
            </a:p>
          </p:txBody>
        </p:sp>
        <p:sp>
          <p:nvSpPr>
            <p:cNvPr id="396" name="陕西">
              <a:hlinkClick action="ppaction://macro?name=Slide1.陕西_click" highlightClick="1"/>
              <a:hlinkHover action="ppaction://noaction" highlightClick="1"/>
            </p:cNvPr>
            <p:cNvSpPr>
              <a:spLocks noChangeAspect="1"/>
            </p:cNvSpPr>
            <p:nvPr/>
          </p:nvSpPr>
          <p:spPr bwMode="auto">
            <a:xfrm rot="180000">
              <a:off x="4719642" y="2973187"/>
              <a:ext cx="745480" cy="1404757"/>
            </a:xfrm>
            <a:custGeom>
              <a:gdLst>
                <a:gd fmla="*/ 294 w 354" name="T0"/>
                <a:gd fmla="*/ 381 h 640" name="T1"/>
                <a:gd fmla="*/ 287 w 354" name="T2"/>
                <a:gd fmla="*/ 214 h 640" name="T3"/>
                <a:gd fmla="*/ 311 w 354" name="T4"/>
                <a:gd fmla="*/ 162 h 640" name="T5"/>
                <a:gd fmla="*/ 309 w 354" name="T6"/>
                <a:gd fmla="*/ 85 h 640" name="T7"/>
                <a:gd fmla="*/ 323 w 354" name="T8"/>
                <a:gd fmla="*/ 34 h 640" name="T9"/>
                <a:gd fmla="*/ 312 w 354" name="T10"/>
                <a:gd fmla="*/ 0 h 640" name="T11"/>
                <a:gd fmla="*/ 259 w 354" name="T12"/>
                <a:gd fmla="*/ 18 h 640" name="T13"/>
                <a:gd fmla="*/ 241 w 354" name="T14"/>
                <a:gd fmla="*/ 65 h 640" name="T15"/>
                <a:gd fmla="*/ 221 w 354" name="T16"/>
                <a:gd fmla="*/ 81 h 640" name="T17"/>
                <a:gd fmla="*/ 153 w 354" name="T18"/>
                <a:gd fmla="*/ 164 h 640" name="T19"/>
                <a:gd fmla="*/ 100 w 354" name="T20"/>
                <a:gd fmla="*/ 162 h 640" name="T21"/>
                <a:gd fmla="*/ 87 w 354" name="T22"/>
                <a:gd fmla="*/ 213 h 640" name="T23"/>
                <a:gd fmla="*/ 153 w 354" name="T24"/>
                <a:gd fmla="*/ 254 h 640" name="T25"/>
                <a:gd fmla="*/ 188 w 354" name="T26"/>
                <a:gd fmla="*/ 293 h 640" name="T27"/>
                <a:gd fmla="*/ 182 w 354" name="T28"/>
                <a:gd fmla="*/ 344 h 640" name="T29"/>
                <a:gd fmla="*/ 132 w 354" name="T30"/>
                <a:gd fmla="*/ 360 h 640" name="T31"/>
                <a:gd fmla="*/ 126 w 354" name="T32"/>
                <a:gd fmla="*/ 374 h 640" name="T33"/>
                <a:gd fmla="*/ 91 w 354" name="T34"/>
                <a:gd fmla="*/ 391 h 640" name="T35"/>
                <a:gd fmla="*/ 48 w 354" name="T36"/>
                <a:gd fmla="*/ 381 h 640" name="T37"/>
                <a:gd fmla="*/ 48 w 354" name="T38"/>
                <a:gd fmla="*/ 399 h 640" name="T39"/>
                <a:gd fmla="*/ 34 w 354" name="T40"/>
                <a:gd fmla="*/ 427 h 640" name="T41"/>
                <a:gd fmla="*/ 39 w 354" name="T42"/>
                <a:gd fmla="*/ 479 h 640" name="T43"/>
                <a:gd fmla="*/ 45 w 354" name="T44"/>
                <a:gd fmla="*/ 504 h 640" name="T45"/>
                <a:gd fmla="*/ 0 w 354" name="T46"/>
                <a:gd fmla="*/ 512 h 640" name="T47"/>
                <a:gd fmla="*/ 5 w 354" name="T48"/>
                <a:gd fmla="*/ 559 h 640" name="T49"/>
                <a:gd fmla="*/ 23 w 354" name="T50"/>
                <a:gd fmla="*/ 579 h 640" name="T51"/>
                <a:gd fmla="*/ 83 w 354" name="T52"/>
                <a:gd fmla="*/ 571 h 640" name="T53"/>
                <a:gd fmla="*/ 95 w 354" name="T54"/>
                <a:gd fmla="*/ 588 h 640" name="T55"/>
                <a:gd fmla="*/ 157 w 354" name="T56"/>
                <a:gd fmla="*/ 615 h 640" name="T57"/>
                <a:gd fmla="*/ 233 w 354" name="T58"/>
                <a:gd fmla="*/ 624 h 640" name="T59"/>
                <a:gd fmla="*/ 270 w 354" name="T60"/>
                <a:gd fmla="*/ 632 h 640" name="T61"/>
                <a:gd fmla="*/ 262 w 354" name="T62"/>
                <a:gd fmla="*/ 597 h 640" name="T63"/>
                <a:gd fmla="*/ 294 w 354" name="T64"/>
                <a:gd fmla="*/ 562 h 640" name="T65"/>
                <a:gd fmla="*/ 287 w 354" name="T66"/>
                <a:gd fmla="*/ 545 h 640" name="T67"/>
                <a:gd fmla="*/ 253 w 354" name="T68"/>
                <a:gd fmla="*/ 525 h 640" name="T69"/>
                <a:gd fmla="*/ 317 w 354" name="T70"/>
                <a:gd fmla="*/ 518 h 640" name="T71"/>
                <a:gd fmla="*/ 337 w 354" name="T72"/>
                <a:gd fmla="*/ 524 h 640" name="T73"/>
                <a:gd fmla="*/ 353 w 354" name="T74"/>
                <a:gd fmla="*/ 488 h 640" name="T75"/>
                <a:gd fmla="*/ 303 w 354" name="T76"/>
                <a:gd fmla="*/ 403 h 640"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640" w="354">
                  <a:moveTo>
                    <a:pt x="303" y="403"/>
                  </a:moveTo>
                  <a:lnTo>
                    <a:pt x="294" y="381"/>
                  </a:lnTo>
                  <a:lnTo>
                    <a:pt x="311" y="324"/>
                  </a:lnTo>
                  <a:lnTo>
                    <a:pt x="287" y="214"/>
                  </a:lnTo>
                  <a:lnTo>
                    <a:pt x="303" y="187"/>
                  </a:lnTo>
                  <a:lnTo>
                    <a:pt x="311" y="162"/>
                  </a:lnTo>
                  <a:lnTo>
                    <a:pt x="289" y="117"/>
                  </a:lnTo>
                  <a:lnTo>
                    <a:pt x="309" y="85"/>
                  </a:lnTo>
                  <a:lnTo>
                    <a:pt x="312" y="56"/>
                  </a:lnTo>
                  <a:lnTo>
                    <a:pt x="323" y="34"/>
                  </a:lnTo>
                  <a:lnTo>
                    <a:pt x="322" y="7"/>
                  </a:lnTo>
                  <a:lnTo>
                    <a:pt x="312" y="0"/>
                  </a:lnTo>
                  <a:lnTo>
                    <a:pt x="298" y="17"/>
                  </a:lnTo>
                  <a:lnTo>
                    <a:pt x="259" y="18"/>
                  </a:lnTo>
                  <a:lnTo>
                    <a:pt x="239" y="49"/>
                  </a:lnTo>
                  <a:lnTo>
                    <a:pt x="241" y="65"/>
                  </a:lnTo>
                  <a:lnTo>
                    <a:pt x="237" y="76"/>
                  </a:lnTo>
                  <a:lnTo>
                    <a:pt x="221" y="81"/>
                  </a:lnTo>
                  <a:lnTo>
                    <a:pt x="160" y="169"/>
                  </a:lnTo>
                  <a:lnTo>
                    <a:pt x="153" y="164"/>
                  </a:lnTo>
                  <a:lnTo>
                    <a:pt x="135" y="158"/>
                  </a:lnTo>
                  <a:lnTo>
                    <a:pt x="100" y="162"/>
                  </a:lnTo>
                  <a:lnTo>
                    <a:pt x="88" y="177"/>
                  </a:lnTo>
                  <a:lnTo>
                    <a:pt x="87" y="213"/>
                  </a:lnTo>
                  <a:lnTo>
                    <a:pt x="92" y="224"/>
                  </a:lnTo>
                  <a:lnTo>
                    <a:pt x="153" y="254"/>
                  </a:lnTo>
                  <a:lnTo>
                    <a:pt x="184" y="274"/>
                  </a:lnTo>
                  <a:lnTo>
                    <a:pt x="188" y="293"/>
                  </a:lnTo>
                  <a:lnTo>
                    <a:pt x="173" y="316"/>
                  </a:lnTo>
                  <a:lnTo>
                    <a:pt x="182" y="344"/>
                  </a:lnTo>
                  <a:lnTo>
                    <a:pt x="176" y="357"/>
                  </a:lnTo>
                  <a:lnTo>
                    <a:pt x="132" y="360"/>
                  </a:lnTo>
                  <a:lnTo>
                    <a:pt x="123" y="367"/>
                  </a:lnTo>
                  <a:lnTo>
                    <a:pt x="126" y="374"/>
                  </a:lnTo>
                  <a:lnTo>
                    <a:pt x="126" y="386"/>
                  </a:lnTo>
                  <a:lnTo>
                    <a:pt x="91" y="391"/>
                  </a:lnTo>
                  <a:lnTo>
                    <a:pt x="72" y="381"/>
                  </a:lnTo>
                  <a:lnTo>
                    <a:pt x="48" y="381"/>
                  </a:lnTo>
                  <a:lnTo>
                    <a:pt x="45" y="386"/>
                  </a:lnTo>
                  <a:lnTo>
                    <a:pt x="48" y="399"/>
                  </a:lnTo>
                  <a:lnTo>
                    <a:pt x="37" y="413"/>
                  </a:lnTo>
                  <a:lnTo>
                    <a:pt x="34" y="427"/>
                  </a:lnTo>
                  <a:lnTo>
                    <a:pt x="56" y="445"/>
                  </a:lnTo>
                  <a:lnTo>
                    <a:pt x="39" y="479"/>
                  </a:lnTo>
                  <a:lnTo>
                    <a:pt x="46" y="495"/>
                  </a:lnTo>
                  <a:lnTo>
                    <a:pt x="45" y="504"/>
                  </a:lnTo>
                  <a:lnTo>
                    <a:pt x="19" y="504"/>
                  </a:lnTo>
                  <a:lnTo>
                    <a:pt x="0" y="512"/>
                  </a:lnTo>
                  <a:lnTo>
                    <a:pt x="15" y="533"/>
                  </a:lnTo>
                  <a:lnTo>
                    <a:pt x="5" y="559"/>
                  </a:lnTo>
                  <a:lnTo>
                    <a:pt x="21" y="562"/>
                  </a:lnTo>
                  <a:lnTo>
                    <a:pt x="23" y="579"/>
                  </a:lnTo>
                  <a:lnTo>
                    <a:pt x="36" y="580"/>
                  </a:lnTo>
                  <a:lnTo>
                    <a:pt x="83" y="571"/>
                  </a:lnTo>
                  <a:lnTo>
                    <a:pt x="92" y="575"/>
                  </a:lnTo>
                  <a:lnTo>
                    <a:pt x="95" y="588"/>
                  </a:lnTo>
                  <a:lnTo>
                    <a:pt x="115" y="593"/>
                  </a:lnTo>
                  <a:lnTo>
                    <a:pt x="157" y="615"/>
                  </a:lnTo>
                  <a:lnTo>
                    <a:pt x="182" y="605"/>
                  </a:lnTo>
                  <a:lnTo>
                    <a:pt x="233" y="624"/>
                  </a:lnTo>
                  <a:lnTo>
                    <a:pt x="245" y="639"/>
                  </a:lnTo>
                  <a:lnTo>
                    <a:pt x="270" y="632"/>
                  </a:lnTo>
                  <a:lnTo>
                    <a:pt x="267" y="605"/>
                  </a:lnTo>
                  <a:lnTo>
                    <a:pt x="262" y="597"/>
                  </a:lnTo>
                  <a:lnTo>
                    <a:pt x="267" y="575"/>
                  </a:lnTo>
                  <a:lnTo>
                    <a:pt x="294" y="562"/>
                  </a:lnTo>
                  <a:lnTo>
                    <a:pt x="302" y="551"/>
                  </a:lnTo>
                  <a:lnTo>
                    <a:pt x="287" y="545"/>
                  </a:lnTo>
                  <a:lnTo>
                    <a:pt x="270" y="541"/>
                  </a:lnTo>
                  <a:lnTo>
                    <a:pt x="253" y="525"/>
                  </a:lnTo>
                  <a:lnTo>
                    <a:pt x="262" y="518"/>
                  </a:lnTo>
                  <a:lnTo>
                    <a:pt x="317" y="518"/>
                  </a:lnTo>
                  <a:lnTo>
                    <a:pt x="329" y="518"/>
                  </a:lnTo>
                  <a:lnTo>
                    <a:pt x="337" y="524"/>
                  </a:lnTo>
                  <a:lnTo>
                    <a:pt x="353" y="510"/>
                  </a:lnTo>
                  <a:lnTo>
                    <a:pt x="353" y="488"/>
                  </a:lnTo>
                  <a:lnTo>
                    <a:pt x="303" y="413"/>
                  </a:lnTo>
                  <a:lnTo>
                    <a:pt x="303" y="403"/>
                  </a:lnTo>
                  <a:lnTo>
                    <a:pt x="303" y="403"/>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7" name="山西">
              <a:hlinkClick action="ppaction://macro?name=Slide1.山西_click" highlightClick="1"/>
              <a:hlinkHover action="ppaction://noaction" highlightClick="1"/>
            </p:cNvPr>
            <p:cNvSpPr>
              <a:spLocks noChangeAspect="1"/>
            </p:cNvSpPr>
            <p:nvPr/>
          </p:nvSpPr>
          <p:spPr bwMode="auto">
            <a:xfrm rot="180000">
              <a:off x="5346536" y="2763073"/>
              <a:ext cx="522163" cy="1112717"/>
            </a:xfrm>
            <a:custGeom>
              <a:gdLst>
                <a:gd fmla="*/ 16 w 247" name="T0"/>
                <a:gd fmla="*/ 506 h 507" name="T1"/>
                <a:gd fmla="*/ 70 w 247" name="T2"/>
                <a:gd fmla="*/ 492 h 507" name="T3"/>
                <a:gd fmla="*/ 136 w 247" name="T4"/>
                <a:gd fmla="*/ 446 h 507" name="T5"/>
                <a:gd fmla="*/ 184 w 247" name="T6"/>
                <a:gd fmla="*/ 436 h 507" name="T7"/>
                <a:gd fmla="*/ 219 w 247" name="T8"/>
                <a:gd fmla="*/ 408 h 507" name="T9"/>
                <a:gd fmla="*/ 224 w 247" name="T10"/>
                <a:gd fmla="*/ 347 h 507" name="T11"/>
                <a:gd fmla="*/ 206 w 247" name="T12"/>
                <a:gd fmla="*/ 326 h 507" name="T13"/>
                <a:gd fmla="*/ 212 w 247" name="T14"/>
                <a:gd fmla="*/ 307 h 507" name="T15"/>
                <a:gd fmla="*/ 224 w 247" name="T16"/>
                <a:gd fmla="*/ 290 h 507" name="T17"/>
                <a:gd fmla="*/ 227 w 247" name="T18"/>
                <a:gd fmla="*/ 265 h 507" name="T19"/>
                <a:gd fmla="*/ 238 w 247" name="T20"/>
                <a:gd fmla="*/ 246 h 507" name="T21"/>
                <a:gd fmla="*/ 219 w 247" name="T22"/>
                <a:gd fmla="*/ 209 h 507" name="T23"/>
                <a:gd fmla="*/ 193 w 247" name="T24"/>
                <a:gd fmla="*/ 179 h 507" name="T25"/>
                <a:gd fmla="*/ 208 w 247" name="T26"/>
                <a:gd fmla="*/ 132 h 507" name="T27"/>
                <a:gd fmla="*/ 240 w 247" name="T28"/>
                <a:gd fmla="*/ 110 h 507" name="T29"/>
                <a:gd fmla="*/ 246 w 247" name="T30"/>
                <a:gd fmla="*/ 80 h 507" name="T31"/>
                <a:gd fmla="*/ 232 w 247" name="T32"/>
                <a:gd fmla="*/ 52 h 507" name="T33"/>
                <a:gd fmla="*/ 232 w 247" name="T34"/>
                <a:gd fmla="*/ 18 h 507" name="T35"/>
                <a:gd fmla="*/ 212 w 247" name="T36"/>
                <a:gd fmla="*/ 0 h 507" name="T37"/>
                <a:gd fmla="*/ 165 w 247" name="T38"/>
                <a:gd fmla="*/ 24 h 507" name="T39"/>
                <a:gd fmla="*/ 157 w 247" name="T40"/>
                <a:gd fmla="*/ 17 h 507" name="T41"/>
                <a:gd fmla="*/ 131 w 247" name="T42"/>
                <a:gd fmla="*/ 34 h 507" name="T43"/>
                <a:gd fmla="*/ 111 w 247" name="T44"/>
                <a:gd fmla="*/ 33 h 507" name="T45"/>
                <a:gd fmla="*/ 70 w 247" name="T46"/>
                <a:gd fmla="*/ 92 h 507" name="T47"/>
                <a:gd fmla="*/ 56 w 247" name="T48"/>
                <a:gd fmla="*/ 92 h 507" name="T49"/>
                <a:gd fmla="*/ 35 w 247" name="T50"/>
                <a:gd fmla="*/ 110 h 507" name="T51"/>
                <a:gd fmla="*/ 36 w 247" name="T52"/>
                <a:gd fmla="*/ 137 h 507" name="T53"/>
                <a:gd fmla="*/ 25 w 247" name="T54"/>
                <a:gd fmla="*/ 159 h 507" name="T55"/>
                <a:gd fmla="*/ 22 w 247" name="T56"/>
                <a:gd fmla="*/ 188 h 507" name="T57"/>
                <a:gd fmla="*/ 2 w 247" name="T58"/>
                <a:gd fmla="*/ 220 h 507" name="T59"/>
                <a:gd fmla="*/ 24 w 247" name="T60"/>
                <a:gd fmla="*/ 265 h 507" name="T61"/>
                <a:gd fmla="*/ 16 w 247" name="T62"/>
                <a:gd fmla="*/ 290 h 507" name="T63"/>
                <a:gd fmla="*/ 0 w 247" name="T64"/>
                <a:gd fmla="*/ 317 h 507" name="T65"/>
                <a:gd fmla="*/ 24 w 247" name="T66"/>
                <a:gd fmla="*/ 427 h 507" name="T67"/>
                <a:gd fmla="*/ 7 w 247" name="T68"/>
                <a:gd fmla="*/ 484 h 507" name="T69"/>
                <a:gd fmla="*/ 16 w 247" name="T70"/>
                <a:gd fmla="*/ 506 h 507" name="T71"/>
                <a:gd fmla="*/ 16 w 247" name="T72"/>
                <a:gd fmla="*/ 506 h 507"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507" w="246">
                  <a:moveTo>
                    <a:pt x="16" y="506"/>
                  </a:moveTo>
                  <a:lnTo>
                    <a:pt x="70" y="492"/>
                  </a:lnTo>
                  <a:lnTo>
                    <a:pt x="136" y="446"/>
                  </a:lnTo>
                  <a:lnTo>
                    <a:pt x="184" y="436"/>
                  </a:lnTo>
                  <a:lnTo>
                    <a:pt x="219" y="408"/>
                  </a:lnTo>
                  <a:lnTo>
                    <a:pt x="224" y="347"/>
                  </a:lnTo>
                  <a:lnTo>
                    <a:pt x="206" y="326"/>
                  </a:lnTo>
                  <a:lnTo>
                    <a:pt x="212" y="307"/>
                  </a:lnTo>
                  <a:lnTo>
                    <a:pt x="224" y="290"/>
                  </a:lnTo>
                  <a:lnTo>
                    <a:pt x="227" y="265"/>
                  </a:lnTo>
                  <a:lnTo>
                    <a:pt x="238" y="246"/>
                  </a:lnTo>
                  <a:lnTo>
                    <a:pt x="219" y="209"/>
                  </a:lnTo>
                  <a:lnTo>
                    <a:pt x="193" y="179"/>
                  </a:lnTo>
                  <a:lnTo>
                    <a:pt x="208" y="132"/>
                  </a:lnTo>
                  <a:lnTo>
                    <a:pt x="240" y="110"/>
                  </a:lnTo>
                  <a:lnTo>
                    <a:pt x="246" y="80"/>
                  </a:lnTo>
                  <a:lnTo>
                    <a:pt x="232" y="52"/>
                  </a:lnTo>
                  <a:lnTo>
                    <a:pt x="232" y="18"/>
                  </a:lnTo>
                  <a:lnTo>
                    <a:pt x="212" y="0"/>
                  </a:lnTo>
                  <a:lnTo>
                    <a:pt x="165" y="24"/>
                  </a:lnTo>
                  <a:lnTo>
                    <a:pt x="157" y="17"/>
                  </a:lnTo>
                  <a:lnTo>
                    <a:pt x="131" y="34"/>
                  </a:lnTo>
                  <a:lnTo>
                    <a:pt x="111" y="33"/>
                  </a:lnTo>
                  <a:lnTo>
                    <a:pt x="70" y="92"/>
                  </a:lnTo>
                  <a:lnTo>
                    <a:pt x="56" y="92"/>
                  </a:lnTo>
                  <a:lnTo>
                    <a:pt x="35" y="110"/>
                  </a:lnTo>
                  <a:lnTo>
                    <a:pt x="36" y="137"/>
                  </a:lnTo>
                  <a:lnTo>
                    <a:pt x="25" y="159"/>
                  </a:lnTo>
                  <a:lnTo>
                    <a:pt x="22" y="188"/>
                  </a:lnTo>
                  <a:lnTo>
                    <a:pt x="2" y="220"/>
                  </a:lnTo>
                  <a:lnTo>
                    <a:pt x="24" y="265"/>
                  </a:lnTo>
                  <a:lnTo>
                    <a:pt x="16" y="290"/>
                  </a:lnTo>
                  <a:lnTo>
                    <a:pt x="0" y="317"/>
                  </a:lnTo>
                  <a:lnTo>
                    <a:pt x="24" y="427"/>
                  </a:lnTo>
                  <a:lnTo>
                    <a:pt x="7" y="484"/>
                  </a:lnTo>
                  <a:lnTo>
                    <a:pt x="16" y="506"/>
                  </a:lnTo>
                  <a:lnTo>
                    <a:pt x="16" y="506"/>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8" name="山东">
              <a:hlinkClick action="ppaction://macro?name=Slide1.山东_click" highlightClick="1"/>
              <a:hlinkHover action="ppaction://noaction" highlightClick="1"/>
            </p:cNvPr>
            <p:cNvSpPr>
              <a:spLocks noChangeAspect="1"/>
            </p:cNvSpPr>
            <p:nvPr/>
          </p:nvSpPr>
          <p:spPr bwMode="auto">
            <a:xfrm rot="180000">
              <a:off x="5997762" y="3160813"/>
              <a:ext cx="988499" cy="702378"/>
            </a:xfrm>
            <a:custGeom>
              <a:gdLst>
                <a:gd fmla="*/ 101 w 461" name="T0"/>
                <a:gd fmla="*/ 306 h 316" name="T1"/>
                <a:gd fmla="*/ 104 w 461" name="T2"/>
                <a:gd fmla="*/ 287 h 316" name="T3"/>
                <a:gd fmla="*/ 121 w 461" name="T4"/>
                <a:gd fmla="*/ 280 h 316" name="T5"/>
                <a:gd fmla="*/ 151 w 461" name="T6"/>
                <a:gd fmla="*/ 306 h 316" name="T7"/>
                <a:gd fmla="*/ 161 w 461" name="T8"/>
                <a:gd fmla="*/ 306 h 316" name="T9"/>
                <a:gd fmla="*/ 188 w 461" name="T10"/>
                <a:gd fmla="*/ 302 h 316" name="T11"/>
                <a:gd fmla="*/ 204 w 461" name="T12"/>
                <a:gd fmla="*/ 290 h 316" name="T13"/>
                <a:gd fmla="*/ 226 w 461" name="T14"/>
                <a:gd fmla="*/ 307 h 316" name="T15"/>
                <a:gd fmla="*/ 235 w 461" name="T16"/>
                <a:gd fmla="*/ 291 h 316" name="T17"/>
                <a:gd fmla="*/ 239 w 461" name="T18"/>
                <a:gd fmla="*/ 281 h 316" name="T19"/>
                <a:gd fmla="*/ 257 w 461" name="T20"/>
                <a:gd fmla="*/ 271 h 316" name="T21"/>
                <a:gd fmla="*/ 262 w 461" name="T22"/>
                <a:gd fmla="*/ 249 h 316" name="T23"/>
                <a:gd fmla="*/ 280 w 461" name="T24"/>
                <a:gd fmla="*/ 245 h 316" name="T25"/>
                <a:gd fmla="*/ 332 w 461" name="T26"/>
                <a:gd fmla="*/ 158 h 316" name="T27"/>
                <a:gd fmla="*/ 322 w 461" name="T28"/>
                <a:gd fmla="*/ 143 h 316" name="T29"/>
                <a:gd fmla="*/ 332 w 461" name="T30"/>
                <a:gd fmla="*/ 134 h 316" name="T31"/>
                <a:gd fmla="*/ 343 w 461" name="T32"/>
                <a:gd fmla="*/ 138 h 316" name="T33"/>
                <a:gd fmla="*/ 359 w 461" name="T34"/>
                <a:gd fmla="*/ 129 h 316" name="T35"/>
                <a:gd fmla="*/ 369 w 461" name="T36"/>
                <a:gd fmla="*/ 109 h 316" name="T37"/>
                <a:gd fmla="*/ 412 w 461" name="T38"/>
                <a:gd fmla="*/ 69 h 316" name="T39"/>
                <a:gd fmla="*/ 445 w 461" name="T40"/>
                <a:gd fmla="*/ 58 h 316" name="T41"/>
                <a:gd fmla="*/ 460 w 461" name="T42"/>
                <a:gd fmla="*/ 44 h 316" name="T43"/>
                <a:gd fmla="*/ 456 w 461" name="T44"/>
                <a:gd fmla="*/ 12 h 316" name="T45"/>
                <a:gd fmla="*/ 434 w 461" name="T46"/>
                <a:gd fmla="*/ 10 h 316" name="T47"/>
                <a:gd fmla="*/ 384 w 461" name="T48"/>
                <a:gd fmla="*/ 16 h 316" name="T49"/>
                <a:gd fmla="*/ 349 w 461" name="T50"/>
                <a:gd fmla="*/ 0 h 316" name="T51"/>
                <a:gd fmla="*/ 328 w 461" name="T52"/>
                <a:gd fmla="*/ 3 h 316" name="T53"/>
                <a:gd fmla="*/ 277 w 461" name="T54"/>
                <a:gd fmla="*/ 69 h 316" name="T55"/>
                <a:gd fmla="*/ 262 w 461" name="T56"/>
                <a:gd fmla="*/ 78 h 316" name="T57"/>
                <a:gd fmla="*/ 229 w 461" name="T58"/>
                <a:gd fmla="*/ 64 h 316" name="T59"/>
                <a:gd fmla="*/ 226 w 461" name="T60"/>
                <a:gd fmla="*/ 47 h 316" name="T61"/>
                <a:gd fmla="*/ 219 w 461" name="T62"/>
                <a:gd fmla="*/ 18 h 316" name="T63"/>
                <a:gd fmla="*/ 201 w 461" name="T64"/>
                <a:gd fmla="*/ 6 h 316" name="T65"/>
                <a:gd fmla="*/ 171 w 461" name="T66"/>
                <a:gd fmla="*/ 13 h 316" name="T67"/>
                <a:gd fmla="*/ 152 w 461" name="T68"/>
                <a:gd fmla="*/ 1 h 316" name="T69"/>
                <a:gd fmla="*/ 125 w 461" name="T70"/>
                <a:gd fmla="*/ 35 h 316" name="T71"/>
                <a:gd fmla="*/ 95 w 461" name="T72"/>
                <a:gd fmla="*/ 44 h 316" name="T73"/>
                <a:gd fmla="*/ 55 w 461" name="T74"/>
                <a:gd fmla="*/ 81 h 316" name="T75"/>
                <a:gd fmla="*/ 10 w 461" name="T76"/>
                <a:gd fmla="*/ 161 h 316" name="T77"/>
                <a:gd fmla="*/ 22 w 461" name="T78"/>
                <a:gd fmla="*/ 184 h 316" name="T79"/>
                <a:gd fmla="*/ 19 w 461" name="T80"/>
                <a:gd fmla="*/ 193 h 316" name="T81"/>
                <a:gd fmla="*/ 19 w 461" name="T82"/>
                <a:gd fmla="*/ 204 h 316" name="T83"/>
                <a:gd fmla="*/ 26 w 461" name="T84"/>
                <a:gd fmla="*/ 213 h 316" name="T85"/>
                <a:gd fmla="*/ 40 w 461" name="T86"/>
                <a:gd fmla="*/ 202 h 316" name="T87"/>
                <a:gd fmla="*/ 64 w 461" name="T88"/>
                <a:gd fmla="*/ 196 h 316" name="T89"/>
                <a:gd fmla="*/ 0 w 461" name="T90"/>
                <a:gd fmla="*/ 269 h 316" name="T91"/>
                <a:gd fmla="*/ 0 w 461" name="T92"/>
                <a:gd fmla="*/ 285 h 316" name="T93"/>
                <a:gd fmla="*/ 13 w 461" name="T94"/>
                <a:gd fmla="*/ 290 h 316" name="T95"/>
                <a:gd fmla="*/ 42 w 461" name="T96"/>
                <a:gd fmla="*/ 315 h 316" name="T97"/>
                <a:gd fmla="*/ 89 w 461" name="T98"/>
                <a:gd fmla="*/ 309 h 316" name="T99"/>
                <a:gd fmla="*/ 101 w 461" name="T100"/>
                <a:gd fmla="*/ 306 h 316" name="T101"/>
                <a:gd fmla="*/ 101 w 461" name="T102"/>
                <a:gd fmla="*/ 306 h 316" name="T10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b="b" l="0" r="r" t="0"/>
              <a:pathLst>
                <a:path h="316" w="461">
                  <a:moveTo>
                    <a:pt x="101" y="306"/>
                  </a:moveTo>
                  <a:lnTo>
                    <a:pt x="104" y="287"/>
                  </a:lnTo>
                  <a:lnTo>
                    <a:pt x="121" y="280"/>
                  </a:lnTo>
                  <a:lnTo>
                    <a:pt x="151" y="306"/>
                  </a:lnTo>
                  <a:lnTo>
                    <a:pt x="161" y="306"/>
                  </a:lnTo>
                  <a:lnTo>
                    <a:pt x="188" y="302"/>
                  </a:lnTo>
                  <a:lnTo>
                    <a:pt x="204" y="290"/>
                  </a:lnTo>
                  <a:lnTo>
                    <a:pt x="226" y="307"/>
                  </a:lnTo>
                  <a:lnTo>
                    <a:pt x="235" y="291"/>
                  </a:lnTo>
                  <a:lnTo>
                    <a:pt x="239" y="281"/>
                  </a:lnTo>
                  <a:lnTo>
                    <a:pt x="257" y="271"/>
                  </a:lnTo>
                  <a:lnTo>
                    <a:pt x="262" y="249"/>
                  </a:lnTo>
                  <a:lnTo>
                    <a:pt x="280" y="245"/>
                  </a:lnTo>
                  <a:lnTo>
                    <a:pt x="332" y="158"/>
                  </a:lnTo>
                  <a:lnTo>
                    <a:pt x="322" y="143"/>
                  </a:lnTo>
                  <a:lnTo>
                    <a:pt x="332" y="134"/>
                  </a:lnTo>
                  <a:lnTo>
                    <a:pt x="343" y="138"/>
                  </a:lnTo>
                  <a:lnTo>
                    <a:pt x="359" y="129"/>
                  </a:lnTo>
                  <a:lnTo>
                    <a:pt x="369" y="109"/>
                  </a:lnTo>
                  <a:lnTo>
                    <a:pt x="412" y="69"/>
                  </a:lnTo>
                  <a:lnTo>
                    <a:pt x="445" y="58"/>
                  </a:lnTo>
                  <a:lnTo>
                    <a:pt x="460" y="44"/>
                  </a:lnTo>
                  <a:lnTo>
                    <a:pt x="456" y="12"/>
                  </a:lnTo>
                  <a:lnTo>
                    <a:pt x="434" y="10"/>
                  </a:lnTo>
                  <a:lnTo>
                    <a:pt x="384" y="16"/>
                  </a:lnTo>
                  <a:lnTo>
                    <a:pt x="349" y="0"/>
                  </a:lnTo>
                  <a:lnTo>
                    <a:pt x="328" y="3"/>
                  </a:lnTo>
                  <a:lnTo>
                    <a:pt x="277" y="69"/>
                  </a:lnTo>
                  <a:lnTo>
                    <a:pt x="262" y="78"/>
                  </a:lnTo>
                  <a:lnTo>
                    <a:pt x="229" y="64"/>
                  </a:lnTo>
                  <a:lnTo>
                    <a:pt x="226" y="47"/>
                  </a:lnTo>
                  <a:lnTo>
                    <a:pt x="219" y="18"/>
                  </a:lnTo>
                  <a:lnTo>
                    <a:pt x="201" y="6"/>
                  </a:lnTo>
                  <a:lnTo>
                    <a:pt x="171" y="13"/>
                  </a:lnTo>
                  <a:lnTo>
                    <a:pt x="152" y="1"/>
                  </a:lnTo>
                  <a:lnTo>
                    <a:pt x="125" y="35"/>
                  </a:lnTo>
                  <a:lnTo>
                    <a:pt x="95" y="44"/>
                  </a:lnTo>
                  <a:lnTo>
                    <a:pt x="55" y="81"/>
                  </a:lnTo>
                  <a:lnTo>
                    <a:pt x="10" y="161"/>
                  </a:lnTo>
                  <a:lnTo>
                    <a:pt x="22" y="184"/>
                  </a:lnTo>
                  <a:lnTo>
                    <a:pt x="19" y="193"/>
                  </a:lnTo>
                  <a:lnTo>
                    <a:pt x="19" y="204"/>
                  </a:lnTo>
                  <a:lnTo>
                    <a:pt x="26" y="213"/>
                  </a:lnTo>
                  <a:lnTo>
                    <a:pt x="40" y="202"/>
                  </a:lnTo>
                  <a:lnTo>
                    <a:pt x="64" y="196"/>
                  </a:lnTo>
                  <a:lnTo>
                    <a:pt x="0" y="269"/>
                  </a:lnTo>
                  <a:lnTo>
                    <a:pt x="0" y="285"/>
                  </a:lnTo>
                  <a:lnTo>
                    <a:pt x="13" y="290"/>
                  </a:lnTo>
                  <a:lnTo>
                    <a:pt x="42" y="315"/>
                  </a:lnTo>
                  <a:lnTo>
                    <a:pt x="89" y="309"/>
                  </a:lnTo>
                  <a:lnTo>
                    <a:pt x="101" y="306"/>
                  </a:lnTo>
                  <a:lnTo>
                    <a:pt x="101" y="306"/>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399" name="天津">
              <a:hlinkClick action="ppaction://macro?name=Slide1.天津_click" highlightClick="1"/>
              <a:hlinkHover action="ppaction://noaction" highlightClick="1"/>
            </p:cNvPr>
            <p:cNvSpPr>
              <a:spLocks noChangeAspect="1"/>
            </p:cNvSpPr>
            <p:nvPr/>
          </p:nvSpPr>
          <p:spPr bwMode="auto">
            <a:xfrm rot="180000">
              <a:off x="6201280" y="2797237"/>
              <a:ext cx="137930" cy="292043"/>
            </a:xfrm>
            <a:custGeom>
              <a:gdLst>
                <a:gd fmla="*/ 60 w 74" name="T0"/>
                <a:gd fmla="*/ 124 h 134" name="T1"/>
                <a:gd fmla="*/ 39 w 74" name="T2"/>
                <a:gd fmla="*/ 133 h 134" name="T3"/>
                <a:gd fmla="*/ 3 w 74" name="T4"/>
                <a:gd fmla="*/ 123 h 134" name="T5"/>
                <a:gd fmla="*/ 1 w 74" name="T6"/>
                <a:gd fmla="*/ 114 h 134" name="T7"/>
                <a:gd fmla="*/ 0 w 74" name="T8"/>
                <a:gd fmla="*/ 55 h 134" name="T9"/>
                <a:gd fmla="*/ 23 w 74" name="T10"/>
                <a:gd fmla="*/ 44 h 134" name="T11"/>
                <a:gd fmla="*/ 19 w 74" name="T12"/>
                <a:gd fmla="*/ 33 h 134" name="T13"/>
                <a:gd fmla="*/ 25 w 74" name="T14"/>
                <a:gd fmla="*/ 11 h 134" name="T15"/>
                <a:gd fmla="*/ 27 w 74" name="T16"/>
                <a:gd fmla="*/ 0 h 134" name="T17"/>
                <a:gd fmla="*/ 40 w 74" name="T18"/>
                <a:gd fmla="*/ 6 h 134" name="T19"/>
                <a:gd fmla="*/ 46 w 74" name="T20"/>
                <a:gd fmla="*/ 26 h 134" name="T21"/>
                <a:gd fmla="*/ 43 w 74" name="T22"/>
                <a:gd fmla="*/ 39 h 134" name="T23"/>
                <a:gd fmla="*/ 70 w 74" name="T24"/>
                <a:gd fmla="*/ 57 h 134" name="T25"/>
                <a:gd fmla="*/ 73 w 74" name="T26"/>
                <a:gd fmla="*/ 71 h 134" name="T27"/>
                <a:gd fmla="*/ 58 w 74" name="T28"/>
                <a:gd fmla="*/ 83 h 134" name="T29"/>
                <a:gd fmla="*/ 53 w 74" name="T30"/>
                <a:gd fmla="*/ 107 h 134" name="T31"/>
                <a:gd fmla="*/ 60 w 74" name="T32"/>
                <a:gd fmla="*/ 124 h 134" name="T33"/>
                <a:gd fmla="*/ 60 w 74" name="T34"/>
                <a:gd fmla="*/ 124 h 134"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134" w="74">
                  <a:moveTo>
                    <a:pt x="60" y="124"/>
                  </a:moveTo>
                  <a:lnTo>
                    <a:pt x="39" y="133"/>
                  </a:lnTo>
                  <a:lnTo>
                    <a:pt x="3" y="123"/>
                  </a:lnTo>
                  <a:lnTo>
                    <a:pt x="1" y="114"/>
                  </a:lnTo>
                  <a:lnTo>
                    <a:pt x="0" y="55"/>
                  </a:lnTo>
                  <a:lnTo>
                    <a:pt x="23" y="44"/>
                  </a:lnTo>
                  <a:lnTo>
                    <a:pt x="19" y="33"/>
                  </a:lnTo>
                  <a:lnTo>
                    <a:pt x="25" y="11"/>
                  </a:lnTo>
                  <a:lnTo>
                    <a:pt x="27" y="0"/>
                  </a:lnTo>
                  <a:lnTo>
                    <a:pt x="40" y="6"/>
                  </a:lnTo>
                  <a:lnTo>
                    <a:pt x="46" y="26"/>
                  </a:lnTo>
                  <a:lnTo>
                    <a:pt x="43" y="39"/>
                  </a:lnTo>
                  <a:lnTo>
                    <a:pt x="70" y="57"/>
                  </a:lnTo>
                  <a:lnTo>
                    <a:pt x="73" y="71"/>
                  </a:lnTo>
                  <a:lnTo>
                    <a:pt x="58" y="83"/>
                  </a:lnTo>
                  <a:lnTo>
                    <a:pt x="53" y="107"/>
                  </a:lnTo>
                  <a:lnTo>
                    <a:pt x="60" y="124"/>
                  </a:lnTo>
                  <a:lnTo>
                    <a:pt x="60" y="124"/>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0" name="北京">
              <a:hlinkClick action="ppaction://macro?name=Slide1.北京_click" highlightClick="1"/>
              <a:hlinkHover action="ppaction://noaction" highlightClick="1"/>
            </p:cNvPr>
            <p:cNvSpPr>
              <a:spLocks noChangeAspect="1"/>
            </p:cNvSpPr>
            <p:nvPr/>
          </p:nvSpPr>
          <p:spPr bwMode="auto">
            <a:xfrm rot="180000">
              <a:off x="5997881" y="2675078"/>
              <a:ext cx="262724" cy="269860"/>
            </a:xfrm>
            <a:custGeom>
              <a:gdLst>
                <a:gd fmla="*/ 11 w 14" name="T0"/>
                <a:gd fmla="*/ 12 h 14" name="T1"/>
                <a:gd fmla="*/ 12 w 14" name="T2"/>
                <a:gd fmla="*/ 10 h 14" name="T3"/>
                <a:gd fmla="*/ 13 w 14" name="T4"/>
                <a:gd fmla="*/ 10 h 14" name="T5"/>
                <a:gd fmla="*/ 14 w 14" name="T6"/>
                <a:gd fmla="*/ 7 h 14" name="T7"/>
                <a:gd fmla="*/ 14 w 14" name="T8"/>
                <a:gd fmla="*/ 6 h 14" name="T9"/>
                <a:gd fmla="*/ 13 w 14" name="T10"/>
                <a:gd fmla="*/ 3 h 14" name="T11"/>
                <a:gd fmla="*/ 12 w 14" name="T12"/>
                <a:gd fmla="*/ 3 h 14" name="T13"/>
                <a:gd fmla="*/ 7 w 14" name="T14"/>
                <a:gd fmla="*/ 0 h 14" name="T15"/>
                <a:gd fmla="*/ 4 w 14" name="T16"/>
                <a:gd fmla="*/ 3 h 14" name="T17"/>
                <a:gd fmla="*/ 3 w 14" name="T18"/>
                <a:gd fmla="*/ 6 h 14" name="T19"/>
                <a:gd fmla="*/ 0 w 14" name="T20"/>
                <a:gd fmla="*/ 9 h 14" name="T21"/>
                <a:gd fmla="*/ 0 w 14" name="T22"/>
                <a:gd fmla="*/ 12 h 14" name="T23"/>
                <a:gd fmla="*/ 1 w 14" name="T24"/>
                <a:gd fmla="*/ 14 h 14" name="T25"/>
                <a:gd fmla="*/ 4 w 14" name="T26"/>
                <a:gd fmla="*/ 13 h 14" name="T27"/>
                <a:gd fmla="*/ 7 w 14" name="T28"/>
                <a:gd fmla="*/ 14 h 14" name="T29"/>
                <a:gd fmla="*/ 8 w 14" name="T30"/>
                <a:gd fmla="*/ 13 h 14" name="T31"/>
                <a:gd fmla="*/ 11 w 14" name="T32"/>
                <a:gd fmla="*/ 12 h 14" name="T33"/>
                <a:gd fmla="*/ 11 w 14" name="T34"/>
                <a:gd fmla="*/ 12 h 14"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14" w="14">
                  <a:moveTo>
                    <a:pt x="11" y="12"/>
                  </a:moveTo>
                  <a:lnTo>
                    <a:pt x="12" y="10"/>
                  </a:lnTo>
                  <a:lnTo>
                    <a:pt x="13" y="10"/>
                  </a:lnTo>
                  <a:lnTo>
                    <a:pt x="14" y="7"/>
                  </a:lnTo>
                  <a:lnTo>
                    <a:pt x="14" y="6"/>
                  </a:lnTo>
                  <a:lnTo>
                    <a:pt x="13" y="3"/>
                  </a:lnTo>
                  <a:lnTo>
                    <a:pt x="12" y="3"/>
                  </a:lnTo>
                  <a:lnTo>
                    <a:pt x="7" y="0"/>
                  </a:lnTo>
                  <a:lnTo>
                    <a:pt x="4" y="3"/>
                  </a:lnTo>
                  <a:lnTo>
                    <a:pt x="3" y="6"/>
                  </a:lnTo>
                  <a:lnTo>
                    <a:pt x="0" y="9"/>
                  </a:lnTo>
                  <a:lnTo>
                    <a:pt x="0" y="12"/>
                  </a:lnTo>
                  <a:lnTo>
                    <a:pt x="1" y="14"/>
                  </a:lnTo>
                  <a:lnTo>
                    <a:pt x="4" y="13"/>
                  </a:lnTo>
                  <a:lnTo>
                    <a:pt x="7" y="14"/>
                  </a:lnTo>
                  <a:lnTo>
                    <a:pt x="8" y="13"/>
                  </a:lnTo>
                  <a:lnTo>
                    <a:pt x="11" y="12"/>
                  </a:lnTo>
                  <a:lnTo>
                    <a:pt x="11" y="12"/>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1" name="宁夏">
              <a:hlinkClick action="ppaction://macro?name=Slide1.宁夏_click" highlightClick="1"/>
              <a:hlinkHover action="ppaction://noaction" highlightClick="1"/>
            </p:cNvPr>
            <p:cNvSpPr>
              <a:spLocks noChangeAspect="1"/>
            </p:cNvSpPr>
            <p:nvPr/>
          </p:nvSpPr>
          <p:spPr bwMode="auto">
            <a:xfrm rot="180000">
              <a:off x="4544078" y="3010024"/>
              <a:ext cx="400653" cy="743042"/>
            </a:xfrm>
            <a:custGeom>
              <a:gdLst>
                <a:gd fmla="*/ 180 w 194" name="T0"/>
                <a:gd fmla="*/ 187 h 335" name="T1"/>
                <a:gd fmla="*/ 181 w 194" name="T2"/>
                <a:gd fmla="*/ 151 h 335" name="T3"/>
                <a:gd fmla="*/ 193 w 194" name="T4"/>
                <a:gd fmla="*/ 136 h 335" name="T5"/>
                <a:gd fmla="*/ 188 w 194" name="T6"/>
                <a:gd fmla="*/ 119 h 335" name="T7"/>
                <a:gd fmla="*/ 129 w 194" name="T8"/>
                <a:gd fmla="*/ 96 h 335" name="T9"/>
                <a:gd fmla="*/ 132 w 194" name="T10"/>
                <a:gd fmla="*/ 72 h 335" name="T11"/>
                <a:gd fmla="*/ 151 w 194" name="T12"/>
                <a:gd fmla="*/ 47 h 335" name="T13"/>
                <a:gd fmla="*/ 139 w 194" name="T14"/>
                <a:gd fmla="*/ 6 h 335" name="T15"/>
                <a:gd fmla="*/ 135 w 194" name="T16"/>
                <a:gd fmla="*/ 0 h 335" name="T17"/>
                <a:gd fmla="*/ 95 w 194" name="T18"/>
                <a:gd fmla="*/ 27 h 335" name="T19"/>
                <a:gd fmla="*/ 77 w 194" name="T20"/>
                <a:gd fmla="*/ 85 h 335" name="T21"/>
                <a:gd fmla="*/ 70 w 194" name="T22"/>
                <a:gd fmla="*/ 127 h 335" name="T23"/>
                <a:gd fmla="*/ 39 w 194" name="T24"/>
                <a:gd fmla="*/ 151 h 335" name="T25"/>
                <a:gd fmla="*/ 21 w 194" name="T26"/>
                <a:gd fmla="*/ 159 h 335" name="T27"/>
                <a:gd fmla="*/ 0 w 194" name="T28"/>
                <a:gd fmla="*/ 165 h 335" name="T29"/>
                <a:gd fmla="*/ 49 w 194" name="T30"/>
                <a:gd fmla="*/ 226 h 335" name="T31"/>
                <a:gd fmla="*/ 60 w 194" name="T32"/>
                <a:gd fmla="*/ 272 h 335" name="T33"/>
                <a:gd fmla="*/ 54 w 194" name="T34"/>
                <a:gd fmla="*/ 294 h 335" name="T35"/>
                <a:gd fmla="*/ 89 w 194" name="T36"/>
                <a:gd fmla="*/ 312 h 335" name="T37"/>
                <a:gd fmla="*/ 89 w 194" name="T38"/>
                <a:gd fmla="*/ 327 h 335" name="T39"/>
                <a:gd fmla="*/ 120 w 194" name="T40"/>
                <a:gd fmla="*/ 334 h 335" name="T41"/>
                <a:gd fmla="*/ 130 w 194" name="T42"/>
                <a:gd fmla="*/ 334 h 335" name="T43"/>
                <a:gd fmla="*/ 130 w 194" name="T44"/>
                <a:gd fmla="*/ 308 h 335" name="T45"/>
                <a:gd fmla="*/ 155 w 194" name="T46"/>
                <a:gd fmla="*/ 305 h 335" name="T47"/>
                <a:gd fmla="*/ 160 w 194" name="T48"/>
                <a:gd fmla="*/ 274 h 335" name="T49"/>
                <a:gd fmla="*/ 143 w 194" name="T50"/>
                <a:gd fmla="*/ 261 h 335" name="T51"/>
                <a:gd fmla="*/ 130 w 194" name="T52"/>
                <a:gd fmla="*/ 248 h 335" name="T53"/>
                <a:gd fmla="*/ 136 w 194" name="T54"/>
                <a:gd fmla="*/ 188 h 335" name="T55"/>
                <a:gd fmla="*/ 149 w 194" name="T56"/>
                <a:gd fmla="*/ 182 h 335" name="T57"/>
                <a:gd fmla="*/ 171 w 194" name="T58"/>
                <a:gd fmla="*/ 191 h 335" name="T59"/>
                <a:gd fmla="*/ 180 w 194" name="T60"/>
                <a:gd fmla="*/ 187 h 335" name="T61"/>
                <a:gd fmla="*/ 180 w 194" name="T62"/>
                <a:gd fmla="*/ 187 h 335"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335" w="194">
                  <a:moveTo>
                    <a:pt x="180" y="187"/>
                  </a:moveTo>
                  <a:lnTo>
                    <a:pt x="181" y="151"/>
                  </a:lnTo>
                  <a:lnTo>
                    <a:pt x="193" y="136"/>
                  </a:lnTo>
                  <a:lnTo>
                    <a:pt x="188" y="119"/>
                  </a:lnTo>
                  <a:lnTo>
                    <a:pt x="129" y="96"/>
                  </a:lnTo>
                  <a:lnTo>
                    <a:pt x="132" y="72"/>
                  </a:lnTo>
                  <a:lnTo>
                    <a:pt x="151" y="47"/>
                  </a:lnTo>
                  <a:lnTo>
                    <a:pt x="139" y="6"/>
                  </a:lnTo>
                  <a:lnTo>
                    <a:pt x="135" y="0"/>
                  </a:lnTo>
                  <a:lnTo>
                    <a:pt x="95" y="27"/>
                  </a:lnTo>
                  <a:lnTo>
                    <a:pt x="77" y="85"/>
                  </a:lnTo>
                  <a:lnTo>
                    <a:pt x="70" y="127"/>
                  </a:lnTo>
                  <a:lnTo>
                    <a:pt x="39" y="151"/>
                  </a:lnTo>
                  <a:lnTo>
                    <a:pt x="21" y="159"/>
                  </a:lnTo>
                  <a:lnTo>
                    <a:pt x="0" y="165"/>
                  </a:lnTo>
                  <a:lnTo>
                    <a:pt x="49" y="226"/>
                  </a:lnTo>
                  <a:lnTo>
                    <a:pt x="60" y="272"/>
                  </a:lnTo>
                  <a:lnTo>
                    <a:pt x="54" y="294"/>
                  </a:lnTo>
                  <a:lnTo>
                    <a:pt x="89" y="312"/>
                  </a:lnTo>
                  <a:lnTo>
                    <a:pt x="89" y="327"/>
                  </a:lnTo>
                  <a:lnTo>
                    <a:pt x="120" y="334"/>
                  </a:lnTo>
                  <a:lnTo>
                    <a:pt x="130" y="334"/>
                  </a:lnTo>
                  <a:lnTo>
                    <a:pt x="130" y="308"/>
                  </a:lnTo>
                  <a:lnTo>
                    <a:pt x="155" y="305"/>
                  </a:lnTo>
                  <a:lnTo>
                    <a:pt x="160" y="274"/>
                  </a:lnTo>
                  <a:lnTo>
                    <a:pt x="143" y="261"/>
                  </a:lnTo>
                  <a:lnTo>
                    <a:pt x="130" y="248"/>
                  </a:lnTo>
                  <a:lnTo>
                    <a:pt x="136" y="188"/>
                  </a:lnTo>
                  <a:lnTo>
                    <a:pt x="149" y="182"/>
                  </a:lnTo>
                  <a:lnTo>
                    <a:pt x="171" y="191"/>
                  </a:lnTo>
                  <a:lnTo>
                    <a:pt x="180" y="187"/>
                  </a:lnTo>
                  <a:lnTo>
                    <a:pt x="180" y="187"/>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2" name="西藏">
              <a:hlinkClick action="ppaction://macro?name=Slide1.西藏_click" highlightClick="1"/>
              <a:hlinkHover action="ppaction://noaction" highlightClick="1"/>
            </p:cNvPr>
            <p:cNvSpPr>
              <a:spLocks noChangeAspect="1"/>
            </p:cNvSpPr>
            <p:nvPr/>
          </p:nvSpPr>
          <p:spPr bwMode="auto">
            <a:xfrm rot="180000">
              <a:off x="775563" y="3271807"/>
              <a:ext cx="2929370" cy="1659831"/>
            </a:xfrm>
            <a:custGeom>
              <a:gdLst>
                <a:gd fmla="*/ 847 w 1394" name="T0"/>
                <a:gd fmla="*/ 719 h 754" name="T1"/>
                <a:gd fmla="*/ 870 w 1394" name="T2"/>
                <a:gd fmla="*/ 743 h 754" name="T3"/>
                <a:gd fmla="*/ 941 w 1394" name="T4"/>
                <a:gd fmla="*/ 719 h 754" name="T5"/>
                <a:gd fmla="*/ 984 w 1394" name="T6"/>
                <a:gd fmla="*/ 687 h 754" name="T7"/>
                <a:gd fmla="*/ 1037 w 1394" name="T8"/>
                <a:gd fmla="*/ 667 h 754" name="T9"/>
                <a:gd fmla="*/ 1092 w 1394" name="T10"/>
                <a:gd fmla="*/ 649 h 754" name="T11"/>
                <a:gd fmla="*/ 1183 w 1394" name="T12"/>
                <a:gd fmla="*/ 632 h 754" name="T13"/>
                <a:gd fmla="*/ 1185 w 1394" name="T14"/>
                <a:gd fmla="*/ 667 h 754" name="T15"/>
                <a:gd fmla="*/ 1213 w 1394" name="T16"/>
                <a:gd fmla="*/ 672 h 754" name="T17"/>
                <a:gd fmla="*/ 1197 w 1394" name="T18"/>
                <a:gd fmla="*/ 714 h 754" name="T19"/>
                <a:gd fmla="*/ 1213 w 1394" name="T20"/>
                <a:gd fmla="*/ 719 h 754" name="T21"/>
                <a:gd fmla="*/ 1290 w 1394" name="T22"/>
                <a:gd fmla="*/ 714 h 754" name="T23"/>
                <a:gd fmla="*/ 1337 w 1394" name="T24"/>
                <a:gd fmla="*/ 729 h 754" name="T25"/>
                <a:gd fmla="*/ 1358 w 1394" name="T26"/>
                <a:gd fmla="*/ 738 h 754" name="T27"/>
                <a:gd fmla="*/ 1361 w 1394" name="T28"/>
                <a:gd fmla="*/ 687 h 754" name="T29"/>
                <a:gd fmla="*/ 1393 w 1394" name="T30"/>
                <a:gd fmla="*/ 654 h 754" name="T31"/>
                <a:gd fmla="*/ 1368 w 1394" name="T32"/>
                <a:gd fmla="*/ 493 h 754" name="T33"/>
                <a:gd fmla="*/ 1340 w 1394" name="T34"/>
                <a:gd fmla="*/ 404 h 754" name="T35"/>
                <a:gd fmla="*/ 1274 w 1394" name="T36"/>
                <a:gd fmla="*/ 373 h 754" name="T37"/>
                <a:gd fmla="*/ 1231 w 1394" name="T38"/>
                <a:gd fmla="*/ 454 h 754" name="T39"/>
                <a:gd fmla="*/ 1153 w 1394" name="T40"/>
                <a:gd fmla="*/ 411 h 754" name="T41"/>
                <a:gd fmla="*/ 1004 w 1394" name="T42"/>
                <a:gd fmla="*/ 358 h 754" name="T43"/>
                <a:gd fmla="*/ 943 w 1394" name="T44"/>
                <a:gd fmla="*/ 348 h 754" name="T45"/>
                <a:gd fmla="*/ 825 w 1394" name="T46"/>
                <a:gd fmla="*/ 299 h 754" name="T47"/>
                <a:gd fmla="*/ 767 w 1394" name="T48"/>
                <a:gd fmla="*/ 162 h 754" name="T49"/>
                <a:gd fmla="*/ 791 w 1394" name="T50"/>
                <a:gd fmla="*/ 118 h 754" name="T51"/>
                <a:gd fmla="*/ 788 w 1394" name="T52"/>
                <a:gd fmla="*/ 58 h 754" name="T53"/>
                <a:gd fmla="*/ 797 w 1394" name="T54"/>
                <a:gd fmla="*/ 29 h 754" name="T55"/>
                <a:gd fmla="*/ 695 w 1394" name="T56"/>
                <a:gd fmla="*/ 0 h 754" name="T57"/>
                <a:gd fmla="*/ 619 w 1394" name="T58"/>
                <a:gd fmla="*/ 8 h 754" name="T59"/>
                <a:gd fmla="*/ 524 w 1394" name="T60"/>
                <a:gd fmla="*/ 40 h 754" name="T61"/>
                <a:gd fmla="*/ 431 w 1394" name="T62"/>
                <a:gd fmla="*/ 51 h 754" name="T63"/>
                <a:gd fmla="*/ 370 w 1394" name="T64"/>
                <a:gd fmla="*/ 18 h 754" name="T65"/>
                <a:gd fmla="*/ 268 w 1394" name="T66"/>
                <a:gd fmla="*/ 36 h 754" name="T67"/>
                <a:gd fmla="*/ 227 w 1394" name="T68"/>
                <a:gd fmla="*/ 13 h 754" name="T69"/>
                <a:gd fmla="*/ 151 w 1394" name="T70"/>
                <a:gd fmla="*/ 24 h 754" name="T71"/>
                <a:gd fmla="*/ 113 w 1394" name="T72"/>
                <a:gd fmla="*/ 72 h 754" name="T73"/>
                <a:gd fmla="*/ 92 w 1394" name="T74"/>
                <a:gd fmla="*/ 97 h 754" name="T75"/>
                <a:gd fmla="*/ 66 w 1394" name="T76"/>
                <a:gd fmla="*/ 110 h 754" name="T77"/>
                <a:gd fmla="*/ 54 w 1394" name="T78"/>
                <a:gd fmla="*/ 130 h 754" name="T79"/>
                <a:gd fmla="*/ 75 w 1394" name="T80"/>
                <a:gd fmla="*/ 173 h 754" name="T81"/>
                <a:gd fmla="*/ 69 w 1394" name="T82"/>
                <a:gd fmla="*/ 217 h 754" name="T83"/>
                <a:gd fmla="*/ 19 w 1394" name="T84"/>
                <a:gd fmla="*/ 204 h 754" name="T85"/>
                <a:gd fmla="*/ 0 w 1394" name="T86"/>
                <a:gd fmla="*/ 219 h 754" name="T87"/>
                <a:gd fmla="*/ 13 w 1394" name="T88"/>
                <a:gd fmla="*/ 260 h 754" name="T89"/>
                <a:gd fmla="*/ 7 w 1394" name="T90"/>
                <a:gd fmla="*/ 298 h 754" name="T91"/>
                <a:gd fmla="*/ 30 w 1394" name="T92"/>
                <a:gd fmla="*/ 312 h 754" name="T93"/>
                <a:gd fmla="*/ 92 w 1394" name="T94"/>
                <a:gd fmla="*/ 371 h 754" name="T95"/>
                <a:gd fmla="*/ 130 w 1394" name="T96"/>
                <a:gd fmla="*/ 424 h 754" name="T97"/>
                <a:gd fmla="*/ 153 w 1394" name="T98"/>
                <a:gd fmla="*/ 443 h 754" name="T99"/>
                <a:gd fmla="*/ 195 w 1394" name="T100"/>
                <a:gd fmla="*/ 439 h 754" name="T101"/>
                <a:gd fmla="*/ 295 w 1394" name="T102"/>
                <a:gd fmla="*/ 549 h 754" name="T103"/>
                <a:gd fmla="*/ 325 w 1394" name="T104"/>
                <a:gd fmla="*/ 537 h 754" name="T105"/>
                <a:gd fmla="*/ 334 w 1394" name="T106"/>
                <a:gd fmla="*/ 579 h 754" name="T107"/>
                <a:gd fmla="*/ 395 w 1394" name="T108"/>
                <a:gd fmla="*/ 604 h 754" name="T109"/>
                <a:gd fmla="*/ 445 w 1394" name="T110"/>
                <a:gd fmla="*/ 658 h 754" name="T111"/>
                <a:gd fmla="*/ 454 w 1394" name="T112"/>
                <a:gd fmla="*/ 679 h 754" name="T113"/>
                <a:gd fmla="*/ 511 w 1394" name="T114"/>
                <a:gd fmla="*/ 677 h 754" name="T115"/>
                <a:gd fmla="*/ 607 w 1394" name="T116"/>
                <a:gd fmla="*/ 698 h 754" name="T117"/>
                <a:gd fmla="*/ 652 w 1394" name="T118"/>
                <a:gd fmla="*/ 710 h 754" name="T119"/>
                <a:gd fmla="*/ 654 w 1394" name="T120"/>
                <a:gd fmla="*/ 753 h 754" name="T121"/>
                <a:gd fmla="*/ 736 w 1394" name="T122"/>
                <a:gd fmla="*/ 689 h 754" name="T123"/>
                <a:gd fmla="*/ 803 w 1394" name="T124"/>
                <a:gd fmla="*/ 714 h 754"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754" w="1394">
                  <a:moveTo>
                    <a:pt x="803" y="714"/>
                  </a:moveTo>
                  <a:lnTo>
                    <a:pt x="847" y="719"/>
                  </a:lnTo>
                  <a:lnTo>
                    <a:pt x="862" y="740"/>
                  </a:lnTo>
                  <a:lnTo>
                    <a:pt x="870" y="743"/>
                  </a:lnTo>
                  <a:lnTo>
                    <a:pt x="936" y="732"/>
                  </a:lnTo>
                  <a:lnTo>
                    <a:pt x="941" y="719"/>
                  </a:lnTo>
                  <a:lnTo>
                    <a:pt x="952" y="713"/>
                  </a:lnTo>
                  <a:lnTo>
                    <a:pt x="984" y="687"/>
                  </a:lnTo>
                  <a:lnTo>
                    <a:pt x="1012" y="684"/>
                  </a:lnTo>
                  <a:lnTo>
                    <a:pt x="1037" y="667"/>
                  </a:lnTo>
                  <a:lnTo>
                    <a:pt x="1087" y="640"/>
                  </a:lnTo>
                  <a:lnTo>
                    <a:pt x="1092" y="649"/>
                  </a:lnTo>
                  <a:lnTo>
                    <a:pt x="1130" y="660"/>
                  </a:lnTo>
                  <a:lnTo>
                    <a:pt x="1183" y="632"/>
                  </a:lnTo>
                  <a:lnTo>
                    <a:pt x="1201" y="644"/>
                  </a:lnTo>
                  <a:lnTo>
                    <a:pt x="1185" y="667"/>
                  </a:lnTo>
                  <a:lnTo>
                    <a:pt x="1191" y="672"/>
                  </a:lnTo>
                  <a:lnTo>
                    <a:pt x="1213" y="672"/>
                  </a:lnTo>
                  <a:lnTo>
                    <a:pt x="1215" y="681"/>
                  </a:lnTo>
                  <a:lnTo>
                    <a:pt x="1197" y="714"/>
                  </a:lnTo>
                  <a:lnTo>
                    <a:pt x="1202" y="719"/>
                  </a:lnTo>
                  <a:lnTo>
                    <a:pt x="1213" y="719"/>
                  </a:lnTo>
                  <a:lnTo>
                    <a:pt x="1267" y="734"/>
                  </a:lnTo>
                  <a:lnTo>
                    <a:pt x="1290" y="714"/>
                  </a:lnTo>
                  <a:lnTo>
                    <a:pt x="1326" y="742"/>
                  </a:lnTo>
                  <a:lnTo>
                    <a:pt x="1337" y="729"/>
                  </a:lnTo>
                  <a:lnTo>
                    <a:pt x="1346" y="738"/>
                  </a:lnTo>
                  <a:lnTo>
                    <a:pt x="1358" y="738"/>
                  </a:lnTo>
                  <a:lnTo>
                    <a:pt x="1363" y="729"/>
                  </a:lnTo>
                  <a:lnTo>
                    <a:pt x="1361" y="687"/>
                  </a:lnTo>
                  <a:lnTo>
                    <a:pt x="1369" y="681"/>
                  </a:lnTo>
                  <a:lnTo>
                    <a:pt x="1393" y="654"/>
                  </a:lnTo>
                  <a:lnTo>
                    <a:pt x="1388" y="547"/>
                  </a:lnTo>
                  <a:lnTo>
                    <a:pt x="1368" y="493"/>
                  </a:lnTo>
                  <a:lnTo>
                    <a:pt x="1383" y="482"/>
                  </a:lnTo>
                  <a:lnTo>
                    <a:pt x="1340" y="404"/>
                  </a:lnTo>
                  <a:lnTo>
                    <a:pt x="1289" y="363"/>
                  </a:lnTo>
                  <a:lnTo>
                    <a:pt x="1274" y="373"/>
                  </a:lnTo>
                  <a:lnTo>
                    <a:pt x="1276" y="396"/>
                  </a:lnTo>
                  <a:lnTo>
                    <a:pt x="1231" y="454"/>
                  </a:lnTo>
                  <a:lnTo>
                    <a:pt x="1158" y="439"/>
                  </a:lnTo>
                  <a:lnTo>
                    <a:pt x="1153" y="411"/>
                  </a:lnTo>
                  <a:lnTo>
                    <a:pt x="1106" y="374"/>
                  </a:lnTo>
                  <a:lnTo>
                    <a:pt x="1004" y="358"/>
                  </a:lnTo>
                  <a:lnTo>
                    <a:pt x="961" y="351"/>
                  </a:lnTo>
                  <a:lnTo>
                    <a:pt x="943" y="348"/>
                  </a:lnTo>
                  <a:lnTo>
                    <a:pt x="905" y="318"/>
                  </a:lnTo>
                  <a:lnTo>
                    <a:pt x="825" y="299"/>
                  </a:lnTo>
                  <a:lnTo>
                    <a:pt x="769" y="192"/>
                  </a:lnTo>
                  <a:lnTo>
                    <a:pt x="767" y="162"/>
                  </a:lnTo>
                  <a:lnTo>
                    <a:pt x="791" y="151"/>
                  </a:lnTo>
                  <a:lnTo>
                    <a:pt x="791" y="118"/>
                  </a:lnTo>
                  <a:lnTo>
                    <a:pt x="807" y="77"/>
                  </a:lnTo>
                  <a:lnTo>
                    <a:pt x="788" y="58"/>
                  </a:lnTo>
                  <a:lnTo>
                    <a:pt x="812" y="38"/>
                  </a:lnTo>
                  <a:lnTo>
                    <a:pt x="797" y="29"/>
                  </a:lnTo>
                  <a:lnTo>
                    <a:pt x="761" y="29"/>
                  </a:lnTo>
                  <a:lnTo>
                    <a:pt x="695" y="0"/>
                  </a:lnTo>
                  <a:lnTo>
                    <a:pt x="652" y="0"/>
                  </a:lnTo>
                  <a:lnTo>
                    <a:pt x="619" y="8"/>
                  </a:lnTo>
                  <a:lnTo>
                    <a:pt x="582" y="8"/>
                  </a:lnTo>
                  <a:lnTo>
                    <a:pt x="524" y="40"/>
                  </a:lnTo>
                  <a:lnTo>
                    <a:pt x="477" y="35"/>
                  </a:lnTo>
                  <a:lnTo>
                    <a:pt x="431" y="51"/>
                  </a:lnTo>
                  <a:lnTo>
                    <a:pt x="394" y="38"/>
                  </a:lnTo>
                  <a:lnTo>
                    <a:pt x="370" y="18"/>
                  </a:lnTo>
                  <a:lnTo>
                    <a:pt x="308" y="8"/>
                  </a:lnTo>
                  <a:lnTo>
                    <a:pt x="268" y="36"/>
                  </a:lnTo>
                  <a:lnTo>
                    <a:pt x="246" y="28"/>
                  </a:lnTo>
                  <a:lnTo>
                    <a:pt x="227" y="13"/>
                  </a:lnTo>
                  <a:lnTo>
                    <a:pt x="182" y="2"/>
                  </a:lnTo>
                  <a:lnTo>
                    <a:pt x="151" y="24"/>
                  </a:lnTo>
                  <a:lnTo>
                    <a:pt x="139" y="58"/>
                  </a:lnTo>
                  <a:lnTo>
                    <a:pt x="113" y="72"/>
                  </a:lnTo>
                  <a:lnTo>
                    <a:pt x="108" y="92"/>
                  </a:lnTo>
                  <a:lnTo>
                    <a:pt x="92" y="97"/>
                  </a:lnTo>
                  <a:lnTo>
                    <a:pt x="74" y="96"/>
                  </a:lnTo>
                  <a:lnTo>
                    <a:pt x="66" y="110"/>
                  </a:lnTo>
                  <a:lnTo>
                    <a:pt x="63" y="130"/>
                  </a:lnTo>
                  <a:lnTo>
                    <a:pt x="54" y="130"/>
                  </a:lnTo>
                  <a:lnTo>
                    <a:pt x="53" y="151"/>
                  </a:lnTo>
                  <a:lnTo>
                    <a:pt x="75" y="173"/>
                  </a:lnTo>
                  <a:lnTo>
                    <a:pt x="77" y="205"/>
                  </a:lnTo>
                  <a:lnTo>
                    <a:pt x="69" y="217"/>
                  </a:lnTo>
                  <a:lnTo>
                    <a:pt x="37" y="221"/>
                  </a:lnTo>
                  <a:lnTo>
                    <a:pt x="19" y="204"/>
                  </a:lnTo>
                  <a:lnTo>
                    <a:pt x="3" y="205"/>
                  </a:lnTo>
                  <a:lnTo>
                    <a:pt x="0" y="219"/>
                  </a:lnTo>
                  <a:lnTo>
                    <a:pt x="10" y="243"/>
                  </a:lnTo>
                  <a:lnTo>
                    <a:pt x="13" y="260"/>
                  </a:lnTo>
                  <a:lnTo>
                    <a:pt x="13" y="282"/>
                  </a:lnTo>
                  <a:lnTo>
                    <a:pt x="7" y="298"/>
                  </a:lnTo>
                  <a:lnTo>
                    <a:pt x="10" y="309"/>
                  </a:lnTo>
                  <a:lnTo>
                    <a:pt x="30" y="312"/>
                  </a:lnTo>
                  <a:lnTo>
                    <a:pt x="43" y="332"/>
                  </a:lnTo>
                  <a:lnTo>
                    <a:pt x="92" y="371"/>
                  </a:lnTo>
                  <a:lnTo>
                    <a:pt x="92" y="383"/>
                  </a:lnTo>
                  <a:lnTo>
                    <a:pt x="130" y="424"/>
                  </a:lnTo>
                  <a:lnTo>
                    <a:pt x="141" y="439"/>
                  </a:lnTo>
                  <a:lnTo>
                    <a:pt x="153" y="443"/>
                  </a:lnTo>
                  <a:lnTo>
                    <a:pt x="175" y="420"/>
                  </a:lnTo>
                  <a:lnTo>
                    <a:pt x="195" y="439"/>
                  </a:lnTo>
                  <a:lnTo>
                    <a:pt x="280" y="511"/>
                  </a:lnTo>
                  <a:lnTo>
                    <a:pt x="295" y="549"/>
                  </a:lnTo>
                  <a:lnTo>
                    <a:pt x="314" y="549"/>
                  </a:lnTo>
                  <a:lnTo>
                    <a:pt x="325" y="537"/>
                  </a:lnTo>
                  <a:lnTo>
                    <a:pt x="334" y="547"/>
                  </a:lnTo>
                  <a:lnTo>
                    <a:pt x="334" y="579"/>
                  </a:lnTo>
                  <a:lnTo>
                    <a:pt x="384" y="608"/>
                  </a:lnTo>
                  <a:lnTo>
                    <a:pt x="395" y="604"/>
                  </a:lnTo>
                  <a:lnTo>
                    <a:pt x="402" y="632"/>
                  </a:lnTo>
                  <a:lnTo>
                    <a:pt x="445" y="658"/>
                  </a:lnTo>
                  <a:lnTo>
                    <a:pt x="446" y="674"/>
                  </a:lnTo>
                  <a:lnTo>
                    <a:pt x="454" y="679"/>
                  </a:lnTo>
                  <a:lnTo>
                    <a:pt x="491" y="677"/>
                  </a:lnTo>
                  <a:lnTo>
                    <a:pt x="511" y="677"/>
                  </a:lnTo>
                  <a:lnTo>
                    <a:pt x="541" y="699"/>
                  </a:lnTo>
                  <a:lnTo>
                    <a:pt x="607" y="698"/>
                  </a:lnTo>
                  <a:lnTo>
                    <a:pt x="643" y="695"/>
                  </a:lnTo>
                  <a:lnTo>
                    <a:pt x="652" y="710"/>
                  </a:lnTo>
                  <a:lnTo>
                    <a:pt x="644" y="742"/>
                  </a:lnTo>
                  <a:lnTo>
                    <a:pt x="654" y="753"/>
                  </a:lnTo>
                  <a:lnTo>
                    <a:pt x="690" y="722"/>
                  </a:lnTo>
                  <a:lnTo>
                    <a:pt x="736" y="689"/>
                  </a:lnTo>
                  <a:lnTo>
                    <a:pt x="769" y="694"/>
                  </a:lnTo>
                  <a:lnTo>
                    <a:pt x="803" y="714"/>
                  </a:lnTo>
                  <a:lnTo>
                    <a:pt x="803" y="714"/>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3" name="云南">
              <a:hlinkClick action="ppaction://macro?name=Slide1.云南_click" highlightClick="1"/>
              <a:hlinkHover action="ppaction://noaction" highlightClick="1"/>
            </p:cNvPr>
            <p:cNvSpPr>
              <a:spLocks noChangeAspect="1"/>
            </p:cNvSpPr>
            <p:nvPr/>
          </p:nvSpPr>
          <p:spPr bwMode="auto">
            <a:xfrm rot="180000">
              <a:off x="3371318" y="4814266"/>
              <a:ext cx="1369449" cy="1504569"/>
            </a:xfrm>
            <a:custGeom>
              <a:gdLst>
                <a:gd fmla="*/ 569 w 652" name="T0"/>
                <a:gd fmla="*/ 105 h 674" name="T1"/>
                <a:gd fmla="*/ 525 w 652" name="T2"/>
                <a:gd fmla="*/ 116 h 674" name="T3"/>
                <a:gd fmla="*/ 504 w 652" name="T4"/>
                <a:gd fmla="*/ 83 h 674" name="T5"/>
                <a:gd fmla="*/ 496 w 652" name="T6"/>
                <a:gd fmla="*/ 59 h 674" name="T7"/>
                <a:gd fmla="*/ 462 w 652" name="T8"/>
                <a:gd fmla="*/ 60 h 674" name="T9"/>
                <a:gd fmla="*/ 445 w 652" name="T10"/>
                <a:gd fmla="*/ 88 h 674" name="T11"/>
                <a:gd fmla="*/ 445 w 652" name="T12"/>
                <a:gd fmla="*/ 118 h 674" name="T13"/>
                <a:gd fmla="*/ 407 w 652" name="T14"/>
                <a:gd fmla="*/ 235 h 674" name="T15"/>
                <a:gd fmla="*/ 374 w 652" name="T16"/>
                <a:gd fmla="*/ 241 h 674" name="T17"/>
                <a:gd fmla="*/ 313 w 652" name="T18"/>
                <a:gd fmla="*/ 258 h 674" name="T19"/>
                <a:gd fmla="*/ 223 w 652" name="T20"/>
                <a:gd fmla="*/ 116 h 674" name="T21"/>
                <a:gd fmla="*/ 192 w 652" name="T22"/>
                <a:gd fmla="*/ 94 h 674" name="T23"/>
                <a:gd fmla="*/ 185 w 652" name="T24"/>
                <a:gd fmla="*/ 60 h 674" name="T25"/>
                <a:gd fmla="*/ 140 w 652" name="T26"/>
                <a:gd fmla="*/ 83 h 674" name="T27"/>
                <a:gd fmla="*/ 123 w 652" name="T28"/>
                <a:gd fmla="*/ 0 h 674" name="T29"/>
                <a:gd fmla="*/ 91 w 652" name="T30"/>
                <a:gd fmla="*/ 33 h 674" name="T31"/>
                <a:gd fmla="*/ 88 w 652" name="T32"/>
                <a:gd fmla="*/ 84 h 674" name="T33"/>
                <a:gd fmla="*/ 67 w 652" name="T34"/>
                <a:gd fmla="*/ 75 h 674" name="T35"/>
                <a:gd fmla="*/ 67 w 652" name="T36"/>
                <a:gd fmla="*/ 135 h 674" name="T37"/>
                <a:gd fmla="*/ 91 w 652" name="T38"/>
                <a:gd fmla="*/ 144 h 674" name="T39"/>
                <a:gd fmla="*/ 89 w 652" name="T40"/>
                <a:gd fmla="*/ 275 h 674" name="T41"/>
                <a:gd fmla="*/ 16 w 652" name="T42"/>
                <a:gd fmla="*/ 361 h 674" name="T43"/>
                <a:gd fmla="*/ 0 w 652" name="T44"/>
                <a:gd fmla="*/ 385 h 674" name="T45"/>
                <a:gd fmla="*/ 3 w 652" name="T46"/>
                <a:gd fmla="*/ 438 h 674" name="T47"/>
                <a:gd fmla="*/ 43 w 652" name="T48"/>
                <a:gd fmla="*/ 431 h 674" name="T49"/>
                <a:gd fmla="*/ 88 w 652" name="T50"/>
                <a:gd fmla="*/ 448 h 674" name="T51"/>
                <a:gd fmla="*/ 99 w 652" name="T52"/>
                <a:gd fmla="*/ 494 h 674" name="T53"/>
                <a:gd fmla="*/ 135 w 652" name="T54"/>
                <a:gd fmla="*/ 506 h 674" name="T55"/>
                <a:gd fmla="*/ 134 w 652" name="T56"/>
                <a:gd fmla="*/ 533 h 674" name="T57"/>
                <a:gd fmla="*/ 120 w 652" name="T58"/>
                <a:gd fmla="*/ 581 h 674" name="T59"/>
                <a:gd fmla="*/ 147 w 652" name="T60"/>
                <a:gd fmla="*/ 592 h 674" name="T61"/>
                <a:gd fmla="*/ 174 w 652" name="T62"/>
                <a:gd fmla="*/ 615 h 674" name="T63"/>
                <a:gd fmla="*/ 224 w 652" name="T64"/>
                <a:gd fmla="*/ 646 h 674" name="T65"/>
                <a:gd fmla="*/ 273 w 652" name="T66"/>
                <a:gd fmla="*/ 631 h 674" name="T67"/>
                <a:gd fmla="*/ 277 w 652" name="T68"/>
                <a:gd fmla="*/ 662 h 674" name="T69"/>
                <a:gd fmla="*/ 307 w 652" name="T70"/>
                <a:gd fmla="*/ 669 h 674" name="T71"/>
                <a:gd fmla="*/ 322 w 652" name="T72"/>
                <a:gd fmla="*/ 667 h 674" name="T73"/>
                <a:gd fmla="*/ 309 w 652" name="T74"/>
                <a:gd fmla="*/ 582 h 674" name="T75"/>
                <a:gd fmla="*/ 349 w 652" name="T76"/>
                <a:gd fmla="*/ 566 h 674" name="T77"/>
                <a:gd fmla="*/ 374 w 652" name="T78"/>
                <a:gd fmla="*/ 547 h 674" name="T79"/>
                <a:gd fmla="*/ 436 w 652" name="T80"/>
                <a:gd fmla="*/ 544 h 674" name="T81"/>
                <a:gd fmla="*/ 464 w 652" name="T82"/>
                <a:gd fmla="*/ 542 h 674" name="T83"/>
                <a:gd fmla="*/ 488 w 652" name="T84"/>
                <a:gd fmla="*/ 559 h 674" name="T85"/>
                <a:gd fmla="*/ 509 w 652" name="T86"/>
                <a:gd fmla="*/ 536 h 674" name="T87"/>
                <a:gd fmla="*/ 536 w 652" name="T88"/>
                <a:gd fmla="*/ 537 h 674" name="T89"/>
                <a:gd fmla="*/ 573 w 652" name="T90"/>
                <a:gd fmla="*/ 495 h 674" name="T91"/>
                <a:gd fmla="*/ 610 w 652" name="T92"/>
                <a:gd fmla="*/ 504 h 674" name="T93"/>
                <a:gd fmla="*/ 638 w 652" name="T94"/>
                <a:gd fmla="*/ 476 h 674" name="T95"/>
                <a:gd fmla="*/ 651 w 652" name="T96"/>
                <a:gd fmla="*/ 447 h 674" name="T97"/>
                <a:gd fmla="*/ 579 w 652" name="T98"/>
                <a:gd fmla="*/ 422 h 674" name="T99"/>
                <a:gd fmla="*/ 550 w 652" name="T100"/>
                <a:gd fmla="*/ 404 h 674" name="T101"/>
                <a:gd fmla="*/ 521 w 652" name="T102"/>
                <a:gd fmla="*/ 383 h 674" name="T103"/>
                <a:gd fmla="*/ 530 w 652" name="T104"/>
                <a:gd fmla="*/ 328 h 674" name="T105"/>
                <a:gd fmla="*/ 525 w 652" name="T106"/>
                <a:gd fmla="*/ 226 h 674" name="T107"/>
                <a:gd fmla="*/ 472 w 652" name="T108"/>
                <a:gd fmla="*/ 228 h 674" name="T109"/>
                <a:gd fmla="*/ 462 w 652" name="T110"/>
                <a:gd fmla="*/ 193 h 674" name="T111"/>
                <a:gd fmla="*/ 473 w 652" name="T112"/>
                <a:gd fmla="*/ 156 h 674" name="T113"/>
                <a:gd fmla="*/ 504 w 652" name="T114"/>
                <a:gd fmla="*/ 154 h 674" name="T115"/>
                <a:gd fmla="*/ 564 w 652" name="T116"/>
                <a:gd fmla="*/ 154 h 674" name="T117"/>
                <a:gd fmla="*/ 574 w 652" name="T118"/>
                <a:gd fmla="*/ 124 h 674" name="T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b="b" l="0" r="r" t="0"/>
              <a:pathLst>
                <a:path h="674" w="652">
                  <a:moveTo>
                    <a:pt x="574" y="124"/>
                  </a:moveTo>
                  <a:lnTo>
                    <a:pt x="569" y="105"/>
                  </a:lnTo>
                  <a:lnTo>
                    <a:pt x="552" y="99"/>
                  </a:lnTo>
                  <a:lnTo>
                    <a:pt x="525" y="116"/>
                  </a:lnTo>
                  <a:lnTo>
                    <a:pt x="506" y="107"/>
                  </a:lnTo>
                  <a:lnTo>
                    <a:pt x="504" y="83"/>
                  </a:lnTo>
                  <a:lnTo>
                    <a:pt x="496" y="72"/>
                  </a:lnTo>
                  <a:lnTo>
                    <a:pt x="496" y="59"/>
                  </a:lnTo>
                  <a:lnTo>
                    <a:pt x="469" y="54"/>
                  </a:lnTo>
                  <a:lnTo>
                    <a:pt x="462" y="60"/>
                  </a:lnTo>
                  <a:lnTo>
                    <a:pt x="467" y="79"/>
                  </a:lnTo>
                  <a:lnTo>
                    <a:pt x="445" y="88"/>
                  </a:lnTo>
                  <a:lnTo>
                    <a:pt x="440" y="102"/>
                  </a:lnTo>
                  <a:lnTo>
                    <a:pt x="445" y="118"/>
                  </a:lnTo>
                  <a:lnTo>
                    <a:pt x="400" y="171"/>
                  </a:lnTo>
                  <a:lnTo>
                    <a:pt x="407" y="235"/>
                  </a:lnTo>
                  <a:lnTo>
                    <a:pt x="385" y="253"/>
                  </a:lnTo>
                  <a:lnTo>
                    <a:pt x="374" y="241"/>
                  </a:lnTo>
                  <a:lnTo>
                    <a:pt x="329" y="267"/>
                  </a:lnTo>
                  <a:lnTo>
                    <a:pt x="313" y="258"/>
                  </a:lnTo>
                  <a:lnTo>
                    <a:pt x="248" y="134"/>
                  </a:lnTo>
                  <a:lnTo>
                    <a:pt x="223" y="116"/>
                  </a:lnTo>
                  <a:lnTo>
                    <a:pt x="202" y="110"/>
                  </a:lnTo>
                  <a:lnTo>
                    <a:pt x="192" y="94"/>
                  </a:lnTo>
                  <a:lnTo>
                    <a:pt x="204" y="75"/>
                  </a:lnTo>
                  <a:lnTo>
                    <a:pt x="185" y="60"/>
                  </a:lnTo>
                  <a:lnTo>
                    <a:pt x="163" y="79"/>
                  </a:lnTo>
                  <a:lnTo>
                    <a:pt x="140" y="83"/>
                  </a:lnTo>
                  <a:lnTo>
                    <a:pt x="126" y="15"/>
                  </a:lnTo>
                  <a:lnTo>
                    <a:pt x="123" y="0"/>
                  </a:lnTo>
                  <a:lnTo>
                    <a:pt x="99" y="27"/>
                  </a:lnTo>
                  <a:lnTo>
                    <a:pt x="91" y="33"/>
                  </a:lnTo>
                  <a:lnTo>
                    <a:pt x="93" y="75"/>
                  </a:lnTo>
                  <a:lnTo>
                    <a:pt x="88" y="84"/>
                  </a:lnTo>
                  <a:lnTo>
                    <a:pt x="76" y="84"/>
                  </a:lnTo>
                  <a:lnTo>
                    <a:pt x="67" y="75"/>
                  </a:lnTo>
                  <a:lnTo>
                    <a:pt x="56" y="88"/>
                  </a:lnTo>
                  <a:lnTo>
                    <a:pt x="67" y="135"/>
                  </a:lnTo>
                  <a:lnTo>
                    <a:pt x="80" y="135"/>
                  </a:lnTo>
                  <a:lnTo>
                    <a:pt x="91" y="144"/>
                  </a:lnTo>
                  <a:lnTo>
                    <a:pt x="94" y="173"/>
                  </a:lnTo>
                  <a:lnTo>
                    <a:pt x="89" y="275"/>
                  </a:lnTo>
                  <a:lnTo>
                    <a:pt x="19" y="337"/>
                  </a:lnTo>
                  <a:lnTo>
                    <a:pt x="16" y="361"/>
                  </a:lnTo>
                  <a:lnTo>
                    <a:pt x="3" y="373"/>
                  </a:lnTo>
                  <a:lnTo>
                    <a:pt x="0" y="385"/>
                  </a:lnTo>
                  <a:lnTo>
                    <a:pt x="12" y="416"/>
                  </a:lnTo>
                  <a:lnTo>
                    <a:pt x="3" y="438"/>
                  </a:lnTo>
                  <a:lnTo>
                    <a:pt x="8" y="441"/>
                  </a:lnTo>
                  <a:lnTo>
                    <a:pt x="43" y="431"/>
                  </a:lnTo>
                  <a:lnTo>
                    <a:pt x="93" y="428"/>
                  </a:lnTo>
                  <a:lnTo>
                    <a:pt x="88" y="448"/>
                  </a:lnTo>
                  <a:lnTo>
                    <a:pt x="96" y="467"/>
                  </a:lnTo>
                  <a:lnTo>
                    <a:pt x="99" y="494"/>
                  </a:lnTo>
                  <a:lnTo>
                    <a:pt x="106" y="504"/>
                  </a:lnTo>
                  <a:lnTo>
                    <a:pt x="135" y="506"/>
                  </a:lnTo>
                  <a:lnTo>
                    <a:pt x="149" y="515"/>
                  </a:lnTo>
                  <a:lnTo>
                    <a:pt x="134" y="533"/>
                  </a:lnTo>
                  <a:lnTo>
                    <a:pt x="132" y="556"/>
                  </a:lnTo>
                  <a:lnTo>
                    <a:pt x="120" y="581"/>
                  </a:lnTo>
                  <a:lnTo>
                    <a:pt x="128" y="590"/>
                  </a:lnTo>
                  <a:lnTo>
                    <a:pt x="147" y="592"/>
                  </a:lnTo>
                  <a:lnTo>
                    <a:pt x="178" y="604"/>
                  </a:lnTo>
                  <a:lnTo>
                    <a:pt x="174" y="615"/>
                  </a:lnTo>
                  <a:lnTo>
                    <a:pt x="195" y="646"/>
                  </a:lnTo>
                  <a:lnTo>
                    <a:pt x="224" y="646"/>
                  </a:lnTo>
                  <a:lnTo>
                    <a:pt x="261" y="625"/>
                  </a:lnTo>
                  <a:lnTo>
                    <a:pt x="273" y="631"/>
                  </a:lnTo>
                  <a:lnTo>
                    <a:pt x="273" y="644"/>
                  </a:lnTo>
                  <a:lnTo>
                    <a:pt x="277" y="662"/>
                  </a:lnTo>
                  <a:lnTo>
                    <a:pt x="287" y="672"/>
                  </a:lnTo>
                  <a:lnTo>
                    <a:pt x="307" y="669"/>
                  </a:lnTo>
                  <a:lnTo>
                    <a:pt x="314" y="673"/>
                  </a:lnTo>
                  <a:lnTo>
                    <a:pt x="322" y="667"/>
                  </a:lnTo>
                  <a:lnTo>
                    <a:pt x="322" y="638"/>
                  </a:lnTo>
                  <a:lnTo>
                    <a:pt x="309" y="582"/>
                  </a:lnTo>
                  <a:lnTo>
                    <a:pt x="319" y="566"/>
                  </a:lnTo>
                  <a:lnTo>
                    <a:pt x="349" y="566"/>
                  </a:lnTo>
                  <a:lnTo>
                    <a:pt x="357" y="566"/>
                  </a:lnTo>
                  <a:lnTo>
                    <a:pt x="374" y="547"/>
                  </a:lnTo>
                  <a:lnTo>
                    <a:pt x="418" y="561"/>
                  </a:lnTo>
                  <a:lnTo>
                    <a:pt x="436" y="544"/>
                  </a:lnTo>
                  <a:lnTo>
                    <a:pt x="445" y="554"/>
                  </a:lnTo>
                  <a:lnTo>
                    <a:pt x="464" y="542"/>
                  </a:lnTo>
                  <a:lnTo>
                    <a:pt x="481" y="559"/>
                  </a:lnTo>
                  <a:lnTo>
                    <a:pt x="488" y="559"/>
                  </a:lnTo>
                  <a:lnTo>
                    <a:pt x="494" y="550"/>
                  </a:lnTo>
                  <a:lnTo>
                    <a:pt x="509" y="536"/>
                  </a:lnTo>
                  <a:lnTo>
                    <a:pt x="515" y="540"/>
                  </a:lnTo>
                  <a:lnTo>
                    <a:pt x="536" y="537"/>
                  </a:lnTo>
                  <a:lnTo>
                    <a:pt x="557" y="520"/>
                  </a:lnTo>
                  <a:lnTo>
                    <a:pt x="573" y="495"/>
                  </a:lnTo>
                  <a:lnTo>
                    <a:pt x="597" y="491"/>
                  </a:lnTo>
                  <a:lnTo>
                    <a:pt x="610" y="504"/>
                  </a:lnTo>
                  <a:lnTo>
                    <a:pt x="619" y="477"/>
                  </a:lnTo>
                  <a:lnTo>
                    <a:pt x="638" y="476"/>
                  </a:lnTo>
                  <a:lnTo>
                    <a:pt x="645" y="470"/>
                  </a:lnTo>
                  <a:lnTo>
                    <a:pt x="651" y="447"/>
                  </a:lnTo>
                  <a:lnTo>
                    <a:pt x="643" y="434"/>
                  </a:lnTo>
                  <a:lnTo>
                    <a:pt x="579" y="422"/>
                  </a:lnTo>
                  <a:lnTo>
                    <a:pt x="569" y="404"/>
                  </a:lnTo>
                  <a:lnTo>
                    <a:pt x="550" y="404"/>
                  </a:lnTo>
                  <a:lnTo>
                    <a:pt x="534" y="404"/>
                  </a:lnTo>
                  <a:lnTo>
                    <a:pt x="521" y="383"/>
                  </a:lnTo>
                  <a:lnTo>
                    <a:pt x="523" y="373"/>
                  </a:lnTo>
                  <a:lnTo>
                    <a:pt x="530" y="328"/>
                  </a:lnTo>
                  <a:lnTo>
                    <a:pt x="506" y="304"/>
                  </a:lnTo>
                  <a:lnTo>
                    <a:pt x="525" y="226"/>
                  </a:lnTo>
                  <a:lnTo>
                    <a:pt x="512" y="216"/>
                  </a:lnTo>
                  <a:lnTo>
                    <a:pt x="472" y="228"/>
                  </a:lnTo>
                  <a:lnTo>
                    <a:pt x="462" y="212"/>
                  </a:lnTo>
                  <a:lnTo>
                    <a:pt x="462" y="193"/>
                  </a:lnTo>
                  <a:lnTo>
                    <a:pt x="453" y="185"/>
                  </a:lnTo>
                  <a:lnTo>
                    <a:pt x="473" y="156"/>
                  </a:lnTo>
                  <a:lnTo>
                    <a:pt x="496" y="164"/>
                  </a:lnTo>
                  <a:lnTo>
                    <a:pt x="504" y="154"/>
                  </a:lnTo>
                  <a:lnTo>
                    <a:pt x="545" y="160"/>
                  </a:lnTo>
                  <a:lnTo>
                    <a:pt x="564" y="154"/>
                  </a:lnTo>
                  <a:lnTo>
                    <a:pt x="574" y="124"/>
                  </a:lnTo>
                  <a:lnTo>
                    <a:pt x="574" y="124"/>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4" name="青海">
              <a:hlinkClick action="ppaction://macro?name=Slide1.青海_click" highlightClick="1"/>
              <a:hlinkHover action="ppaction://noaction" highlightClick="1"/>
            </p:cNvPr>
            <p:cNvSpPr>
              <a:spLocks noChangeAspect="1"/>
            </p:cNvSpPr>
            <p:nvPr/>
          </p:nvSpPr>
          <p:spPr bwMode="auto">
            <a:xfrm rot="180000">
              <a:off x="2398164" y="2900955"/>
              <a:ext cx="1924452" cy="1445420"/>
            </a:xfrm>
            <a:custGeom>
              <a:gdLst>
                <a:gd fmla="*/ 74 w 902" name="T0"/>
                <a:gd fmla="*/ 239 h 645" name="T1"/>
                <a:gd fmla="*/ 117 w 902" name="T2"/>
                <a:gd fmla="*/ 214 h 645" name="T3"/>
                <a:gd fmla="*/ 98 w 902" name="T4"/>
                <a:gd fmla="*/ 198 h 645" name="T5"/>
                <a:gd fmla="*/ 126 w 902" name="T6"/>
                <a:gd fmla="*/ 175 h 645" name="T7"/>
                <a:gd fmla="*/ 92 w 902" name="T8"/>
                <a:gd fmla="*/ 105 h 645" name="T9"/>
                <a:gd fmla="*/ 113 w 902" name="T10"/>
                <a:gd fmla="*/ 41 h 645" name="T11"/>
                <a:gd fmla="*/ 295 w 902" name="T12"/>
                <a:gd fmla="*/ 0 h 645" name="T13"/>
                <a:gd fmla="*/ 406 w 902" name="T14"/>
                <a:gd fmla="*/ 22 h 645" name="T15"/>
                <a:gd fmla="*/ 469 w 902" name="T16"/>
                <a:gd fmla="*/ 60 h 645" name="T17"/>
                <a:gd fmla="*/ 529 w 902" name="T18"/>
                <a:gd fmla="*/ 37 h 645" name="T19"/>
                <a:gd fmla="*/ 609 w 902" name="T20"/>
                <a:gd fmla="*/ 27 h 645" name="T21"/>
                <a:gd fmla="*/ 708 w 902" name="T22"/>
                <a:gd fmla="*/ 55 h 645" name="T23"/>
                <a:gd fmla="*/ 772 w 902" name="T24"/>
                <a:gd fmla="*/ 127 h 645" name="T25"/>
                <a:gd fmla="*/ 828 w 902" name="T26"/>
                <a:gd fmla="*/ 148 h 645" name="T27"/>
                <a:gd fmla="*/ 884 w 902" name="T28"/>
                <a:gd fmla="*/ 248 h 645" name="T29"/>
                <a:gd fmla="*/ 895 w 902" name="T30"/>
                <a:gd fmla="*/ 317 h 645" name="T31"/>
                <a:gd fmla="*/ 865 w 902" name="T32"/>
                <a:gd fmla="*/ 365 h 645" name="T33"/>
                <a:gd fmla="*/ 832 w 902" name="T34"/>
                <a:gd fmla="*/ 397 h 645" name="T35"/>
                <a:gd fmla="*/ 816 w 902" name="T36"/>
                <a:gd fmla="*/ 442 h 645" name="T37"/>
                <a:gd fmla="*/ 778 w 902" name="T38"/>
                <a:gd fmla="*/ 418 h 645" name="T39"/>
                <a:gd fmla="*/ 780 w 902" name="T40"/>
                <a:gd fmla="*/ 454 h 645" name="T41"/>
                <a:gd fmla="*/ 837 w 902" name="T42"/>
                <a:gd fmla="*/ 485 h 645" name="T43"/>
                <a:gd fmla="*/ 867 w 902" name="T44"/>
                <a:gd fmla="*/ 499 h 645" name="T45"/>
                <a:gd fmla="*/ 856 w 902" name="T46"/>
                <a:gd fmla="*/ 527 h 645" name="T47"/>
                <a:gd fmla="*/ 816 w 902" name="T48"/>
                <a:gd fmla="*/ 537 h 645" name="T49"/>
                <a:gd fmla="*/ 776 w 902" name="T50"/>
                <a:gd fmla="*/ 529 h 645" name="T51"/>
                <a:gd fmla="*/ 767 w 902" name="T52"/>
                <a:gd fmla="*/ 566 h 645" name="T53"/>
                <a:gd fmla="*/ 701 w 902" name="T54"/>
                <a:gd fmla="*/ 535 h 645" name="T55"/>
                <a:gd fmla="*/ 661 w 902" name="T56"/>
                <a:gd fmla="*/ 525 h 645" name="T57"/>
                <a:gd fmla="*/ 536 w 902" name="T58"/>
                <a:gd fmla="*/ 522 h 645" name="T59"/>
                <a:gd fmla="*/ 522 w 902" name="T60"/>
                <a:gd fmla="*/ 553 h 645" name="T61"/>
                <a:gd fmla="*/ 509 w 902" name="T62"/>
                <a:gd fmla="*/ 586 h 645" name="T63"/>
                <a:gd fmla="*/ 391 w 902" name="T64"/>
                <a:gd fmla="*/ 629 h 645" name="T65"/>
                <a:gd fmla="*/ 339 w 902" name="T66"/>
                <a:gd fmla="*/ 564 h 645" name="T67"/>
                <a:gd fmla="*/ 194 w 902" name="T68"/>
                <a:gd fmla="*/ 541 h 645" name="T69"/>
                <a:gd fmla="*/ 138 w 902" name="T70"/>
                <a:gd fmla="*/ 508 h 645" name="T71"/>
                <a:gd fmla="*/ 2 w 902" name="T72"/>
                <a:gd fmla="*/ 382 h 645" name="T73"/>
                <a:gd fmla="*/ 24 w 902" name="T74"/>
                <a:gd fmla="*/ 341 h 645" name="T75"/>
                <a:gd fmla="*/ 40 w 902" name="T76"/>
                <a:gd fmla="*/ 267 h 645" name="T77"/>
                <a:gd fmla="*/ 45 w 902" name="T78"/>
                <a:gd fmla="*/ 228 h 645" name="T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b="b" l="0" r="r" t="0"/>
              <a:pathLst>
                <a:path h="645" w="902">
                  <a:moveTo>
                    <a:pt x="45" y="228"/>
                  </a:moveTo>
                  <a:lnTo>
                    <a:pt x="74" y="239"/>
                  </a:lnTo>
                  <a:lnTo>
                    <a:pt x="125" y="223"/>
                  </a:lnTo>
                  <a:lnTo>
                    <a:pt x="117" y="214"/>
                  </a:lnTo>
                  <a:lnTo>
                    <a:pt x="105" y="214"/>
                  </a:lnTo>
                  <a:lnTo>
                    <a:pt x="98" y="198"/>
                  </a:lnTo>
                  <a:lnTo>
                    <a:pt x="103" y="185"/>
                  </a:lnTo>
                  <a:lnTo>
                    <a:pt x="126" y="175"/>
                  </a:lnTo>
                  <a:lnTo>
                    <a:pt x="144" y="148"/>
                  </a:lnTo>
                  <a:lnTo>
                    <a:pt x="92" y="105"/>
                  </a:lnTo>
                  <a:lnTo>
                    <a:pt x="89" y="60"/>
                  </a:lnTo>
                  <a:lnTo>
                    <a:pt x="113" y="41"/>
                  </a:lnTo>
                  <a:lnTo>
                    <a:pt x="283" y="9"/>
                  </a:lnTo>
                  <a:lnTo>
                    <a:pt x="295" y="0"/>
                  </a:lnTo>
                  <a:lnTo>
                    <a:pt x="320" y="2"/>
                  </a:lnTo>
                  <a:lnTo>
                    <a:pt x="406" y="22"/>
                  </a:lnTo>
                  <a:lnTo>
                    <a:pt x="430" y="38"/>
                  </a:lnTo>
                  <a:lnTo>
                    <a:pt x="469" y="60"/>
                  </a:lnTo>
                  <a:lnTo>
                    <a:pt x="492" y="59"/>
                  </a:lnTo>
                  <a:lnTo>
                    <a:pt x="529" y="37"/>
                  </a:lnTo>
                  <a:lnTo>
                    <a:pt x="577" y="43"/>
                  </a:lnTo>
                  <a:lnTo>
                    <a:pt x="609" y="27"/>
                  </a:lnTo>
                  <a:lnTo>
                    <a:pt x="674" y="68"/>
                  </a:lnTo>
                  <a:lnTo>
                    <a:pt x="708" y="55"/>
                  </a:lnTo>
                  <a:lnTo>
                    <a:pt x="727" y="99"/>
                  </a:lnTo>
                  <a:lnTo>
                    <a:pt x="772" y="127"/>
                  </a:lnTo>
                  <a:lnTo>
                    <a:pt x="804" y="156"/>
                  </a:lnTo>
                  <a:lnTo>
                    <a:pt x="828" y="148"/>
                  </a:lnTo>
                  <a:lnTo>
                    <a:pt x="875" y="208"/>
                  </a:lnTo>
                  <a:lnTo>
                    <a:pt x="884" y="248"/>
                  </a:lnTo>
                  <a:lnTo>
                    <a:pt x="901" y="271"/>
                  </a:lnTo>
                  <a:lnTo>
                    <a:pt x="895" y="317"/>
                  </a:lnTo>
                  <a:lnTo>
                    <a:pt x="858" y="346"/>
                  </a:lnTo>
                  <a:lnTo>
                    <a:pt x="865" y="365"/>
                  </a:lnTo>
                  <a:lnTo>
                    <a:pt x="851" y="379"/>
                  </a:lnTo>
                  <a:lnTo>
                    <a:pt x="832" y="397"/>
                  </a:lnTo>
                  <a:lnTo>
                    <a:pt x="832" y="428"/>
                  </a:lnTo>
                  <a:lnTo>
                    <a:pt x="816" y="442"/>
                  </a:lnTo>
                  <a:lnTo>
                    <a:pt x="796" y="435"/>
                  </a:lnTo>
                  <a:lnTo>
                    <a:pt x="778" y="418"/>
                  </a:lnTo>
                  <a:lnTo>
                    <a:pt x="769" y="437"/>
                  </a:lnTo>
                  <a:lnTo>
                    <a:pt x="780" y="454"/>
                  </a:lnTo>
                  <a:lnTo>
                    <a:pt x="810" y="456"/>
                  </a:lnTo>
                  <a:lnTo>
                    <a:pt x="837" y="485"/>
                  </a:lnTo>
                  <a:lnTo>
                    <a:pt x="855" y="485"/>
                  </a:lnTo>
                  <a:lnTo>
                    <a:pt x="867" y="499"/>
                  </a:lnTo>
                  <a:lnTo>
                    <a:pt x="856" y="525"/>
                  </a:lnTo>
                  <a:lnTo>
                    <a:pt x="856" y="527"/>
                  </a:lnTo>
                  <a:lnTo>
                    <a:pt x="832" y="524"/>
                  </a:lnTo>
                  <a:lnTo>
                    <a:pt x="816" y="537"/>
                  </a:lnTo>
                  <a:lnTo>
                    <a:pt x="804" y="518"/>
                  </a:lnTo>
                  <a:lnTo>
                    <a:pt x="776" y="529"/>
                  </a:lnTo>
                  <a:lnTo>
                    <a:pt x="767" y="543"/>
                  </a:lnTo>
                  <a:lnTo>
                    <a:pt x="767" y="566"/>
                  </a:lnTo>
                  <a:lnTo>
                    <a:pt x="738" y="572"/>
                  </a:lnTo>
                  <a:lnTo>
                    <a:pt x="701" y="535"/>
                  </a:lnTo>
                  <a:lnTo>
                    <a:pt x="690" y="517"/>
                  </a:lnTo>
                  <a:lnTo>
                    <a:pt x="661" y="525"/>
                  </a:lnTo>
                  <a:lnTo>
                    <a:pt x="611" y="511"/>
                  </a:lnTo>
                  <a:lnTo>
                    <a:pt x="536" y="522"/>
                  </a:lnTo>
                  <a:lnTo>
                    <a:pt x="529" y="529"/>
                  </a:lnTo>
                  <a:lnTo>
                    <a:pt x="522" y="553"/>
                  </a:lnTo>
                  <a:lnTo>
                    <a:pt x="507" y="563"/>
                  </a:lnTo>
                  <a:lnTo>
                    <a:pt x="509" y="586"/>
                  </a:lnTo>
                  <a:lnTo>
                    <a:pt x="464" y="644"/>
                  </a:lnTo>
                  <a:lnTo>
                    <a:pt x="391" y="629"/>
                  </a:lnTo>
                  <a:lnTo>
                    <a:pt x="386" y="601"/>
                  </a:lnTo>
                  <a:lnTo>
                    <a:pt x="339" y="564"/>
                  </a:lnTo>
                  <a:lnTo>
                    <a:pt x="237" y="548"/>
                  </a:lnTo>
                  <a:lnTo>
                    <a:pt x="194" y="541"/>
                  </a:lnTo>
                  <a:lnTo>
                    <a:pt x="176" y="538"/>
                  </a:lnTo>
                  <a:lnTo>
                    <a:pt x="138" y="508"/>
                  </a:lnTo>
                  <a:lnTo>
                    <a:pt x="58" y="489"/>
                  </a:lnTo>
                  <a:lnTo>
                    <a:pt x="2" y="382"/>
                  </a:lnTo>
                  <a:lnTo>
                    <a:pt x="0" y="352"/>
                  </a:lnTo>
                  <a:lnTo>
                    <a:pt x="24" y="341"/>
                  </a:lnTo>
                  <a:lnTo>
                    <a:pt x="24" y="308"/>
                  </a:lnTo>
                  <a:lnTo>
                    <a:pt x="40" y="267"/>
                  </a:lnTo>
                  <a:lnTo>
                    <a:pt x="21" y="248"/>
                  </a:lnTo>
                  <a:lnTo>
                    <a:pt x="45" y="228"/>
                  </a:lnTo>
                  <a:lnTo>
                    <a:pt x="45" y="228"/>
                  </a:lnTo>
                </a:path>
              </a:pathLst>
            </a:custGeom>
            <a:solidFill>
              <a:srgbClr val="E00024"/>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5" name="四川">
              <a:hlinkClick action="ppaction://macro?name=Slide1.四川_click" highlightClick="1"/>
              <a:hlinkHover action="ppaction://noaction" highlightClick="1"/>
            </p:cNvPr>
            <p:cNvSpPr>
              <a:spLocks noChangeAspect="1"/>
            </p:cNvSpPr>
            <p:nvPr/>
          </p:nvSpPr>
          <p:spPr bwMode="auto">
            <a:xfrm rot="180000">
              <a:off x="3454785" y="3926833"/>
              <a:ext cx="1665010" cy="1482387"/>
            </a:xfrm>
            <a:custGeom>
              <a:gdLst>
                <a:gd fmla="*/ 40 w 92" name="T0"/>
                <a:gd fmla="*/ 6 h 76" name="T1"/>
                <a:gd fmla="*/ 39 w 92" name="T2"/>
                <a:gd fmla="*/ 2 h 76" name="T3"/>
                <a:gd fmla="*/ 46 w 92" name="T4"/>
                <a:gd fmla="*/ 0 h 76" name="T5"/>
                <a:gd fmla="*/ 47 w 92" name="T6"/>
                <a:gd fmla="*/ 4 h 76" name="T7"/>
                <a:gd fmla="*/ 53 w 92" name="T8"/>
                <a:gd fmla="*/ 9 h 76" name="T9"/>
                <a:gd fmla="*/ 56 w 92" name="T10"/>
                <a:gd fmla="*/ 9 h 76" name="T11"/>
                <a:gd fmla="*/ 59 w 92" name="T12"/>
                <a:gd fmla="*/ 14 h 76" name="T13"/>
                <a:gd fmla="*/ 65 w 92" name="T14"/>
                <a:gd fmla="*/ 14 h 76" name="T15"/>
                <a:gd fmla="*/ 68 w 92" name="T16"/>
                <a:gd fmla="*/ 11 h 76" name="T17"/>
                <a:gd fmla="*/ 70 w 92" name="T18"/>
                <a:gd fmla="*/ 14 h 76" name="T19"/>
                <a:gd fmla="*/ 77 w 92" name="T20"/>
                <a:gd fmla="*/ 13 h 76" name="T21"/>
                <a:gd fmla="*/ 79 w 92" name="T22"/>
                <a:gd fmla="*/ 15 h 76" name="T23"/>
                <a:gd fmla="*/ 86 w 92" name="T24"/>
                <a:gd fmla="*/ 18 h 76" name="T25"/>
                <a:gd fmla="*/ 92 w 92" name="T26"/>
                <a:gd fmla="*/ 19 h 76" name="T27"/>
                <a:gd fmla="*/ 91 w 92" name="T28"/>
                <a:gd fmla="*/ 19 h 76" name="T29"/>
                <a:gd fmla="*/ 90 w 92" name="T30"/>
                <a:gd fmla="*/ 22 h 76" name="T31"/>
                <a:gd fmla="*/ 88 w 92" name="T32"/>
                <a:gd fmla="*/ 26 h 76" name="T33"/>
                <a:gd fmla="*/ 85 w 92" name="T34"/>
                <a:gd fmla="*/ 29 h 76" name="T35"/>
                <a:gd fmla="*/ 83 w 92" name="T36"/>
                <a:gd fmla="*/ 31 h 76" name="T37"/>
                <a:gd fmla="*/ 80 w 92" name="T38"/>
                <a:gd fmla="*/ 35 h 76" name="T39"/>
                <a:gd fmla="*/ 76 w 92" name="T40"/>
                <a:gd fmla="*/ 36 h 76" name="T41"/>
                <a:gd fmla="*/ 72 w 92" name="T42"/>
                <a:gd fmla="*/ 35 h 76" name="T43"/>
                <a:gd fmla="*/ 67 w 92" name="T44"/>
                <a:gd fmla="*/ 34 h 76" name="T45"/>
                <a:gd fmla="*/ 67 w 92" name="T46"/>
                <a:gd fmla="*/ 38 h 76" name="T47"/>
                <a:gd fmla="*/ 66 w 92" name="T48"/>
                <a:gd fmla="*/ 40 h 76" name="T49"/>
                <a:gd fmla="*/ 67 w 92" name="T50"/>
                <a:gd fmla="*/ 44 h 76" name="T51"/>
                <a:gd fmla="*/ 71 w 92" name="T52"/>
                <a:gd fmla="*/ 47 h 76" name="T53"/>
                <a:gd fmla="*/ 70 w 92" name="T54"/>
                <a:gd fmla="*/ 50 h 76" name="T55"/>
                <a:gd fmla="*/ 68 w 92" name="T56"/>
                <a:gd fmla="*/ 54 h 76" name="T57"/>
                <a:gd fmla="*/ 74 w 92" name="T58"/>
                <a:gd fmla="*/ 59 h 76" name="T59"/>
                <a:gd fmla="*/ 65 w 92" name="T60"/>
                <a:gd fmla="*/ 60 h 76" name="T61"/>
                <a:gd fmla="*/ 63 w 92" name="T62"/>
                <a:gd fmla="*/ 57 h 76" name="T63"/>
                <a:gd fmla="*/ 57 w 92" name="T64"/>
                <a:gd fmla="*/ 58 h 76" name="T65"/>
                <a:gd fmla="*/ 56 w 92" name="T66"/>
                <a:gd fmla="*/ 54 h 76" name="T67"/>
                <a:gd fmla="*/ 53 w 92" name="T68"/>
                <a:gd fmla="*/ 52 h 76" name="T69"/>
                <a:gd fmla="*/ 53 w 92" name="T70"/>
                <a:gd fmla="*/ 55 h 76" name="T71"/>
                <a:gd fmla="*/ 49 w 92" name="T72"/>
                <a:gd fmla="*/ 57 h 76" name="T73"/>
                <a:gd fmla="*/ 45 w 92" name="T74"/>
                <a:gd fmla="*/ 65 h 76" name="T75"/>
                <a:gd fmla="*/ 43 w 92" name="T76"/>
                <a:gd fmla="*/ 74 h 76" name="T77"/>
                <a:gd fmla="*/ 36 w 92" name="T78"/>
                <a:gd fmla="*/ 76 h 76" name="T79"/>
                <a:gd fmla="*/ 27 w 92" name="T80"/>
                <a:gd fmla="*/ 61 h 76" name="T81"/>
                <a:gd fmla="*/ 21 w 92" name="T82"/>
                <a:gd fmla="*/ 58 h 76" name="T83"/>
                <a:gd fmla="*/ 22 w 92" name="T84"/>
                <a:gd fmla="*/ 54 h 76" name="T85"/>
                <a:gd fmla="*/ 17 w 92" name="T86"/>
                <a:gd fmla="*/ 55 h 76" name="T87"/>
                <a:gd fmla="*/ 13 w 92" name="T88"/>
                <a:gd fmla="*/ 47 h 76" name="T89"/>
                <a:gd fmla="*/ 12 w 92" name="T90"/>
                <a:gd fmla="*/ 33 h 76" name="T91"/>
                <a:gd fmla="*/ 11 w 92" name="T92"/>
                <a:gd fmla="*/ 26 h 76" name="T93"/>
                <a:gd fmla="*/ 0 w 92" name="T94"/>
                <a:gd fmla="*/ 12 h 76" name="T95"/>
                <a:gd fmla="*/ 2 w 92" name="T96"/>
                <a:gd fmla="*/ 9 h 76" name="T97"/>
                <a:gd fmla="*/ 16 w 92" name="T98"/>
                <a:gd fmla="*/ 9 h 76" name="T99"/>
                <a:gd fmla="*/ 21 w 92" name="T100"/>
                <a:gd fmla="*/ 10 h 76" name="T101"/>
                <a:gd fmla="*/ 29 w 92" name="T102"/>
                <a:gd fmla="*/ 14 h 76" name="T103"/>
                <a:gd fmla="*/ 30 w 92" name="T104"/>
                <a:gd fmla="*/ 10 h 76" name="T105"/>
                <a:gd fmla="*/ 35 w 92" name="T106"/>
                <a:gd fmla="*/ 11 h 76" name="T107"/>
                <a:gd fmla="*/ 39 w 92" name="T108"/>
                <a:gd fmla="*/ 10 h 76" name="T109"/>
                <a:gd fmla="*/ 39 w 92" name="T110"/>
                <a:gd fmla="*/ 9 h 76" name="T11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b="b" l="0" r="r" t="0"/>
              <a:pathLst>
                <a:path h="76" w="92">
                  <a:moveTo>
                    <a:pt x="39" y="9"/>
                  </a:moveTo>
                  <a:lnTo>
                    <a:pt x="40" y="6"/>
                  </a:lnTo>
                  <a:lnTo>
                    <a:pt x="39" y="5"/>
                  </a:lnTo>
                  <a:lnTo>
                    <a:pt x="39" y="2"/>
                  </a:lnTo>
                  <a:lnTo>
                    <a:pt x="44" y="0"/>
                  </a:lnTo>
                  <a:lnTo>
                    <a:pt x="46" y="0"/>
                  </a:lnTo>
                  <a:lnTo>
                    <a:pt x="46" y="2"/>
                  </a:lnTo>
                  <a:lnTo>
                    <a:pt x="47" y="4"/>
                  </a:lnTo>
                  <a:lnTo>
                    <a:pt x="49" y="6"/>
                  </a:lnTo>
                  <a:lnTo>
                    <a:pt x="53" y="9"/>
                  </a:lnTo>
                  <a:lnTo>
                    <a:pt x="55" y="8"/>
                  </a:lnTo>
                  <a:lnTo>
                    <a:pt x="56" y="9"/>
                  </a:lnTo>
                  <a:lnTo>
                    <a:pt x="56" y="13"/>
                  </a:lnTo>
                  <a:lnTo>
                    <a:pt x="59" y="14"/>
                  </a:lnTo>
                  <a:lnTo>
                    <a:pt x="64" y="15"/>
                  </a:lnTo>
                  <a:lnTo>
                    <a:pt x="65" y="14"/>
                  </a:lnTo>
                  <a:lnTo>
                    <a:pt x="65" y="12"/>
                  </a:lnTo>
                  <a:lnTo>
                    <a:pt x="68" y="11"/>
                  </a:lnTo>
                  <a:lnTo>
                    <a:pt x="70" y="12"/>
                  </a:lnTo>
                  <a:lnTo>
                    <a:pt x="70" y="14"/>
                  </a:lnTo>
                  <a:lnTo>
                    <a:pt x="72" y="14"/>
                  </a:lnTo>
                  <a:lnTo>
                    <a:pt x="77" y="13"/>
                  </a:lnTo>
                  <a:lnTo>
                    <a:pt x="78" y="13"/>
                  </a:lnTo>
                  <a:lnTo>
                    <a:pt x="79" y="15"/>
                  </a:lnTo>
                  <a:lnTo>
                    <a:pt x="81" y="15"/>
                  </a:lnTo>
                  <a:lnTo>
                    <a:pt x="86" y="18"/>
                  </a:lnTo>
                  <a:lnTo>
                    <a:pt x="89" y="17"/>
                  </a:lnTo>
                  <a:lnTo>
                    <a:pt x="92" y="19"/>
                  </a:lnTo>
                  <a:lnTo>
                    <a:pt x="90" y="19"/>
                  </a:lnTo>
                  <a:lnTo>
                    <a:pt x="91" y="19"/>
                  </a:lnTo>
                  <a:lnTo>
                    <a:pt x="90" y="20"/>
                  </a:lnTo>
                  <a:lnTo>
                    <a:pt x="90" y="22"/>
                  </a:lnTo>
                  <a:lnTo>
                    <a:pt x="89" y="24"/>
                  </a:lnTo>
                  <a:lnTo>
                    <a:pt x="88" y="26"/>
                  </a:lnTo>
                  <a:lnTo>
                    <a:pt x="88" y="28"/>
                  </a:lnTo>
                  <a:lnTo>
                    <a:pt x="85" y="29"/>
                  </a:lnTo>
                  <a:lnTo>
                    <a:pt x="84" y="30"/>
                  </a:lnTo>
                  <a:lnTo>
                    <a:pt x="83" y="31"/>
                  </a:lnTo>
                  <a:lnTo>
                    <a:pt x="82" y="33"/>
                  </a:lnTo>
                  <a:lnTo>
                    <a:pt x="80" y="35"/>
                  </a:lnTo>
                  <a:lnTo>
                    <a:pt x="79" y="36"/>
                  </a:lnTo>
                  <a:lnTo>
                    <a:pt x="76" y="36"/>
                  </a:lnTo>
                  <a:lnTo>
                    <a:pt x="74" y="34"/>
                  </a:lnTo>
                  <a:lnTo>
                    <a:pt x="72" y="35"/>
                  </a:lnTo>
                  <a:lnTo>
                    <a:pt x="70" y="33"/>
                  </a:lnTo>
                  <a:lnTo>
                    <a:pt x="67" y="34"/>
                  </a:lnTo>
                  <a:lnTo>
                    <a:pt x="67" y="36"/>
                  </a:lnTo>
                  <a:lnTo>
                    <a:pt x="67" y="38"/>
                  </a:lnTo>
                  <a:lnTo>
                    <a:pt x="67" y="39"/>
                  </a:lnTo>
                  <a:lnTo>
                    <a:pt x="66" y="40"/>
                  </a:lnTo>
                  <a:lnTo>
                    <a:pt x="64" y="42"/>
                  </a:lnTo>
                  <a:lnTo>
                    <a:pt x="67" y="44"/>
                  </a:lnTo>
                  <a:lnTo>
                    <a:pt x="70" y="47"/>
                  </a:lnTo>
                  <a:lnTo>
                    <a:pt x="71" y="47"/>
                  </a:lnTo>
                  <a:lnTo>
                    <a:pt x="71" y="49"/>
                  </a:lnTo>
                  <a:lnTo>
                    <a:pt x="70" y="50"/>
                  </a:lnTo>
                  <a:lnTo>
                    <a:pt x="68" y="53"/>
                  </a:lnTo>
                  <a:lnTo>
                    <a:pt x="68" y="54"/>
                  </a:lnTo>
                  <a:lnTo>
                    <a:pt x="73" y="57"/>
                  </a:lnTo>
                  <a:lnTo>
                    <a:pt x="74" y="59"/>
                  </a:lnTo>
                  <a:lnTo>
                    <a:pt x="70" y="60"/>
                  </a:lnTo>
                  <a:lnTo>
                    <a:pt x="65" y="60"/>
                  </a:lnTo>
                  <a:lnTo>
                    <a:pt x="65" y="57"/>
                  </a:lnTo>
                  <a:lnTo>
                    <a:pt x="63" y="57"/>
                  </a:lnTo>
                  <a:lnTo>
                    <a:pt x="59" y="59"/>
                  </a:lnTo>
                  <a:lnTo>
                    <a:pt x="57" y="58"/>
                  </a:lnTo>
                  <a:lnTo>
                    <a:pt x="57" y="55"/>
                  </a:lnTo>
                  <a:lnTo>
                    <a:pt x="56" y="54"/>
                  </a:lnTo>
                  <a:lnTo>
                    <a:pt x="56" y="52"/>
                  </a:lnTo>
                  <a:lnTo>
                    <a:pt x="53" y="52"/>
                  </a:lnTo>
                  <a:lnTo>
                    <a:pt x="52" y="52"/>
                  </a:lnTo>
                  <a:lnTo>
                    <a:pt x="53" y="55"/>
                  </a:lnTo>
                  <a:lnTo>
                    <a:pt x="50" y="56"/>
                  </a:lnTo>
                  <a:lnTo>
                    <a:pt x="49" y="57"/>
                  </a:lnTo>
                  <a:lnTo>
                    <a:pt x="50" y="59"/>
                  </a:lnTo>
                  <a:lnTo>
                    <a:pt x="45" y="65"/>
                  </a:lnTo>
                  <a:lnTo>
                    <a:pt x="46" y="72"/>
                  </a:lnTo>
                  <a:lnTo>
                    <a:pt x="43" y="74"/>
                  </a:lnTo>
                  <a:lnTo>
                    <a:pt x="42" y="73"/>
                  </a:lnTo>
                  <a:lnTo>
                    <a:pt x="36" y="76"/>
                  </a:lnTo>
                  <a:lnTo>
                    <a:pt x="35" y="75"/>
                  </a:lnTo>
                  <a:lnTo>
                    <a:pt x="27" y="61"/>
                  </a:lnTo>
                  <a:lnTo>
                    <a:pt x="24" y="59"/>
                  </a:lnTo>
                  <a:lnTo>
                    <a:pt x="21" y="58"/>
                  </a:lnTo>
                  <a:lnTo>
                    <a:pt x="20" y="56"/>
                  </a:lnTo>
                  <a:lnTo>
                    <a:pt x="22" y="54"/>
                  </a:lnTo>
                  <a:lnTo>
                    <a:pt x="19" y="52"/>
                  </a:lnTo>
                  <a:lnTo>
                    <a:pt x="17" y="55"/>
                  </a:lnTo>
                  <a:lnTo>
                    <a:pt x="14" y="55"/>
                  </a:lnTo>
                  <a:lnTo>
                    <a:pt x="13" y="47"/>
                  </a:lnTo>
                  <a:lnTo>
                    <a:pt x="12" y="46"/>
                  </a:lnTo>
                  <a:lnTo>
                    <a:pt x="12" y="33"/>
                  </a:lnTo>
                  <a:lnTo>
                    <a:pt x="9" y="27"/>
                  </a:lnTo>
                  <a:lnTo>
                    <a:pt x="11" y="26"/>
                  </a:lnTo>
                  <a:lnTo>
                    <a:pt x="6" y="17"/>
                  </a:lnTo>
                  <a:lnTo>
                    <a:pt x="0" y="12"/>
                  </a:lnTo>
                  <a:lnTo>
                    <a:pt x="1" y="10"/>
                  </a:lnTo>
                  <a:lnTo>
                    <a:pt x="2" y="9"/>
                  </a:lnTo>
                  <a:lnTo>
                    <a:pt x="10" y="8"/>
                  </a:lnTo>
                  <a:lnTo>
                    <a:pt x="16" y="9"/>
                  </a:lnTo>
                  <a:lnTo>
                    <a:pt x="20" y="8"/>
                  </a:lnTo>
                  <a:lnTo>
                    <a:pt x="21" y="10"/>
                  </a:lnTo>
                  <a:lnTo>
                    <a:pt x="25" y="15"/>
                  </a:lnTo>
                  <a:lnTo>
                    <a:pt x="29" y="14"/>
                  </a:lnTo>
                  <a:lnTo>
                    <a:pt x="29" y="11"/>
                  </a:lnTo>
                  <a:lnTo>
                    <a:pt x="30" y="10"/>
                  </a:lnTo>
                  <a:lnTo>
                    <a:pt x="33" y="9"/>
                  </a:lnTo>
                  <a:lnTo>
                    <a:pt x="35" y="11"/>
                  </a:lnTo>
                  <a:lnTo>
                    <a:pt x="36" y="9"/>
                  </a:lnTo>
                  <a:lnTo>
                    <a:pt x="39" y="10"/>
                  </a:lnTo>
                  <a:lnTo>
                    <a:pt x="39" y="9"/>
                  </a:lnTo>
                  <a:lnTo>
                    <a:pt x="39" y="9"/>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6" name="甘肃">
              <a:hlinkClick action="ppaction://macro?name=Slide1.甘肃_click" highlightClick="1"/>
              <a:hlinkHover action="ppaction://noaction" highlightClick="1"/>
            </p:cNvPr>
            <p:cNvSpPr>
              <a:spLocks noChangeAspect="1"/>
            </p:cNvSpPr>
            <p:nvPr/>
          </p:nvSpPr>
          <p:spPr bwMode="auto">
            <a:xfrm rot="180000">
              <a:off x="3092628" y="2374436"/>
              <a:ext cx="2045960" cy="1852062"/>
            </a:xfrm>
            <a:custGeom>
              <a:gdLst>
                <a:gd fmla="*/ 5 w 974" name="T0"/>
                <a:gd fmla="*/ 132 h 832" name="T1"/>
                <a:gd fmla="*/ 149 w 974" name="T2"/>
                <a:gd fmla="*/ 53 h 832" name="T3"/>
                <a:gd fmla="*/ 190 w 974" name="T4"/>
                <a:gd fmla="*/ 0 h 832" name="T5"/>
                <a:gd fmla="*/ 245 w 974" name="T6"/>
                <a:gd fmla="*/ 29 h 832" name="T7"/>
                <a:gd fmla="*/ 288 w 974" name="T8"/>
                <a:gd fmla="*/ 169 h 832" name="T9"/>
                <a:gd fmla="*/ 406 w 974" name="T10"/>
                <a:gd fmla="*/ 158 h 832" name="T11"/>
                <a:gd fmla="*/ 425 w 974" name="T12"/>
                <a:gd fmla="*/ 195 h 832" name="T13"/>
                <a:gd fmla="*/ 435 w 974" name="T14"/>
                <a:gd fmla="*/ 272 h 832" name="T15"/>
                <a:gd fmla="*/ 453 w 974" name="T16"/>
                <a:gd fmla="*/ 292 h 832" name="T17"/>
                <a:gd fmla="*/ 569 w 974" name="T18"/>
                <a:gd fmla="*/ 314 h 832" name="T19"/>
                <a:gd fmla="*/ 669 w 974" name="T20"/>
                <a:gd fmla="*/ 308 h 832" name="T21"/>
                <a:gd fmla="*/ 637 w 974" name="T22"/>
                <a:gd fmla="*/ 364 h 832" name="T23"/>
                <a:gd fmla="*/ 673 w 974" name="T24"/>
                <a:gd fmla="*/ 437 h 832" name="T25"/>
                <a:gd fmla="*/ 752 w 974" name="T26"/>
                <a:gd fmla="*/ 541 h 832" name="T27"/>
                <a:gd fmla="*/ 781 w 974" name="T28"/>
                <a:gd fmla="*/ 596 h 832" name="T29"/>
                <a:gd fmla="*/ 822 w 974" name="T30"/>
                <a:gd fmla="*/ 577 h 832" name="T31"/>
                <a:gd fmla="*/ 835 w 974" name="T32"/>
                <a:gd fmla="*/ 530 h 832" name="T33"/>
                <a:gd fmla="*/ 841 w 974" name="T34"/>
                <a:gd fmla="*/ 451 h 832" name="T35"/>
                <a:gd fmla="*/ 877 w 974" name="T36"/>
                <a:gd fmla="*/ 467 h 832" name="T37"/>
                <a:gd fmla="*/ 973 w 974" name="T38"/>
                <a:gd fmla="*/ 536 h 832" name="T39"/>
                <a:gd fmla="*/ 961 w 974" name="T40"/>
                <a:gd fmla="*/ 600 h 832" name="T41"/>
                <a:gd fmla="*/ 911 w 974" name="T42"/>
                <a:gd fmla="*/ 617 h 832" name="T43"/>
                <a:gd fmla="*/ 857 w 974" name="T44"/>
                <a:gd fmla="*/ 624 h 832" name="T45"/>
                <a:gd fmla="*/ 833 w 974" name="T46"/>
                <a:gd fmla="*/ 642 h 832" name="T47"/>
                <a:gd fmla="*/ 841 w 974" name="T48"/>
                <a:gd fmla="*/ 688 h 832" name="T49"/>
                <a:gd fmla="*/ 830 w 974" name="T50"/>
                <a:gd fmla="*/ 747 h 832" name="T51"/>
                <a:gd fmla="*/ 800 w 974" name="T52"/>
                <a:gd fmla="*/ 776 h 832" name="T53"/>
                <a:gd fmla="*/ 765 w 974" name="T54"/>
                <a:gd fmla="*/ 822 h 832" name="T55"/>
                <a:gd fmla="*/ 692 w 974" name="T56"/>
                <a:gd fmla="*/ 814 h 832" name="T57"/>
                <a:gd fmla="*/ 660 w 974" name="T58"/>
                <a:gd fmla="*/ 784 h 832" name="T59"/>
                <a:gd fmla="*/ 606 w 974" name="T60"/>
                <a:gd fmla="*/ 718 h 832" name="T61"/>
                <a:gd fmla="*/ 541 w 974" name="T62"/>
                <a:gd fmla="*/ 722 h 832" name="T63"/>
                <a:gd fmla="*/ 499 w 974" name="T64"/>
                <a:gd fmla="*/ 715 h 832" name="T65"/>
                <a:gd fmla="*/ 467 w 974" name="T66"/>
                <a:gd fmla="*/ 677 h 832" name="T67"/>
                <a:gd fmla="*/ 521 w 974" name="T68"/>
                <a:gd fmla="*/ 687 h 832" name="T69"/>
                <a:gd fmla="*/ 554 w 974" name="T70"/>
                <a:gd fmla="*/ 624 h 832" name="T71"/>
                <a:gd fmla="*/ 590 w 974" name="T72"/>
                <a:gd fmla="*/ 530 h 832" name="T73"/>
                <a:gd fmla="*/ 517 w 974" name="T74"/>
                <a:gd fmla="*/ 407 h 832" name="T75"/>
                <a:gd fmla="*/ 416 w 974" name="T76"/>
                <a:gd fmla="*/ 358 h 832" name="T77"/>
                <a:gd fmla="*/ 298 w 974" name="T78"/>
                <a:gd fmla="*/ 286 h 832" name="T79"/>
                <a:gd fmla="*/ 181 w 974" name="T80"/>
                <a:gd fmla="*/ 318 h 832" name="T81"/>
                <a:gd fmla="*/ 95 w 974" name="T82"/>
                <a:gd fmla="*/ 281 h 832" name="T8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b="b" l="0" r="r" t="0"/>
              <a:pathLst>
                <a:path h="832" w="974">
                  <a:moveTo>
                    <a:pt x="9" y="261"/>
                  </a:moveTo>
                  <a:lnTo>
                    <a:pt x="0" y="155"/>
                  </a:lnTo>
                  <a:lnTo>
                    <a:pt x="5" y="132"/>
                  </a:lnTo>
                  <a:lnTo>
                    <a:pt x="37" y="118"/>
                  </a:lnTo>
                  <a:lnTo>
                    <a:pt x="81" y="81"/>
                  </a:lnTo>
                  <a:lnTo>
                    <a:pt x="149" y="53"/>
                  </a:lnTo>
                  <a:lnTo>
                    <a:pt x="179" y="41"/>
                  </a:lnTo>
                  <a:lnTo>
                    <a:pt x="179" y="14"/>
                  </a:lnTo>
                  <a:lnTo>
                    <a:pt x="190" y="0"/>
                  </a:lnTo>
                  <a:lnTo>
                    <a:pt x="202" y="1"/>
                  </a:lnTo>
                  <a:lnTo>
                    <a:pt x="248" y="9"/>
                  </a:lnTo>
                  <a:lnTo>
                    <a:pt x="245" y="29"/>
                  </a:lnTo>
                  <a:lnTo>
                    <a:pt x="255" y="60"/>
                  </a:lnTo>
                  <a:lnTo>
                    <a:pt x="249" y="112"/>
                  </a:lnTo>
                  <a:lnTo>
                    <a:pt x="288" y="169"/>
                  </a:lnTo>
                  <a:lnTo>
                    <a:pt x="308" y="182"/>
                  </a:lnTo>
                  <a:lnTo>
                    <a:pt x="341" y="158"/>
                  </a:lnTo>
                  <a:lnTo>
                    <a:pt x="406" y="158"/>
                  </a:lnTo>
                  <a:lnTo>
                    <a:pt x="423" y="164"/>
                  </a:lnTo>
                  <a:lnTo>
                    <a:pt x="433" y="179"/>
                  </a:lnTo>
                  <a:lnTo>
                    <a:pt x="425" y="195"/>
                  </a:lnTo>
                  <a:lnTo>
                    <a:pt x="388" y="226"/>
                  </a:lnTo>
                  <a:lnTo>
                    <a:pt x="392" y="240"/>
                  </a:lnTo>
                  <a:lnTo>
                    <a:pt x="435" y="272"/>
                  </a:lnTo>
                  <a:lnTo>
                    <a:pt x="451" y="272"/>
                  </a:lnTo>
                  <a:lnTo>
                    <a:pt x="456" y="278"/>
                  </a:lnTo>
                  <a:lnTo>
                    <a:pt x="453" y="292"/>
                  </a:lnTo>
                  <a:lnTo>
                    <a:pt x="479" y="312"/>
                  </a:lnTo>
                  <a:lnTo>
                    <a:pt x="540" y="322"/>
                  </a:lnTo>
                  <a:lnTo>
                    <a:pt x="569" y="314"/>
                  </a:lnTo>
                  <a:lnTo>
                    <a:pt x="606" y="277"/>
                  </a:lnTo>
                  <a:lnTo>
                    <a:pt x="651" y="280"/>
                  </a:lnTo>
                  <a:lnTo>
                    <a:pt x="669" y="308"/>
                  </a:lnTo>
                  <a:lnTo>
                    <a:pt x="659" y="333"/>
                  </a:lnTo>
                  <a:lnTo>
                    <a:pt x="661" y="349"/>
                  </a:lnTo>
                  <a:lnTo>
                    <a:pt x="637" y="364"/>
                  </a:lnTo>
                  <a:lnTo>
                    <a:pt x="626" y="377"/>
                  </a:lnTo>
                  <a:lnTo>
                    <a:pt x="631" y="408"/>
                  </a:lnTo>
                  <a:lnTo>
                    <a:pt x="673" y="437"/>
                  </a:lnTo>
                  <a:lnTo>
                    <a:pt x="692" y="434"/>
                  </a:lnTo>
                  <a:lnTo>
                    <a:pt x="741" y="495"/>
                  </a:lnTo>
                  <a:lnTo>
                    <a:pt x="752" y="541"/>
                  </a:lnTo>
                  <a:lnTo>
                    <a:pt x="746" y="563"/>
                  </a:lnTo>
                  <a:lnTo>
                    <a:pt x="781" y="581"/>
                  </a:lnTo>
                  <a:lnTo>
                    <a:pt x="781" y="596"/>
                  </a:lnTo>
                  <a:lnTo>
                    <a:pt x="812" y="603"/>
                  </a:lnTo>
                  <a:lnTo>
                    <a:pt x="822" y="603"/>
                  </a:lnTo>
                  <a:lnTo>
                    <a:pt x="822" y="577"/>
                  </a:lnTo>
                  <a:lnTo>
                    <a:pt x="847" y="574"/>
                  </a:lnTo>
                  <a:lnTo>
                    <a:pt x="852" y="543"/>
                  </a:lnTo>
                  <a:lnTo>
                    <a:pt x="835" y="530"/>
                  </a:lnTo>
                  <a:lnTo>
                    <a:pt x="822" y="517"/>
                  </a:lnTo>
                  <a:lnTo>
                    <a:pt x="828" y="457"/>
                  </a:lnTo>
                  <a:lnTo>
                    <a:pt x="841" y="451"/>
                  </a:lnTo>
                  <a:lnTo>
                    <a:pt x="863" y="460"/>
                  </a:lnTo>
                  <a:lnTo>
                    <a:pt x="872" y="456"/>
                  </a:lnTo>
                  <a:lnTo>
                    <a:pt x="877" y="467"/>
                  </a:lnTo>
                  <a:lnTo>
                    <a:pt x="938" y="497"/>
                  </a:lnTo>
                  <a:lnTo>
                    <a:pt x="969" y="517"/>
                  </a:lnTo>
                  <a:lnTo>
                    <a:pt x="973" y="536"/>
                  </a:lnTo>
                  <a:lnTo>
                    <a:pt x="958" y="559"/>
                  </a:lnTo>
                  <a:lnTo>
                    <a:pt x="967" y="587"/>
                  </a:lnTo>
                  <a:lnTo>
                    <a:pt x="961" y="600"/>
                  </a:lnTo>
                  <a:lnTo>
                    <a:pt x="917" y="603"/>
                  </a:lnTo>
                  <a:lnTo>
                    <a:pt x="908" y="610"/>
                  </a:lnTo>
                  <a:lnTo>
                    <a:pt x="911" y="617"/>
                  </a:lnTo>
                  <a:lnTo>
                    <a:pt x="911" y="629"/>
                  </a:lnTo>
                  <a:lnTo>
                    <a:pt x="876" y="634"/>
                  </a:lnTo>
                  <a:lnTo>
                    <a:pt x="857" y="624"/>
                  </a:lnTo>
                  <a:lnTo>
                    <a:pt x="833" y="624"/>
                  </a:lnTo>
                  <a:lnTo>
                    <a:pt x="830" y="629"/>
                  </a:lnTo>
                  <a:lnTo>
                    <a:pt x="833" y="642"/>
                  </a:lnTo>
                  <a:lnTo>
                    <a:pt x="822" y="656"/>
                  </a:lnTo>
                  <a:lnTo>
                    <a:pt x="819" y="670"/>
                  </a:lnTo>
                  <a:lnTo>
                    <a:pt x="841" y="688"/>
                  </a:lnTo>
                  <a:lnTo>
                    <a:pt x="824" y="722"/>
                  </a:lnTo>
                  <a:lnTo>
                    <a:pt x="831" y="738"/>
                  </a:lnTo>
                  <a:lnTo>
                    <a:pt x="830" y="747"/>
                  </a:lnTo>
                  <a:lnTo>
                    <a:pt x="804" y="747"/>
                  </a:lnTo>
                  <a:lnTo>
                    <a:pt x="785" y="755"/>
                  </a:lnTo>
                  <a:lnTo>
                    <a:pt x="800" y="776"/>
                  </a:lnTo>
                  <a:lnTo>
                    <a:pt x="790" y="802"/>
                  </a:lnTo>
                  <a:lnTo>
                    <a:pt x="762" y="808"/>
                  </a:lnTo>
                  <a:lnTo>
                    <a:pt x="765" y="822"/>
                  </a:lnTo>
                  <a:lnTo>
                    <a:pt x="757" y="831"/>
                  </a:lnTo>
                  <a:lnTo>
                    <a:pt x="710" y="827"/>
                  </a:lnTo>
                  <a:lnTo>
                    <a:pt x="692" y="814"/>
                  </a:lnTo>
                  <a:lnTo>
                    <a:pt x="688" y="784"/>
                  </a:lnTo>
                  <a:lnTo>
                    <a:pt x="676" y="773"/>
                  </a:lnTo>
                  <a:lnTo>
                    <a:pt x="660" y="784"/>
                  </a:lnTo>
                  <a:lnTo>
                    <a:pt x="631" y="755"/>
                  </a:lnTo>
                  <a:lnTo>
                    <a:pt x="608" y="739"/>
                  </a:lnTo>
                  <a:lnTo>
                    <a:pt x="606" y="718"/>
                  </a:lnTo>
                  <a:lnTo>
                    <a:pt x="599" y="702"/>
                  </a:lnTo>
                  <a:lnTo>
                    <a:pt x="587" y="702"/>
                  </a:lnTo>
                  <a:lnTo>
                    <a:pt x="541" y="722"/>
                  </a:lnTo>
                  <a:lnTo>
                    <a:pt x="544" y="744"/>
                  </a:lnTo>
                  <a:lnTo>
                    <a:pt x="526" y="744"/>
                  </a:lnTo>
                  <a:lnTo>
                    <a:pt x="499" y="715"/>
                  </a:lnTo>
                  <a:lnTo>
                    <a:pt x="469" y="713"/>
                  </a:lnTo>
                  <a:lnTo>
                    <a:pt x="458" y="696"/>
                  </a:lnTo>
                  <a:lnTo>
                    <a:pt x="467" y="677"/>
                  </a:lnTo>
                  <a:lnTo>
                    <a:pt x="485" y="694"/>
                  </a:lnTo>
                  <a:lnTo>
                    <a:pt x="505" y="701"/>
                  </a:lnTo>
                  <a:lnTo>
                    <a:pt x="521" y="687"/>
                  </a:lnTo>
                  <a:lnTo>
                    <a:pt x="521" y="656"/>
                  </a:lnTo>
                  <a:lnTo>
                    <a:pt x="540" y="638"/>
                  </a:lnTo>
                  <a:lnTo>
                    <a:pt x="554" y="624"/>
                  </a:lnTo>
                  <a:lnTo>
                    <a:pt x="547" y="605"/>
                  </a:lnTo>
                  <a:lnTo>
                    <a:pt x="584" y="576"/>
                  </a:lnTo>
                  <a:lnTo>
                    <a:pt x="590" y="530"/>
                  </a:lnTo>
                  <a:lnTo>
                    <a:pt x="573" y="507"/>
                  </a:lnTo>
                  <a:lnTo>
                    <a:pt x="564" y="467"/>
                  </a:lnTo>
                  <a:lnTo>
                    <a:pt x="517" y="407"/>
                  </a:lnTo>
                  <a:lnTo>
                    <a:pt x="493" y="415"/>
                  </a:lnTo>
                  <a:lnTo>
                    <a:pt x="461" y="386"/>
                  </a:lnTo>
                  <a:lnTo>
                    <a:pt x="416" y="358"/>
                  </a:lnTo>
                  <a:lnTo>
                    <a:pt x="397" y="314"/>
                  </a:lnTo>
                  <a:lnTo>
                    <a:pt x="363" y="327"/>
                  </a:lnTo>
                  <a:lnTo>
                    <a:pt x="298" y="286"/>
                  </a:lnTo>
                  <a:lnTo>
                    <a:pt x="266" y="302"/>
                  </a:lnTo>
                  <a:lnTo>
                    <a:pt x="218" y="296"/>
                  </a:lnTo>
                  <a:lnTo>
                    <a:pt x="181" y="318"/>
                  </a:lnTo>
                  <a:lnTo>
                    <a:pt x="158" y="319"/>
                  </a:lnTo>
                  <a:lnTo>
                    <a:pt x="119" y="297"/>
                  </a:lnTo>
                  <a:lnTo>
                    <a:pt x="95" y="281"/>
                  </a:lnTo>
                  <a:lnTo>
                    <a:pt x="9" y="261"/>
                  </a:lnTo>
                  <a:lnTo>
                    <a:pt x="9" y="261"/>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7" name="河北">
              <a:hlinkClick action="ppaction://macro?name=Slide1.河北_click" highlightClick="1"/>
              <a:hlinkHover action="ppaction://noaction" highlightClick="1"/>
            </p:cNvPr>
            <p:cNvSpPr>
              <a:spLocks noChangeAspect="1"/>
            </p:cNvSpPr>
            <p:nvPr/>
          </p:nvSpPr>
          <p:spPr bwMode="auto">
            <a:xfrm rot="180000">
              <a:off x="5766368" y="2363391"/>
              <a:ext cx="814444" cy="1208831"/>
            </a:xfrm>
            <a:custGeom>
              <a:gdLst>
                <a:gd fmla="*/ 152 w 384" name="T0"/>
                <a:gd fmla="*/ 534 h 552" name="T1"/>
                <a:gd fmla="*/ 185 w 384" name="T2"/>
                <a:gd fmla="*/ 431 h 552" name="T3"/>
                <a:gd fmla="*/ 255 w 384" name="T4"/>
                <a:gd fmla="*/ 385 h 552" name="T5"/>
                <a:gd fmla="*/ 272 w 384" name="T6"/>
                <a:gd fmla="*/ 344 h 552" name="T7"/>
                <a:gd fmla="*/ 241 w 384" name="T8"/>
                <a:gd fmla="*/ 327 h 552" name="T9"/>
                <a:gd fmla="*/ 203 w 384" name="T10"/>
                <a:gd fmla="*/ 308 h 552" name="T11"/>
                <a:gd fmla="*/ 183 w 384" name="T12"/>
                <a:gd fmla="*/ 257 h 552" name="T13"/>
                <a:gd fmla="*/ 149 w 384" name="T14"/>
                <a:gd fmla="*/ 261 h 552" name="T15"/>
                <a:gd fmla="*/ 111 w 384" name="T16"/>
                <a:gd fmla="*/ 251 h 552" name="T17"/>
                <a:gd fmla="*/ 138 w 384" name="T18"/>
                <a:gd fmla="*/ 195 h 552" name="T19"/>
                <a:gd fmla="*/ 168 w 384" name="T20"/>
                <a:gd fmla="*/ 141 h 552" name="T21"/>
                <a:gd fmla="*/ 221 w 384" name="T22"/>
                <a:gd fmla="*/ 164 h 552" name="T23"/>
                <a:gd fmla="*/ 242 w 384" name="T24"/>
                <a:gd fmla="*/ 200 h 552" name="T25"/>
                <a:gd fmla="*/ 245 w 384" name="T26"/>
                <a:gd fmla="*/ 233 h 552" name="T27"/>
                <a:gd fmla="*/ 275 w 384" name="T28"/>
                <a:gd fmla="*/ 265 h 552" name="T29"/>
                <a:gd fmla="*/ 351 w 384" name="T30"/>
                <a:gd fmla="*/ 246 h 552" name="T31"/>
                <a:gd fmla="*/ 383 w 384" name="T32"/>
                <a:gd fmla="*/ 183 h 552" name="T33"/>
                <a:gd fmla="*/ 343 w 384" name="T34"/>
                <a:gd fmla="*/ 150 h 552" name="T35"/>
                <a:gd fmla="*/ 323 w 384" name="T36"/>
                <a:gd fmla="*/ 97 h 552" name="T37"/>
                <a:gd fmla="*/ 255 w 384" name="T38"/>
                <a:gd fmla="*/ 61 h 552" name="T39"/>
                <a:gd fmla="*/ 217 w 384" name="T40"/>
                <a:gd fmla="*/ 0 h 552" name="T41"/>
                <a:gd fmla="*/ 168 w 384" name="T42"/>
                <a:gd fmla="*/ 35 h 552" name="T43"/>
                <a:gd fmla="*/ 170 w 384" name="T44"/>
                <a:gd fmla="*/ 63 h 552" name="T45"/>
                <a:gd fmla="*/ 123 w 384" name="T46"/>
                <a:gd fmla="*/ 78 h 552" name="T47"/>
                <a:gd fmla="*/ 98 w 384" name="T48"/>
                <a:gd fmla="*/ 86 h 552" name="T49"/>
                <a:gd fmla="*/ 55 w 384" name="T50"/>
                <a:gd fmla="*/ 98 h 552" name="T51"/>
                <a:gd fmla="*/ 44 w 384" name="T52"/>
                <a:gd fmla="*/ 63 h 552" name="T53"/>
                <a:gd fmla="*/ 7 w 384" name="T54"/>
                <a:gd fmla="*/ 113 h 552" name="T55"/>
                <a:gd fmla="*/ 24 w 384" name="T56"/>
                <a:gd fmla="*/ 194 h 552" name="T57"/>
                <a:gd fmla="*/ 44 w 384" name="T58"/>
                <a:gd fmla="*/ 246 h 552" name="T59"/>
                <a:gd fmla="*/ 52 w 384" name="T60"/>
                <a:gd fmla="*/ 304 h 552" name="T61"/>
                <a:gd fmla="*/ 5 w 384" name="T62"/>
                <a:gd fmla="*/ 373 h 552" name="T63"/>
                <a:gd fmla="*/ 50 w 384" name="T64"/>
                <a:gd fmla="*/ 440 h 552" name="T65"/>
                <a:gd fmla="*/ 36 w 384" name="T66"/>
                <a:gd fmla="*/ 484 h 552" name="T67"/>
                <a:gd fmla="*/ 18 w 384" name="T68"/>
                <a:gd fmla="*/ 520 h 552" name="T69"/>
                <a:gd fmla="*/ 109 w 384" name="T70"/>
                <a:gd fmla="*/ 551 h 552" name="T71"/>
                <a:gd fmla="*/ 149 w 384" name="T72"/>
                <a:gd fmla="*/ 543 h 552"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552" w="384">
                  <a:moveTo>
                    <a:pt x="149" y="543"/>
                  </a:moveTo>
                  <a:lnTo>
                    <a:pt x="152" y="534"/>
                  </a:lnTo>
                  <a:lnTo>
                    <a:pt x="140" y="511"/>
                  </a:lnTo>
                  <a:lnTo>
                    <a:pt x="185" y="431"/>
                  </a:lnTo>
                  <a:lnTo>
                    <a:pt x="225" y="394"/>
                  </a:lnTo>
                  <a:lnTo>
                    <a:pt x="255" y="385"/>
                  </a:lnTo>
                  <a:lnTo>
                    <a:pt x="282" y="351"/>
                  </a:lnTo>
                  <a:lnTo>
                    <a:pt x="272" y="344"/>
                  </a:lnTo>
                  <a:lnTo>
                    <a:pt x="262" y="318"/>
                  </a:lnTo>
                  <a:lnTo>
                    <a:pt x="241" y="327"/>
                  </a:lnTo>
                  <a:lnTo>
                    <a:pt x="205" y="317"/>
                  </a:lnTo>
                  <a:lnTo>
                    <a:pt x="203" y="308"/>
                  </a:lnTo>
                  <a:lnTo>
                    <a:pt x="202" y="249"/>
                  </a:lnTo>
                  <a:lnTo>
                    <a:pt x="183" y="257"/>
                  </a:lnTo>
                  <a:lnTo>
                    <a:pt x="172" y="267"/>
                  </a:lnTo>
                  <a:lnTo>
                    <a:pt x="149" y="261"/>
                  </a:lnTo>
                  <a:lnTo>
                    <a:pt x="116" y="265"/>
                  </a:lnTo>
                  <a:lnTo>
                    <a:pt x="111" y="251"/>
                  </a:lnTo>
                  <a:lnTo>
                    <a:pt x="114" y="223"/>
                  </a:lnTo>
                  <a:lnTo>
                    <a:pt x="138" y="195"/>
                  </a:lnTo>
                  <a:lnTo>
                    <a:pt x="143" y="165"/>
                  </a:lnTo>
                  <a:lnTo>
                    <a:pt x="168" y="141"/>
                  </a:lnTo>
                  <a:lnTo>
                    <a:pt x="211" y="164"/>
                  </a:lnTo>
                  <a:lnTo>
                    <a:pt x="221" y="164"/>
                  </a:lnTo>
                  <a:lnTo>
                    <a:pt x="229" y="194"/>
                  </a:lnTo>
                  <a:lnTo>
                    <a:pt x="242" y="200"/>
                  </a:lnTo>
                  <a:lnTo>
                    <a:pt x="248" y="220"/>
                  </a:lnTo>
                  <a:lnTo>
                    <a:pt x="245" y="233"/>
                  </a:lnTo>
                  <a:lnTo>
                    <a:pt x="272" y="251"/>
                  </a:lnTo>
                  <a:lnTo>
                    <a:pt x="275" y="265"/>
                  </a:lnTo>
                  <a:lnTo>
                    <a:pt x="298" y="276"/>
                  </a:lnTo>
                  <a:lnTo>
                    <a:pt x="351" y="246"/>
                  </a:lnTo>
                  <a:lnTo>
                    <a:pt x="351" y="228"/>
                  </a:lnTo>
                  <a:lnTo>
                    <a:pt x="383" y="183"/>
                  </a:lnTo>
                  <a:lnTo>
                    <a:pt x="360" y="151"/>
                  </a:lnTo>
                  <a:lnTo>
                    <a:pt x="343" y="150"/>
                  </a:lnTo>
                  <a:lnTo>
                    <a:pt x="313" y="129"/>
                  </a:lnTo>
                  <a:lnTo>
                    <a:pt x="323" y="97"/>
                  </a:lnTo>
                  <a:lnTo>
                    <a:pt x="275" y="92"/>
                  </a:lnTo>
                  <a:lnTo>
                    <a:pt x="255" y="61"/>
                  </a:lnTo>
                  <a:lnTo>
                    <a:pt x="257" y="45"/>
                  </a:lnTo>
                  <a:lnTo>
                    <a:pt x="217" y="0"/>
                  </a:lnTo>
                  <a:lnTo>
                    <a:pt x="190" y="13"/>
                  </a:lnTo>
                  <a:lnTo>
                    <a:pt x="168" y="35"/>
                  </a:lnTo>
                  <a:lnTo>
                    <a:pt x="176" y="52"/>
                  </a:lnTo>
                  <a:lnTo>
                    <a:pt x="170" y="63"/>
                  </a:lnTo>
                  <a:lnTo>
                    <a:pt x="138" y="64"/>
                  </a:lnTo>
                  <a:lnTo>
                    <a:pt x="123" y="78"/>
                  </a:lnTo>
                  <a:lnTo>
                    <a:pt x="111" y="73"/>
                  </a:lnTo>
                  <a:lnTo>
                    <a:pt x="98" y="86"/>
                  </a:lnTo>
                  <a:lnTo>
                    <a:pt x="68" y="107"/>
                  </a:lnTo>
                  <a:lnTo>
                    <a:pt x="55" y="98"/>
                  </a:lnTo>
                  <a:lnTo>
                    <a:pt x="55" y="68"/>
                  </a:lnTo>
                  <a:lnTo>
                    <a:pt x="44" y="63"/>
                  </a:lnTo>
                  <a:lnTo>
                    <a:pt x="28" y="69"/>
                  </a:lnTo>
                  <a:lnTo>
                    <a:pt x="7" y="113"/>
                  </a:lnTo>
                  <a:lnTo>
                    <a:pt x="0" y="154"/>
                  </a:lnTo>
                  <a:lnTo>
                    <a:pt x="24" y="194"/>
                  </a:lnTo>
                  <a:lnTo>
                    <a:pt x="44" y="212"/>
                  </a:lnTo>
                  <a:lnTo>
                    <a:pt x="44" y="246"/>
                  </a:lnTo>
                  <a:lnTo>
                    <a:pt x="58" y="274"/>
                  </a:lnTo>
                  <a:lnTo>
                    <a:pt x="52" y="304"/>
                  </a:lnTo>
                  <a:lnTo>
                    <a:pt x="20" y="326"/>
                  </a:lnTo>
                  <a:lnTo>
                    <a:pt x="5" y="373"/>
                  </a:lnTo>
                  <a:lnTo>
                    <a:pt x="31" y="403"/>
                  </a:lnTo>
                  <a:lnTo>
                    <a:pt x="50" y="440"/>
                  </a:lnTo>
                  <a:lnTo>
                    <a:pt x="39" y="459"/>
                  </a:lnTo>
                  <a:lnTo>
                    <a:pt x="36" y="484"/>
                  </a:lnTo>
                  <a:lnTo>
                    <a:pt x="24" y="501"/>
                  </a:lnTo>
                  <a:lnTo>
                    <a:pt x="18" y="520"/>
                  </a:lnTo>
                  <a:lnTo>
                    <a:pt x="36" y="541"/>
                  </a:lnTo>
                  <a:lnTo>
                    <a:pt x="109" y="551"/>
                  </a:lnTo>
                  <a:lnTo>
                    <a:pt x="138" y="539"/>
                  </a:lnTo>
                  <a:lnTo>
                    <a:pt x="149" y="543"/>
                  </a:lnTo>
                  <a:lnTo>
                    <a:pt x="149" y="543"/>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8" name="内蒙古">
              <a:hlinkClick action="ppaction://macro?name=Slide1.内蒙古_click" highlightClick="1"/>
              <a:hlinkHover action="ppaction://noaction" highlightClick="1"/>
            </p:cNvPr>
            <p:cNvSpPr>
              <a:spLocks noChangeAspect="1"/>
            </p:cNvSpPr>
            <p:nvPr/>
          </p:nvSpPr>
          <p:spPr bwMode="auto">
            <a:xfrm rot="180000">
              <a:off x="3690122" y="248400"/>
              <a:ext cx="3313601" cy="3164400"/>
            </a:xfrm>
            <a:custGeom>
              <a:gdLst>
                <a:gd fmla="*/ 517 w 1583" name="T0"/>
                <a:gd fmla="*/ 1381 h 1423" name="T1"/>
                <a:gd fmla="*/ 586 w 1583" name="T2"/>
                <a:gd fmla="*/ 1260 h 1423" name="T3"/>
                <a:gd fmla="*/ 635 w 1583" name="T4"/>
                <a:gd fmla="*/ 1373 h 1423" name="T5"/>
                <a:gd fmla="*/ 700 w 1583" name="T6"/>
                <a:gd fmla="*/ 1397 h 1423" name="T7"/>
                <a:gd fmla="*/ 779 w 1583" name="T8"/>
                <a:gd fmla="*/ 1277 h 1423" name="T9"/>
                <a:gd fmla="*/ 862 w 1583" name="T10"/>
                <a:gd fmla="*/ 1235 h 1423" name="T11"/>
                <a:gd fmla="*/ 958 w 1583" name="T12"/>
                <a:gd fmla="*/ 1159 h 1423" name="T13"/>
                <a:gd fmla="*/ 1015 w 1583" name="T14"/>
                <a:gd fmla="*/ 1085 h 1423" name="T15"/>
                <a:gd fmla="*/ 1070 w 1583" name="T16"/>
                <a:gd fmla="*/ 999 h 1423" name="T17"/>
                <a:gd fmla="*/ 1126 w 1583" name="T18"/>
                <a:gd fmla="*/ 1004 h 1423" name="T19"/>
                <a:gd fmla="*/ 1191 w 1583" name="T20"/>
                <a:gd fmla="*/ 983 h 1423" name="T21"/>
                <a:gd fmla="*/ 1272 w 1583" name="T22"/>
                <a:gd fmla="*/ 976 h 1423" name="T23"/>
                <a:gd fmla="*/ 1349 w 1583" name="T24"/>
                <a:gd fmla="*/ 1005 h 1423" name="T25"/>
                <a:gd fmla="*/ 1389 w 1583" name="T26"/>
                <a:gd fmla="*/ 974 h 1423" name="T27"/>
                <a:gd fmla="*/ 1472 w 1583" name="T28"/>
                <a:gd fmla="*/ 898 h 1423" name="T29"/>
                <a:gd fmla="*/ 1543 w 1583" name="T30"/>
                <a:gd fmla="*/ 859 h 1423" name="T31"/>
                <a:gd fmla="*/ 1562 w 1583" name="T32"/>
                <a:gd fmla="*/ 794 h 1423" name="T33"/>
                <a:gd fmla="*/ 1475 w 1583" name="T34"/>
                <a:gd fmla="*/ 745 h 1423" name="T35"/>
                <a:gd fmla="*/ 1454 w 1583" name="T36"/>
                <a:gd fmla="*/ 652 h 1423" name="T37"/>
                <a:gd fmla="*/ 1480 w 1583" name="T38"/>
                <a:gd fmla="*/ 621 h 1423" name="T39"/>
                <a:gd fmla="*/ 1490 w 1583" name="T40"/>
                <a:gd fmla="*/ 546 h 1423" name="T41"/>
                <a:gd fmla="*/ 1490 w 1583" name="T42"/>
                <a:gd fmla="*/ 529 h 1423" name="T43"/>
                <a:gd fmla="*/ 1510 w 1583" name="T44"/>
                <a:gd fmla="*/ 390 h 1423" name="T45"/>
                <a:gd fmla="*/ 1539 w 1583" name="T46"/>
                <a:gd fmla="*/ 404 h 1423" name="T47"/>
                <a:gd fmla="*/ 1552 w 1583" name="T48"/>
                <a:gd fmla="*/ 223 h 1423" name="T49"/>
                <a:gd fmla="*/ 1451 w 1583" name="T50"/>
                <a:gd fmla="*/ 146 h 1423" name="T51"/>
                <a:gd fmla="*/ 1374 w 1583" name="T52"/>
                <a:gd fmla="*/ 98 h 1423" name="T53"/>
                <a:gd fmla="*/ 1297 w 1583" name="T54"/>
                <a:gd fmla="*/ 74 h 1423" name="T55"/>
                <a:gd fmla="*/ 1283 w 1583" name="T56"/>
                <a:gd fmla="*/ 0 h 1423" name="T57"/>
                <a:gd fmla="*/ 1254 w 1583" name="T58"/>
                <a:gd fmla="*/ 74 h 1423" name="T59"/>
                <a:gd fmla="*/ 1215 w 1583" name="T60"/>
                <a:gd fmla="*/ 268 h 1423" name="T61"/>
                <a:gd fmla="*/ 1111 w 1583" name="T62"/>
                <a:gd fmla="*/ 346 h 1423" name="T63"/>
                <a:gd fmla="*/ 1043 w 1583" name="T64"/>
                <a:gd fmla="*/ 484 h 1423" name="T65"/>
                <a:gd fmla="*/ 1150 w 1583" name="T66"/>
                <a:gd fmla="*/ 508 h 1423" name="T67"/>
                <a:gd fmla="*/ 1302 w 1583" name="T68"/>
                <a:gd fmla="*/ 560 h 1423" name="T69"/>
                <a:gd fmla="*/ 1195 w 1583" name="T70"/>
                <a:gd fmla="*/ 604 h 1423" name="T71"/>
                <a:gd fmla="*/ 1108 w 1583" name="T72"/>
                <a:gd fmla="*/ 663 h 1423" name="T73"/>
                <a:gd fmla="*/ 993 w 1583" name="T74"/>
                <a:gd fmla="*/ 767 h 1423" name="T75"/>
                <a:gd fmla="*/ 857 w 1583" name="T76"/>
                <a:gd fmla="*/ 787 h 1423" name="T77"/>
                <a:gd fmla="*/ 827 w 1583" name="T78"/>
                <a:gd fmla="*/ 918 h 1423" name="T79"/>
                <a:gd fmla="*/ 617 w 1583" name="T80"/>
                <a:gd fmla="*/ 1007 h 1423" name="T81"/>
                <a:gd fmla="*/ 438 w 1583" name="T82"/>
                <a:gd fmla="*/ 1062 h 1423" name="T83"/>
                <a:gd fmla="*/ 160 w 1583" name="T84"/>
                <a:gd fmla="*/ 998 h 1423" name="T85"/>
                <a:gd fmla="*/ 10 w 1583" name="T86"/>
                <a:gd fmla="*/ 1045 h 1423" name="T87"/>
                <a:gd fmla="*/ 96 w 1583" name="T88"/>
                <a:gd fmla="*/ 1143 h 1423" name="T89"/>
                <a:gd fmla="*/ 180 w 1583" name="T90"/>
                <a:gd fmla="*/ 1180 h 1423" name="T91"/>
                <a:gd fmla="*/ 206 w 1583" name="T92"/>
                <a:gd fmla="*/ 1257 h 1423" name="T93"/>
                <a:gd fmla="*/ 295 w 1583" name="T94"/>
                <a:gd fmla="*/ 1307 h 1423" name="T95"/>
                <a:gd fmla="*/ 424 w 1583" name="T96"/>
                <a:gd fmla="*/ 1293 h 1423" name="T97"/>
                <a:gd fmla="*/ 381 w 1583" name="T98"/>
                <a:gd fmla="*/ 1362 h 1423" name="T99"/>
                <a:gd fmla="*/ 447 w 1583" name="T100"/>
                <a:gd fmla="*/ 1419 h 1423" name="T10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b="b" l="0" r="r" t="0"/>
              <a:pathLst>
                <a:path h="1423" w="1583">
                  <a:moveTo>
                    <a:pt x="447" y="1419"/>
                  </a:moveTo>
                  <a:lnTo>
                    <a:pt x="468" y="1413"/>
                  </a:lnTo>
                  <a:lnTo>
                    <a:pt x="486" y="1405"/>
                  </a:lnTo>
                  <a:lnTo>
                    <a:pt x="517" y="1381"/>
                  </a:lnTo>
                  <a:lnTo>
                    <a:pt x="524" y="1339"/>
                  </a:lnTo>
                  <a:lnTo>
                    <a:pt x="542" y="1281"/>
                  </a:lnTo>
                  <a:lnTo>
                    <a:pt x="582" y="1254"/>
                  </a:lnTo>
                  <a:lnTo>
                    <a:pt x="586" y="1260"/>
                  </a:lnTo>
                  <a:lnTo>
                    <a:pt x="598" y="1301"/>
                  </a:lnTo>
                  <a:lnTo>
                    <a:pt x="579" y="1326"/>
                  </a:lnTo>
                  <a:lnTo>
                    <a:pt x="576" y="1350"/>
                  </a:lnTo>
                  <a:lnTo>
                    <a:pt x="635" y="1373"/>
                  </a:lnTo>
                  <a:lnTo>
                    <a:pt x="640" y="1390"/>
                  </a:lnTo>
                  <a:lnTo>
                    <a:pt x="675" y="1386"/>
                  </a:lnTo>
                  <a:lnTo>
                    <a:pt x="693" y="1392"/>
                  </a:lnTo>
                  <a:lnTo>
                    <a:pt x="700" y="1397"/>
                  </a:lnTo>
                  <a:lnTo>
                    <a:pt x="761" y="1309"/>
                  </a:lnTo>
                  <a:lnTo>
                    <a:pt x="777" y="1304"/>
                  </a:lnTo>
                  <a:lnTo>
                    <a:pt x="781" y="1293"/>
                  </a:lnTo>
                  <a:lnTo>
                    <a:pt x="779" y="1277"/>
                  </a:lnTo>
                  <a:lnTo>
                    <a:pt x="799" y="1246"/>
                  </a:lnTo>
                  <a:lnTo>
                    <a:pt x="838" y="1245"/>
                  </a:lnTo>
                  <a:lnTo>
                    <a:pt x="852" y="1228"/>
                  </a:lnTo>
                  <a:lnTo>
                    <a:pt x="862" y="1235"/>
                  </a:lnTo>
                  <a:lnTo>
                    <a:pt x="883" y="1217"/>
                  </a:lnTo>
                  <a:lnTo>
                    <a:pt x="897" y="1217"/>
                  </a:lnTo>
                  <a:lnTo>
                    <a:pt x="938" y="1158"/>
                  </a:lnTo>
                  <a:lnTo>
                    <a:pt x="958" y="1159"/>
                  </a:lnTo>
                  <a:lnTo>
                    <a:pt x="984" y="1142"/>
                  </a:lnTo>
                  <a:lnTo>
                    <a:pt x="992" y="1149"/>
                  </a:lnTo>
                  <a:lnTo>
                    <a:pt x="1039" y="1125"/>
                  </a:lnTo>
                  <a:lnTo>
                    <a:pt x="1015" y="1085"/>
                  </a:lnTo>
                  <a:lnTo>
                    <a:pt x="1022" y="1044"/>
                  </a:lnTo>
                  <a:lnTo>
                    <a:pt x="1043" y="1000"/>
                  </a:lnTo>
                  <a:lnTo>
                    <a:pt x="1059" y="994"/>
                  </a:lnTo>
                  <a:lnTo>
                    <a:pt x="1070" y="999"/>
                  </a:lnTo>
                  <a:lnTo>
                    <a:pt x="1070" y="1029"/>
                  </a:lnTo>
                  <a:lnTo>
                    <a:pt x="1083" y="1038"/>
                  </a:lnTo>
                  <a:lnTo>
                    <a:pt x="1113" y="1017"/>
                  </a:lnTo>
                  <a:lnTo>
                    <a:pt x="1126" y="1004"/>
                  </a:lnTo>
                  <a:lnTo>
                    <a:pt x="1138" y="1009"/>
                  </a:lnTo>
                  <a:lnTo>
                    <a:pt x="1153" y="995"/>
                  </a:lnTo>
                  <a:lnTo>
                    <a:pt x="1185" y="994"/>
                  </a:lnTo>
                  <a:lnTo>
                    <a:pt x="1191" y="983"/>
                  </a:lnTo>
                  <a:lnTo>
                    <a:pt x="1183" y="966"/>
                  </a:lnTo>
                  <a:lnTo>
                    <a:pt x="1205" y="944"/>
                  </a:lnTo>
                  <a:lnTo>
                    <a:pt x="1232" y="931"/>
                  </a:lnTo>
                  <a:lnTo>
                    <a:pt x="1272" y="976"/>
                  </a:lnTo>
                  <a:lnTo>
                    <a:pt x="1270" y="992"/>
                  </a:lnTo>
                  <a:lnTo>
                    <a:pt x="1290" y="1023"/>
                  </a:lnTo>
                  <a:lnTo>
                    <a:pt x="1338" y="1028"/>
                  </a:lnTo>
                  <a:lnTo>
                    <a:pt x="1349" y="1005"/>
                  </a:lnTo>
                  <a:lnTo>
                    <a:pt x="1336" y="940"/>
                  </a:lnTo>
                  <a:lnTo>
                    <a:pt x="1348" y="928"/>
                  </a:lnTo>
                  <a:lnTo>
                    <a:pt x="1370" y="944"/>
                  </a:lnTo>
                  <a:lnTo>
                    <a:pt x="1389" y="974"/>
                  </a:lnTo>
                  <a:lnTo>
                    <a:pt x="1422" y="926"/>
                  </a:lnTo>
                  <a:lnTo>
                    <a:pt x="1437" y="921"/>
                  </a:lnTo>
                  <a:lnTo>
                    <a:pt x="1461" y="898"/>
                  </a:lnTo>
                  <a:lnTo>
                    <a:pt x="1472" y="898"/>
                  </a:lnTo>
                  <a:lnTo>
                    <a:pt x="1491" y="878"/>
                  </a:lnTo>
                  <a:lnTo>
                    <a:pt x="1503" y="878"/>
                  </a:lnTo>
                  <a:lnTo>
                    <a:pt x="1514" y="859"/>
                  </a:lnTo>
                  <a:lnTo>
                    <a:pt x="1543" y="859"/>
                  </a:lnTo>
                  <a:lnTo>
                    <a:pt x="1569" y="833"/>
                  </a:lnTo>
                  <a:lnTo>
                    <a:pt x="1582" y="820"/>
                  </a:lnTo>
                  <a:lnTo>
                    <a:pt x="1582" y="806"/>
                  </a:lnTo>
                  <a:lnTo>
                    <a:pt x="1562" y="794"/>
                  </a:lnTo>
                  <a:lnTo>
                    <a:pt x="1562" y="767"/>
                  </a:lnTo>
                  <a:lnTo>
                    <a:pt x="1523" y="719"/>
                  </a:lnTo>
                  <a:lnTo>
                    <a:pt x="1486" y="754"/>
                  </a:lnTo>
                  <a:lnTo>
                    <a:pt x="1475" y="745"/>
                  </a:lnTo>
                  <a:lnTo>
                    <a:pt x="1473" y="726"/>
                  </a:lnTo>
                  <a:lnTo>
                    <a:pt x="1459" y="703"/>
                  </a:lnTo>
                  <a:lnTo>
                    <a:pt x="1454" y="678"/>
                  </a:lnTo>
                  <a:lnTo>
                    <a:pt x="1454" y="652"/>
                  </a:lnTo>
                  <a:lnTo>
                    <a:pt x="1428" y="633"/>
                  </a:lnTo>
                  <a:lnTo>
                    <a:pt x="1425" y="623"/>
                  </a:lnTo>
                  <a:lnTo>
                    <a:pt x="1432" y="607"/>
                  </a:lnTo>
                  <a:lnTo>
                    <a:pt x="1480" y="621"/>
                  </a:lnTo>
                  <a:lnTo>
                    <a:pt x="1483" y="599"/>
                  </a:lnTo>
                  <a:lnTo>
                    <a:pt x="1499" y="578"/>
                  </a:lnTo>
                  <a:lnTo>
                    <a:pt x="1488" y="567"/>
                  </a:lnTo>
                  <a:lnTo>
                    <a:pt x="1490" y="546"/>
                  </a:lnTo>
                  <a:lnTo>
                    <a:pt x="1514" y="536"/>
                  </a:lnTo>
                  <a:lnTo>
                    <a:pt x="1519" y="529"/>
                  </a:lnTo>
                  <a:lnTo>
                    <a:pt x="1515" y="521"/>
                  </a:lnTo>
                  <a:lnTo>
                    <a:pt x="1490" y="529"/>
                  </a:lnTo>
                  <a:lnTo>
                    <a:pt x="1444" y="496"/>
                  </a:lnTo>
                  <a:lnTo>
                    <a:pt x="1442" y="487"/>
                  </a:lnTo>
                  <a:lnTo>
                    <a:pt x="1464" y="459"/>
                  </a:lnTo>
                  <a:lnTo>
                    <a:pt x="1510" y="390"/>
                  </a:lnTo>
                  <a:lnTo>
                    <a:pt x="1514" y="382"/>
                  </a:lnTo>
                  <a:lnTo>
                    <a:pt x="1521" y="382"/>
                  </a:lnTo>
                  <a:lnTo>
                    <a:pt x="1536" y="401"/>
                  </a:lnTo>
                  <a:lnTo>
                    <a:pt x="1539" y="404"/>
                  </a:lnTo>
                  <a:lnTo>
                    <a:pt x="1542" y="318"/>
                  </a:lnTo>
                  <a:lnTo>
                    <a:pt x="1557" y="310"/>
                  </a:lnTo>
                  <a:lnTo>
                    <a:pt x="1557" y="277"/>
                  </a:lnTo>
                  <a:lnTo>
                    <a:pt x="1552" y="223"/>
                  </a:lnTo>
                  <a:lnTo>
                    <a:pt x="1571" y="149"/>
                  </a:lnTo>
                  <a:lnTo>
                    <a:pt x="1515" y="107"/>
                  </a:lnTo>
                  <a:lnTo>
                    <a:pt x="1473" y="142"/>
                  </a:lnTo>
                  <a:lnTo>
                    <a:pt x="1451" y="146"/>
                  </a:lnTo>
                  <a:lnTo>
                    <a:pt x="1440" y="157"/>
                  </a:lnTo>
                  <a:lnTo>
                    <a:pt x="1403" y="151"/>
                  </a:lnTo>
                  <a:lnTo>
                    <a:pt x="1385" y="130"/>
                  </a:lnTo>
                  <a:lnTo>
                    <a:pt x="1374" y="98"/>
                  </a:lnTo>
                  <a:lnTo>
                    <a:pt x="1375" y="85"/>
                  </a:lnTo>
                  <a:lnTo>
                    <a:pt x="1346" y="66"/>
                  </a:lnTo>
                  <a:lnTo>
                    <a:pt x="1329" y="93"/>
                  </a:lnTo>
                  <a:lnTo>
                    <a:pt x="1297" y="74"/>
                  </a:lnTo>
                  <a:lnTo>
                    <a:pt x="1292" y="69"/>
                  </a:lnTo>
                  <a:lnTo>
                    <a:pt x="1311" y="20"/>
                  </a:lnTo>
                  <a:lnTo>
                    <a:pt x="1296" y="0"/>
                  </a:lnTo>
                  <a:lnTo>
                    <a:pt x="1283" y="0"/>
                  </a:lnTo>
                  <a:lnTo>
                    <a:pt x="1249" y="24"/>
                  </a:lnTo>
                  <a:lnTo>
                    <a:pt x="1222" y="64"/>
                  </a:lnTo>
                  <a:lnTo>
                    <a:pt x="1234" y="71"/>
                  </a:lnTo>
                  <a:lnTo>
                    <a:pt x="1254" y="74"/>
                  </a:lnTo>
                  <a:lnTo>
                    <a:pt x="1270" y="116"/>
                  </a:lnTo>
                  <a:lnTo>
                    <a:pt x="1260" y="133"/>
                  </a:lnTo>
                  <a:lnTo>
                    <a:pt x="1244" y="157"/>
                  </a:lnTo>
                  <a:lnTo>
                    <a:pt x="1215" y="268"/>
                  </a:lnTo>
                  <a:lnTo>
                    <a:pt x="1226" y="287"/>
                  </a:lnTo>
                  <a:lnTo>
                    <a:pt x="1217" y="303"/>
                  </a:lnTo>
                  <a:lnTo>
                    <a:pt x="1148" y="353"/>
                  </a:lnTo>
                  <a:lnTo>
                    <a:pt x="1111" y="346"/>
                  </a:lnTo>
                  <a:lnTo>
                    <a:pt x="1090" y="338"/>
                  </a:lnTo>
                  <a:lnTo>
                    <a:pt x="1088" y="349"/>
                  </a:lnTo>
                  <a:lnTo>
                    <a:pt x="1058" y="469"/>
                  </a:lnTo>
                  <a:lnTo>
                    <a:pt x="1043" y="484"/>
                  </a:lnTo>
                  <a:lnTo>
                    <a:pt x="1051" y="505"/>
                  </a:lnTo>
                  <a:lnTo>
                    <a:pt x="1068" y="521"/>
                  </a:lnTo>
                  <a:lnTo>
                    <a:pt x="1099" y="505"/>
                  </a:lnTo>
                  <a:lnTo>
                    <a:pt x="1150" y="508"/>
                  </a:lnTo>
                  <a:lnTo>
                    <a:pt x="1164" y="484"/>
                  </a:lnTo>
                  <a:lnTo>
                    <a:pt x="1191" y="478"/>
                  </a:lnTo>
                  <a:lnTo>
                    <a:pt x="1240" y="496"/>
                  </a:lnTo>
                  <a:lnTo>
                    <a:pt x="1302" y="560"/>
                  </a:lnTo>
                  <a:lnTo>
                    <a:pt x="1302" y="573"/>
                  </a:lnTo>
                  <a:lnTo>
                    <a:pt x="1288" y="582"/>
                  </a:lnTo>
                  <a:lnTo>
                    <a:pt x="1218" y="585"/>
                  </a:lnTo>
                  <a:lnTo>
                    <a:pt x="1195" y="604"/>
                  </a:lnTo>
                  <a:lnTo>
                    <a:pt x="1177" y="602"/>
                  </a:lnTo>
                  <a:lnTo>
                    <a:pt x="1164" y="623"/>
                  </a:lnTo>
                  <a:lnTo>
                    <a:pt x="1129" y="630"/>
                  </a:lnTo>
                  <a:lnTo>
                    <a:pt x="1108" y="663"/>
                  </a:lnTo>
                  <a:lnTo>
                    <a:pt x="1104" y="687"/>
                  </a:lnTo>
                  <a:lnTo>
                    <a:pt x="1056" y="719"/>
                  </a:lnTo>
                  <a:lnTo>
                    <a:pt x="1025" y="721"/>
                  </a:lnTo>
                  <a:lnTo>
                    <a:pt x="993" y="767"/>
                  </a:lnTo>
                  <a:lnTo>
                    <a:pt x="961" y="786"/>
                  </a:lnTo>
                  <a:lnTo>
                    <a:pt x="901" y="772"/>
                  </a:lnTo>
                  <a:lnTo>
                    <a:pt x="881" y="763"/>
                  </a:lnTo>
                  <a:lnTo>
                    <a:pt x="857" y="787"/>
                  </a:lnTo>
                  <a:lnTo>
                    <a:pt x="845" y="830"/>
                  </a:lnTo>
                  <a:lnTo>
                    <a:pt x="878" y="878"/>
                  </a:lnTo>
                  <a:lnTo>
                    <a:pt x="857" y="900"/>
                  </a:lnTo>
                  <a:lnTo>
                    <a:pt x="827" y="918"/>
                  </a:lnTo>
                  <a:lnTo>
                    <a:pt x="783" y="974"/>
                  </a:lnTo>
                  <a:lnTo>
                    <a:pt x="724" y="999"/>
                  </a:lnTo>
                  <a:lnTo>
                    <a:pt x="631" y="1009"/>
                  </a:lnTo>
                  <a:lnTo>
                    <a:pt x="617" y="1007"/>
                  </a:lnTo>
                  <a:lnTo>
                    <a:pt x="507" y="1053"/>
                  </a:lnTo>
                  <a:lnTo>
                    <a:pt x="457" y="1085"/>
                  </a:lnTo>
                  <a:lnTo>
                    <a:pt x="443" y="1077"/>
                  </a:lnTo>
                  <a:lnTo>
                    <a:pt x="438" y="1062"/>
                  </a:lnTo>
                  <a:lnTo>
                    <a:pt x="371" y="1058"/>
                  </a:lnTo>
                  <a:lnTo>
                    <a:pt x="293" y="1035"/>
                  </a:lnTo>
                  <a:lnTo>
                    <a:pt x="272" y="1011"/>
                  </a:lnTo>
                  <a:lnTo>
                    <a:pt x="160" y="998"/>
                  </a:lnTo>
                  <a:lnTo>
                    <a:pt x="139" y="1007"/>
                  </a:lnTo>
                  <a:lnTo>
                    <a:pt x="3" y="994"/>
                  </a:lnTo>
                  <a:lnTo>
                    <a:pt x="0" y="1014"/>
                  </a:lnTo>
                  <a:lnTo>
                    <a:pt x="10" y="1045"/>
                  </a:lnTo>
                  <a:lnTo>
                    <a:pt x="4" y="1097"/>
                  </a:lnTo>
                  <a:lnTo>
                    <a:pt x="43" y="1154"/>
                  </a:lnTo>
                  <a:lnTo>
                    <a:pt x="63" y="1167"/>
                  </a:lnTo>
                  <a:lnTo>
                    <a:pt x="96" y="1143"/>
                  </a:lnTo>
                  <a:lnTo>
                    <a:pt x="161" y="1143"/>
                  </a:lnTo>
                  <a:lnTo>
                    <a:pt x="178" y="1149"/>
                  </a:lnTo>
                  <a:lnTo>
                    <a:pt x="188" y="1164"/>
                  </a:lnTo>
                  <a:lnTo>
                    <a:pt x="180" y="1180"/>
                  </a:lnTo>
                  <a:lnTo>
                    <a:pt x="143" y="1211"/>
                  </a:lnTo>
                  <a:lnTo>
                    <a:pt x="147" y="1225"/>
                  </a:lnTo>
                  <a:lnTo>
                    <a:pt x="190" y="1257"/>
                  </a:lnTo>
                  <a:lnTo>
                    <a:pt x="206" y="1257"/>
                  </a:lnTo>
                  <a:lnTo>
                    <a:pt x="211" y="1263"/>
                  </a:lnTo>
                  <a:lnTo>
                    <a:pt x="208" y="1277"/>
                  </a:lnTo>
                  <a:lnTo>
                    <a:pt x="234" y="1297"/>
                  </a:lnTo>
                  <a:lnTo>
                    <a:pt x="295" y="1307"/>
                  </a:lnTo>
                  <a:lnTo>
                    <a:pt x="324" y="1299"/>
                  </a:lnTo>
                  <a:lnTo>
                    <a:pt x="361" y="1262"/>
                  </a:lnTo>
                  <a:lnTo>
                    <a:pt x="406" y="1265"/>
                  </a:lnTo>
                  <a:lnTo>
                    <a:pt x="424" y="1293"/>
                  </a:lnTo>
                  <a:lnTo>
                    <a:pt x="414" y="1318"/>
                  </a:lnTo>
                  <a:lnTo>
                    <a:pt x="416" y="1334"/>
                  </a:lnTo>
                  <a:lnTo>
                    <a:pt x="392" y="1349"/>
                  </a:lnTo>
                  <a:lnTo>
                    <a:pt x="381" y="1362"/>
                  </a:lnTo>
                  <a:lnTo>
                    <a:pt x="386" y="1393"/>
                  </a:lnTo>
                  <a:lnTo>
                    <a:pt x="428" y="1422"/>
                  </a:lnTo>
                  <a:lnTo>
                    <a:pt x="447" y="1419"/>
                  </a:lnTo>
                  <a:lnTo>
                    <a:pt x="447" y="1419"/>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09" name="辽宁">
              <a:hlinkClick action="ppaction://macro?name=Slide1.辽宁_click" highlightClick="1"/>
              <a:hlinkHover action="ppaction://noaction" highlightClick="1"/>
            </p:cNvPr>
            <p:cNvSpPr>
              <a:spLocks noChangeAspect="1"/>
            </p:cNvSpPr>
            <p:nvPr/>
          </p:nvSpPr>
          <p:spPr bwMode="auto">
            <a:xfrm rot="180000">
              <a:off x="6429822" y="2107300"/>
              <a:ext cx="883410" cy="876124"/>
            </a:xfrm>
            <a:custGeom>
              <a:gdLst>
                <a:gd fmla="*/ 342 w 413" name="T0"/>
                <a:gd fmla="*/ 277 h 401" name="T1"/>
                <a:gd fmla="*/ 385 w 413" name="T2"/>
                <a:gd fmla="*/ 213 h 401" name="T3"/>
                <a:gd fmla="*/ 412 w 413" name="T4"/>
                <a:gd fmla="*/ 180 h 401" name="T5"/>
                <a:gd fmla="*/ 409 w 413" name="T6"/>
                <a:gd fmla="*/ 150 h 401" name="T7"/>
                <a:gd fmla="*/ 380 w 413" name="T8"/>
                <a:gd fmla="*/ 116 h 401" name="T9"/>
                <a:gd fmla="*/ 376 w 413" name="T10"/>
                <a:gd fmla="*/ 89 h 401" name="T11"/>
                <a:gd fmla="*/ 323 w 413" name="T12"/>
                <a:gd fmla="*/ 16 h 401" name="T13"/>
                <a:gd fmla="*/ 321 w 413" name="T14"/>
                <a:gd fmla="*/ 24 h 401" name="T15"/>
                <a:gd fmla="*/ 310 w 413" name="T16"/>
                <a:gd fmla="*/ 35 h 401" name="T17"/>
                <a:gd fmla="*/ 287 w 413" name="T18"/>
                <a:gd fmla="*/ 10 h 401" name="T19"/>
                <a:gd fmla="*/ 256 w 413" name="T20"/>
                <a:gd fmla="*/ 0 h 401" name="T21"/>
                <a:gd fmla="*/ 254 w 413" name="T22"/>
                <a:gd fmla="*/ 10 h 401" name="T23"/>
                <a:gd fmla="*/ 254 w 413" name="T24"/>
                <a:gd fmla="*/ 24 h 401" name="T25"/>
                <a:gd fmla="*/ 241 w 413" name="T26"/>
                <a:gd fmla="*/ 37 h 401" name="T27"/>
                <a:gd fmla="*/ 215 w 413" name="T28"/>
                <a:gd fmla="*/ 63 h 401" name="T29"/>
                <a:gd fmla="*/ 186 w 413" name="T30"/>
                <a:gd fmla="*/ 63 h 401" name="T31"/>
                <a:gd fmla="*/ 175 w 413" name="T32"/>
                <a:gd fmla="*/ 82 h 401" name="T33"/>
                <a:gd fmla="*/ 163 w 413" name="T34"/>
                <a:gd fmla="*/ 82 h 401" name="T35"/>
                <a:gd fmla="*/ 144 w 413" name="T36"/>
                <a:gd fmla="*/ 102 h 401" name="T37"/>
                <a:gd fmla="*/ 133 w 413" name="T38"/>
                <a:gd fmla="*/ 102 h 401" name="T39"/>
                <a:gd fmla="*/ 109 w 413" name="T40"/>
                <a:gd fmla="*/ 125 h 401" name="T41"/>
                <a:gd fmla="*/ 94 w 413" name="T42"/>
                <a:gd fmla="*/ 130 h 401" name="T43"/>
                <a:gd fmla="*/ 61 w 413" name="T44"/>
                <a:gd fmla="*/ 178 h 401" name="T45"/>
                <a:gd fmla="*/ 42 w 413" name="T46"/>
                <a:gd fmla="*/ 148 h 401" name="T47"/>
                <a:gd fmla="*/ 20 w 413" name="T48"/>
                <a:gd fmla="*/ 132 h 401" name="T49"/>
                <a:gd fmla="*/ 8 w 413" name="T50"/>
                <a:gd fmla="*/ 144 h 401" name="T51"/>
                <a:gd fmla="*/ 21 w 413" name="T52"/>
                <a:gd fmla="*/ 209 h 401" name="T53"/>
                <a:gd fmla="*/ 10 w 413" name="T54"/>
                <a:gd fmla="*/ 232 h 401" name="T55"/>
                <a:gd fmla="*/ 0 w 413" name="T56"/>
                <a:gd fmla="*/ 264 h 401" name="T57"/>
                <a:gd fmla="*/ 30 w 413" name="T58"/>
                <a:gd fmla="*/ 285 h 401" name="T59"/>
                <a:gd fmla="*/ 47 w 413" name="T60"/>
                <a:gd fmla="*/ 286 h 401" name="T61"/>
                <a:gd fmla="*/ 70 w 413" name="T62"/>
                <a:gd fmla="*/ 318 h 401" name="T63"/>
                <a:gd fmla="*/ 86 w 413" name="T64"/>
                <a:gd fmla="*/ 309 h 401" name="T65"/>
                <a:gd fmla="*/ 112 w 413" name="T66"/>
                <a:gd fmla="*/ 277 h 401" name="T67"/>
                <a:gd fmla="*/ 138 w 413" name="T68"/>
                <a:gd fmla="*/ 233 h 401" name="T69"/>
                <a:gd fmla="*/ 182 w 413" name="T70"/>
                <a:gd fmla="*/ 223 h 401" name="T71"/>
                <a:gd fmla="*/ 210 w 413" name="T72"/>
                <a:gd fmla="*/ 252 h 401" name="T73"/>
                <a:gd fmla="*/ 190 w 413" name="T74"/>
                <a:gd fmla="*/ 295 h 401" name="T75"/>
                <a:gd fmla="*/ 163 w 413" name="T76"/>
                <a:gd fmla="*/ 336 h 401" name="T77"/>
                <a:gd fmla="*/ 187 w 413" name="T78"/>
                <a:gd fmla="*/ 353 h 401" name="T79"/>
                <a:gd fmla="*/ 186 w 413" name="T80"/>
                <a:gd fmla="*/ 373 h 401" name="T81"/>
                <a:gd fmla="*/ 167 w 413" name="T82"/>
                <a:gd fmla="*/ 392 h 401" name="T83"/>
                <a:gd fmla="*/ 171 w 413" name="T84"/>
                <a:gd fmla="*/ 400 h 401" name="T85"/>
                <a:gd fmla="*/ 203 w 413" name="T86"/>
                <a:gd fmla="*/ 382 h 401" name="T87"/>
                <a:gd fmla="*/ 249 w 413" name="T88"/>
                <a:gd fmla="*/ 321 h 401" name="T89"/>
                <a:gd fmla="*/ 319 w 413" name="T90"/>
                <a:gd fmla="*/ 282 h 401" name="T91"/>
                <a:gd fmla="*/ 342 w 413" name="T92"/>
                <a:gd fmla="*/ 277 h 401" name="T93"/>
                <a:gd fmla="*/ 342 w 413" name="T94"/>
                <a:gd fmla="*/ 277 h 401" name="T9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b="b" l="0" r="r" t="0"/>
              <a:pathLst>
                <a:path h="401" w="412">
                  <a:moveTo>
                    <a:pt x="342" y="277"/>
                  </a:moveTo>
                  <a:lnTo>
                    <a:pt x="385" y="213"/>
                  </a:lnTo>
                  <a:lnTo>
                    <a:pt x="412" y="180"/>
                  </a:lnTo>
                  <a:lnTo>
                    <a:pt x="409" y="150"/>
                  </a:lnTo>
                  <a:lnTo>
                    <a:pt x="380" y="116"/>
                  </a:lnTo>
                  <a:lnTo>
                    <a:pt x="376" y="89"/>
                  </a:lnTo>
                  <a:lnTo>
                    <a:pt x="323" y="16"/>
                  </a:lnTo>
                  <a:lnTo>
                    <a:pt x="321" y="24"/>
                  </a:lnTo>
                  <a:lnTo>
                    <a:pt x="310" y="35"/>
                  </a:lnTo>
                  <a:lnTo>
                    <a:pt x="287" y="10"/>
                  </a:lnTo>
                  <a:lnTo>
                    <a:pt x="256" y="0"/>
                  </a:lnTo>
                  <a:lnTo>
                    <a:pt x="254" y="10"/>
                  </a:lnTo>
                  <a:lnTo>
                    <a:pt x="254" y="24"/>
                  </a:lnTo>
                  <a:lnTo>
                    <a:pt x="241" y="37"/>
                  </a:lnTo>
                  <a:lnTo>
                    <a:pt x="215" y="63"/>
                  </a:lnTo>
                  <a:lnTo>
                    <a:pt x="186" y="63"/>
                  </a:lnTo>
                  <a:lnTo>
                    <a:pt x="175" y="82"/>
                  </a:lnTo>
                  <a:lnTo>
                    <a:pt x="163" y="82"/>
                  </a:lnTo>
                  <a:lnTo>
                    <a:pt x="144" y="102"/>
                  </a:lnTo>
                  <a:lnTo>
                    <a:pt x="133" y="102"/>
                  </a:lnTo>
                  <a:lnTo>
                    <a:pt x="109" y="125"/>
                  </a:lnTo>
                  <a:lnTo>
                    <a:pt x="94" y="130"/>
                  </a:lnTo>
                  <a:lnTo>
                    <a:pt x="61" y="178"/>
                  </a:lnTo>
                  <a:lnTo>
                    <a:pt x="42" y="148"/>
                  </a:lnTo>
                  <a:lnTo>
                    <a:pt x="20" y="132"/>
                  </a:lnTo>
                  <a:lnTo>
                    <a:pt x="8" y="144"/>
                  </a:lnTo>
                  <a:lnTo>
                    <a:pt x="21" y="209"/>
                  </a:lnTo>
                  <a:lnTo>
                    <a:pt x="10" y="232"/>
                  </a:lnTo>
                  <a:lnTo>
                    <a:pt x="0" y="264"/>
                  </a:lnTo>
                  <a:lnTo>
                    <a:pt x="30" y="285"/>
                  </a:lnTo>
                  <a:lnTo>
                    <a:pt x="47" y="286"/>
                  </a:lnTo>
                  <a:lnTo>
                    <a:pt x="70" y="318"/>
                  </a:lnTo>
                  <a:lnTo>
                    <a:pt x="86" y="309"/>
                  </a:lnTo>
                  <a:lnTo>
                    <a:pt x="112" y="277"/>
                  </a:lnTo>
                  <a:lnTo>
                    <a:pt x="138" y="233"/>
                  </a:lnTo>
                  <a:lnTo>
                    <a:pt x="182" y="223"/>
                  </a:lnTo>
                  <a:lnTo>
                    <a:pt x="210" y="252"/>
                  </a:lnTo>
                  <a:lnTo>
                    <a:pt x="190" y="295"/>
                  </a:lnTo>
                  <a:lnTo>
                    <a:pt x="163" y="336"/>
                  </a:lnTo>
                  <a:lnTo>
                    <a:pt x="187" y="353"/>
                  </a:lnTo>
                  <a:lnTo>
                    <a:pt x="186" y="373"/>
                  </a:lnTo>
                  <a:lnTo>
                    <a:pt x="167" y="392"/>
                  </a:lnTo>
                  <a:lnTo>
                    <a:pt x="171" y="400"/>
                  </a:lnTo>
                  <a:lnTo>
                    <a:pt x="203" y="382"/>
                  </a:lnTo>
                  <a:lnTo>
                    <a:pt x="249" y="321"/>
                  </a:lnTo>
                  <a:lnTo>
                    <a:pt x="319" y="282"/>
                  </a:lnTo>
                  <a:lnTo>
                    <a:pt x="342" y="277"/>
                  </a:lnTo>
                  <a:lnTo>
                    <a:pt x="342" y="277"/>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10" name="吉林">
              <a:hlinkClick action="ppaction://macro?name=Slide1.吉林_click" highlightClick="1"/>
              <a:hlinkHover action="ppaction://noaction" highlightClick="1"/>
            </p:cNvPr>
            <p:cNvSpPr>
              <a:spLocks noChangeAspect="1"/>
            </p:cNvSpPr>
            <p:nvPr/>
          </p:nvSpPr>
          <p:spPr bwMode="auto">
            <a:xfrm rot="180000">
              <a:off x="6681969" y="1619663"/>
              <a:ext cx="1264357" cy="898304"/>
            </a:xfrm>
            <a:custGeom>
              <a:gdLst>
                <a:gd fmla="*/ 578 w 597" name="T0"/>
                <a:gd fmla="*/ 113 h 407" name="T1"/>
                <a:gd fmla="*/ 532 w 597" name="T2"/>
                <a:gd fmla="*/ 104 h 407" name="T3"/>
                <a:gd fmla="*/ 514 w 597" name="T4"/>
                <a:gd fmla="*/ 101 h 407" name="T5"/>
                <a:gd fmla="*/ 471 w 597" name="T6"/>
                <a:gd fmla="*/ 125 h 407" name="T7"/>
                <a:gd fmla="*/ 453 w 597" name="T8"/>
                <a:gd fmla="*/ 135 h 407" name="T9"/>
                <a:gd fmla="*/ 417 w 597" name="T10"/>
                <a:gd fmla="*/ 108 h 407" name="T11"/>
                <a:gd fmla="*/ 385 w 597" name="T12"/>
                <a:gd fmla="*/ 81 h 407" name="T13"/>
                <a:gd fmla="*/ 380 w 597" name="T14"/>
                <a:gd fmla="*/ 119 h 407" name="T15"/>
                <a:gd fmla="*/ 347 w 597" name="T16"/>
                <a:gd fmla="*/ 81 h 407" name="T17"/>
                <a:gd fmla="*/ 318 w 597" name="T18"/>
                <a:gd fmla="*/ 53 h 407" name="T19"/>
                <a:gd fmla="*/ 259 w 597" name="T20"/>
                <a:gd fmla="*/ 53 h 407" name="T21"/>
                <a:gd fmla="*/ 226 w 597" name="T22"/>
                <a:gd fmla="*/ 31 h 407" name="T23"/>
                <a:gd fmla="*/ 183 w 597" name="T24"/>
                <a:gd fmla="*/ 45 h 407" name="T25"/>
                <a:gd fmla="*/ 137 w 597" name="T26"/>
                <a:gd fmla="*/ 34 h 407" name="T27"/>
                <a:gd fmla="*/ 74 w 597" name="T28"/>
                <a:gd fmla="*/ 8 h 407" name="T29"/>
                <a:gd fmla="*/ 55 w 597" name="T30"/>
                <a:gd fmla="*/ 51 h 407" name="T31"/>
                <a:gd fmla="*/ 0 w 597" name="T32"/>
                <a:gd fmla="*/ 53 h 407" name="T33"/>
                <a:gd fmla="*/ 29 w 597" name="T34"/>
                <a:gd fmla="*/ 82 h 407" name="T35"/>
                <a:gd fmla="*/ 34 w 597" name="T36"/>
                <a:gd fmla="*/ 133 h 407" name="T37"/>
                <a:gd fmla="*/ 50 w 597" name="T38"/>
                <a:gd fmla="*/ 175 h 407" name="T39"/>
                <a:gd fmla="*/ 98 w 597" name="T40"/>
                <a:gd fmla="*/ 149 h 407" name="T41"/>
                <a:gd fmla="*/ 137 w 597" name="T42"/>
                <a:gd fmla="*/ 224 h 407" name="T43"/>
                <a:gd fmla="*/ 159 w 597" name="T44"/>
                <a:gd fmla="*/ 226 h 407" name="T45"/>
                <a:gd fmla="*/ 213 w 597" name="T46"/>
                <a:gd fmla="*/ 261 h 407" name="T47"/>
                <a:gd fmla="*/ 226 w 597" name="T48"/>
                <a:gd fmla="*/ 242 h 407" name="T49"/>
                <a:gd fmla="*/ 283 w 597" name="T50"/>
                <a:gd fmla="*/ 342 h 407" name="T51"/>
                <a:gd fmla="*/ 315 w 597" name="T52"/>
                <a:gd fmla="*/ 406 h 407" name="T53"/>
                <a:gd fmla="*/ 365 w 597" name="T54"/>
                <a:gd fmla="*/ 322 h 407" name="T55"/>
                <a:gd fmla="*/ 403 w 597" name="T56"/>
                <a:gd fmla="*/ 333 h 407" name="T57"/>
                <a:gd fmla="*/ 460 w 597" name="T58"/>
                <a:gd fmla="*/ 315 h 407" name="T59"/>
                <a:gd fmla="*/ 445 w 597" name="T60"/>
                <a:gd fmla="*/ 276 h 407" name="T61"/>
                <a:gd fmla="*/ 500 w 597" name="T62"/>
                <a:gd fmla="*/ 231 h 407" name="T63"/>
                <a:gd fmla="*/ 523 w 597" name="T64"/>
                <a:gd fmla="*/ 191 h 407" name="T65"/>
                <a:gd fmla="*/ 541 w 597" name="T66"/>
                <a:gd fmla="*/ 167 h 407" name="T67"/>
                <a:gd fmla="*/ 562 w 597" name="T68"/>
                <a:gd fmla="*/ 188 h 407" name="T69"/>
                <a:gd fmla="*/ 596 w 597" name="T70"/>
                <a:gd fmla="*/ 122 h 407" name="T71"/>
                <a:gd fmla="*/ 591 w 597" name="T72"/>
                <a:gd fmla="*/ 115 h 407" name="T7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b="b" l="0" r="r" t="0"/>
              <a:pathLst>
                <a:path h="407" w="597">
                  <a:moveTo>
                    <a:pt x="591" y="115"/>
                  </a:moveTo>
                  <a:lnTo>
                    <a:pt x="578" y="113"/>
                  </a:lnTo>
                  <a:lnTo>
                    <a:pt x="561" y="113"/>
                  </a:lnTo>
                  <a:lnTo>
                    <a:pt x="532" y="104"/>
                  </a:lnTo>
                  <a:lnTo>
                    <a:pt x="523" y="87"/>
                  </a:lnTo>
                  <a:lnTo>
                    <a:pt x="514" y="101"/>
                  </a:lnTo>
                  <a:lnTo>
                    <a:pt x="500" y="92"/>
                  </a:lnTo>
                  <a:lnTo>
                    <a:pt x="471" y="125"/>
                  </a:lnTo>
                  <a:lnTo>
                    <a:pt x="465" y="133"/>
                  </a:lnTo>
                  <a:lnTo>
                    <a:pt x="453" y="135"/>
                  </a:lnTo>
                  <a:lnTo>
                    <a:pt x="434" y="116"/>
                  </a:lnTo>
                  <a:lnTo>
                    <a:pt x="417" y="108"/>
                  </a:lnTo>
                  <a:lnTo>
                    <a:pt x="399" y="72"/>
                  </a:lnTo>
                  <a:lnTo>
                    <a:pt x="385" y="81"/>
                  </a:lnTo>
                  <a:lnTo>
                    <a:pt x="390" y="113"/>
                  </a:lnTo>
                  <a:lnTo>
                    <a:pt x="380" y="119"/>
                  </a:lnTo>
                  <a:lnTo>
                    <a:pt x="357" y="93"/>
                  </a:lnTo>
                  <a:lnTo>
                    <a:pt x="347" y="81"/>
                  </a:lnTo>
                  <a:lnTo>
                    <a:pt x="329" y="81"/>
                  </a:lnTo>
                  <a:lnTo>
                    <a:pt x="318" y="53"/>
                  </a:lnTo>
                  <a:lnTo>
                    <a:pt x="294" y="40"/>
                  </a:lnTo>
                  <a:lnTo>
                    <a:pt x="259" y="53"/>
                  </a:lnTo>
                  <a:lnTo>
                    <a:pt x="246" y="51"/>
                  </a:lnTo>
                  <a:lnTo>
                    <a:pt x="226" y="31"/>
                  </a:lnTo>
                  <a:lnTo>
                    <a:pt x="199" y="45"/>
                  </a:lnTo>
                  <a:lnTo>
                    <a:pt x="183" y="45"/>
                  </a:lnTo>
                  <a:lnTo>
                    <a:pt x="165" y="55"/>
                  </a:lnTo>
                  <a:lnTo>
                    <a:pt x="137" y="34"/>
                  </a:lnTo>
                  <a:lnTo>
                    <a:pt x="118" y="0"/>
                  </a:lnTo>
                  <a:lnTo>
                    <a:pt x="74" y="8"/>
                  </a:lnTo>
                  <a:lnTo>
                    <a:pt x="58" y="29"/>
                  </a:lnTo>
                  <a:lnTo>
                    <a:pt x="55" y="51"/>
                  </a:lnTo>
                  <a:lnTo>
                    <a:pt x="7" y="37"/>
                  </a:lnTo>
                  <a:lnTo>
                    <a:pt x="0" y="53"/>
                  </a:lnTo>
                  <a:lnTo>
                    <a:pt x="3" y="63"/>
                  </a:lnTo>
                  <a:lnTo>
                    <a:pt x="29" y="82"/>
                  </a:lnTo>
                  <a:lnTo>
                    <a:pt x="29" y="108"/>
                  </a:lnTo>
                  <a:lnTo>
                    <a:pt x="34" y="133"/>
                  </a:lnTo>
                  <a:lnTo>
                    <a:pt x="48" y="156"/>
                  </a:lnTo>
                  <a:lnTo>
                    <a:pt x="50" y="175"/>
                  </a:lnTo>
                  <a:lnTo>
                    <a:pt x="61" y="184"/>
                  </a:lnTo>
                  <a:lnTo>
                    <a:pt x="98" y="149"/>
                  </a:lnTo>
                  <a:lnTo>
                    <a:pt x="137" y="197"/>
                  </a:lnTo>
                  <a:lnTo>
                    <a:pt x="137" y="224"/>
                  </a:lnTo>
                  <a:lnTo>
                    <a:pt x="157" y="236"/>
                  </a:lnTo>
                  <a:lnTo>
                    <a:pt x="159" y="226"/>
                  </a:lnTo>
                  <a:lnTo>
                    <a:pt x="190" y="236"/>
                  </a:lnTo>
                  <a:lnTo>
                    <a:pt x="213" y="261"/>
                  </a:lnTo>
                  <a:lnTo>
                    <a:pt x="224" y="250"/>
                  </a:lnTo>
                  <a:lnTo>
                    <a:pt x="226" y="242"/>
                  </a:lnTo>
                  <a:lnTo>
                    <a:pt x="279" y="315"/>
                  </a:lnTo>
                  <a:lnTo>
                    <a:pt x="283" y="342"/>
                  </a:lnTo>
                  <a:lnTo>
                    <a:pt x="312" y="376"/>
                  </a:lnTo>
                  <a:lnTo>
                    <a:pt x="315" y="406"/>
                  </a:lnTo>
                  <a:lnTo>
                    <a:pt x="342" y="391"/>
                  </a:lnTo>
                  <a:lnTo>
                    <a:pt x="365" y="322"/>
                  </a:lnTo>
                  <a:lnTo>
                    <a:pt x="377" y="318"/>
                  </a:lnTo>
                  <a:lnTo>
                    <a:pt x="403" y="333"/>
                  </a:lnTo>
                  <a:lnTo>
                    <a:pt x="445" y="328"/>
                  </a:lnTo>
                  <a:lnTo>
                    <a:pt x="460" y="315"/>
                  </a:lnTo>
                  <a:lnTo>
                    <a:pt x="440" y="284"/>
                  </a:lnTo>
                  <a:lnTo>
                    <a:pt x="445" y="276"/>
                  </a:lnTo>
                  <a:lnTo>
                    <a:pt x="484" y="263"/>
                  </a:lnTo>
                  <a:lnTo>
                    <a:pt x="500" y="231"/>
                  </a:lnTo>
                  <a:lnTo>
                    <a:pt x="522" y="222"/>
                  </a:lnTo>
                  <a:lnTo>
                    <a:pt x="523" y="191"/>
                  </a:lnTo>
                  <a:lnTo>
                    <a:pt x="529" y="171"/>
                  </a:lnTo>
                  <a:lnTo>
                    <a:pt x="541" y="167"/>
                  </a:lnTo>
                  <a:lnTo>
                    <a:pt x="551" y="178"/>
                  </a:lnTo>
                  <a:lnTo>
                    <a:pt x="562" y="188"/>
                  </a:lnTo>
                  <a:lnTo>
                    <a:pt x="589" y="151"/>
                  </a:lnTo>
                  <a:lnTo>
                    <a:pt x="596" y="122"/>
                  </a:lnTo>
                  <a:lnTo>
                    <a:pt x="591" y="115"/>
                  </a:lnTo>
                  <a:lnTo>
                    <a:pt x="591" y="115"/>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11" name="黑龙江">
              <a:hlinkClick action="ppaction://macro?name=Slide1.黑龙江_click" highlightClick="1"/>
              <a:hlinkHover action="ppaction://noaction" highlightClick="1"/>
            </p:cNvPr>
            <p:cNvSpPr>
              <a:spLocks noChangeAspect="1"/>
            </p:cNvSpPr>
            <p:nvPr/>
          </p:nvSpPr>
          <p:spPr bwMode="auto">
            <a:xfrm rot="180000">
              <a:off x="6437468" y="272209"/>
              <a:ext cx="1733976" cy="1641348"/>
            </a:xfrm>
            <a:custGeom>
              <a:gdLst>
                <a:gd fmla="*/ 251 w 818" name="T0"/>
                <a:gd fmla="*/ 607 h 743" name="T1"/>
                <a:gd fmla="*/ 298 w 818" name="T2"/>
                <a:gd fmla="*/ 662 h 743" name="T3"/>
                <a:gd fmla="*/ 332 w 818" name="T4"/>
                <a:gd fmla="*/ 652 h 743" name="T5"/>
                <a:gd fmla="*/ 379 w 818" name="T6"/>
                <a:gd fmla="*/ 658 h 743" name="T7"/>
                <a:gd fmla="*/ 427 w 818" name="T8"/>
                <a:gd fmla="*/ 647 h 743" name="T9"/>
                <a:gd fmla="*/ 462 w 818" name="T10"/>
                <a:gd fmla="*/ 688 h 743" name="T11"/>
                <a:gd fmla="*/ 490 w 818" name="T12"/>
                <a:gd fmla="*/ 700 h 743" name="T13"/>
                <a:gd fmla="*/ 523 w 818" name="T14"/>
                <a:gd fmla="*/ 720 h 743" name="T15"/>
                <a:gd fmla="*/ 532 w 818" name="T16"/>
                <a:gd fmla="*/ 679 h 743" name="T17"/>
                <a:gd fmla="*/ 567 w 818" name="T18"/>
                <a:gd fmla="*/ 723 h 743" name="T19"/>
                <a:gd fmla="*/ 598 w 818" name="T20"/>
                <a:gd fmla="*/ 740 h 743" name="T21"/>
                <a:gd fmla="*/ 633 w 818" name="T22"/>
                <a:gd fmla="*/ 699 h 743" name="T23"/>
                <a:gd fmla="*/ 656 w 818" name="T24"/>
                <a:gd fmla="*/ 694 h 743" name="T25"/>
                <a:gd fmla="*/ 694 w 818" name="T26"/>
                <a:gd fmla="*/ 720 h 743" name="T27"/>
                <a:gd fmla="*/ 724 w 818" name="T28"/>
                <a:gd fmla="*/ 722 h 743" name="T29"/>
                <a:gd fmla="*/ 714 w 818" name="T30"/>
                <a:gd fmla="*/ 662 h 743" name="T31"/>
                <a:gd fmla="*/ 698 w 818" name="T32"/>
                <a:gd fmla="*/ 593 h 743" name="T33"/>
                <a:gd fmla="*/ 777 w 818" name="T34"/>
                <a:gd fmla="*/ 561 h 743" name="T35"/>
                <a:gd fmla="*/ 785 w 818" name="T36"/>
                <a:gd fmla="*/ 527 h 743" name="T37"/>
                <a:gd fmla="*/ 794 w 818" name="T38"/>
                <a:gd fmla="*/ 490 h 743" name="T39"/>
                <a:gd fmla="*/ 799 w 818" name="T40"/>
                <a:gd fmla="*/ 352 h 743" name="T41"/>
                <a:gd fmla="*/ 796 w 818" name="T42"/>
                <a:gd fmla="*/ 293 h 743" name="T43"/>
                <a:gd fmla="*/ 791 w 818" name="T44"/>
                <a:gd fmla="*/ 264 h 743" name="T45"/>
                <a:gd fmla="*/ 739 w 818" name="T46"/>
                <a:gd fmla="*/ 305 h 743" name="T47"/>
                <a:gd fmla="*/ 684 w 818" name="T48"/>
                <a:gd fmla="*/ 357 h 743" name="T49"/>
                <a:gd fmla="*/ 584 w 818" name="T50"/>
                <a:gd fmla="*/ 357 h 743" name="T51"/>
                <a:gd fmla="*/ 571 w 818" name="T52"/>
                <a:gd fmla="*/ 318 h 743" name="T53"/>
                <a:gd fmla="*/ 537 w 818" name="T54"/>
                <a:gd fmla="*/ 293 h 743" name="T55"/>
                <a:gd fmla="*/ 473 w 818" name="T56"/>
                <a:gd fmla="*/ 275 h 743" name="T57"/>
                <a:gd fmla="*/ 419 w 818" name="T58"/>
                <a:gd fmla="*/ 270 h 743" name="T59"/>
                <a:gd fmla="*/ 376 w 818" name="T60"/>
                <a:gd fmla="*/ 236 h 743" name="T61"/>
                <a:gd fmla="*/ 353 w 818" name="T62"/>
                <a:gd fmla="*/ 199 h 743" name="T63"/>
                <a:gd fmla="*/ 318 w 818" name="T64"/>
                <a:gd fmla="*/ 157 h 743" name="T65"/>
                <a:gd fmla="*/ 279 w 818" name="T66"/>
                <a:gd fmla="*/ 92 h 743" name="T67"/>
                <a:gd fmla="*/ 237 w 818" name="T68"/>
                <a:gd fmla="*/ 28 h 743" name="T69"/>
                <a:gd fmla="*/ 167 w 818" name="T70"/>
                <a:gd fmla="*/ 17 h 743" name="T71"/>
                <a:gd fmla="*/ 88 w 818" name="T72"/>
                <a:gd fmla="*/ 0 h 743" name="T73"/>
                <a:gd fmla="*/ 4 w 818" name="T74"/>
                <a:gd fmla="*/ 37 h 743" name="T75"/>
                <a:gd fmla="*/ 0 w 818" name="T76"/>
                <a:gd fmla="*/ 106 h 743" name="T77"/>
                <a:gd fmla="*/ 37 w 818" name="T78"/>
                <a:gd fmla="*/ 130 h 743" name="T79"/>
                <a:gd fmla="*/ 83 w 818" name="T80"/>
                <a:gd fmla="*/ 122 h 743" name="T81"/>
                <a:gd fmla="*/ 93 w 818" name="T82"/>
                <a:gd fmla="*/ 167 h 743" name="T83"/>
                <a:gd fmla="*/ 148 w 818" name="T84"/>
                <a:gd fmla="*/ 194 h 743" name="T85"/>
                <a:gd fmla="*/ 181 w 818" name="T86"/>
                <a:gd fmla="*/ 179 h 743" name="T87"/>
                <a:gd fmla="*/ 279 w 818" name="T88"/>
                <a:gd fmla="*/ 186 h 743" name="T89"/>
                <a:gd fmla="*/ 265 w 818" name="T90"/>
                <a:gd fmla="*/ 314 h 743" name="T91"/>
                <a:gd fmla="*/ 250 w 818" name="T92"/>
                <a:gd fmla="*/ 355 h 743" name="T93"/>
                <a:gd fmla="*/ 244 w 818" name="T94"/>
                <a:gd fmla="*/ 438 h 743" name="T95"/>
                <a:gd fmla="*/ 222 w 818" name="T96"/>
                <a:gd fmla="*/ 419 h 743" name="T97"/>
                <a:gd fmla="*/ 172 w 818" name="T98"/>
                <a:gd fmla="*/ 496 h 743" name="T99"/>
                <a:gd fmla="*/ 152 w 818" name="T100"/>
                <a:gd fmla="*/ 533 h 743" name="T101"/>
                <a:gd fmla="*/ 223 w 818" name="T102"/>
                <a:gd fmla="*/ 558 h 743" name="T103"/>
                <a:gd fmla="*/ 222 w 818" name="T104"/>
                <a:gd fmla="*/ 573 h 743" name="T105"/>
                <a:gd fmla="*/ 196 w 818" name="T106"/>
                <a:gd fmla="*/ 604 h 743" name="T107"/>
                <a:gd fmla="*/ 207 w 818" name="T108"/>
                <a:gd fmla="*/ 615 h 743"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743" w="818">
                  <a:moveTo>
                    <a:pt x="207" y="615"/>
                  </a:moveTo>
                  <a:lnTo>
                    <a:pt x="251" y="607"/>
                  </a:lnTo>
                  <a:lnTo>
                    <a:pt x="270" y="641"/>
                  </a:lnTo>
                  <a:lnTo>
                    <a:pt x="298" y="662"/>
                  </a:lnTo>
                  <a:lnTo>
                    <a:pt x="316" y="652"/>
                  </a:lnTo>
                  <a:lnTo>
                    <a:pt x="332" y="652"/>
                  </a:lnTo>
                  <a:lnTo>
                    <a:pt x="359" y="638"/>
                  </a:lnTo>
                  <a:lnTo>
                    <a:pt x="379" y="658"/>
                  </a:lnTo>
                  <a:lnTo>
                    <a:pt x="392" y="660"/>
                  </a:lnTo>
                  <a:lnTo>
                    <a:pt x="427" y="647"/>
                  </a:lnTo>
                  <a:lnTo>
                    <a:pt x="451" y="660"/>
                  </a:lnTo>
                  <a:lnTo>
                    <a:pt x="462" y="688"/>
                  </a:lnTo>
                  <a:lnTo>
                    <a:pt x="480" y="688"/>
                  </a:lnTo>
                  <a:lnTo>
                    <a:pt x="490" y="700"/>
                  </a:lnTo>
                  <a:lnTo>
                    <a:pt x="513" y="726"/>
                  </a:lnTo>
                  <a:lnTo>
                    <a:pt x="523" y="720"/>
                  </a:lnTo>
                  <a:lnTo>
                    <a:pt x="518" y="688"/>
                  </a:lnTo>
                  <a:lnTo>
                    <a:pt x="532" y="679"/>
                  </a:lnTo>
                  <a:lnTo>
                    <a:pt x="550" y="715"/>
                  </a:lnTo>
                  <a:lnTo>
                    <a:pt x="567" y="723"/>
                  </a:lnTo>
                  <a:lnTo>
                    <a:pt x="586" y="742"/>
                  </a:lnTo>
                  <a:lnTo>
                    <a:pt x="598" y="740"/>
                  </a:lnTo>
                  <a:lnTo>
                    <a:pt x="604" y="732"/>
                  </a:lnTo>
                  <a:lnTo>
                    <a:pt x="633" y="699"/>
                  </a:lnTo>
                  <a:lnTo>
                    <a:pt x="647" y="708"/>
                  </a:lnTo>
                  <a:lnTo>
                    <a:pt x="656" y="694"/>
                  </a:lnTo>
                  <a:lnTo>
                    <a:pt x="665" y="711"/>
                  </a:lnTo>
                  <a:lnTo>
                    <a:pt x="694" y="720"/>
                  </a:lnTo>
                  <a:lnTo>
                    <a:pt x="711" y="720"/>
                  </a:lnTo>
                  <a:lnTo>
                    <a:pt x="724" y="722"/>
                  </a:lnTo>
                  <a:lnTo>
                    <a:pt x="717" y="708"/>
                  </a:lnTo>
                  <a:lnTo>
                    <a:pt x="714" y="662"/>
                  </a:lnTo>
                  <a:lnTo>
                    <a:pt x="680" y="612"/>
                  </a:lnTo>
                  <a:lnTo>
                    <a:pt x="698" y="593"/>
                  </a:lnTo>
                  <a:lnTo>
                    <a:pt x="715" y="561"/>
                  </a:lnTo>
                  <a:lnTo>
                    <a:pt x="777" y="561"/>
                  </a:lnTo>
                  <a:lnTo>
                    <a:pt x="789" y="551"/>
                  </a:lnTo>
                  <a:lnTo>
                    <a:pt x="785" y="527"/>
                  </a:lnTo>
                  <a:lnTo>
                    <a:pt x="799" y="502"/>
                  </a:lnTo>
                  <a:lnTo>
                    <a:pt x="794" y="490"/>
                  </a:lnTo>
                  <a:lnTo>
                    <a:pt x="799" y="467"/>
                  </a:lnTo>
                  <a:lnTo>
                    <a:pt x="799" y="352"/>
                  </a:lnTo>
                  <a:lnTo>
                    <a:pt x="817" y="316"/>
                  </a:lnTo>
                  <a:lnTo>
                    <a:pt x="796" y="293"/>
                  </a:lnTo>
                  <a:lnTo>
                    <a:pt x="799" y="277"/>
                  </a:lnTo>
                  <a:lnTo>
                    <a:pt x="791" y="264"/>
                  </a:lnTo>
                  <a:lnTo>
                    <a:pt x="767" y="274"/>
                  </a:lnTo>
                  <a:lnTo>
                    <a:pt x="739" y="305"/>
                  </a:lnTo>
                  <a:lnTo>
                    <a:pt x="711" y="318"/>
                  </a:lnTo>
                  <a:lnTo>
                    <a:pt x="684" y="357"/>
                  </a:lnTo>
                  <a:lnTo>
                    <a:pt x="615" y="381"/>
                  </a:lnTo>
                  <a:lnTo>
                    <a:pt x="584" y="357"/>
                  </a:lnTo>
                  <a:lnTo>
                    <a:pt x="588" y="342"/>
                  </a:lnTo>
                  <a:lnTo>
                    <a:pt x="571" y="318"/>
                  </a:lnTo>
                  <a:lnTo>
                    <a:pt x="564" y="294"/>
                  </a:lnTo>
                  <a:lnTo>
                    <a:pt x="537" y="293"/>
                  </a:lnTo>
                  <a:lnTo>
                    <a:pt x="492" y="268"/>
                  </a:lnTo>
                  <a:lnTo>
                    <a:pt x="473" y="275"/>
                  </a:lnTo>
                  <a:lnTo>
                    <a:pt x="451" y="264"/>
                  </a:lnTo>
                  <a:lnTo>
                    <a:pt x="419" y="270"/>
                  </a:lnTo>
                  <a:lnTo>
                    <a:pt x="392" y="260"/>
                  </a:lnTo>
                  <a:lnTo>
                    <a:pt x="376" y="236"/>
                  </a:lnTo>
                  <a:lnTo>
                    <a:pt x="359" y="217"/>
                  </a:lnTo>
                  <a:lnTo>
                    <a:pt x="353" y="199"/>
                  </a:lnTo>
                  <a:lnTo>
                    <a:pt x="332" y="177"/>
                  </a:lnTo>
                  <a:lnTo>
                    <a:pt x="318" y="157"/>
                  </a:lnTo>
                  <a:lnTo>
                    <a:pt x="288" y="116"/>
                  </a:lnTo>
                  <a:lnTo>
                    <a:pt x="279" y="92"/>
                  </a:lnTo>
                  <a:lnTo>
                    <a:pt x="246" y="50"/>
                  </a:lnTo>
                  <a:lnTo>
                    <a:pt x="237" y="28"/>
                  </a:lnTo>
                  <a:lnTo>
                    <a:pt x="194" y="7"/>
                  </a:lnTo>
                  <a:lnTo>
                    <a:pt x="167" y="17"/>
                  </a:lnTo>
                  <a:lnTo>
                    <a:pt x="142" y="11"/>
                  </a:lnTo>
                  <a:lnTo>
                    <a:pt x="88" y="0"/>
                  </a:lnTo>
                  <a:lnTo>
                    <a:pt x="16" y="26"/>
                  </a:lnTo>
                  <a:lnTo>
                    <a:pt x="4" y="37"/>
                  </a:lnTo>
                  <a:lnTo>
                    <a:pt x="19" y="57"/>
                  </a:lnTo>
                  <a:lnTo>
                    <a:pt x="0" y="106"/>
                  </a:lnTo>
                  <a:lnTo>
                    <a:pt x="5" y="111"/>
                  </a:lnTo>
                  <a:lnTo>
                    <a:pt x="37" y="130"/>
                  </a:lnTo>
                  <a:lnTo>
                    <a:pt x="54" y="103"/>
                  </a:lnTo>
                  <a:lnTo>
                    <a:pt x="83" y="122"/>
                  </a:lnTo>
                  <a:lnTo>
                    <a:pt x="82" y="135"/>
                  </a:lnTo>
                  <a:lnTo>
                    <a:pt x="93" y="167"/>
                  </a:lnTo>
                  <a:lnTo>
                    <a:pt x="111" y="188"/>
                  </a:lnTo>
                  <a:lnTo>
                    <a:pt x="148" y="194"/>
                  </a:lnTo>
                  <a:lnTo>
                    <a:pt x="159" y="183"/>
                  </a:lnTo>
                  <a:lnTo>
                    <a:pt x="181" y="179"/>
                  </a:lnTo>
                  <a:lnTo>
                    <a:pt x="223" y="144"/>
                  </a:lnTo>
                  <a:lnTo>
                    <a:pt x="279" y="186"/>
                  </a:lnTo>
                  <a:lnTo>
                    <a:pt x="260" y="260"/>
                  </a:lnTo>
                  <a:lnTo>
                    <a:pt x="265" y="314"/>
                  </a:lnTo>
                  <a:lnTo>
                    <a:pt x="265" y="347"/>
                  </a:lnTo>
                  <a:lnTo>
                    <a:pt x="250" y="355"/>
                  </a:lnTo>
                  <a:lnTo>
                    <a:pt x="247" y="441"/>
                  </a:lnTo>
                  <a:lnTo>
                    <a:pt x="244" y="438"/>
                  </a:lnTo>
                  <a:lnTo>
                    <a:pt x="229" y="419"/>
                  </a:lnTo>
                  <a:lnTo>
                    <a:pt x="222" y="419"/>
                  </a:lnTo>
                  <a:lnTo>
                    <a:pt x="218" y="427"/>
                  </a:lnTo>
                  <a:lnTo>
                    <a:pt x="172" y="496"/>
                  </a:lnTo>
                  <a:lnTo>
                    <a:pt x="150" y="524"/>
                  </a:lnTo>
                  <a:lnTo>
                    <a:pt x="152" y="533"/>
                  </a:lnTo>
                  <a:lnTo>
                    <a:pt x="198" y="566"/>
                  </a:lnTo>
                  <a:lnTo>
                    <a:pt x="223" y="558"/>
                  </a:lnTo>
                  <a:lnTo>
                    <a:pt x="227" y="566"/>
                  </a:lnTo>
                  <a:lnTo>
                    <a:pt x="222" y="573"/>
                  </a:lnTo>
                  <a:lnTo>
                    <a:pt x="198" y="583"/>
                  </a:lnTo>
                  <a:lnTo>
                    <a:pt x="196" y="604"/>
                  </a:lnTo>
                  <a:lnTo>
                    <a:pt x="207" y="615"/>
                  </a:lnTo>
                  <a:lnTo>
                    <a:pt x="207" y="615"/>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12" name="新疆">
              <a:hlinkClick action="ppaction://macro?name=Slide1.新疆_click" highlightClick="1"/>
              <a:hlinkHover action="ppaction://noaction" highlightClick="1"/>
            </p:cNvPr>
            <p:cNvSpPr>
              <a:spLocks noChangeAspect="1"/>
            </p:cNvSpPr>
            <p:nvPr/>
          </p:nvSpPr>
          <p:spPr bwMode="auto">
            <a:xfrm rot="180000">
              <a:off x="508487" y="954956"/>
              <a:ext cx="3034459" cy="2558137"/>
            </a:xfrm>
            <a:custGeom>
              <a:gdLst>
                <a:gd fmla="*/ 115 w 168" name="T0"/>
                <a:gd fmla="*/ 4 h 131" name="T1"/>
                <a:gd fmla="*/ 120 w 168" name="T2"/>
                <a:gd fmla="*/ 10 h 131" name="T3"/>
                <a:gd fmla="*/ 128 w 168" name="T4"/>
                <a:gd fmla="*/ 15 h 131" name="T5"/>
                <a:gd fmla="*/ 134 w 168" name="T6"/>
                <a:gd fmla="*/ 27 h 131" name="T7"/>
                <a:gd fmla="*/ 131 w 168" name="T8"/>
                <a:gd fmla="*/ 36 h 131" name="T9"/>
                <a:gd fmla="*/ 149 w 168" name="T10"/>
                <a:gd fmla="*/ 44 h 131" name="T11"/>
                <a:gd fmla="*/ 161 w 168" name="T12"/>
                <a:gd fmla="*/ 53 h 131" name="T13"/>
                <a:gd fmla="*/ 168 w 168" name="T14"/>
                <a:gd fmla="*/ 67 h 131" name="T15"/>
                <a:gd fmla="*/ 163 w 168" name="T16"/>
                <a:gd fmla="*/ 73 h 131" name="T17"/>
                <a:gd fmla="*/ 146 w 168" name="T18"/>
                <a:gd fmla="*/ 82 h 131" name="T19"/>
                <a:gd fmla="*/ 144 w 168" name="T20"/>
                <a:gd fmla="*/ 96 h 131" name="T21"/>
                <a:gd fmla="*/ 120 w 168" name="T22"/>
                <a:gd fmla="*/ 103 h 131" name="T23"/>
                <a:gd fmla="*/ 124 w 168" name="T24"/>
                <a:gd fmla="*/ 116 h 131" name="T25"/>
                <a:gd fmla="*/ 122 w 168" name="T26"/>
                <a:gd fmla="*/ 121 h 131" name="T27"/>
                <a:gd fmla="*/ 118 w 168" name="T28"/>
                <a:gd fmla="*/ 124 h 131" name="T29"/>
                <a:gd fmla="*/ 109 w 168" name="T30"/>
                <a:gd fmla="*/ 121 h 131" name="T31"/>
                <a:gd fmla="*/ 92 w 168" name="T32"/>
                <a:gd fmla="*/ 119 h 131" name="T33"/>
                <a:gd fmla="*/ 75 w 168" name="T34"/>
                <a:gd fmla="*/ 122 h 131" name="T35"/>
                <a:gd fmla="*/ 63 w 168" name="T36"/>
                <a:gd fmla="*/ 120 h 131" name="T37"/>
                <a:gd fmla="*/ 48 w 168" name="T38"/>
                <a:gd fmla="*/ 121 h 131" name="T39"/>
                <a:gd fmla="*/ 40 w 168" name="T40"/>
                <a:gd fmla="*/ 117 h 131" name="T41"/>
                <a:gd fmla="*/ 22 w 168" name="T42"/>
                <a:gd fmla="*/ 121 h 131" name="T43"/>
                <a:gd fmla="*/ 13 w 168" name="T44"/>
                <a:gd fmla="*/ 108 h 131" name="T45"/>
                <a:gd fmla="*/ 10 w 168" name="T46"/>
                <a:gd fmla="*/ 101 h 131" name="T47"/>
                <a:gd fmla="*/ 6 w 168" name="T48"/>
                <a:gd fmla="*/ 96 h 131" name="T49"/>
                <a:gd fmla="*/ 4 w 168" name="T50"/>
                <a:gd fmla="*/ 91 h 131" name="T51"/>
                <a:gd fmla="*/ 6 w 168" name="T52"/>
                <a:gd fmla="*/ 86 h 131" name="T53"/>
                <a:gd fmla="*/ 1 w 168" name="T54"/>
                <a:gd fmla="*/ 79 h 131" name="T55"/>
                <a:gd fmla="*/ 1 w 168" name="T56"/>
                <a:gd fmla="*/ 71 h 131" name="T57"/>
                <a:gd fmla="*/ 4 w 168" name="T58"/>
                <a:gd fmla="*/ 67 h 131" name="T59"/>
                <a:gd fmla="*/ 13 w 168" name="T60"/>
                <a:gd fmla="*/ 63 h 131" name="T61"/>
                <a:gd fmla="*/ 18 w 168" name="T62"/>
                <a:gd fmla="*/ 64 h 131" name="T63"/>
                <a:gd fmla="*/ 23 w 168" name="T64"/>
                <a:gd fmla="*/ 66 h 131" name="T65"/>
                <a:gd fmla="*/ 40 w 168" name="T66"/>
                <a:gd fmla="*/ 61 h 131" name="T67"/>
                <a:gd fmla="*/ 55 w 168" name="T68"/>
                <a:gd fmla="*/ 52 h 131" name="T69"/>
                <a:gd fmla="*/ 59 w 168" name="T70"/>
                <a:gd fmla="*/ 47 h 131" name="T71"/>
                <a:gd fmla="*/ 57 w 168" name="T72"/>
                <a:gd fmla="*/ 32 h 131" name="T73"/>
                <a:gd fmla="*/ 69 w 168" name="T74"/>
                <a:gd fmla="*/ 30 h 131" name="T75"/>
                <a:gd fmla="*/ 75 w 168" name="T76"/>
                <a:gd fmla="*/ 32 h 131" name="T77"/>
                <a:gd fmla="*/ 81 w 168" name="T78"/>
                <a:gd fmla="*/ 15 h 131" name="T79"/>
                <a:gd fmla="*/ 92 w 168" name="T80"/>
                <a:gd fmla="*/ 18 h 131" name="T81"/>
                <a:gd fmla="*/ 100 w 168" name="T82"/>
                <a:gd fmla="*/ 8 h 131" name="T83"/>
                <a:gd fmla="*/ 108 w 168" name="T84"/>
                <a:gd fmla="*/ 3 h 131" name="T85"/>
                <a:gd fmla="*/ 115 w 168" name="T86"/>
                <a:gd fmla="*/ 1 h 131"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131" w="168">
                  <a:moveTo>
                    <a:pt x="115" y="1"/>
                  </a:moveTo>
                  <a:lnTo>
                    <a:pt x="116" y="1"/>
                  </a:lnTo>
                  <a:lnTo>
                    <a:pt x="115" y="4"/>
                  </a:lnTo>
                  <a:lnTo>
                    <a:pt x="117" y="6"/>
                  </a:lnTo>
                  <a:lnTo>
                    <a:pt x="117" y="7"/>
                  </a:lnTo>
                  <a:lnTo>
                    <a:pt x="120" y="10"/>
                  </a:lnTo>
                  <a:lnTo>
                    <a:pt x="121" y="13"/>
                  </a:lnTo>
                  <a:lnTo>
                    <a:pt x="126" y="13"/>
                  </a:lnTo>
                  <a:lnTo>
                    <a:pt x="128" y="15"/>
                  </a:lnTo>
                  <a:lnTo>
                    <a:pt x="129" y="15"/>
                  </a:lnTo>
                  <a:lnTo>
                    <a:pt x="131" y="20"/>
                  </a:lnTo>
                  <a:lnTo>
                    <a:pt x="134" y="27"/>
                  </a:lnTo>
                  <a:lnTo>
                    <a:pt x="133" y="31"/>
                  </a:lnTo>
                  <a:lnTo>
                    <a:pt x="133" y="32"/>
                  </a:lnTo>
                  <a:lnTo>
                    <a:pt x="131" y="36"/>
                  </a:lnTo>
                  <a:lnTo>
                    <a:pt x="131" y="39"/>
                  </a:lnTo>
                  <a:lnTo>
                    <a:pt x="140" y="43"/>
                  </a:lnTo>
                  <a:lnTo>
                    <a:pt x="149" y="44"/>
                  </a:lnTo>
                  <a:lnTo>
                    <a:pt x="158" y="51"/>
                  </a:lnTo>
                  <a:lnTo>
                    <a:pt x="161" y="52"/>
                  </a:lnTo>
                  <a:lnTo>
                    <a:pt x="161" y="53"/>
                  </a:lnTo>
                  <a:lnTo>
                    <a:pt x="163" y="57"/>
                  </a:lnTo>
                  <a:lnTo>
                    <a:pt x="165" y="63"/>
                  </a:lnTo>
                  <a:lnTo>
                    <a:pt x="168" y="67"/>
                  </a:lnTo>
                  <a:lnTo>
                    <a:pt x="167" y="69"/>
                  </a:lnTo>
                  <a:lnTo>
                    <a:pt x="167" y="72"/>
                  </a:lnTo>
                  <a:lnTo>
                    <a:pt x="163" y="73"/>
                  </a:lnTo>
                  <a:lnTo>
                    <a:pt x="155" y="76"/>
                  </a:lnTo>
                  <a:lnTo>
                    <a:pt x="150" y="80"/>
                  </a:lnTo>
                  <a:lnTo>
                    <a:pt x="146" y="82"/>
                  </a:lnTo>
                  <a:lnTo>
                    <a:pt x="146" y="85"/>
                  </a:lnTo>
                  <a:lnTo>
                    <a:pt x="147" y="97"/>
                  </a:lnTo>
                  <a:lnTo>
                    <a:pt x="144" y="96"/>
                  </a:lnTo>
                  <a:lnTo>
                    <a:pt x="142" y="97"/>
                  </a:lnTo>
                  <a:lnTo>
                    <a:pt x="123" y="101"/>
                  </a:lnTo>
                  <a:lnTo>
                    <a:pt x="120" y="103"/>
                  </a:lnTo>
                  <a:lnTo>
                    <a:pt x="120" y="108"/>
                  </a:lnTo>
                  <a:lnTo>
                    <a:pt x="126" y="113"/>
                  </a:lnTo>
                  <a:lnTo>
                    <a:pt x="124" y="116"/>
                  </a:lnTo>
                  <a:lnTo>
                    <a:pt x="121" y="118"/>
                  </a:lnTo>
                  <a:lnTo>
                    <a:pt x="121" y="119"/>
                  </a:lnTo>
                  <a:lnTo>
                    <a:pt x="122" y="121"/>
                  </a:lnTo>
                  <a:lnTo>
                    <a:pt x="123" y="121"/>
                  </a:lnTo>
                  <a:lnTo>
                    <a:pt x="124" y="122"/>
                  </a:lnTo>
                  <a:lnTo>
                    <a:pt x="118" y="124"/>
                  </a:lnTo>
                  <a:lnTo>
                    <a:pt x="115" y="122"/>
                  </a:lnTo>
                  <a:lnTo>
                    <a:pt x="113" y="121"/>
                  </a:lnTo>
                  <a:lnTo>
                    <a:pt x="109" y="121"/>
                  </a:lnTo>
                  <a:lnTo>
                    <a:pt x="101" y="118"/>
                  </a:lnTo>
                  <a:lnTo>
                    <a:pt x="96" y="118"/>
                  </a:lnTo>
                  <a:lnTo>
                    <a:pt x="92" y="119"/>
                  </a:lnTo>
                  <a:lnTo>
                    <a:pt x="88" y="119"/>
                  </a:lnTo>
                  <a:lnTo>
                    <a:pt x="81" y="123"/>
                  </a:lnTo>
                  <a:lnTo>
                    <a:pt x="75" y="122"/>
                  </a:lnTo>
                  <a:lnTo>
                    <a:pt x="70" y="124"/>
                  </a:lnTo>
                  <a:lnTo>
                    <a:pt x="66" y="122"/>
                  </a:lnTo>
                  <a:lnTo>
                    <a:pt x="63" y="120"/>
                  </a:lnTo>
                  <a:lnTo>
                    <a:pt x="56" y="119"/>
                  </a:lnTo>
                  <a:lnTo>
                    <a:pt x="51" y="122"/>
                  </a:lnTo>
                  <a:lnTo>
                    <a:pt x="48" y="121"/>
                  </a:lnTo>
                  <a:lnTo>
                    <a:pt x="46" y="120"/>
                  </a:lnTo>
                  <a:lnTo>
                    <a:pt x="40" y="120"/>
                  </a:lnTo>
                  <a:lnTo>
                    <a:pt x="40" y="117"/>
                  </a:lnTo>
                  <a:lnTo>
                    <a:pt x="32" y="131"/>
                  </a:lnTo>
                  <a:lnTo>
                    <a:pt x="25" y="125"/>
                  </a:lnTo>
                  <a:lnTo>
                    <a:pt x="22" y="121"/>
                  </a:lnTo>
                  <a:lnTo>
                    <a:pt x="23" y="114"/>
                  </a:lnTo>
                  <a:lnTo>
                    <a:pt x="20" y="113"/>
                  </a:lnTo>
                  <a:lnTo>
                    <a:pt x="13" y="108"/>
                  </a:lnTo>
                  <a:lnTo>
                    <a:pt x="11" y="108"/>
                  </a:lnTo>
                  <a:lnTo>
                    <a:pt x="9" y="105"/>
                  </a:lnTo>
                  <a:lnTo>
                    <a:pt x="10" y="101"/>
                  </a:lnTo>
                  <a:lnTo>
                    <a:pt x="10" y="100"/>
                  </a:lnTo>
                  <a:lnTo>
                    <a:pt x="7" y="98"/>
                  </a:lnTo>
                  <a:lnTo>
                    <a:pt x="6" y="96"/>
                  </a:lnTo>
                  <a:lnTo>
                    <a:pt x="1" y="93"/>
                  </a:lnTo>
                  <a:lnTo>
                    <a:pt x="1" y="92"/>
                  </a:lnTo>
                  <a:lnTo>
                    <a:pt x="4" y="91"/>
                  </a:lnTo>
                  <a:lnTo>
                    <a:pt x="5" y="92"/>
                  </a:lnTo>
                  <a:lnTo>
                    <a:pt x="7" y="91"/>
                  </a:lnTo>
                  <a:lnTo>
                    <a:pt x="6" y="86"/>
                  </a:lnTo>
                  <a:lnTo>
                    <a:pt x="7" y="81"/>
                  </a:lnTo>
                  <a:lnTo>
                    <a:pt x="3" y="78"/>
                  </a:lnTo>
                  <a:lnTo>
                    <a:pt x="1" y="79"/>
                  </a:lnTo>
                  <a:lnTo>
                    <a:pt x="0" y="76"/>
                  </a:lnTo>
                  <a:lnTo>
                    <a:pt x="1" y="74"/>
                  </a:lnTo>
                  <a:lnTo>
                    <a:pt x="1" y="71"/>
                  </a:lnTo>
                  <a:lnTo>
                    <a:pt x="3" y="69"/>
                  </a:lnTo>
                  <a:lnTo>
                    <a:pt x="4" y="68"/>
                  </a:lnTo>
                  <a:lnTo>
                    <a:pt x="4" y="67"/>
                  </a:lnTo>
                  <a:lnTo>
                    <a:pt x="7" y="65"/>
                  </a:lnTo>
                  <a:lnTo>
                    <a:pt x="10" y="64"/>
                  </a:lnTo>
                  <a:lnTo>
                    <a:pt x="13" y="63"/>
                  </a:lnTo>
                  <a:lnTo>
                    <a:pt x="16" y="64"/>
                  </a:lnTo>
                  <a:lnTo>
                    <a:pt x="17" y="63"/>
                  </a:lnTo>
                  <a:lnTo>
                    <a:pt x="18" y="64"/>
                  </a:lnTo>
                  <a:lnTo>
                    <a:pt x="18" y="66"/>
                  </a:lnTo>
                  <a:lnTo>
                    <a:pt x="20" y="67"/>
                  </a:lnTo>
                  <a:lnTo>
                    <a:pt x="23" y="66"/>
                  </a:lnTo>
                  <a:lnTo>
                    <a:pt x="27" y="62"/>
                  </a:lnTo>
                  <a:lnTo>
                    <a:pt x="36" y="64"/>
                  </a:lnTo>
                  <a:lnTo>
                    <a:pt x="40" y="61"/>
                  </a:lnTo>
                  <a:lnTo>
                    <a:pt x="53" y="58"/>
                  </a:lnTo>
                  <a:lnTo>
                    <a:pt x="54" y="56"/>
                  </a:lnTo>
                  <a:lnTo>
                    <a:pt x="55" y="52"/>
                  </a:lnTo>
                  <a:lnTo>
                    <a:pt x="58" y="49"/>
                  </a:lnTo>
                  <a:lnTo>
                    <a:pt x="59" y="49"/>
                  </a:lnTo>
                  <a:lnTo>
                    <a:pt x="59" y="47"/>
                  </a:lnTo>
                  <a:lnTo>
                    <a:pt x="59" y="36"/>
                  </a:lnTo>
                  <a:lnTo>
                    <a:pt x="60" y="34"/>
                  </a:lnTo>
                  <a:lnTo>
                    <a:pt x="57" y="32"/>
                  </a:lnTo>
                  <a:lnTo>
                    <a:pt x="56" y="31"/>
                  </a:lnTo>
                  <a:lnTo>
                    <a:pt x="60" y="30"/>
                  </a:lnTo>
                  <a:lnTo>
                    <a:pt x="69" y="30"/>
                  </a:lnTo>
                  <a:lnTo>
                    <a:pt x="71" y="31"/>
                  </a:lnTo>
                  <a:lnTo>
                    <a:pt x="74" y="32"/>
                  </a:lnTo>
                  <a:lnTo>
                    <a:pt x="75" y="32"/>
                  </a:lnTo>
                  <a:lnTo>
                    <a:pt x="76" y="31"/>
                  </a:lnTo>
                  <a:lnTo>
                    <a:pt x="75" y="29"/>
                  </a:lnTo>
                  <a:lnTo>
                    <a:pt x="81" y="15"/>
                  </a:lnTo>
                  <a:lnTo>
                    <a:pt x="82" y="15"/>
                  </a:lnTo>
                  <a:lnTo>
                    <a:pt x="89" y="18"/>
                  </a:lnTo>
                  <a:lnTo>
                    <a:pt x="92" y="18"/>
                  </a:lnTo>
                  <a:lnTo>
                    <a:pt x="93" y="19"/>
                  </a:lnTo>
                  <a:lnTo>
                    <a:pt x="99" y="17"/>
                  </a:lnTo>
                  <a:lnTo>
                    <a:pt x="100" y="8"/>
                  </a:lnTo>
                  <a:lnTo>
                    <a:pt x="103" y="6"/>
                  </a:lnTo>
                  <a:lnTo>
                    <a:pt x="106" y="6"/>
                  </a:lnTo>
                  <a:lnTo>
                    <a:pt x="108" y="3"/>
                  </a:lnTo>
                  <a:lnTo>
                    <a:pt x="109" y="1"/>
                  </a:lnTo>
                  <a:lnTo>
                    <a:pt x="111" y="0"/>
                  </a:lnTo>
                  <a:lnTo>
                    <a:pt x="115" y="1"/>
                  </a:lnTo>
                  <a:lnTo>
                    <a:pt x="115" y="1"/>
                  </a:lnTo>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sp>
          <p:nvSpPr>
            <p:cNvPr id="413" name="重庆">
              <a:hlinkClick action="ppaction://macro?name=Slide1.重庆_click" highlightClick="1"/>
              <a:hlinkHover action="ppaction://noaction" highlightClick="1"/>
            </p:cNvPr>
            <p:cNvSpPr>
              <a:spLocks noChangeAspect="1"/>
            </p:cNvSpPr>
            <p:nvPr/>
          </p:nvSpPr>
          <p:spPr bwMode="auto">
            <a:xfrm rot="180000">
              <a:off x="4598256" y="4313382"/>
              <a:ext cx="729058" cy="720864"/>
            </a:xfrm>
            <a:custGeom>
              <a:gdLst>
                <a:gd fmla="*/ 7 w 40" name="T0"/>
                <a:gd fmla="*/ 30 h 37" name="T1"/>
                <a:gd fmla="*/ 7 w 40" name="T2"/>
                <a:gd fmla="*/ 30 h 37" name="T3"/>
                <a:gd fmla="*/ 5 w 40" name="T4"/>
                <a:gd fmla="*/ 29 h 37" name="T5"/>
                <a:gd fmla="*/ 3 w 40" name="T6"/>
                <a:gd fmla="*/ 28 h 37" name="T7"/>
                <a:gd fmla="*/ 2 w 40" name="T8"/>
                <a:gd fmla="*/ 26 h 37" name="T9"/>
                <a:gd fmla="*/ 0 w 40" name="T10"/>
                <a:gd fmla="*/ 25 h 37" name="T11"/>
                <a:gd fmla="*/ 1 w 40" name="T12"/>
                <a:gd fmla="*/ 24 h 37" name="T13"/>
                <a:gd fmla="*/ 3 w 40" name="T14"/>
                <a:gd fmla="*/ 22 h 37" name="T15"/>
                <a:gd fmla="*/ 3 w 40" name="T16"/>
                <a:gd fmla="*/ 17 h 37" name="T17"/>
                <a:gd fmla="*/ 4 w 40" name="T18"/>
                <a:gd fmla="*/ 17 h 37" name="T19"/>
                <a:gd fmla="*/ 6 w 40" name="T20"/>
                <a:gd fmla="*/ 16 h 37" name="T21"/>
                <a:gd fmla="*/ 8 w 40" name="T22"/>
                <a:gd fmla="*/ 18 h 37" name="T23"/>
                <a:gd fmla="*/ 10 w 40" name="T24"/>
                <a:gd fmla="*/ 17 h 37" name="T25"/>
                <a:gd fmla="*/ 12 w 40" name="T26"/>
                <a:gd fmla="*/ 19 h 37" name="T27"/>
                <a:gd fmla="*/ 15 w 40" name="T28"/>
                <a:gd fmla="*/ 19 h 37" name="T29"/>
                <a:gd fmla="*/ 15 w 40" name="T30"/>
                <a:gd fmla="*/ 18 h 37" name="T31"/>
                <a:gd fmla="*/ 18 w 40" name="T32"/>
                <a:gd fmla="*/ 16 h 37" name="T33"/>
                <a:gd fmla="*/ 19 w 40" name="T34"/>
                <a:gd fmla="*/ 13 h 37" name="T35"/>
                <a:gd fmla="*/ 21 w 40" name="T36"/>
                <a:gd fmla="*/ 12 h 37" name="T37"/>
                <a:gd fmla="*/ 23 w 40" name="T38"/>
                <a:gd fmla="*/ 11 h 37" name="T39"/>
                <a:gd fmla="*/ 24 w 40" name="T40"/>
                <a:gd fmla="*/ 9 h 37" name="T41"/>
                <a:gd fmla="*/ 25 w 40" name="T42"/>
                <a:gd fmla="*/ 7 h 37" name="T43"/>
                <a:gd fmla="*/ 26 w 40" name="T44"/>
                <a:gd fmla="*/ 5 h 37" name="T45"/>
                <a:gd fmla="*/ 26 w 40" name="T46"/>
                <a:gd fmla="*/ 2 h 37" name="T47"/>
                <a:gd fmla="*/ 25 w 40" name="T48"/>
                <a:gd fmla="*/ 0 h 37" name="T49"/>
                <a:gd fmla="*/ 31 w 40" name="T50"/>
                <a:gd fmla="*/ 2 h 37" name="T51"/>
                <a:gd fmla="*/ 32 w 40" name="T52"/>
                <a:gd fmla="*/ 3 h 37" name="T53"/>
                <a:gd fmla="*/ 35 w 40" name="T54"/>
                <a:gd fmla="*/ 3 h 37" name="T55"/>
                <a:gd fmla="*/ 37 w 40" name="T56"/>
                <a:gd fmla="*/ 3 h 37" name="T57"/>
                <a:gd fmla="*/ 39 w 40" name="T58"/>
                <a:gd fmla="*/ 5 h 37" name="T59"/>
                <a:gd fmla="*/ 40 w 40" name="T60"/>
                <a:gd fmla="*/ 10 h 37" name="T61"/>
                <a:gd fmla="*/ 39 w 40" name="T62"/>
                <a:gd fmla="*/ 12 h 37" name="T63"/>
                <a:gd fmla="*/ 38 w 40" name="T64"/>
                <a:gd fmla="*/ 12 h 37" name="T65"/>
                <a:gd fmla="*/ 34 w 40" name="T66"/>
                <a:gd fmla="*/ 14 h 37" name="T67"/>
                <a:gd fmla="*/ 28 w 40" name="T68"/>
                <a:gd fmla="*/ 15 h 37" name="T69"/>
                <a:gd fmla="*/ 26 w 40" name="T70"/>
                <a:gd fmla="*/ 17 h 37" name="T71"/>
                <a:gd fmla="*/ 28 w 40" name="T72"/>
                <a:gd fmla="*/ 19 h 37" name="T73"/>
                <a:gd fmla="*/ 28 w 40" name="T74"/>
                <a:gd fmla="*/ 22 h 37" name="T75"/>
                <a:gd fmla="*/ 29 w 40" name="T76"/>
                <a:gd fmla="*/ 23 h 37" name="T77"/>
                <a:gd fmla="*/ 34 w 40" name="T78"/>
                <a:gd fmla="*/ 28 h 37" name="T79"/>
                <a:gd fmla="*/ 34 w 40" name="T80"/>
                <a:gd fmla="*/ 35 h 37" name="T81"/>
                <a:gd fmla="*/ 31 w 40" name="T82"/>
                <a:gd fmla="*/ 37 h 37" name="T83"/>
                <a:gd fmla="*/ 29 w 40" name="T84"/>
                <a:gd fmla="*/ 34 h 37" name="T85"/>
                <a:gd fmla="*/ 26 w 40" name="T86"/>
                <a:gd fmla="*/ 31 h 37" name="T87"/>
                <a:gd fmla="*/ 26 w 40" name="T88"/>
                <a:gd fmla="*/ 29 h 37" name="T89"/>
                <a:gd fmla="*/ 24 w 40" name="T90"/>
                <a:gd fmla="*/ 29 h 37" name="T91"/>
                <a:gd fmla="*/ 22 w 40" name="T92"/>
                <a:gd fmla="*/ 30 h 37" name="T93"/>
                <a:gd fmla="*/ 19 w 40" name="T94"/>
                <a:gd fmla="*/ 28 h 37" name="T95"/>
                <a:gd fmla="*/ 17 w 40" name="T96"/>
                <a:gd fmla="*/ 32 h 37" name="T97"/>
                <a:gd fmla="*/ 15 w 40" name="T98"/>
                <a:gd fmla="*/ 32 h 37" name="T99"/>
                <a:gd fmla="*/ 13 w 40" name="T100"/>
                <a:gd fmla="*/ 35 h 37" name="T101"/>
                <a:gd fmla="*/ 11 w 40" name="T102"/>
                <a:gd fmla="*/ 34 h 37" name="T103"/>
                <a:gd fmla="*/ 9 w 40" name="T104"/>
                <a:gd fmla="*/ 35 h 37" name="T105"/>
                <a:gd fmla="*/ 6 w 40" name="T106"/>
                <a:gd fmla="*/ 33 h 37" name="T107"/>
                <a:gd fmla="*/ 7 w 40" name="T108"/>
                <a:gd fmla="*/ 30 h 37" name="T10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b="b" l="0" r="r" t="0"/>
              <a:pathLst>
                <a:path h="37" w="40">
                  <a:moveTo>
                    <a:pt x="7" y="30"/>
                  </a:moveTo>
                  <a:lnTo>
                    <a:pt x="7" y="30"/>
                  </a:lnTo>
                  <a:lnTo>
                    <a:pt x="5" y="29"/>
                  </a:lnTo>
                  <a:lnTo>
                    <a:pt x="3" y="28"/>
                  </a:lnTo>
                  <a:lnTo>
                    <a:pt x="2" y="26"/>
                  </a:lnTo>
                  <a:lnTo>
                    <a:pt x="0" y="25"/>
                  </a:lnTo>
                  <a:lnTo>
                    <a:pt x="1" y="24"/>
                  </a:lnTo>
                  <a:lnTo>
                    <a:pt x="3" y="22"/>
                  </a:lnTo>
                  <a:lnTo>
                    <a:pt x="3" y="17"/>
                  </a:lnTo>
                  <a:lnTo>
                    <a:pt x="4" y="17"/>
                  </a:lnTo>
                  <a:lnTo>
                    <a:pt x="6" y="16"/>
                  </a:lnTo>
                  <a:lnTo>
                    <a:pt x="8" y="18"/>
                  </a:lnTo>
                  <a:lnTo>
                    <a:pt x="10" y="17"/>
                  </a:lnTo>
                  <a:lnTo>
                    <a:pt x="12" y="19"/>
                  </a:lnTo>
                  <a:lnTo>
                    <a:pt x="15" y="19"/>
                  </a:lnTo>
                  <a:lnTo>
                    <a:pt x="15" y="18"/>
                  </a:lnTo>
                  <a:lnTo>
                    <a:pt x="18" y="16"/>
                  </a:lnTo>
                  <a:lnTo>
                    <a:pt x="19" y="13"/>
                  </a:lnTo>
                  <a:lnTo>
                    <a:pt x="21" y="12"/>
                  </a:lnTo>
                  <a:lnTo>
                    <a:pt x="23" y="11"/>
                  </a:lnTo>
                  <a:lnTo>
                    <a:pt x="24" y="9"/>
                  </a:lnTo>
                  <a:lnTo>
                    <a:pt x="25" y="7"/>
                  </a:lnTo>
                  <a:lnTo>
                    <a:pt x="26" y="5"/>
                  </a:lnTo>
                  <a:lnTo>
                    <a:pt x="26" y="2"/>
                  </a:lnTo>
                  <a:lnTo>
                    <a:pt x="25" y="0"/>
                  </a:lnTo>
                  <a:lnTo>
                    <a:pt x="31" y="2"/>
                  </a:lnTo>
                  <a:lnTo>
                    <a:pt x="32" y="3"/>
                  </a:lnTo>
                  <a:lnTo>
                    <a:pt x="35" y="3"/>
                  </a:lnTo>
                  <a:lnTo>
                    <a:pt x="37" y="3"/>
                  </a:lnTo>
                  <a:lnTo>
                    <a:pt x="39" y="5"/>
                  </a:lnTo>
                  <a:lnTo>
                    <a:pt x="40" y="10"/>
                  </a:lnTo>
                  <a:lnTo>
                    <a:pt x="39" y="12"/>
                  </a:lnTo>
                  <a:lnTo>
                    <a:pt x="38" y="12"/>
                  </a:lnTo>
                  <a:lnTo>
                    <a:pt x="34" y="14"/>
                  </a:lnTo>
                  <a:lnTo>
                    <a:pt x="28" y="15"/>
                  </a:lnTo>
                  <a:lnTo>
                    <a:pt x="26" y="17"/>
                  </a:lnTo>
                  <a:lnTo>
                    <a:pt x="28" y="19"/>
                  </a:lnTo>
                  <a:lnTo>
                    <a:pt x="28" y="22"/>
                  </a:lnTo>
                  <a:lnTo>
                    <a:pt x="29" y="23"/>
                  </a:lnTo>
                  <a:lnTo>
                    <a:pt x="34" y="28"/>
                  </a:lnTo>
                  <a:lnTo>
                    <a:pt x="34" y="35"/>
                  </a:lnTo>
                  <a:lnTo>
                    <a:pt x="31" y="37"/>
                  </a:lnTo>
                  <a:lnTo>
                    <a:pt x="29" y="34"/>
                  </a:lnTo>
                  <a:lnTo>
                    <a:pt x="26" y="31"/>
                  </a:lnTo>
                  <a:lnTo>
                    <a:pt x="26" y="29"/>
                  </a:lnTo>
                  <a:lnTo>
                    <a:pt x="24" y="29"/>
                  </a:lnTo>
                  <a:lnTo>
                    <a:pt x="22" y="30"/>
                  </a:lnTo>
                  <a:lnTo>
                    <a:pt x="19" y="28"/>
                  </a:lnTo>
                  <a:lnTo>
                    <a:pt x="17" y="32"/>
                  </a:lnTo>
                  <a:lnTo>
                    <a:pt x="15" y="32"/>
                  </a:lnTo>
                  <a:lnTo>
                    <a:pt x="13" y="35"/>
                  </a:lnTo>
                  <a:lnTo>
                    <a:pt x="11" y="34"/>
                  </a:lnTo>
                  <a:lnTo>
                    <a:pt x="9" y="35"/>
                  </a:lnTo>
                  <a:lnTo>
                    <a:pt x="6" y="33"/>
                  </a:lnTo>
                  <a:lnTo>
                    <a:pt x="7" y="30"/>
                  </a:lnTo>
                  <a:close/>
                </a:path>
              </a:pathLst>
            </a:custGeom>
            <a:solidFill>
              <a:schemeClr val="bg1">
                <a:lumMod val="75000"/>
              </a:schemeClr>
            </a:solidFill>
            <a:ln cap="flat" cmpd="sng" w="3175">
              <a:solidFill>
                <a:schemeClr val="bg1"/>
              </a:solidFill>
              <a:prstDash val="solid"/>
              <a:round/>
              <a:headEnd len="med" type="none" w="med"/>
              <a:tailEnd len="med" type="none" w="med"/>
            </a:ln>
            <a:effectLst/>
            <a:extLst/>
          </p:spPr>
          <p:txBody>
            <a:bodyPr/>
            <a:lstStyle/>
            <a:p>
              <a:endParaRPr altLang="en-US" lang="zh-CN"/>
            </a:p>
          </p:txBody>
        </p:sp>
      </p:grpSp>
      <p:cxnSp>
        <p:nvCxnSpPr>
          <p:cNvPr id="604" name="直接连接符 603"/>
          <p:cNvCxnSpPr/>
          <p:nvPr/>
        </p:nvCxnSpPr>
        <p:spPr>
          <a:xfrm flipV="1">
            <a:off x="1971491" y="3643313"/>
            <a:ext cx="3095474" cy="2013887"/>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609" name="组合 608"/>
          <p:cNvGrpSpPr/>
          <p:nvPr/>
        </p:nvGrpSpPr>
        <p:grpSpPr>
          <a:xfrm>
            <a:off x="7205765" y="3042065"/>
            <a:ext cx="4541033" cy="1163041"/>
            <a:chOff x="4513033" y="2200671"/>
            <a:chExt cx="4541033" cy="1163041"/>
          </a:xfrm>
        </p:grpSpPr>
        <p:sp>
          <p:nvSpPr>
            <p:cNvPr id="610" name="Freeform 195"/>
            <p:cNvSpPr/>
            <p:nvPr/>
          </p:nvSpPr>
          <p:spPr bwMode="auto">
            <a:xfrm>
              <a:off x="4513033" y="2645319"/>
              <a:ext cx="4437680" cy="718393"/>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sp>
          <p:nvSpPr>
            <p:cNvPr id="611" name="矩形 610"/>
            <p:cNvSpPr/>
            <p:nvPr/>
          </p:nvSpPr>
          <p:spPr>
            <a:xfrm>
              <a:off x="5667374" y="2200671"/>
              <a:ext cx="1531123" cy="457200"/>
            </a:xfrm>
            <a:prstGeom prst="rect">
              <a:avLst/>
            </a:prstGeom>
            <a:ln>
              <a:noFill/>
            </a:ln>
          </p:spPr>
          <p:txBody>
            <a:bodyPr wrap="square">
              <a:spAutoFit/>
            </a:bodyPr>
            <a:lstStyle/>
            <a:p>
              <a:r>
                <a:rPr altLang="en-US" lang="zh-CN" smtClean="0" sz="2400">
                  <a:solidFill>
                    <a:schemeClr val="tx1">
                      <a:lumMod val="65000"/>
                      <a:lumOff val="35000"/>
                    </a:schemeClr>
                  </a:solidFill>
                  <a:latin charset="0" panose="020b0502020202020204" pitchFamily="34" typeface="Century Gothic"/>
                  <a:ea charset="-122" panose="02010604000101010101" pitchFamily="2" typeface="汉仪特细等线简"/>
                </a:rPr>
                <a:t>小标题</a:t>
              </a:r>
            </a:p>
          </p:txBody>
        </p:sp>
        <p:sp>
          <p:nvSpPr>
            <p:cNvPr id="612" name="文本框 611"/>
            <p:cNvSpPr txBox="1"/>
            <p:nvPr/>
          </p:nvSpPr>
          <p:spPr>
            <a:xfrm>
              <a:off x="5667374" y="2679352"/>
              <a:ext cx="3386691" cy="579120"/>
            </a:xfrm>
            <a:prstGeom prst="rect">
              <a:avLst/>
            </a:prstGeom>
            <a:noFill/>
          </p:spPr>
          <p:txBody>
            <a:bodyPr rtlCol="0" wrap="square">
              <a:spAutoFit/>
            </a:bodyPr>
            <a:lstStyle/>
            <a:p>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此处输入文字此处输入文字</a:t>
              </a:r>
            </a:p>
            <a:p>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此处输入文字此处输入文字. </a:t>
              </a:r>
            </a:p>
          </p:txBody>
        </p:sp>
      </p:grpSp>
      <p:grpSp>
        <p:nvGrpSpPr>
          <p:cNvPr id="613" name="组合 612"/>
          <p:cNvGrpSpPr/>
          <p:nvPr/>
        </p:nvGrpSpPr>
        <p:grpSpPr>
          <a:xfrm flipH="1">
            <a:off x="394360" y="2300965"/>
            <a:ext cx="4476101" cy="1163041"/>
            <a:chOff x="4513033" y="2200671"/>
            <a:chExt cx="4527960" cy="1163041"/>
          </a:xfrm>
        </p:grpSpPr>
        <p:sp>
          <p:nvSpPr>
            <p:cNvPr id="614" name="Freeform 195"/>
            <p:cNvSpPr/>
            <p:nvPr/>
          </p:nvSpPr>
          <p:spPr bwMode="auto">
            <a:xfrm>
              <a:off x="4513033" y="2645319"/>
              <a:ext cx="4437680" cy="718393"/>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sp>
          <p:nvSpPr>
            <p:cNvPr id="615" name="矩形 614"/>
            <p:cNvSpPr/>
            <p:nvPr/>
          </p:nvSpPr>
          <p:spPr>
            <a:xfrm>
              <a:off x="5986713" y="2200671"/>
              <a:ext cx="1531123" cy="457200"/>
            </a:xfrm>
            <a:prstGeom prst="rect">
              <a:avLst/>
            </a:prstGeom>
            <a:ln>
              <a:noFill/>
            </a:ln>
          </p:spPr>
          <p:txBody>
            <a:bodyPr wrap="square">
              <a:spAutoFit/>
            </a:bodyPr>
            <a:lstStyle/>
            <a:p>
              <a:r>
                <a:rPr altLang="en-US" lang="zh-CN" smtClean="0" sz="2400">
                  <a:solidFill>
                    <a:schemeClr val="tx1">
                      <a:lumMod val="65000"/>
                      <a:lumOff val="35000"/>
                    </a:schemeClr>
                  </a:solidFill>
                  <a:latin charset="0" panose="020b0502020202020204" pitchFamily="34" typeface="Century Gothic"/>
                  <a:ea charset="-122" panose="02010604000101010101" pitchFamily="2" typeface="汉仪特细等线简"/>
                </a:rPr>
                <a:t>小标题</a:t>
              </a:r>
            </a:p>
          </p:txBody>
        </p:sp>
        <p:sp>
          <p:nvSpPr>
            <p:cNvPr id="616" name="文本框 615"/>
            <p:cNvSpPr txBox="1"/>
            <p:nvPr/>
          </p:nvSpPr>
          <p:spPr>
            <a:xfrm>
              <a:off x="5654302" y="2679352"/>
              <a:ext cx="3386691" cy="579120"/>
            </a:xfrm>
            <a:prstGeom prst="rect">
              <a:avLst/>
            </a:prstGeom>
            <a:noFill/>
          </p:spPr>
          <p:txBody>
            <a:bodyPr rtlCol="0" wrap="square">
              <a:spAutoFit/>
            </a:bodyPr>
            <a:lstStyle/>
            <a:p>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此处输入文字此处输入文字</a:t>
              </a:r>
            </a:p>
            <a:p>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此处输入文字此处输入文字</a:t>
              </a:r>
            </a:p>
          </p:txBody>
        </p:sp>
      </p:grpSp>
      <p:grpSp>
        <p:nvGrpSpPr>
          <p:cNvPr id="617" name="组合 616"/>
          <p:cNvGrpSpPr/>
          <p:nvPr/>
        </p:nvGrpSpPr>
        <p:grpSpPr>
          <a:xfrm flipH="1">
            <a:off x="4347494" y="1079926"/>
            <a:ext cx="3108679" cy="1163041"/>
            <a:chOff x="4513035" y="2200671"/>
            <a:chExt cx="3641122" cy="1163041"/>
          </a:xfrm>
        </p:grpSpPr>
        <p:sp>
          <p:nvSpPr>
            <p:cNvPr id="618" name="Freeform 195"/>
            <p:cNvSpPr/>
            <p:nvPr/>
          </p:nvSpPr>
          <p:spPr bwMode="auto">
            <a:xfrm>
              <a:off x="4513035" y="2645319"/>
              <a:ext cx="3633518" cy="718393"/>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sp>
          <p:nvSpPr>
            <p:cNvPr id="619" name="矩形 618"/>
            <p:cNvSpPr/>
            <p:nvPr/>
          </p:nvSpPr>
          <p:spPr>
            <a:xfrm>
              <a:off x="4630621" y="2200671"/>
              <a:ext cx="1781325" cy="457200"/>
            </a:xfrm>
            <a:prstGeom prst="rect">
              <a:avLst/>
            </a:prstGeom>
            <a:ln>
              <a:noFill/>
            </a:ln>
          </p:spPr>
          <p:txBody>
            <a:bodyPr wrap="square">
              <a:spAutoFit/>
            </a:bodyPr>
            <a:lstStyle/>
            <a:p>
              <a:r>
                <a:rPr altLang="en-US" lang="zh-CN" smtClean="0" sz="2400">
                  <a:solidFill>
                    <a:schemeClr val="tx1">
                      <a:lumMod val="65000"/>
                      <a:lumOff val="35000"/>
                    </a:schemeClr>
                  </a:solidFill>
                  <a:latin charset="0" panose="020b0502020202020204" pitchFamily="34" typeface="Century Gothic"/>
                  <a:ea charset="-122" panose="02010604000101010101" pitchFamily="2" typeface="汉仪特细等线简"/>
                </a:rPr>
                <a:t>小标题</a:t>
              </a:r>
            </a:p>
          </p:txBody>
        </p:sp>
        <p:sp>
          <p:nvSpPr>
            <p:cNvPr id="620" name="文本框 619"/>
            <p:cNvSpPr txBox="1"/>
            <p:nvPr/>
          </p:nvSpPr>
          <p:spPr>
            <a:xfrm>
              <a:off x="4628958" y="2737452"/>
              <a:ext cx="3525199" cy="579120"/>
            </a:xfrm>
            <a:prstGeom prst="rect">
              <a:avLst/>
            </a:prstGeom>
            <a:noFill/>
          </p:spPr>
          <p:txBody>
            <a:bodyPr rtlCol="0" wrap="square">
              <a:spAutoFit/>
            </a:bodyPr>
            <a:lstStyle/>
            <a:p>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此处输入文字此处输入文字</a:t>
              </a:r>
            </a:p>
            <a:p>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此处输入文字此处输入文字 </a:t>
              </a:r>
            </a:p>
          </p:txBody>
        </p:sp>
      </p:grpSp>
      <p:grpSp>
        <p:nvGrpSpPr>
          <p:cNvPr id="621" name="组合 620"/>
          <p:cNvGrpSpPr/>
          <p:nvPr/>
        </p:nvGrpSpPr>
        <p:grpSpPr>
          <a:xfrm>
            <a:off x="5487484" y="3993317"/>
            <a:ext cx="3883784" cy="1163041"/>
            <a:chOff x="4513034" y="2200671"/>
            <a:chExt cx="3883784" cy="1163041"/>
          </a:xfrm>
        </p:grpSpPr>
        <p:sp>
          <p:nvSpPr>
            <p:cNvPr id="622" name="Freeform 195"/>
            <p:cNvSpPr/>
            <p:nvPr/>
          </p:nvSpPr>
          <p:spPr bwMode="auto">
            <a:xfrm>
              <a:off x="4513034" y="2645319"/>
              <a:ext cx="3298746" cy="718393"/>
            </a:xfrm>
            <a:custGeom>
              <a:cxnLst>
                <a:cxn ang="0">
                  <a:pos x="5" y="158"/>
                </a:cxn>
                <a:cxn ang="0">
                  <a:pos x="0" y="153"/>
                </a:cxn>
                <a:cxn ang="0">
                  <a:pos x="151" y="0"/>
                </a:cxn>
                <a:cxn ang="0">
                  <a:pos x="1061" y="0"/>
                </a:cxn>
                <a:cxn ang="0">
                  <a:pos x="1061" y="9"/>
                </a:cxn>
                <a:cxn ang="0">
                  <a:pos x="156" y="9"/>
                </a:cxn>
                <a:cxn ang="0">
                  <a:pos x="5" y="158"/>
                </a:cxn>
              </a:cxnLst>
              <a:rect b="b" l="0" r="r" t="0"/>
              <a:pathLst>
                <a:path h="158" w="1061">
                  <a:moveTo>
                    <a:pt x="5" y="158"/>
                  </a:moveTo>
                  <a:lnTo>
                    <a:pt x="0" y="153"/>
                  </a:lnTo>
                  <a:lnTo>
                    <a:pt x="151" y="0"/>
                  </a:lnTo>
                  <a:lnTo>
                    <a:pt x="1061" y="0"/>
                  </a:lnTo>
                  <a:lnTo>
                    <a:pt x="1061" y="9"/>
                  </a:lnTo>
                  <a:lnTo>
                    <a:pt x="156" y="9"/>
                  </a:lnTo>
                  <a:lnTo>
                    <a:pt x="5" y="158"/>
                  </a:lnTo>
                  <a:close/>
                </a:path>
              </a:pathLst>
            </a:custGeom>
            <a:solidFill>
              <a:schemeClr val="bg1">
                <a:lumMod val="65000"/>
                <a:alpha val="70000"/>
              </a:schemeClr>
            </a:solidFill>
            <a:ln w="9525">
              <a:noFill/>
              <a:round/>
            </a:ln>
          </p:spPr>
          <p:txBody>
            <a:bodyPr anchor="t" anchorCtr="0" bIns="45720" compatLnSpc="1" lIns="91440" numCol="1" rIns="91440" tIns="45720" vert="horz" wrap="square">
              <a:prstTxWarp prst="textNoShape">
                <a:avLst/>
              </a:prstTxWarp>
            </a:bodyPr>
            <a:lstStyle/>
            <a:p>
              <a:endParaRPr altLang="en-US" lang="zh-CN" sz="2000">
                <a:latin charset="0" panose="020b0502020202020204" pitchFamily="34" typeface="Century Gothic"/>
              </a:endParaRPr>
            </a:p>
          </p:txBody>
        </p:sp>
        <p:sp>
          <p:nvSpPr>
            <p:cNvPr id="623" name="矩形 622"/>
            <p:cNvSpPr/>
            <p:nvPr/>
          </p:nvSpPr>
          <p:spPr>
            <a:xfrm>
              <a:off x="5010128" y="2200671"/>
              <a:ext cx="1531123" cy="457200"/>
            </a:xfrm>
            <a:prstGeom prst="rect">
              <a:avLst/>
            </a:prstGeom>
            <a:ln>
              <a:noFill/>
            </a:ln>
          </p:spPr>
          <p:txBody>
            <a:bodyPr wrap="square">
              <a:spAutoFit/>
            </a:bodyPr>
            <a:lstStyle/>
            <a:p>
              <a:r>
                <a:rPr altLang="en-US" lang="zh-CN" smtClean="0" sz="2400">
                  <a:solidFill>
                    <a:schemeClr val="tx1">
                      <a:lumMod val="65000"/>
                      <a:lumOff val="35000"/>
                    </a:schemeClr>
                  </a:solidFill>
                  <a:latin charset="-122" panose="020b0503020204020204" pitchFamily="34" typeface="微软雅黑"/>
                  <a:ea charset="-122" panose="020b0503020204020204" pitchFamily="34" typeface="微软雅黑"/>
                </a:rPr>
                <a:t>小标题</a:t>
              </a:r>
            </a:p>
          </p:txBody>
        </p:sp>
        <p:sp>
          <p:nvSpPr>
            <p:cNvPr id="624" name="文本框 623"/>
            <p:cNvSpPr txBox="1"/>
            <p:nvPr/>
          </p:nvSpPr>
          <p:spPr>
            <a:xfrm>
              <a:off x="5010128" y="2679352"/>
              <a:ext cx="3386691" cy="579120"/>
            </a:xfrm>
            <a:prstGeom prst="rect">
              <a:avLst/>
            </a:prstGeom>
            <a:noFill/>
          </p:spPr>
          <p:txBody>
            <a:bodyPr rtlCol="0" wrap="square">
              <a:spAutoFit/>
            </a:bodyPr>
            <a:lstStyle/>
            <a:p>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此处输入文字此处输入文字</a:t>
              </a:r>
            </a:p>
            <a:p>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此处输入文字此处输入文字 </a:t>
              </a:r>
            </a:p>
          </p:txBody>
        </p:sp>
      </p:grpSp>
      <p:sp>
        <p:nvSpPr>
          <p:cNvPr id="625" name="矩形 624"/>
          <p:cNvSpPr/>
          <p:nvPr/>
        </p:nvSpPr>
        <p:spPr>
          <a:xfrm>
            <a:off x="0" y="4513807"/>
            <a:ext cx="4655183" cy="2344193"/>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77" name="椭圆 376"/>
          <p:cNvSpPr/>
          <p:nvPr/>
        </p:nvSpPr>
        <p:spPr>
          <a:xfrm>
            <a:off x="3981036" y="2632049"/>
            <a:ext cx="1588554" cy="1588554"/>
          </a:xfrm>
          <a:prstGeom prst="ellipse">
            <a:avLst/>
          </a:prstGeom>
          <a:noFill/>
          <a:ln w="38100">
            <a:solidFill>
              <a:srgbClr val="E00024"/>
            </a:solidFill>
            <a:prstDash val="lg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43" name="文本框 242"/>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Tree>
    <p:extLst>
      <p:ext uri="{BB962C8B-B14F-4D97-AF65-F5344CB8AC3E}">
        <p14:creationId val="2585229866"/>
      </p:ext>
    </p:extLst>
  </p:cSld>
  <p:clrMapOvr>
    <a:masterClrMapping/>
  </p:clrMapOvr>
  <mc:AlternateContent>
    <mc:Choice Requires="p15">
      <p:transition p14:dur="1250" spd="slow">
        <p15:prstTrans prst="pageCurlDoubl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600"/>
                            </p:stCondLst>
                            <p:childTnLst>
                              <p:par>
                                <p:cTn fill="hold" id="5" nodeType="withEffect" presetClass="entr" presetID="22" presetSubtype="2">
                                  <p:stCondLst>
                                    <p:cond delay="0"/>
                                  </p:stCondLst>
                                  <p:childTnLst>
                                    <p:set>
                                      <p:cBhvr>
                                        <p:cTn dur="1" fill="hold" id="6">
                                          <p:stCondLst>
                                            <p:cond delay="0"/>
                                          </p:stCondLst>
                                        </p:cTn>
                                        <p:tgtEl>
                                          <p:spTgt spid="617"/>
                                        </p:tgtEl>
                                        <p:attrNameLst>
                                          <p:attrName>style.visibility</p:attrName>
                                        </p:attrNameLst>
                                      </p:cBhvr>
                                      <p:to>
                                        <p:strVal val="visible"/>
                                      </p:to>
                                    </p:set>
                                    <p:animEffect filter="wipe(right)" transition="in">
                                      <p:cBhvr>
                                        <p:cTn dur="500" id="7"/>
                                        <p:tgtEl>
                                          <p:spTgt spid="617"/>
                                        </p:tgtEl>
                                      </p:cBhvr>
                                    </p:animEffect>
                                  </p:childTnLst>
                                </p:cTn>
                              </p:par>
                              <p:par>
                                <p:cTn fill="hold" id="8" nodeType="withEffect" presetClass="entr" presetID="22" presetSubtype="8">
                                  <p:stCondLst>
                                    <p:cond delay="0"/>
                                  </p:stCondLst>
                                  <p:childTnLst>
                                    <p:set>
                                      <p:cBhvr>
                                        <p:cTn dur="1" fill="hold" id="9">
                                          <p:stCondLst>
                                            <p:cond delay="0"/>
                                          </p:stCondLst>
                                        </p:cTn>
                                        <p:tgtEl>
                                          <p:spTgt spid="621"/>
                                        </p:tgtEl>
                                        <p:attrNameLst>
                                          <p:attrName>style.visibility</p:attrName>
                                        </p:attrNameLst>
                                      </p:cBhvr>
                                      <p:to>
                                        <p:strVal val="visible"/>
                                      </p:to>
                                    </p:set>
                                    <p:animEffect filter="wipe(left)" transition="in">
                                      <p:cBhvr>
                                        <p:cTn dur="500" id="10"/>
                                        <p:tgtEl>
                                          <p:spTgt spid="621"/>
                                        </p:tgtEl>
                                      </p:cBhvr>
                                    </p:animEffect>
                                  </p:childTnLst>
                                </p:cTn>
                              </p:par>
                            </p:childTnLst>
                          </p:cTn>
                        </p:par>
                      </p:childTnLst>
                    </p:cTn>
                  </p:par>
                  <p:par>
                    <p:cTn fill="hold" id="11" nodeType="clickPar">
                      <p:stCondLst>
                        <p:cond delay="indefinite"/>
                        <p:cond delay="0" evt="onBegin">
                          <p:tn val="10"/>
                        </p:cond>
                      </p:stCondLst>
                      <p:childTnLst>
                        <p:par>
                          <p:cTn fill="hold" id="12" nodeType="afterGroup">
                            <p:stCondLst>
                              <p:cond delay="0"/>
                            </p:stCondLst>
                            <p:childTnLst>
                              <p:par>
                                <p:cTn fill="hold" grpId="4" id="13" nodeType="clickEffect" presetClass="entr" presetID="10" presetSubtype="0">
                                  <p:stCondLst>
                                    <p:cond delay="0"/>
                                  </p:stCondLst>
                                  <p:childTnLst>
                                    <p:set>
                                      <p:cBhvr>
                                        <p:cTn dur="1" fill="hold" id="14">
                                          <p:stCondLst>
                                            <p:cond delay="0"/>
                                          </p:stCondLst>
                                        </p:cTn>
                                        <p:tgtEl>
                                          <p:spTgt spid="377"/>
                                        </p:tgtEl>
                                        <p:attrNameLst>
                                          <p:attrName>style.visibility</p:attrName>
                                        </p:attrNameLst>
                                      </p:cBhvr>
                                      <p:to>
                                        <p:strVal val="visible"/>
                                      </p:to>
                                    </p:set>
                                    <p:animEffect filter="fade" transition="in">
                                      <p:cBhvr>
                                        <p:cTn dur="10" id="15"/>
                                        <p:tgtEl>
                                          <p:spTgt spid="377"/>
                                        </p:tgtEl>
                                      </p:cBhvr>
                                    </p:animEffect>
                                  </p:childTnLst>
                                </p:cTn>
                              </p:par>
                              <p:par>
                                <p:cTn fill="hold" id="16" nodeType="withEffect" presetClass="exit" presetID="10" presetSubtype="0">
                                  <p:stCondLst>
                                    <p:cond delay="0"/>
                                  </p:stCondLst>
                                  <p:childTnLst>
                                    <p:animEffect filter="fade" transition="out">
                                      <p:cBhvr>
                                        <p:cTn dur="10" id="17"/>
                                        <p:tgtEl>
                                          <p:spTgt spid="617"/>
                                        </p:tgtEl>
                                      </p:cBhvr>
                                    </p:animEffect>
                                    <p:set>
                                      <p:cBhvr>
                                        <p:cTn dur="1" fill="hold" id="18">
                                          <p:stCondLst>
                                            <p:cond delay="9"/>
                                          </p:stCondLst>
                                        </p:cTn>
                                        <p:tgtEl>
                                          <p:spTgt spid="617"/>
                                        </p:tgtEl>
                                        <p:attrNameLst>
                                          <p:attrName>style.visibility</p:attrName>
                                        </p:attrNameLst>
                                      </p:cBhvr>
                                      <p:to>
                                        <p:strVal val="hidden"/>
                                      </p:to>
                                    </p:set>
                                  </p:childTnLst>
                                </p:cTn>
                              </p:par>
                              <p:par>
                                <p:cTn fill="hold" id="19" nodeType="withEffect" presetClass="exit" presetID="10" presetSubtype="0">
                                  <p:stCondLst>
                                    <p:cond delay="0"/>
                                  </p:stCondLst>
                                  <p:childTnLst>
                                    <p:animEffect filter="fade" transition="out">
                                      <p:cBhvr>
                                        <p:cTn dur="10" id="20"/>
                                        <p:tgtEl>
                                          <p:spTgt spid="621"/>
                                        </p:tgtEl>
                                      </p:cBhvr>
                                    </p:animEffect>
                                    <p:set>
                                      <p:cBhvr>
                                        <p:cTn dur="1" fill="hold" id="21">
                                          <p:stCondLst>
                                            <p:cond delay="9"/>
                                          </p:stCondLst>
                                        </p:cTn>
                                        <p:tgtEl>
                                          <p:spTgt spid="621"/>
                                        </p:tgtEl>
                                        <p:attrNameLst>
                                          <p:attrName>style.visibility</p:attrName>
                                        </p:attrNameLst>
                                      </p:cBhvr>
                                      <p:to>
                                        <p:strVal val="hidden"/>
                                      </p:to>
                                    </p:set>
                                  </p:childTnLst>
                                </p:cTn>
                              </p:par>
                              <p:par>
                                <p:cTn accel="50000" decel="50000" fill="hold" grpId="3" id="22" nodeType="withEffect" presetClass="path" presetID="56" presetSubtype="0">
                                  <p:stCondLst>
                                    <p:cond delay="0"/>
                                  </p:stCondLst>
                                  <p:childTnLst>
                                    <p:animMotion origin="layout" path="M 3.33333E-06 2.96296E-06 L -0.25131 0.32546" pathEditMode="relative" ptsTypes="AA" rAng="0">
                                      <p:cBhvr>
                                        <p:cTn dur="2000" fill="hold" id="23"/>
                                        <p:tgtEl>
                                          <p:spTgt spid="377"/>
                                        </p:tgtEl>
                                        <p:attrNameLst>
                                          <p:attrName>ppt_x</p:attrName>
                                          <p:attrName>ppt_y</p:attrName>
                                        </p:attrNameLst>
                                      </p:cBhvr>
                                      <p:rCtr x="-12565" y="16273"/>
                                    </p:animMotion>
                                  </p:childTnLst>
                                </p:cTn>
                              </p:par>
                              <p:par>
                                <p:cTn fill="hold" id="24" nodeType="withEffect" presetClass="emph" presetID="6" presetSubtype="0">
                                  <p:stCondLst>
                                    <p:cond delay="0"/>
                                  </p:stCondLst>
                                  <p:childTnLst>
                                    <p:animScale>
                                      <p:cBhvr>
                                        <p:cTn dur="2000" fill="hold" id="25"/>
                                        <p:tgtEl>
                                          <p:spTgt spid="417"/>
                                        </p:tgtEl>
                                      </p:cBhvr>
                                      <p:by x="50000" y="50000"/>
                                    </p:animScale>
                                  </p:childTnLst>
                                </p:cTn>
                              </p:par>
                              <p:par>
                                <p:cTn fill="hold" grpId="2" id="26" nodeType="withEffect" presetClass="emph" presetID="6" presetSubtype="0">
                                  <p:stCondLst>
                                    <p:cond delay="0"/>
                                  </p:stCondLst>
                                  <p:childTnLst>
                                    <p:animScale>
                                      <p:cBhvr>
                                        <p:cTn dur="2000" fill="hold" id="27"/>
                                        <p:tgtEl>
                                          <p:spTgt spid="377"/>
                                        </p:tgtEl>
                                      </p:cBhvr>
                                      <p:by x="50000" y="50000"/>
                                    </p:animScale>
                                  </p:childTnLst>
                                </p:cTn>
                              </p:par>
                              <p:par>
                                <p:cTn accel="50000" decel="50000" fill="hold" id="28" nodeType="withEffect" presetClass="path" presetID="56" presetSubtype="0">
                                  <p:stCondLst>
                                    <p:cond delay="0"/>
                                  </p:stCondLst>
                                  <p:childTnLst>
                                    <p:animMotion origin="layout" path="M 2.70833E-06 -1.11111E-06 L -0.30768 0.30949" pathEditMode="relative" ptsTypes="AA" rAng="0">
                                      <p:cBhvr>
                                        <p:cTn dur="2000" fill="hold" id="29"/>
                                        <p:tgtEl>
                                          <p:spTgt spid="417"/>
                                        </p:tgtEl>
                                        <p:attrNameLst>
                                          <p:attrName>ppt_x</p:attrName>
                                          <p:attrName>ppt_y</p:attrName>
                                        </p:attrNameLst>
                                      </p:cBhvr>
                                      <p:rCtr x="-15391" y="15463"/>
                                    </p:animMotion>
                                  </p:childTnLst>
                                </p:cTn>
                              </p:par>
                            </p:childTnLst>
                          </p:cTn>
                        </p:par>
                        <p:par>
                          <p:cTn fill="hold" id="30" nodeType="afterGroup">
                            <p:stCondLst>
                              <p:cond delay="2000"/>
                            </p:stCondLst>
                            <p:childTnLst>
                              <p:par>
                                <p:cTn fill="hold" id="31" nodeType="afterEffect" presetClass="entr" presetID="22" presetSubtype="4">
                                  <p:stCondLst>
                                    <p:cond delay="0"/>
                                  </p:stCondLst>
                                  <p:childTnLst>
                                    <p:set>
                                      <p:cBhvr>
                                        <p:cTn dur="1" fill="hold" id="32">
                                          <p:stCondLst>
                                            <p:cond delay="0"/>
                                          </p:stCondLst>
                                        </p:cTn>
                                        <p:tgtEl>
                                          <p:spTgt spid="604"/>
                                        </p:tgtEl>
                                        <p:attrNameLst>
                                          <p:attrName>style.visibility</p:attrName>
                                        </p:attrNameLst>
                                      </p:cBhvr>
                                      <p:to>
                                        <p:strVal val="visible"/>
                                      </p:to>
                                    </p:set>
                                    <p:animEffect filter="wipe(down)" transition="in">
                                      <p:cBhvr>
                                        <p:cTn dur="500" id="33"/>
                                        <p:tgtEl>
                                          <p:spTgt spid="604"/>
                                        </p:tgtEl>
                                      </p:cBhvr>
                                    </p:animEffect>
                                  </p:childTnLst>
                                </p:cTn>
                              </p:par>
                              <p:par>
                                <p:cTn fill="hold" id="34" nodeType="withEffect" presetClass="exit" presetID="22" presetSubtype="4">
                                  <p:stCondLst>
                                    <p:cond delay="100"/>
                                  </p:stCondLst>
                                  <p:childTnLst>
                                    <p:animEffect filter="wipe(down)" transition="out">
                                      <p:cBhvr>
                                        <p:cTn dur="500" id="35"/>
                                        <p:tgtEl>
                                          <p:spTgt spid="604"/>
                                        </p:tgtEl>
                                      </p:cBhvr>
                                    </p:animEffect>
                                    <p:set>
                                      <p:cBhvr>
                                        <p:cTn dur="1" fill="hold" id="36">
                                          <p:stCondLst>
                                            <p:cond delay="499"/>
                                          </p:stCondLst>
                                        </p:cTn>
                                        <p:tgtEl>
                                          <p:spTgt spid="604"/>
                                        </p:tgtEl>
                                        <p:attrNameLst>
                                          <p:attrName>style.visibility</p:attrName>
                                        </p:attrNameLst>
                                      </p:cBhvr>
                                      <p:to>
                                        <p:strVal val="hidden"/>
                                      </p:to>
                                    </p:set>
                                  </p:childTnLst>
                                </p:cTn>
                              </p:par>
                              <p:par>
                                <p:cTn fill="hold" grpId="1" id="37" nodeType="withEffect" presetClass="emph" presetID="35" presetSubtype="0" repeatCount="3000">
                                  <p:stCondLst>
                                    <p:cond delay="0"/>
                                  </p:stCondLst>
                                  <p:childTnLst>
                                    <p:anim calcmode="discrete" valueType="str">
                                      <p:cBhvr>
                                        <p:cTn dur="200" fill="hold" id="38"/>
                                        <p:tgtEl>
                                          <p:spTgt spid="377"/>
                                        </p:tgtEl>
                                        <p:attrNameLst>
                                          <p:attrName>style.visibility</p:attrName>
                                        </p:attrNameLst>
                                      </p:cBhvr>
                                      <p:tavLst>
                                        <p:tav tm="0">
                                          <p:val>
                                            <p:strVal val="hidden"/>
                                          </p:val>
                                        </p:tav>
                                        <p:tav tm="50000">
                                          <p:val>
                                            <p:strVal val="visible"/>
                                          </p:val>
                                        </p:tav>
                                      </p:tavLst>
                                    </p:anim>
                                  </p:childTnLst>
                                </p:cTn>
                              </p:par>
                            </p:childTnLst>
                          </p:cTn>
                        </p:par>
                        <p:par>
                          <p:cTn fill="hold" id="39" nodeType="afterGroup">
                            <p:stCondLst>
                              <p:cond delay="2600"/>
                            </p:stCondLst>
                            <p:childTnLst>
                              <p:par>
                                <p:cTn fill="hold" grpId="0" id="40" nodeType="afterEffect" presetClass="emph" presetID="8" presetSubtype="0" repeatCount="indefinite">
                                  <p:stCondLst>
                                    <p:cond delay="0"/>
                                  </p:stCondLst>
                                  <p:childTnLst>
                                    <p:animRot by="21600000">
                                      <p:cBhvr>
                                        <p:cTn dur="15000" fill="hold" id="41"/>
                                        <p:tgtEl>
                                          <p:spTgt spid="377"/>
                                        </p:tgtEl>
                                        <p:attrNameLst>
                                          <p:attrName>r</p:attrName>
                                        </p:attrNameLst>
                                      </p:cBhvr>
                                    </p:animRot>
                                  </p:childTnLst>
                                </p:cTn>
                              </p:par>
                              <p:par>
                                <p:cTn fill="hold" grpId="0" id="42" nodeType="withEffect" presetClass="entr" presetID="10" presetSubtype="0">
                                  <p:stCondLst>
                                    <p:cond delay="0"/>
                                  </p:stCondLst>
                                  <p:childTnLst>
                                    <p:set>
                                      <p:cBhvr>
                                        <p:cTn dur="1" fill="hold" id="43">
                                          <p:stCondLst>
                                            <p:cond delay="0"/>
                                          </p:stCondLst>
                                        </p:cTn>
                                        <p:tgtEl>
                                          <p:spTgt spid="625"/>
                                        </p:tgtEl>
                                        <p:attrNameLst>
                                          <p:attrName>style.visibility</p:attrName>
                                        </p:attrNameLst>
                                      </p:cBhvr>
                                      <p:to>
                                        <p:strVal val="visible"/>
                                      </p:to>
                                    </p:set>
                                    <p:animEffect filter="fade" transition="in">
                                      <p:cBhvr>
                                        <p:cTn dur="500" id="44"/>
                                        <p:tgtEl>
                                          <p:spTgt spid="625"/>
                                        </p:tgtEl>
                                      </p:cBhvr>
                                    </p:animEffect>
                                  </p:childTnLst>
                                </p:cTn>
                              </p:par>
                              <p:par>
                                <p:cTn fill="hold" id="45" nodeType="withEffect" presetClass="entr" presetID="10" presetSubtype="0">
                                  <p:stCondLst>
                                    <p:cond delay="0"/>
                                  </p:stCondLst>
                                  <p:childTnLst>
                                    <p:set>
                                      <p:cBhvr>
                                        <p:cTn dur="1" fill="hold" id="46">
                                          <p:stCondLst>
                                            <p:cond delay="0"/>
                                          </p:stCondLst>
                                        </p:cTn>
                                        <p:tgtEl>
                                          <p:spTgt spid="380"/>
                                        </p:tgtEl>
                                        <p:attrNameLst>
                                          <p:attrName>style.visibility</p:attrName>
                                        </p:attrNameLst>
                                      </p:cBhvr>
                                      <p:to>
                                        <p:strVal val="visible"/>
                                      </p:to>
                                    </p:set>
                                    <p:animEffect filter="fade" transition="in">
                                      <p:cBhvr>
                                        <p:cTn dur="10" id="47"/>
                                        <p:tgtEl>
                                          <p:spTgt spid="380"/>
                                        </p:tgtEl>
                                      </p:cBhvr>
                                    </p:animEffect>
                                  </p:childTnLst>
                                </p:cTn>
                              </p:par>
                              <p:par>
                                <p:cTn fill="hold" id="48" nodeType="withEffect" presetClass="entr" presetID="22" presetSubtype="8">
                                  <p:stCondLst>
                                    <p:cond delay="0"/>
                                  </p:stCondLst>
                                  <p:childTnLst>
                                    <p:set>
                                      <p:cBhvr>
                                        <p:cTn dur="1" fill="hold" id="49">
                                          <p:stCondLst>
                                            <p:cond delay="0"/>
                                          </p:stCondLst>
                                        </p:cTn>
                                        <p:tgtEl>
                                          <p:spTgt spid="609"/>
                                        </p:tgtEl>
                                        <p:attrNameLst>
                                          <p:attrName>style.visibility</p:attrName>
                                        </p:attrNameLst>
                                      </p:cBhvr>
                                      <p:to>
                                        <p:strVal val="visible"/>
                                      </p:to>
                                    </p:set>
                                    <p:animEffect filter="wipe(left)" transition="in">
                                      <p:cBhvr>
                                        <p:cTn dur="500" id="50"/>
                                        <p:tgtEl>
                                          <p:spTgt spid="609"/>
                                        </p:tgtEl>
                                      </p:cBhvr>
                                    </p:animEffect>
                                  </p:childTnLst>
                                </p:cTn>
                              </p:par>
                              <p:par>
                                <p:cTn fill="hold" id="51" nodeType="withEffect" presetClass="entr" presetID="22" presetSubtype="2">
                                  <p:stCondLst>
                                    <p:cond delay="0"/>
                                  </p:stCondLst>
                                  <p:childTnLst>
                                    <p:set>
                                      <p:cBhvr>
                                        <p:cTn dur="1" fill="hold" id="52">
                                          <p:stCondLst>
                                            <p:cond delay="0"/>
                                          </p:stCondLst>
                                        </p:cTn>
                                        <p:tgtEl>
                                          <p:spTgt spid="613"/>
                                        </p:tgtEl>
                                        <p:attrNameLst>
                                          <p:attrName>style.visibility</p:attrName>
                                        </p:attrNameLst>
                                      </p:cBhvr>
                                      <p:to>
                                        <p:strVal val="visible"/>
                                      </p:to>
                                    </p:set>
                                    <p:animEffect filter="wipe(right)" transition="in">
                                      <p:cBhvr>
                                        <p:cTn dur="500" id="53"/>
                                        <p:tgtEl>
                                          <p:spTgt spid="61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625"/>
      <p:bldP grpId="0" spid="377"/>
      <p:bldP grpId="1" spid="377"/>
      <p:bldP grpId="2" spid="377"/>
      <p:bldP grpId="3" spid="377"/>
      <p:bldP grpId="4" spid="377"/>
    </p:bldLst>
  </p:timing>
</p:sld>
</file>

<file path=ppt/slides/slide2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12749A42-96BA-4C4C-95DE-B79211D2AF98}" type="slidenum">
              <a:rPr altLang="en-US" lang="zh-CN" smtClean="0"/>
              <a:t>29</a:t>
            </a:fld>
          </a:p>
        </p:txBody>
      </p:sp>
      <p:grpSp>
        <p:nvGrpSpPr>
          <p:cNvPr id="5" name="组合 4"/>
          <p:cNvGrpSpPr/>
          <p:nvPr/>
        </p:nvGrpSpPr>
        <p:grpSpPr>
          <a:xfrm>
            <a:off x="1222480" y="2118819"/>
            <a:ext cx="2258446" cy="316545"/>
            <a:chOff x="1222480" y="2118819"/>
            <a:chExt cx="2258446" cy="316545"/>
          </a:xfrm>
        </p:grpSpPr>
        <p:sp>
          <p:nvSpPr>
            <p:cNvPr id="6" name="文本框 5"/>
            <p:cNvSpPr txBox="1"/>
            <p:nvPr/>
          </p:nvSpPr>
          <p:spPr>
            <a:xfrm>
              <a:off x="1592436" y="2126186"/>
              <a:ext cx="1888490" cy="274320"/>
            </a:xfrm>
            <a:prstGeom prst="rect">
              <a:avLst/>
            </a:prstGeom>
            <a:noFill/>
          </p:spPr>
          <p:txBody>
            <a:bodyPr rtlCol="0" wrap="squar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小标题 </a:t>
              </a:r>
            </a:p>
          </p:txBody>
        </p:sp>
        <p:sp>
          <p:nvSpPr>
            <p:cNvPr id="7" name="椭圆 6"/>
            <p:cNvSpPr/>
            <p:nvPr/>
          </p:nvSpPr>
          <p:spPr>
            <a:xfrm>
              <a:off x="1222480" y="2118819"/>
              <a:ext cx="316545" cy="316545"/>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mtClean="0"/>
                <a:t>A</a:t>
              </a:r>
            </a:p>
          </p:txBody>
        </p:sp>
      </p:grpSp>
      <p:grpSp>
        <p:nvGrpSpPr>
          <p:cNvPr id="8" name="组合 7"/>
          <p:cNvGrpSpPr/>
          <p:nvPr/>
        </p:nvGrpSpPr>
        <p:grpSpPr>
          <a:xfrm>
            <a:off x="1226848" y="2626905"/>
            <a:ext cx="2254078" cy="316800"/>
            <a:chOff x="1226848" y="2626905"/>
            <a:chExt cx="2254078" cy="316800"/>
          </a:xfrm>
        </p:grpSpPr>
        <p:sp>
          <p:nvSpPr>
            <p:cNvPr id="9" name="文本框 8"/>
            <p:cNvSpPr txBox="1"/>
            <p:nvPr/>
          </p:nvSpPr>
          <p:spPr>
            <a:xfrm>
              <a:off x="1592436" y="2659323"/>
              <a:ext cx="1888490" cy="274320"/>
            </a:xfrm>
            <a:prstGeom prst="rect">
              <a:avLst/>
            </a:prstGeom>
            <a:noFill/>
          </p:spPr>
          <p:txBody>
            <a:bodyPr rtlCol="0" wrap="squar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小标题 </a:t>
              </a:r>
            </a:p>
          </p:txBody>
        </p:sp>
        <p:sp>
          <p:nvSpPr>
            <p:cNvPr id="10" name="椭圆 9"/>
            <p:cNvSpPr/>
            <p:nvPr/>
          </p:nvSpPr>
          <p:spPr>
            <a:xfrm>
              <a:off x="1226848" y="2626905"/>
              <a:ext cx="316800" cy="316800"/>
            </a:xfrm>
            <a:prstGeom prst="ellipse">
              <a:avLst/>
            </a:prstGeom>
            <a:solidFill>
              <a:srgbClr val="EED66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mtClean="0"/>
                <a:t>B</a:t>
              </a:r>
            </a:p>
          </p:txBody>
        </p:sp>
      </p:grpSp>
      <p:grpSp>
        <p:nvGrpSpPr>
          <p:cNvPr id="11" name="组合 10"/>
          <p:cNvGrpSpPr/>
          <p:nvPr/>
        </p:nvGrpSpPr>
        <p:grpSpPr>
          <a:xfrm>
            <a:off x="1218112" y="3137215"/>
            <a:ext cx="2262814" cy="320885"/>
            <a:chOff x="1218112" y="3137215"/>
            <a:chExt cx="2262814" cy="320885"/>
          </a:xfrm>
        </p:grpSpPr>
        <p:sp>
          <p:nvSpPr>
            <p:cNvPr id="12" name="文本框 11"/>
            <p:cNvSpPr txBox="1"/>
            <p:nvPr/>
          </p:nvSpPr>
          <p:spPr>
            <a:xfrm>
              <a:off x="1592436" y="3137215"/>
              <a:ext cx="1888490" cy="274320"/>
            </a:xfrm>
            <a:prstGeom prst="rect">
              <a:avLst/>
            </a:prstGeom>
            <a:noFill/>
          </p:spPr>
          <p:txBody>
            <a:bodyPr rtlCol="0" wrap="squar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小标题 </a:t>
              </a:r>
            </a:p>
          </p:txBody>
        </p:sp>
        <p:sp>
          <p:nvSpPr>
            <p:cNvPr id="13" name="椭圆 12"/>
            <p:cNvSpPr/>
            <p:nvPr/>
          </p:nvSpPr>
          <p:spPr>
            <a:xfrm>
              <a:off x="1218112" y="3141555"/>
              <a:ext cx="316545" cy="316545"/>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mtClean="0"/>
                <a:t>C</a:t>
              </a:r>
            </a:p>
          </p:txBody>
        </p:sp>
      </p:grpSp>
      <p:grpSp>
        <p:nvGrpSpPr>
          <p:cNvPr id="14" name="组合 13"/>
          <p:cNvGrpSpPr/>
          <p:nvPr/>
        </p:nvGrpSpPr>
        <p:grpSpPr>
          <a:xfrm>
            <a:off x="1222480" y="3649641"/>
            <a:ext cx="2258446" cy="316800"/>
            <a:chOff x="1222480" y="3649641"/>
            <a:chExt cx="2258446" cy="316800"/>
          </a:xfrm>
        </p:grpSpPr>
        <p:sp>
          <p:nvSpPr>
            <p:cNvPr id="15" name="文本框 14"/>
            <p:cNvSpPr txBox="1"/>
            <p:nvPr/>
          </p:nvSpPr>
          <p:spPr>
            <a:xfrm>
              <a:off x="1592436" y="3670352"/>
              <a:ext cx="1888490" cy="274320"/>
            </a:xfrm>
            <a:prstGeom prst="rect">
              <a:avLst/>
            </a:prstGeom>
            <a:noFill/>
          </p:spPr>
          <p:txBody>
            <a:bodyPr rtlCol="0" wrap="squar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小标题 </a:t>
              </a:r>
            </a:p>
          </p:txBody>
        </p:sp>
        <p:sp>
          <p:nvSpPr>
            <p:cNvPr id="16" name="椭圆 15"/>
            <p:cNvSpPr/>
            <p:nvPr/>
          </p:nvSpPr>
          <p:spPr>
            <a:xfrm>
              <a:off x="1222480" y="3649641"/>
              <a:ext cx="316800" cy="316800"/>
            </a:xfrm>
            <a:prstGeom prst="ellipse">
              <a:avLst/>
            </a:prstGeom>
            <a:solidFill>
              <a:srgbClr val="EED66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mtClean="0"/>
                <a:t>D</a:t>
              </a:r>
            </a:p>
          </p:txBody>
        </p:sp>
      </p:grpSp>
      <p:sp>
        <p:nvSpPr>
          <p:cNvPr id="17" name="文本框 16"/>
          <p:cNvSpPr txBox="1"/>
          <p:nvPr/>
        </p:nvSpPr>
        <p:spPr>
          <a:xfrm>
            <a:off x="4133925" y="6175947"/>
            <a:ext cx="343218"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A</a:t>
            </a:r>
          </a:p>
        </p:txBody>
      </p:sp>
      <p:sp>
        <p:nvSpPr>
          <p:cNvPr id="18" name="文本框 17"/>
          <p:cNvSpPr txBox="1"/>
          <p:nvPr/>
        </p:nvSpPr>
        <p:spPr>
          <a:xfrm>
            <a:off x="5055419" y="6175947"/>
            <a:ext cx="325755" cy="365760"/>
          </a:xfrm>
          <a:prstGeom prst="rect">
            <a:avLst/>
          </a:prstGeom>
          <a:noFill/>
        </p:spPr>
        <p:txBody>
          <a:bodyPr rtlCol="0" wrap="none">
            <a:spAutoFit/>
          </a:bodyPr>
          <a:lstStyle/>
          <a:p>
            <a:r>
              <a:rPr altLang="zh-CN" lang="en-US">
                <a:solidFill>
                  <a:schemeClr val="tx1">
                    <a:lumMod val="65000"/>
                    <a:lumOff val="35000"/>
                  </a:schemeClr>
                </a:solidFill>
                <a:latin charset="-122" panose="020b0503020204020204" pitchFamily="34" typeface="微软雅黑"/>
                <a:ea charset="-122" panose="020b0503020204020204" pitchFamily="34" typeface="微软雅黑"/>
              </a:rPr>
              <a:t>B</a:t>
            </a:r>
          </a:p>
        </p:txBody>
      </p:sp>
      <p:sp>
        <p:nvSpPr>
          <p:cNvPr id="19" name="文本框 18"/>
          <p:cNvSpPr txBox="1"/>
          <p:nvPr/>
        </p:nvSpPr>
        <p:spPr>
          <a:xfrm>
            <a:off x="5825397" y="6175947"/>
            <a:ext cx="335280"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C</a:t>
            </a:r>
          </a:p>
        </p:txBody>
      </p:sp>
      <p:sp>
        <p:nvSpPr>
          <p:cNvPr id="20" name="文本框 19"/>
          <p:cNvSpPr txBox="1"/>
          <p:nvPr/>
        </p:nvSpPr>
        <p:spPr>
          <a:xfrm>
            <a:off x="6808411" y="6175947"/>
            <a:ext cx="357505"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D</a:t>
            </a:r>
          </a:p>
        </p:txBody>
      </p:sp>
      <p:sp>
        <p:nvSpPr>
          <p:cNvPr id="21" name="文本框 20"/>
          <p:cNvSpPr txBox="1"/>
          <p:nvPr/>
        </p:nvSpPr>
        <p:spPr>
          <a:xfrm>
            <a:off x="7817596" y="6175947"/>
            <a:ext cx="308293"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E</a:t>
            </a:r>
          </a:p>
        </p:txBody>
      </p:sp>
      <p:sp>
        <p:nvSpPr>
          <p:cNvPr id="22" name="文本框 21"/>
          <p:cNvSpPr txBox="1"/>
          <p:nvPr/>
        </p:nvSpPr>
        <p:spPr>
          <a:xfrm>
            <a:off x="8587574" y="6175947"/>
            <a:ext cx="303530"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F</a:t>
            </a:r>
          </a:p>
        </p:txBody>
      </p:sp>
      <p:grpSp>
        <p:nvGrpSpPr>
          <p:cNvPr id="23" name="组合 22"/>
          <p:cNvGrpSpPr/>
          <p:nvPr/>
        </p:nvGrpSpPr>
        <p:grpSpPr>
          <a:xfrm>
            <a:off x="3720135" y="799901"/>
            <a:ext cx="5788934" cy="5259705"/>
            <a:chOff x="3720135" y="799901"/>
            <a:chExt cx="5788934" cy="5259705"/>
          </a:xfrm>
        </p:grpSpPr>
        <p:grpSp>
          <p:nvGrpSpPr>
            <p:cNvPr id="24" name="组合 23"/>
            <p:cNvGrpSpPr/>
            <p:nvPr/>
          </p:nvGrpSpPr>
          <p:grpSpPr>
            <a:xfrm>
              <a:off x="3720135" y="1169233"/>
              <a:ext cx="5788934" cy="4890373"/>
              <a:chOff x="3720135" y="1169233"/>
              <a:chExt cx="5788934" cy="4890373"/>
            </a:xfrm>
          </p:grpSpPr>
          <p:sp>
            <p:nvSpPr>
              <p:cNvPr id="31" name="等腰三角形 30"/>
              <p:cNvSpPr/>
              <p:nvPr/>
            </p:nvSpPr>
            <p:spPr>
              <a:xfrm>
                <a:off x="4490113" y="2634018"/>
                <a:ext cx="1487606" cy="3425588"/>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2" name="等腰三角形 31"/>
              <p:cNvSpPr/>
              <p:nvPr/>
            </p:nvSpPr>
            <p:spPr>
              <a:xfrm>
                <a:off x="5260091" y="1169233"/>
                <a:ext cx="1486800" cy="4890373"/>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3" name="等腰三角形 32"/>
              <p:cNvSpPr/>
              <p:nvPr/>
            </p:nvSpPr>
            <p:spPr>
              <a:xfrm>
                <a:off x="6243104" y="4182256"/>
                <a:ext cx="1486800" cy="1877350"/>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4" name="等腰三角形 33"/>
              <p:cNvSpPr/>
              <p:nvPr/>
            </p:nvSpPr>
            <p:spPr>
              <a:xfrm>
                <a:off x="7252291" y="1888761"/>
                <a:ext cx="1486800" cy="4170845"/>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5" name="等腰三角形 34"/>
              <p:cNvSpPr/>
              <p:nvPr/>
            </p:nvSpPr>
            <p:spPr>
              <a:xfrm>
                <a:off x="8022269" y="3522688"/>
                <a:ext cx="1486800" cy="2536917"/>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6" name="等腰三角形 35"/>
              <p:cNvSpPr/>
              <p:nvPr/>
            </p:nvSpPr>
            <p:spPr>
              <a:xfrm>
                <a:off x="3720135" y="3522687"/>
                <a:ext cx="1486800" cy="2536917"/>
              </a:xfrm>
              <a:prstGeom prst="triangle">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25" name="文本框 24"/>
            <p:cNvSpPr txBox="1"/>
            <p:nvPr/>
          </p:nvSpPr>
          <p:spPr>
            <a:xfrm>
              <a:off x="4148974" y="3153353"/>
              <a:ext cx="652780"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40%</a:t>
              </a:r>
            </a:p>
          </p:txBody>
        </p:sp>
        <p:sp>
          <p:nvSpPr>
            <p:cNvPr id="26" name="文本框 25"/>
            <p:cNvSpPr txBox="1"/>
            <p:nvPr/>
          </p:nvSpPr>
          <p:spPr>
            <a:xfrm>
              <a:off x="4899906" y="2264686"/>
              <a:ext cx="652780"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50%</a:t>
              </a:r>
            </a:p>
          </p:txBody>
        </p:sp>
        <p:sp>
          <p:nvSpPr>
            <p:cNvPr id="27" name="文本框 26"/>
            <p:cNvSpPr txBox="1"/>
            <p:nvPr/>
          </p:nvSpPr>
          <p:spPr>
            <a:xfrm>
              <a:off x="5701164" y="799901"/>
              <a:ext cx="652780"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65%</a:t>
              </a:r>
            </a:p>
          </p:txBody>
        </p:sp>
        <p:sp>
          <p:nvSpPr>
            <p:cNvPr id="28" name="文本框 27"/>
            <p:cNvSpPr txBox="1"/>
            <p:nvPr/>
          </p:nvSpPr>
          <p:spPr>
            <a:xfrm>
              <a:off x="6746892" y="3812923"/>
              <a:ext cx="652780"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32%</a:t>
              </a:r>
            </a:p>
          </p:txBody>
        </p:sp>
        <p:sp>
          <p:nvSpPr>
            <p:cNvPr id="29" name="文本框 28"/>
            <p:cNvSpPr txBox="1"/>
            <p:nvPr/>
          </p:nvSpPr>
          <p:spPr>
            <a:xfrm>
              <a:off x="7685349" y="1519428"/>
              <a:ext cx="652780"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58%</a:t>
              </a:r>
            </a:p>
          </p:txBody>
        </p:sp>
        <p:sp>
          <p:nvSpPr>
            <p:cNvPr id="30" name="文本框 29"/>
            <p:cNvSpPr txBox="1"/>
            <p:nvPr/>
          </p:nvSpPr>
          <p:spPr>
            <a:xfrm>
              <a:off x="8455327" y="3142738"/>
              <a:ext cx="652780" cy="365760"/>
            </a:xfrm>
            <a:prstGeom prst="rect">
              <a:avLst/>
            </a:prstGeom>
            <a:noFill/>
          </p:spPr>
          <p:txBody>
            <a:bodyPr rtlCol="0" wrap="none">
              <a:spAutoFit/>
            </a:bodyPr>
            <a:lstStyle/>
            <a:p>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47%</a:t>
              </a:r>
            </a:p>
          </p:txBody>
        </p:sp>
      </p:grpSp>
      <p:grpSp>
        <p:nvGrpSpPr>
          <p:cNvPr id="37" name="组合 36"/>
          <p:cNvGrpSpPr/>
          <p:nvPr/>
        </p:nvGrpSpPr>
        <p:grpSpPr>
          <a:xfrm>
            <a:off x="1215427" y="4160346"/>
            <a:ext cx="2266644" cy="316545"/>
            <a:chOff x="1215427" y="4160346"/>
            <a:chExt cx="2266644" cy="316545"/>
          </a:xfrm>
        </p:grpSpPr>
        <p:sp>
          <p:nvSpPr>
            <p:cNvPr id="38" name="椭圆 37"/>
            <p:cNvSpPr/>
            <p:nvPr/>
          </p:nvSpPr>
          <p:spPr>
            <a:xfrm>
              <a:off x="1215427" y="4160346"/>
              <a:ext cx="316545" cy="316545"/>
            </a:xfrm>
            <a:prstGeom prst="ellips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a:t>E</a:t>
              </a:r>
            </a:p>
          </p:txBody>
        </p:sp>
        <p:sp>
          <p:nvSpPr>
            <p:cNvPr id="39" name="文本框 38"/>
            <p:cNvSpPr txBox="1"/>
            <p:nvPr/>
          </p:nvSpPr>
          <p:spPr>
            <a:xfrm>
              <a:off x="1593581" y="4180118"/>
              <a:ext cx="1888490" cy="274320"/>
            </a:xfrm>
            <a:prstGeom prst="rect">
              <a:avLst/>
            </a:prstGeom>
            <a:noFill/>
          </p:spPr>
          <p:txBody>
            <a:bodyPr rtlCol="0" wrap="square">
              <a:spAutoFit/>
            </a:bodyPr>
            <a:lstStyle/>
            <a:p>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小标题 </a:t>
              </a:r>
            </a:p>
          </p:txBody>
        </p:sp>
      </p:grpSp>
      <p:grpSp>
        <p:nvGrpSpPr>
          <p:cNvPr id="40" name="组合 39"/>
          <p:cNvGrpSpPr/>
          <p:nvPr/>
        </p:nvGrpSpPr>
        <p:grpSpPr>
          <a:xfrm>
            <a:off x="1212922" y="4671338"/>
            <a:ext cx="2268004" cy="316545"/>
            <a:chOff x="1212922" y="4671338"/>
            <a:chExt cx="2268004" cy="316545"/>
          </a:xfrm>
        </p:grpSpPr>
        <p:sp>
          <p:nvSpPr>
            <p:cNvPr id="41" name="椭圆 40"/>
            <p:cNvSpPr/>
            <p:nvPr/>
          </p:nvSpPr>
          <p:spPr>
            <a:xfrm>
              <a:off x="1212922" y="4671338"/>
              <a:ext cx="316545" cy="316545"/>
            </a:xfrm>
            <a:prstGeom prst="ellips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zh-CN" lang="en-US" smtClean="0"/>
                <a:t>F</a:t>
              </a:r>
            </a:p>
          </p:txBody>
        </p:sp>
        <p:sp>
          <p:nvSpPr>
            <p:cNvPr id="42" name="文本框 41"/>
            <p:cNvSpPr txBox="1"/>
            <p:nvPr/>
          </p:nvSpPr>
          <p:spPr>
            <a:xfrm>
              <a:off x="1592436" y="4691111"/>
              <a:ext cx="1888490" cy="274320"/>
            </a:xfrm>
            <a:prstGeom prst="rect">
              <a:avLst/>
            </a:prstGeom>
            <a:noFill/>
          </p:spPr>
          <p:txBody>
            <a:bodyPr rtlCol="0" wrap="square">
              <a:spAutoFit/>
            </a:bodyPr>
            <a:lstStyle/>
            <a:p>
              <a:r>
                <a:rPr altLang="en-US" lang="zh-CN" smtClean="0" sz="1200">
                  <a:solidFill>
                    <a:schemeClr val="tx1">
                      <a:lumMod val="65000"/>
                      <a:lumOff val="35000"/>
                    </a:schemeClr>
                  </a:solidFill>
                  <a:latin charset="0" panose="020b0502020202020204" pitchFamily="34" typeface="Century Gothic"/>
                </a:rPr>
                <a:t>小标题 </a:t>
              </a:r>
            </a:p>
          </p:txBody>
        </p:sp>
      </p:grpSp>
      <p:sp>
        <p:nvSpPr>
          <p:cNvPr id="43" name="文本框 42"/>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Tree>
    <p:extLst>
      <p:ext uri="{BB962C8B-B14F-4D97-AF65-F5344CB8AC3E}">
        <p14:creationId val="1332669617"/>
      </p:ext>
    </p:extLst>
  </p:cSld>
  <p:clrMapOvr>
    <a:masterClrMapping/>
  </p:clrMapOvr>
  <mc:AlternateContent>
    <mc:Choice Requires="p15">
      <p:transition p14:dur="1250" spd="slow">
        <p15:prstTrans prst="pageCurlDouble"/>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withEffect" presetClass="entr" presetID="22" presetSubtype="4">
                                  <p:stCondLst>
                                    <p:cond delay="0"/>
                                  </p:stCondLst>
                                  <p:childTnLst>
                                    <p:set>
                                      <p:cBhvr>
                                        <p:cTn dur="1" fill="hold" id="6">
                                          <p:stCondLst>
                                            <p:cond delay="0"/>
                                          </p:stCondLst>
                                        </p:cTn>
                                        <p:tgtEl>
                                          <p:spTgt spid="23"/>
                                        </p:tgtEl>
                                        <p:attrNameLst>
                                          <p:attrName>style.visibility</p:attrName>
                                        </p:attrNameLst>
                                      </p:cBhvr>
                                      <p:to>
                                        <p:strVal val="visible"/>
                                      </p:to>
                                    </p:set>
                                    <p:animEffect filter="wipe(down)" transition="in">
                                      <p:cBhvr>
                                        <p:cTn dur="500" id="7"/>
                                        <p:tgtEl>
                                          <p:spTgt spid="23"/>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EDD36540-E280-4A4B-9E05-44F34D94AB1C}" type="slidenum">
              <a:rPr altLang="en-US" lang="zh-CN" smtClean="0"/>
              <a:t>3</a:t>
            </a:fld>
          </a:p>
        </p:txBody>
      </p:sp>
      <p:pic>
        <p:nvPicPr>
          <p:cNvPr id="5" name="内容占位符 3"/>
          <p:cNvPicPr>
            <a:picLocks noChangeAspect="1"/>
          </p:cNvPicPr>
          <p:nvPr/>
        </p:nvPicPr>
        <p:blipFill>
          <a:blip r:embed="rId2">
            <a:extLst>
              <a:ext uri="{BEBA8EAE-BF5A-486C-A8C5-ECC9F3942E4B}">
                <a14:imgProps>
                  <a14:imgLayer xmlns:d3p1="http://schemas.openxmlformats.org/officeDocument/2006/relationships" d3p1:embed="">
                    <a14:imgEffect>
                      <a14:artisticBlur/>
                    </a14:imgEffect>
                  </a14:imgLayer>
                </a14:imgProps>
              </a:ext>
              <a:ext uri="{28A0092B-C50C-407E-A947-70E740481C1C}">
                <a14:useLocalDpi/>
              </a:ext>
            </a:extLst>
          </a:blip>
          <a:stretch>
            <a:fillRect/>
          </a:stretch>
        </p:blipFill>
        <p:spPr>
          <a:xfrm>
            <a:off x="1910141" y="0"/>
            <a:ext cx="10281859" cy="6858000"/>
          </a:xfrm>
          <a:prstGeom prst="rect">
            <a:avLst/>
          </a:prstGeom>
        </p:spPr>
      </p:pic>
      <p:sp>
        <p:nvSpPr>
          <p:cNvPr id="7" name="任意多边形 6"/>
          <p:cNvSpPr/>
          <p:nvPr/>
        </p:nvSpPr>
        <p:spPr>
          <a:xfrm flipV="1">
            <a:off x="-12192" y="-12191"/>
            <a:ext cx="5987384" cy="6894575"/>
          </a:xfrm>
          <a:custGeom>
            <a:gdLst>
              <a:gd fmla="*/ 1601745 w 5987384" name="connsiteX0"/>
              <a:gd fmla="*/ 0 h 6894575" name="connsiteY0"/>
              <a:gd fmla="*/ 5987384 w 5987384" name="connsiteX1"/>
              <a:gd fmla="*/ 0 h 6894575" name="connsiteY1"/>
              <a:gd fmla="*/ 2252280 w 5987384" name="connsiteX2"/>
              <a:gd fmla="*/ 6894575 h 6894575" name="connsiteY2"/>
              <a:gd fmla="*/ 0 w 5987384" name="connsiteX3"/>
              <a:gd fmla="*/ 6881077 h 6894575" name="connsiteY3"/>
              <a:gd fmla="*/ 0 w 5987384" name="connsiteX4"/>
              <a:gd fmla="*/ 2891132 h 6894575" name="connsiteY4"/>
              <a:gd fmla="*/ 1601745 w 5987384" name="connsiteX5"/>
              <a:gd fmla="*/ 0 h 6894575"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6894575" w="5987384">
                <a:moveTo>
                  <a:pt x="1601745" y="0"/>
                </a:moveTo>
                <a:lnTo>
                  <a:pt x="5987384" y="0"/>
                </a:lnTo>
                <a:lnTo>
                  <a:pt x="2252280" y="6894575"/>
                </a:lnTo>
                <a:lnTo>
                  <a:pt x="0" y="6881077"/>
                </a:lnTo>
                <a:lnTo>
                  <a:pt x="0" y="2891132"/>
                </a:lnTo>
                <a:lnTo>
                  <a:pt x="1601745"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0" name="椭圆 9"/>
          <p:cNvSpPr/>
          <p:nvPr/>
        </p:nvSpPr>
        <p:spPr>
          <a:xfrm>
            <a:off x="519476" y="236662"/>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椭圆 10"/>
          <p:cNvSpPr/>
          <p:nvPr/>
        </p:nvSpPr>
        <p:spPr>
          <a:xfrm>
            <a:off x="634601" y="351786"/>
            <a:ext cx="1379095" cy="1379095"/>
          </a:xfrm>
          <a:prstGeom prst="ellipse">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2000">
                <a:solidFill>
                  <a:srgbClr val="C00000"/>
                </a:solidFill>
                <a:latin charset="-122" panose="020b0503020204020204" pitchFamily="34" typeface="微软雅黑"/>
                <a:ea charset="-122" panose="020b0503020204020204" pitchFamily="34" typeface="微软雅黑"/>
              </a:rPr>
              <a:t>过渡页</a:t>
            </a:r>
          </a:p>
        </p:txBody>
      </p:sp>
      <p:sp>
        <p:nvSpPr>
          <p:cNvPr id="12" name="平行四边形 11"/>
          <p:cNvSpPr/>
          <p:nvPr/>
        </p:nvSpPr>
        <p:spPr>
          <a:xfrm flipV="1">
            <a:off x="2767165" y="2162300"/>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3" name="文本框 12"/>
          <p:cNvSpPr txBox="1"/>
          <p:nvPr/>
        </p:nvSpPr>
        <p:spPr>
          <a:xfrm>
            <a:off x="5421055" y="972044"/>
            <a:ext cx="2418080" cy="762000"/>
          </a:xfrm>
          <a:prstGeom prst="rect">
            <a:avLst/>
          </a:prstGeom>
          <a:noFill/>
        </p:spPr>
        <p:txBody>
          <a:bodyPr rtlCol="0" wrap="none">
            <a:spAutoFit/>
          </a:bodyPr>
          <a:lstStyle/>
          <a:p>
            <a:r>
              <a:rPr altLang="en-US" b="1" lang="zh-CN" smtClean="0" sz="4400">
                <a:solidFill>
                  <a:schemeClr val="tx1">
                    <a:lumMod val="65000"/>
                    <a:lumOff val="35000"/>
                  </a:schemeClr>
                </a:solidFill>
                <a:latin charset="-122" panose="020b0503020204020204" pitchFamily="34" typeface="微软雅黑"/>
                <a:ea charset="-122" panose="020b0503020204020204" pitchFamily="34" typeface="微软雅黑"/>
              </a:rPr>
              <a:t>第一部分</a:t>
            </a:r>
          </a:p>
        </p:txBody>
      </p:sp>
      <p:sp>
        <p:nvSpPr>
          <p:cNvPr id="14" name="矩形 13"/>
          <p:cNvSpPr/>
          <p:nvPr/>
        </p:nvSpPr>
        <p:spPr>
          <a:xfrm>
            <a:off x="4276217" y="2302952"/>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5" name="平行四边形 14"/>
          <p:cNvSpPr/>
          <p:nvPr/>
        </p:nvSpPr>
        <p:spPr>
          <a:xfrm flipV="1">
            <a:off x="3329985" y="3322714"/>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6" name="矩形 15"/>
          <p:cNvSpPr/>
          <p:nvPr/>
        </p:nvSpPr>
        <p:spPr>
          <a:xfrm>
            <a:off x="4839037" y="3463366"/>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7" name="平行四边形 16"/>
          <p:cNvSpPr/>
          <p:nvPr/>
        </p:nvSpPr>
        <p:spPr>
          <a:xfrm flipV="1">
            <a:off x="3950671" y="4483128"/>
            <a:ext cx="6696855" cy="769546"/>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3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8" name="矩形 17"/>
          <p:cNvSpPr/>
          <p:nvPr/>
        </p:nvSpPr>
        <p:spPr>
          <a:xfrm>
            <a:off x="5459723" y="4623781"/>
            <a:ext cx="3738880" cy="518160"/>
          </a:xfrm>
          <a:prstGeom prst="rect">
            <a:avLst/>
          </a:prstGeom>
        </p:spPr>
        <p:txBody>
          <a:bodyPr wrap="none">
            <a:spAutoFit/>
          </a:bodyPr>
          <a:lstStyle/>
          <a:p>
            <a:pPr algn="ctr"/>
            <a:r>
              <a:rPr altLang="en-US" b="1" lang="zh-CN" sz="2800">
                <a:solidFill>
                  <a:schemeClr val="tx1">
                    <a:lumMod val="65000"/>
                    <a:lumOff val="35000"/>
                  </a:schemeClr>
                </a:solidFill>
                <a:latin charset="-122" panose="020b0503020204020204" pitchFamily="34" typeface="微软雅黑"/>
                <a:ea charset="-122" panose="020b0503020204020204" pitchFamily="34" typeface="微软雅黑"/>
              </a:rPr>
              <a:t>请在此处输入文字信息</a:t>
            </a:r>
          </a:p>
        </p:txBody>
      </p:sp>
      <p:sp>
        <p:nvSpPr>
          <p:cNvPr id="19" name="直角三角形 18"/>
          <p:cNvSpPr/>
          <p:nvPr/>
        </p:nvSpPr>
        <p:spPr>
          <a:xfrm rot="10800000">
            <a:off x="11466342" y="153"/>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0" name="椭圆 19"/>
          <p:cNvSpPr/>
          <p:nvPr/>
        </p:nvSpPr>
        <p:spPr>
          <a:xfrm>
            <a:off x="1531909" y="2107952"/>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2" name="椭圆 21"/>
          <p:cNvSpPr/>
          <p:nvPr/>
        </p:nvSpPr>
        <p:spPr>
          <a:xfrm>
            <a:off x="2130205" y="3308917"/>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3" name="椭圆 22"/>
          <p:cNvSpPr/>
          <p:nvPr/>
        </p:nvSpPr>
        <p:spPr>
          <a:xfrm>
            <a:off x="2654029" y="4488238"/>
            <a:ext cx="914400" cy="914400"/>
          </a:xfrm>
          <a:prstGeom prst="ellipse">
            <a:avLst/>
          </a:prstGeom>
          <a:noFill/>
          <a:ln w="19050">
            <a:solidFill>
              <a:srgbClr val="FFFF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36" name="Freeform 11"/>
          <p:cNvSpPr>
            <a:spLocks noEditPoints="1"/>
          </p:cNvSpPr>
          <p:nvPr/>
        </p:nvSpPr>
        <p:spPr bwMode="auto">
          <a:xfrm>
            <a:off x="1753803" y="2362199"/>
            <a:ext cx="519786" cy="442201"/>
          </a:xfrm>
          <a:custGeom>
            <a:gdLst>
              <a:gd fmla="*/ 1018 w 1873" name="T0"/>
              <a:gd fmla="*/ 543 h 1462" name="T1"/>
              <a:gd fmla="*/ 906 w 1873" name="T2"/>
              <a:gd fmla="*/ 440 h 1462" name="T3"/>
              <a:gd fmla="*/ 859 w 1873" name="T4"/>
              <a:gd fmla="*/ 284 h 1462" name="T5"/>
              <a:gd fmla="*/ 1142 w 1873" name="T6"/>
              <a:gd fmla="*/ 0 h 1462" name="T7"/>
              <a:gd fmla="*/ 1426 w 1873" name="T8"/>
              <a:gd fmla="*/ 284 h 1462" name="T9"/>
              <a:gd fmla="*/ 1383 w 1873" name="T10"/>
              <a:gd fmla="*/ 440 h 1462" name="T11"/>
              <a:gd fmla="*/ 1267 w 1873" name="T12"/>
              <a:gd fmla="*/ 540 h 1462" name="T13"/>
              <a:gd fmla="*/ 1412 w 1873" name="T14"/>
              <a:gd fmla="*/ 608 h 1462" name="T15"/>
              <a:gd fmla="*/ 1540 w 1873" name="T16"/>
              <a:gd fmla="*/ 819 h 1462" name="T17"/>
              <a:gd fmla="*/ 1805 w 1873" name="T18"/>
              <a:gd fmla="*/ 604 h 1462" name="T19"/>
              <a:gd fmla="*/ 1805 w 1873" name="T20"/>
              <a:gd fmla="*/ 633 h 1462" name="T21"/>
              <a:gd fmla="*/ 1551 w 1873" name="T22"/>
              <a:gd fmla="*/ 867 h 1462" name="T23"/>
              <a:gd fmla="*/ 1565 w 1873" name="T24"/>
              <a:gd fmla="*/ 922 h 1462" name="T25"/>
              <a:gd fmla="*/ 1590 w 1873" name="T26"/>
              <a:gd fmla="*/ 1112 h 1462" name="T27"/>
              <a:gd fmla="*/ 1081 w 1873" name="T28"/>
              <a:gd fmla="*/ 947 h 1462" name="T29"/>
              <a:gd fmla="*/ 782 w 1873" name="T30"/>
              <a:gd fmla="*/ 805 h 1462" name="T31"/>
              <a:gd fmla="*/ 1018 w 1873" name="T32"/>
              <a:gd fmla="*/ 543 h 1462" name="T33"/>
              <a:gd fmla="*/ 444 w 1873" name="T34"/>
              <a:gd fmla="*/ 672 h 1462" name="T35"/>
              <a:gd fmla="*/ 743 w 1873" name="T36"/>
              <a:gd fmla="*/ 781 h 1462" name="T37"/>
              <a:gd fmla="*/ 830 w 1873" name="T38"/>
              <a:gd fmla="*/ 625 h 1462" name="T39"/>
              <a:gd fmla="*/ 669 w 1873" name="T40"/>
              <a:gd fmla="*/ 534 h 1462" name="T41"/>
              <a:gd fmla="*/ 801 w 1873" name="T42"/>
              <a:gd fmla="*/ 319 h 1462" name="T43"/>
              <a:gd fmla="*/ 557 w 1873" name="T44"/>
              <a:gd fmla="*/ 72 h 1462" name="T45"/>
              <a:gd fmla="*/ 312 w 1873" name="T46"/>
              <a:gd fmla="*/ 319 h 1462" name="T47"/>
              <a:gd fmla="*/ 444 w 1873" name="T48"/>
              <a:gd fmla="*/ 534 h 1462" name="T49"/>
              <a:gd fmla="*/ 250 w 1873" name="T50"/>
              <a:gd fmla="*/ 668 h 1462" name="T51"/>
              <a:gd fmla="*/ 444 w 1873" name="T52"/>
              <a:gd fmla="*/ 672 h 1462" name="T53"/>
              <a:gd fmla="*/ 1859 w 1873" name="T54"/>
              <a:gd fmla="*/ 1155 h 1462" name="T55"/>
              <a:gd fmla="*/ 1873 w 1873" name="T56"/>
              <a:gd fmla="*/ 1158 h 1462" name="T57"/>
              <a:gd fmla="*/ 1854 w 1873" name="T58"/>
              <a:gd fmla="*/ 1166 h 1462" name="T59"/>
              <a:gd fmla="*/ 1593 w 1873" name="T60"/>
              <a:gd fmla="*/ 1162 h 1462" name="T61"/>
              <a:gd fmla="*/ 1593 w 1873" name="T62"/>
              <a:gd fmla="*/ 1209 h 1462" name="T63"/>
              <a:gd fmla="*/ 1593 w 1873" name="T64"/>
              <a:gd fmla="*/ 1257 h 1462" name="T65"/>
              <a:gd fmla="*/ 1568 w 1873" name="T66"/>
              <a:gd fmla="*/ 1319 h 1462" name="T67"/>
              <a:gd fmla="*/ 1509 w 1873" name="T68"/>
              <a:gd fmla="*/ 1330 h 1462" name="T69"/>
              <a:gd fmla="*/ 1509 w 1873" name="T70"/>
              <a:gd fmla="*/ 1378 h 1462" name="T71"/>
              <a:gd fmla="*/ 1148 w 1873" name="T72"/>
              <a:gd fmla="*/ 1462 h 1462" name="T73"/>
              <a:gd fmla="*/ 806 w 1873" name="T74"/>
              <a:gd fmla="*/ 1385 h 1462" name="T75"/>
              <a:gd fmla="*/ 787 w 1873" name="T76"/>
              <a:gd fmla="*/ 1235 h 1462" name="T77"/>
              <a:gd fmla="*/ 751 w 1873" name="T78"/>
              <a:gd fmla="*/ 1191 h 1462" name="T79"/>
              <a:gd fmla="*/ 765 w 1873" name="T80"/>
              <a:gd fmla="*/ 895 h 1462" name="T81"/>
              <a:gd fmla="*/ 722 w 1873" name="T82"/>
              <a:gd fmla="*/ 880 h 1462" name="T83"/>
              <a:gd fmla="*/ 708 w 1873" name="T84"/>
              <a:gd fmla="*/ 1191 h 1462" name="T85"/>
              <a:gd fmla="*/ 744 w 1873" name="T86"/>
              <a:gd fmla="*/ 1268 h 1462" name="T87"/>
              <a:gd fmla="*/ 744 w 1873" name="T88"/>
              <a:gd fmla="*/ 1282 h 1462" name="T89"/>
              <a:gd fmla="*/ 561 w 1873" name="T90"/>
              <a:gd fmla="*/ 1289 h 1462" name="T91"/>
              <a:gd fmla="*/ 252 w 1873" name="T92"/>
              <a:gd fmla="*/ 1228 h 1462" name="T93"/>
              <a:gd fmla="*/ 252 w 1873" name="T94"/>
              <a:gd fmla="*/ 1150 h 1462" name="T95"/>
              <a:gd fmla="*/ 238 w 1873" name="T96"/>
              <a:gd fmla="*/ 1155 h 1462" name="T97"/>
              <a:gd fmla="*/ 190 w 1873" name="T98"/>
              <a:gd fmla="*/ 1155 h 1462" name="T99"/>
              <a:gd fmla="*/ 143 w 1873" name="T100"/>
              <a:gd fmla="*/ 1107 h 1462" name="T101"/>
              <a:gd fmla="*/ 143 w 1873" name="T102"/>
              <a:gd fmla="*/ 1103 h 1462" name="T103"/>
              <a:gd fmla="*/ 0 w 1873" name="T104"/>
              <a:gd fmla="*/ 923 h 1462" name="T105"/>
              <a:gd fmla="*/ 139 w 1873" name="T106"/>
              <a:gd fmla="*/ 734 h 1462" name="T107"/>
              <a:gd fmla="*/ 325 w 1873" name="T108"/>
              <a:gd fmla="*/ 712 h 1462" name="T109"/>
              <a:gd fmla="*/ 1021 w 1873" name="T110"/>
              <a:gd fmla="*/ 961 h 1462" name="T111"/>
              <a:gd fmla="*/ 1457 w 1873" name="T112"/>
              <a:gd fmla="*/ 1103 h 1462" name="T113"/>
              <a:gd fmla="*/ 1771 w 1873" name="T114"/>
              <a:gd fmla="*/ 1150 h 1462" name="T115"/>
              <a:gd fmla="*/ 1859 w 1873" name="T116"/>
              <a:gd fmla="*/ 1155 h 1462" name="T117"/>
              <a:gd fmla="*/ 143 w 1873" name="T118"/>
              <a:gd fmla="*/ 1034 h 1462" name="T119"/>
              <a:gd fmla="*/ 193 w 1873" name="T120"/>
              <a:gd fmla="*/ 781 h 1462" name="T121"/>
              <a:gd fmla="*/ 41 w 1873" name="T122"/>
              <a:gd fmla="*/ 927 h 1462" name="T123"/>
              <a:gd fmla="*/ 143 w 1873" name="T124"/>
              <a:gd fmla="*/ 1034 h 1462"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1462" w="1872">
                <a:moveTo>
                  <a:pt x="1018" y="543"/>
                </a:moveTo>
                <a:cubicBezTo>
                  <a:pt x="975" y="517"/>
                  <a:pt x="934" y="484"/>
                  <a:pt x="906" y="440"/>
                </a:cubicBezTo>
                <a:cubicBezTo>
                  <a:pt x="877" y="393"/>
                  <a:pt x="859" y="342"/>
                  <a:pt x="859" y="284"/>
                </a:cubicBezTo>
                <a:cubicBezTo>
                  <a:pt x="859" y="127"/>
                  <a:pt x="986" y="0"/>
                  <a:pt x="1142" y="0"/>
                </a:cubicBezTo>
                <a:cubicBezTo>
                  <a:pt x="1299" y="0"/>
                  <a:pt x="1426" y="127"/>
                  <a:pt x="1426" y="284"/>
                </a:cubicBezTo>
                <a:cubicBezTo>
                  <a:pt x="1426" y="338"/>
                  <a:pt x="1412" y="393"/>
                  <a:pt x="1383" y="440"/>
                </a:cubicBezTo>
                <a:cubicBezTo>
                  <a:pt x="1354" y="484"/>
                  <a:pt x="1313" y="517"/>
                  <a:pt x="1267" y="540"/>
                </a:cubicBezTo>
                <a:cubicBezTo>
                  <a:pt x="1310" y="547"/>
                  <a:pt x="1365" y="568"/>
                  <a:pt x="1412" y="608"/>
                </a:cubicBezTo>
                <a:cubicBezTo>
                  <a:pt x="1478" y="670"/>
                  <a:pt x="1510" y="728"/>
                  <a:pt x="1540" y="819"/>
                </a:cubicBezTo>
                <a:cubicBezTo>
                  <a:pt x="1605" y="794"/>
                  <a:pt x="1699" y="740"/>
                  <a:pt x="1805" y="604"/>
                </a:cubicBezTo>
                <a:cubicBezTo>
                  <a:pt x="1812" y="594"/>
                  <a:pt x="1853" y="550"/>
                  <a:pt x="1805" y="633"/>
                </a:cubicBezTo>
                <a:cubicBezTo>
                  <a:pt x="1765" y="703"/>
                  <a:pt x="1685" y="812"/>
                  <a:pt x="1551" y="867"/>
                </a:cubicBezTo>
                <a:cubicBezTo>
                  <a:pt x="1554" y="885"/>
                  <a:pt x="1562" y="903"/>
                  <a:pt x="1565" y="922"/>
                </a:cubicBezTo>
                <a:cubicBezTo>
                  <a:pt x="1579" y="991"/>
                  <a:pt x="1587" y="1056"/>
                  <a:pt x="1590" y="1112"/>
                </a:cubicBezTo>
                <a:cubicBezTo>
                  <a:pt x="1404" y="1078"/>
                  <a:pt x="1256" y="1028"/>
                  <a:pt x="1081" y="947"/>
                </a:cubicBezTo>
                <a:cubicBezTo>
                  <a:pt x="982" y="907"/>
                  <a:pt x="880" y="853"/>
                  <a:pt x="782" y="805"/>
                </a:cubicBezTo>
                <a:cubicBezTo>
                  <a:pt x="815" y="710"/>
                  <a:pt x="877" y="594"/>
                  <a:pt x="1018" y="543"/>
                </a:cubicBezTo>
                <a:close/>
                <a:moveTo>
                  <a:pt x="444" y="672"/>
                </a:moveTo>
                <a:cubicBezTo>
                  <a:pt x="546" y="693"/>
                  <a:pt x="644" y="734"/>
                  <a:pt x="743" y="781"/>
                </a:cubicBezTo>
                <a:cubicBezTo>
                  <a:pt x="768" y="720"/>
                  <a:pt x="794" y="668"/>
                  <a:pt x="830" y="625"/>
                </a:cubicBezTo>
                <a:cubicBezTo>
                  <a:pt x="764" y="559"/>
                  <a:pt x="695" y="537"/>
                  <a:pt x="669" y="534"/>
                </a:cubicBezTo>
                <a:cubicBezTo>
                  <a:pt x="750" y="494"/>
                  <a:pt x="801" y="414"/>
                  <a:pt x="801" y="319"/>
                </a:cubicBezTo>
                <a:cubicBezTo>
                  <a:pt x="801" y="181"/>
                  <a:pt x="691" y="72"/>
                  <a:pt x="557" y="72"/>
                </a:cubicBezTo>
                <a:cubicBezTo>
                  <a:pt x="421" y="72"/>
                  <a:pt x="312" y="181"/>
                  <a:pt x="312" y="319"/>
                </a:cubicBezTo>
                <a:cubicBezTo>
                  <a:pt x="312" y="414"/>
                  <a:pt x="364" y="494"/>
                  <a:pt x="444" y="534"/>
                </a:cubicBezTo>
                <a:cubicBezTo>
                  <a:pt x="421" y="541"/>
                  <a:pt x="326" y="566"/>
                  <a:pt x="250" y="668"/>
                </a:cubicBezTo>
                <a:cubicBezTo>
                  <a:pt x="305" y="657"/>
                  <a:pt x="378" y="657"/>
                  <a:pt x="444" y="672"/>
                </a:cubicBezTo>
                <a:close/>
                <a:moveTo>
                  <a:pt x="1859" y="1155"/>
                </a:moveTo>
                <a:cubicBezTo>
                  <a:pt x="1862" y="1155"/>
                  <a:pt x="1870" y="1155"/>
                  <a:pt x="1873" y="1158"/>
                </a:cubicBezTo>
                <a:cubicBezTo>
                  <a:pt x="1873" y="1158"/>
                  <a:pt x="1870" y="1166"/>
                  <a:pt x="1854" y="1166"/>
                </a:cubicBezTo>
                <a:cubicBezTo>
                  <a:pt x="1829" y="1169"/>
                  <a:pt x="1756" y="1169"/>
                  <a:pt x="1593" y="1162"/>
                </a:cubicBezTo>
                <a:cubicBezTo>
                  <a:pt x="1593" y="1180"/>
                  <a:pt x="1593" y="1194"/>
                  <a:pt x="1593" y="1209"/>
                </a:cubicBezTo>
                <a:cubicBezTo>
                  <a:pt x="1593" y="1235"/>
                  <a:pt x="1593" y="1253"/>
                  <a:pt x="1593" y="1257"/>
                </a:cubicBezTo>
                <a:cubicBezTo>
                  <a:pt x="1593" y="1271"/>
                  <a:pt x="1593" y="1300"/>
                  <a:pt x="1568" y="1319"/>
                </a:cubicBezTo>
                <a:cubicBezTo>
                  <a:pt x="1555" y="1326"/>
                  <a:pt x="1537" y="1333"/>
                  <a:pt x="1509" y="1330"/>
                </a:cubicBezTo>
                <a:cubicBezTo>
                  <a:pt x="1509" y="1330"/>
                  <a:pt x="1509" y="1330"/>
                  <a:pt x="1509" y="1378"/>
                </a:cubicBezTo>
                <a:cubicBezTo>
                  <a:pt x="1509" y="1378"/>
                  <a:pt x="1502" y="1462"/>
                  <a:pt x="1148" y="1462"/>
                </a:cubicBezTo>
                <a:cubicBezTo>
                  <a:pt x="824" y="1462"/>
                  <a:pt x="810" y="1396"/>
                  <a:pt x="806" y="1385"/>
                </a:cubicBezTo>
                <a:cubicBezTo>
                  <a:pt x="799" y="1373"/>
                  <a:pt x="787" y="1351"/>
                  <a:pt x="787" y="1235"/>
                </a:cubicBezTo>
                <a:cubicBezTo>
                  <a:pt x="787" y="1235"/>
                  <a:pt x="751" y="1239"/>
                  <a:pt x="751" y="1191"/>
                </a:cubicBezTo>
                <a:cubicBezTo>
                  <a:pt x="751" y="1150"/>
                  <a:pt x="751" y="1004"/>
                  <a:pt x="765" y="895"/>
                </a:cubicBezTo>
                <a:cubicBezTo>
                  <a:pt x="751" y="891"/>
                  <a:pt x="737" y="884"/>
                  <a:pt x="722" y="880"/>
                </a:cubicBezTo>
                <a:cubicBezTo>
                  <a:pt x="704" y="1004"/>
                  <a:pt x="708" y="1184"/>
                  <a:pt x="708" y="1191"/>
                </a:cubicBezTo>
                <a:cubicBezTo>
                  <a:pt x="708" y="1232"/>
                  <a:pt x="726" y="1253"/>
                  <a:pt x="744" y="1268"/>
                </a:cubicBezTo>
                <a:cubicBezTo>
                  <a:pt x="744" y="1271"/>
                  <a:pt x="744" y="1278"/>
                  <a:pt x="744" y="1282"/>
                </a:cubicBezTo>
                <a:cubicBezTo>
                  <a:pt x="701" y="1286"/>
                  <a:pt x="642" y="1289"/>
                  <a:pt x="561" y="1289"/>
                </a:cubicBezTo>
                <a:cubicBezTo>
                  <a:pt x="288" y="1289"/>
                  <a:pt x="252" y="1264"/>
                  <a:pt x="252" y="1228"/>
                </a:cubicBezTo>
                <a:cubicBezTo>
                  <a:pt x="252" y="1228"/>
                  <a:pt x="252" y="1228"/>
                  <a:pt x="252" y="1150"/>
                </a:cubicBezTo>
                <a:cubicBezTo>
                  <a:pt x="249" y="1155"/>
                  <a:pt x="238" y="1155"/>
                  <a:pt x="238" y="1155"/>
                </a:cubicBezTo>
                <a:cubicBezTo>
                  <a:pt x="238" y="1155"/>
                  <a:pt x="204" y="1155"/>
                  <a:pt x="190" y="1155"/>
                </a:cubicBezTo>
                <a:cubicBezTo>
                  <a:pt x="161" y="1155"/>
                  <a:pt x="143" y="1139"/>
                  <a:pt x="143" y="1107"/>
                </a:cubicBezTo>
                <a:cubicBezTo>
                  <a:pt x="143" y="1103"/>
                  <a:pt x="143" y="1103"/>
                  <a:pt x="143" y="1103"/>
                </a:cubicBezTo>
                <a:cubicBezTo>
                  <a:pt x="30" y="1082"/>
                  <a:pt x="0" y="993"/>
                  <a:pt x="0" y="923"/>
                </a:cubicBezTo>
                <a:cubicBezTo>
                  <a:pt x="0" y="854"/>
                  <a:pt x="38" y="773"/>
                  <a:pt x="139" y="734"/>
                </a:cubicBezTo>
                <a:cubicBezTo>
                  <a:pt x="179" y="723"/>
                  <a:pt x="211" y="704"/>
                  <a:pt x="325" y="712"/>
                </a:cubicBezTo>
                <a:cubicBezTo>
                  <a:pt x="536" y="723"/>
                  <a:pt x="773" y="862"/>
                  <a:pt x="1021" y="961"/>
                </a:cubicBezTo>
                <a:cubicBezTo>
                  <a:pt x="1162" y="1019"/>
                  <a:pt x="1326" y="1073"/>
                  <a:pt x="1457" y="1103"/>
                </a:cubicBezTo>
                <a:cubicBezTo>
                  <a:pt x="1621" y="1139"/>
                  <a:pt x="1745" y="1146"/>
                  <a:pt x="1771" y="1150"/>
                </a:cubicBezTo>
                <a:cubicBezTo>
                  <a:pt x="1822" y="1155"/>
                  <a:pt x="1854" y="1155"/>
                  <a:pt x="1859" y="1155"/>
                </a:cubicBezTo>
                <a:close/>
                <a:moveTo>
                  <a:pt x="143" y="1034"/>
                </a:moveTo>
                <a:cubicBezTo>
                  <a:pt x="147" y="946"/>
                  <a:pt x="154" y="873"/>
                  <a:pt x="193" y="781"/>
                </a:cubicBezTo>
                <a:cubicBezTo>
                  <a:pt x="99" y="800"/>
                  <a:pt x="41" y="847"/>
                  <a:pt x="41" y="927"/>
                </a:cubicBezTo>
                <a:cubicBezTo>
                  <a:pt x="41" y="1004"/>
                  <a:pt x="106" y="1026"/>
                  <a:pt x="143" y="1034"/>
                </a:cubicBezTo>
                <a:close/>
              </a:path>
            </a:pathLst>
          </a:custGeom>
          <a:solidFill>
            <a:srgbClr val="FFFFFF"/>
          </a:solidFill>
          <a:ln>
            <a:noFill/>
          </a:ln>
          <a:extLst>
            <a:ext uri="{91240B29-F687-4F45-9708-019B960494DF}">
              <a14:hiddenLine w="9525">
                <a:solidFill>
                  <a:srgbClr val="000000"/>
                </a:solidFill>
                <a:round/>
                <a:headEnd/>
                <a:tailEnd/>
              </a14:hiddenLine>
            </a:ext>
          </a:extLst>
        </p:spPr>
        <p:txBody>
          <a:bodyPr anchor="t" anchorCtr="0" bIns="34982" compatLnSpc="1" lIns="69964" numCol="1" rIns="69964" tIns="34982" vert="horz" wrap="square">
            <a:prstTxWarp prst="textNoShape">
              <a:avLst/>
            </a:prstTxWarp>
          </a:bodyPr>
          <a:lstStyle/>
          <a:p>
            <a:pPr defTabSz="932209"/>
            <a:endParaRPr lang="en-US" sz="1300">
              <a:solidFill>
                <a:srgbClr val="000000"/>
              </a:solidFill>
              <a:latin typeface="Segoe UI"/>
            </a:endParaRPr>
          </a:p>
        </p:txBody>
      </p:sp>
      <p:sp>
        <p:nvSpPr>
          <p:cNvPr id="38" name="Freeform 12"/>
          <p:cNvSpPr/>
          <p:nvPr/>
        </p:nvSpPr>
        <p:spPr bwMode="black">
          <a:xfrm>
            <a:off x="2339214" y="3589507"/>
            <a:ext cx="496381" cy="414736"/>
          </a:xfrm>
          <a:custGeom>
            <a:rect b="b" l="l" r="r" t="t"/>
            <a:pathLst>
              <a:path h="481978" w="611218">
                <a:moveTo>
                  <a:pt x="224745" y="94707"/>
                </a:moveTo>
                <a:cubicBezTo>
                  <a:pt x="347961" y="94707"/>
                  <a:pt x="448505" y="171589"/>
                  <a:pt x="448505" y="266213"/>
                </a:cubicBezTo>
                <a:cubicBezTo>
                  <a:pt x="448505" y="360837"/>
                  <a:pt x="347961" y="436734"/>
                  <a:pt x="224745" y="436734"/>
                </a:cubicBezTo>
                <a:cubicBezTo>
                  <a:pt x="202074" y="436734"/>
                  <a:pt x="181373" y="434763"/>
                  <a:pt x="161659" y="429834"/>
                </a:cubicBezTo>
                <a:cubicBezTo>
                  <a:pt x="135044" y="478132"/>
                  <a:pt x="86744" y="488974"/>
                  <a:pt x="44358" y="478132"/>
                </a:cubicBezTo>
                <a:cubicBezTo>
                  <a:pt x="69986" y="455462"/>
                  <a:pt x="92658" y="434763"/>
                  <a:pt x="109416" y="413078"/>
                </a:cubicBezTo>
                <a:cubicBezTo>
                  <a:pt x="43372" y="382522"/>
                  <a:pt x="0" y="328310"/>
                  <a:pt x="0" y="266213"/>
                </a:cubicBezTo>
                <a:cubicBezTo>
                  <a:pt x="0" y="171589"/>
                  <a:pt x="100544" y="94707"/>
                  <a:pt x="224745" y="94707"/>
                </a:cubicBezTo>
                <a:close/>
                <a:moveTo>
                  <a:pt x="386440" y="0"/>
                </a:moveTo>
                <a:cubicBezTo>
                  <a:pt x="510659" y="0"/>
                  <a:pt x="611218" y="76830"/>
                  <a:pt x="611218" y="170405"/>
                </a:cubicBezTo>
                <a:cubicBezTo>
                  <a:pt x="611218" y="232460"/>
                  <a:pt x="566854" y="287620"/>
                  <a:pt x="501787" y="317170"/>
                </a:cubicBezTo>
                <a:cubicBezTo>
                  <a:pt x="518546" y="338840"/>
                  <a:pt x="541221" y="360510"/>
                  <a:pt x="566854" y="382180"/>
                </a:cubicBezTo>
                <a:cubicBezTo>
                  <a:pt x="523476" y="393015"/>
                  <a:pt x="481083" y="383165"/>
                  <a:pt x="454465" y="334900"/>
                </a:cubicBezTo>
                <a:cubicBezTo>
                  <a:pt x="547137" y="154645"/>
                  <a:pt x="301656" y="47280"/>
                  <a:pt x="201097" y="73875"/>
                </a:cubicBezTo>
                <a:cubicBezTo>
                  <a:pt x="241518" y="29550"/>
                  <a:pt x="309542" y="0"/>
                  <a:pt x="386440" y="0"/>
                </a:cubicBezTo>
                <a:close/>
              </a:path>
            </a:pathLst>
          </a:custGeom>
          <a:solidFill>
            <a:srgbClr val="FFFFFF"/>
          </a:solidFill>
          <a:ln>
            <a:noFill/>
          </a:ln>
          <a:extLst/>
        </p:spPr>
        <p:txBody>
          <a:bodyPr anchor="t" anchorCtr="0" bIns="46620" compatLnSpc="1" lIns="93243" numCol="1" rIns="93243" tIns="46620" vert="horz" wrap="square">
            <a:prstTxWarp prst="textNoShape">
              <a:avLst/>
            </a:prstTxWarp>
          </a:bodyPr>
          <a:lstStyle/>
          <a:p>
            <a:endParaRPr lang="en-US">
              <a:solidFill>
                <a:srgbClr val="FFFFFF"/>
              </a:solidFill>
            </a:endParaRPr>
          </a:p>
        </p:txBody>
      </p:sp>
      <p:sp>
        <p:nvSpPr>
          <p:cNvPr id="39" name="Rectangle 92166"/>
          <p:cNvSpPr/>
          <p:nvPr>
            <p:custDataLst>
              <p:tags r:id="rId3"/>
            </p:custDataLst>
          </p:nvPr>
        </p:nvSpPr>
        <p:spPr bwMode="auto">
          <a:xfrm flipV="1">
            <a:off x="2907990" y="4751814"/>
            <a:ext cx="417231" cy="395186"/>
          </a:xfrm>
          <a:custGeom>
            <a:rect b="b" l="l" r="r" t="t"/>
            <a:pathLst>
              <a:path h="1128292" w="822102">
                <a:moveTo>
                  <a:pt x="698119" y="563492"/>
                </a:moveTo>
                <a:lnTo>
                  <a:pt x="370918" y="284334"/>
                </a:lnTo>
                <a:lnTo>
                  <a:pt x="280941" y="205737"/>
                </a:lnTo>
                <a:lnTo>
                  <a:pt x="128851" y="379847"/>
                </a:lnTo>
                <a:lnTo>
                  <a:pt x="56929" y="317022"/>
                </a:lnTo>
                <a:lnTo>
                  <a:pt x="264169" y="79779"/>
                </a:lnTo>
                <a:cubicBezTo>
                  <a:pt x="269372" y="74505"/>
                  <a:pt x="274695" y="68970"/>
                  <a:pt x="280207" y="63224"/>
                </a:cubicBezTo>
                <a:lnTo>
                  <a:pt x="765173" y="487802"/>
                </a:lnTo>
                <a:lnTo>
                  <a:pt x="702684" y="559339"/>
                </a:lnTo>
                <a:close/>
                <a:moveTo>
                  <a:pt x="574455" y="1110341"/>
                </a:moveTo>
                <a:lnTo>
                  <a:pt x="574455" y="823073"/>
                </a:lnTo>
                <a:lnTo>
                  <a:pt x="803055" y="823073"/>
                </a:lnTo>
                <a:close/>
                <a:moveTo>
                  <a:pt x="0" y="1128292"/>
                </a:moveTo>
                <a:lnTo>
                  <a:pt x="593503" y="1128292"/>
                </a:lnTo>
                <a:lnTo>
                  <a:pt x="822103" y="841025"/>
                </a:lnTo>
                <a:lnTo>
                  <a:pt x="822103" y="0"/>
                </a:lnTo>
                <a:lnTo>
                  <a:pt x="0" y="0"/>
                </a:lnTo>
                <a:close/>
              </a:path>
            </a:pathLst>
          </a:custGeom>
          <a:solidFill>
            <a:srgbClr val="FFFFFF"/>
          </a:solidFill>
          <a:ln algn="ctr" cap="flat" cmpd="sng" w="19050">
            <a:noFill/>
            <a:prstDash val="solid"/>
          </a:ln>
          <a:effectLst/>
        </p:spPr>
        <p:txBody>
          <a:bodyPr anchor="ctr" bIns="45702" lIns="91406" rIns="91406" rtlCol="0" tIns="45702"/>
          <a:lstStyle/>
          <a:p>
            <a:pPr algn="ctr" defTabSz="932068" eaLnBrk="1" fontAlgn="auto" hangingPunct="1" indent="0" latinLnBrk="0" lvl="0" marL="0" marR="0">
              <a:lnSpc>
                <a:spcPct val="100000"/>
              </a:lnSpc>
              <a:spcBef>
                <a:spcPct val="0"/>
              </a:spcBef>
              <a:spcAft>
                <a:spcPct val="0"/>
              </a:spcAft>
              <a:buClrTx/>
              <a:buSzTx/>
              <a:buFontTx/>
              <a:buNone/>
              <a:defRPr/>
            </a:pPr>
            <a:endParaRPr b="0" baseline="0" cap="none" i="0" kern="0" kumimoji="0" lang="en-US" noProof="0" normalizeH="0" smtClean="0" spc="0" strike="noStrike" sz="1800" u="none">
              <a:ln>
                <a:solidFill>
                  <a:srgbClr val="FFFFFF">
                    <a:alpha val="0"/>
                  </a:srgbClr>
                </a:solidFill>
              </a:ln>
              <a:solidFill>
                <a:srgbClr val="FFFFFF"/>
              </a:solidFill>
              <a:effectLst/>
              <a:uLnTx/>
              <a:uFillTx/>
              <a:latin typeface="Segoe UI"/>
            </a:endParaRPr>
          </a:p>
        </p:txBody>
      </p:sp>
    </p:spTree>
    <p:extLst>
      <p:ext uri="{BB962C8B-B14F-4D97-AF65-F5344CB8AC3E}">
        <p14:creationId val="144127063"/>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3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9" name="图片 8"/>
          <p:cNvPicPr>
            <a:picLocks noChangeAspect="1"/>
          </p:cNvPicPr>
          <p:nvPr/>
        </p:nvPicPr>
        <p:blipFill>
          <a:blip r:embed="rId2">
            <a:extLst>
              <a:ext uri="{BEBA8EAE-BF5A-486C-A8C5-ECC9F3942E4B}">
                <a14:imgProps>
                  <a14:imgLayer xmlns:d3p1="http://schemas.openxmlformats.org/officeDocument/2006/relationships" d3p1:embed="">
                    <a14:imgEffect>
                      <a14:saturation sat="66000"/>
                    </a14:imgEffect>
                  </a14:imgLayer>
                </a14:imgProps>
              </a:ext>
              <a:ext uri="{28A0092B-C50C-407E-A947-70E740481C1C}">
                <a14:useLocalDpi/>
              </a:ext>
            </a:extLst>
          </a:blip>
          <a:srcRect b="18142" l="5432" t="43024"/>
          <a:stretch>
            <a:fillRect/>
          </a:stretch>
        </p:blipFill>
        <p:spPr>
          <a:xfrm>
            <a:off x="1153886" y="1381395"/>
            <a:ext cx="9723269" cy="2676255"/>
          </a:xfrm>
          <a:prstGeom prst="rect">
            <a:avLst/>
          </a:prstGeom>
        </p:spPr>
      </p:pic>
      <p:sp>
        <p:nvSpPr>
          <p:cNvPr id="4" name="灯片编号占位符 3"/>
          <p:cNvSpPr>
            <a:spLocks noGrp="1"/>
          </p:cNvSpPr>
          <p:nvPr>
            <p:ph idx="12" sz="quarter" type="sldNum"/>
          </p:nvPr>
        </p:nvSpPr>
        <p:spPr/>
        <p:txBody>
          <a:bodyPr/>
          <a:lstStyle/>
          <a:p>
            <a:fld id="{7E96C51E-41B4-476D-BA5B-97BBD2946A4B}" type="slidenum">
              <a:rPr altLang="en-US" lang="zh-CN" smtClean="0"/>
              <a:t>30</a:t>
            </a:fld>
          </a:p>
        </p:txBody>
      </p:sp>
      <p:sp>
        <p:nvSpPr>
          <p:cNvPr id="6" name="文本框 5"/>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7" name="矩形 6"/>
          <p:cNvSpPr/>
          <p:nvPr/>
        </p:nvSpPr>
        <p:spPr>
          <a:xfrm>
            <a:off x="1153886" y="1381397"/>
            <a:ext cx="3276600" cy="2676254"/>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 name="矩形 7"/>
          <p:cNvSpPr/>
          <p:nvPr/>
        </p:nvSpPr>
        <p:spPr>
          <a:xfrm>
            <a:off x="1302297" y="1612208"/>
            <a:ext cx="3128189" cy="2834640"/>
          </a:xfrm>
          <a:prstGeom prst="rect">
            <a:avLst/>
          </a:prstGeom>
        </p:spPr>
        <p:txBody>
          <a:bodyPr wrap="square">
            <a:spAutoFit/>
          </a:bodyPr>
          <a:lstStyle/>
          <a:p>
            <a:pPr>
              <a:lnSpc>
                <a:spcPct val="150000"/>
              </a:lnSpc>
            </a:pPr>
            <a:r>
              <a:rPr altLang="en-US" b="1" lang="zh-CN" smtClean="0" sz="2000">
                <a:solidFill>
                  <a:schemeClr val="bg1"/>
                </a:solidFill>
                <a:latin charset="-122" panose="020b0503020204020204" pitchFamily="34" typeface="微软雅黑"/>
                <a:ea charset="-122" panose="020b0503020204020204" pitchFamily="34" typeface="微软雅黑"/>
              </a:rPr>
              <a:t>此处输入小标题</a:t>
            </a:r>
          </a:p>
          <a:p>
            <a:pPr>
              <a:lnSpc>
                <a:spcPct val="150000"/>
              </a:lnSpc>
            </a:pPr>
            <a:r>
              <a:rPr altLang="en-US" b="1" lang="zh-CN" smtClean="0" sz="2000">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此处输入文本此处输入文本</a:t>
            </a:r>
          </a:p>
        </p:txBody>
      </p:sp>
      <p:pic>
        <p:nvPicPr>
          <p:cNvPr id="10" name="图片 9"/>
          <p:cNvPicPr>
            <a:picLocks noChangeAspect="1"/>
          </p:cNvPicPr>
          <p:nvPr/>
        </p:nvPicPr>
        <p:blipFill>
          <a:blip r:embed="rId3">
            <a:extLst>
              <a:ext uri="{BEBA8EAE-BF5A-486C-A8C5-ECC9F3942E4B}">
                <a14:imgProps>
                  <a14:imgLayer xmlns:d3p1="http://schemas.openxmlformats.org/officeDocument/2006/relationships" d3p1:embed="">
                    <a14:imgEffect>
                      <a14:colorTemperature colorTemp="4700"/>
                    </a14:imgEffect>
                    <a14:imgEffect>
                      <a14:saturation sat="33000"/>
                    </a14:imgEffect>
                  </a14:imgLayer>
                </a14:imgProps>
              </a:ext>
              <a:ext uri="{28A0092B-C50C-407E-A947-70E740481C1C}">
                <a14:useLocalDpi/>
              </a:ext>
            </a:extLst>
          </a:blip>
          <a:stretch>
            <a:fillRect/>
          </a:stretch>
        </p:blipFill>
        <p:spPr>
          <a:xfrm>
            <a:off x="1153886" y="4097742"/>
            <a:ext cx="3288030" cy="1715451"/>
          </a:xfrm>
          <a:prstGeom prst="rect">
            <a:avLst/>
          </a:prstGeom>
        </p:spPr>
      </p:pic>
      <p:sp>
        <p:nvSpPr>
          <p:cNvPr id="11" name="矩形 10"/>
          <p:cNvSpPr/>
          <p:nvPr/>
        </p:nvSpPr>
        <p:spPr>
          <a:xfrm>
            <a:off x="4481837" y="4097742"/>
            <a:ext cx="6395318" cy="1715452"/>
          </a:xfrm>
          <a:prstGeom prst="rect">
            <a:avLst/>
          </a:prstGeom>
          <a:solidFill>
            <a:srgbClr val="E00024">
              <a:alpha val="9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2" name="矩形 11"/>
          <p:cNvSpPr/>
          <p:nvPr/>
        </p:nvSpPr>
        <p:spPr>
          <a:xfrm>
            <a:off x="4655097" y="4057650"/>
            <a:ext cx="3128189" cy="2377440"/>
          </a:xfrm>
          <a:prstGeom prst="rect">
            <a:avLst/>
          </a:prstGeom>
        </p:spPr>
        <p:txBody>
          <a:bodyPr wrap="square">
            <a:spAutoFit/>
          </a:bodyPr>
          <a:lstStyle/>
          <a:p>
            <a:pPr>
              <a:lnSpc>
                <a:spcPct val="150000"/>
              </a:lnSpc>
            </a:pPr>
            <a:r>
              <a:rPr altLang="zh-CN" b="1" lang="en-US" smtClean="0" sz="2000">
                <a:solidFill>
                  <a:schemeClr val="bg1"/>
                </a:solidFill>
                <a:latin charset="-122" panose="020b0503020204020204" pitchFamily="34" typeface="微软雅黑"/>
                <a:ea charset="-122" panose="020b0503020204020204" pitchFamily="34" typeface="微软雅黑"/>
              </a:rPr>
              <a:t>01小标题</a:t>
            </a:r>
          </a:p>
          <a:p>
            <a:pPr>
              <a:lnSpc>
                <a:spcPct val="150000"/>
              </a:lnSpc>
            </a:pPr>
            <a:r>
              <a:rPr altLang="zh-CN" b="1" lang="en-US" smtClean="0" sz="2000">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a:t>
            </a:r>
          </a:p>
        </p:txBody>
      </p:sp>
      <p:sp>
        <p:nvSpPr>
          <p:cNvPr id="13" name="矩形 12"/>
          <p:cNvSpPr/>
          <p:nvPr/>
        </p:nvSpPr>
        <p:spPr>
          <a:xfrm>
            <a:off x="7771253" y="4035559"/>
            <a:ext cx="3128189" cy="2377440"/>
          </a:xfrm>
          <a:prstGeom prst="rect">
            <a:avLst/>
          </a:prstGeom>
        </p:spPr>
        <p:txBody>
          <a:bodyPr wrap="square">
            <a:spAutoFit/>
          </a:bodyPr>
          <a:lstStyle/>
          <a:p>
            <a:pPr>
              <a:lnSpc>
                <a:spcPct val="150000"/>
              </a:lnSpc>
            </a:pPr>
            <a:r>
              <a:rPr altLang="zh-CN" b="1" lang="en-US" smtClean="0" sz="2000">
                <a:solidFill>
                  <a:schemeClr val="bg1"/>
                </a:solidFill>
                <a:latin charset="-122" panose="020b0503020204020204" pitchFamily="34" typeface="微软雅黑"/>
                <a:ea charset="-122" panose="020b0503020204020204" pitchFamily="34" typeface="微软雅黑"/>
              </a:rPr>
              <a:t>02小标题</a:t>
            </a:r>
          </a:p>
          <a:p>
            <a:pPr>
              <a:lnSpc>
                <a:spcPct val="150000"/>
              </a:lnSpc>
            </a:pPr>
            <a:r>
              <a:rPr altLang="zh-CN" b="1" lang="en-US" smtClean="0" sz="2000">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a:t>
            </a:r>
          </a:p>
        </p:txBody>
      </p:sp>
    </p:spTree>
    <p:extLst>
      <p:ext uri="{BB962C8B-B14F-4D97-AF65-F5344CB8AC3E}">
        <p14:creationId val="1723877965"/>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3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FB67177E-4607-4C1A-AFB9-3C0776AC8FB1}" type="slidenum">
              <a:rPr altLang="en-US" lang="zh-CN" smtClean="0"/>
              <a:t>31</a:t>
            </a:fld>
          </a:p>
        </p:txBody>
      </p:sp>
      <p:pic>
        <p:nvPicPr>
          <p:cNvPr id="20" name="图片 19"/>
          <p:cNvPicPr>
            <a:picLocks noChangeAspect="1"/>
          </p:cNvPicPr>
          <p:nvPr/>
        </p:nvPicPr>
        <p:blipFill>
          <a:blip r:embed="rId3">
            <a:extLst>
              <a:ext uri="{BEBA8EAE-BF5A-486C-A8C5-ECC9F3942E4B}">
                <a14:imgProps>
                  <a14:imgLayer xmlns:d3p1="http://schemas.openxmlformats.org/officeDocument/2006/relationships" d3p1:embed="">
                    <a14:imgEffect>
                      <a14:saturation sat="66000"/>
                    </a14:imgEffect>
                  </a14:imgLayer>
                </a14:imgProps>
              </a:ext>
              <a:ext uri="{28A0092B-C50C-407E-A947-70E740481C1C}">
                <a14:useLocalDpi/>
              </a:ext>
            </a:extLst>
          </a:blip>
          <a:srcRect l="28779"/>
          <a:stretch>
            <a:fillRect/>
          </a:stretch>
        </p:blipFill>
        <p:spPr>
          <a:xfrm>
            <a:off x="4869181" y="0"/>
            <a:ext cx="7322819" cy="6858000"/>
          </a:xfrm>
          <a:custGeom>
            <a:gdLst>
              <a:gd fmla="*/ 3328127 w 7322819" name="connsiteX0"/>
              <a:gd fmla="*/ 0 h 6858000" name="connsiteY0"/>
              <a:gd fmla="*/ 7322819 w 7322819" name="connsiteX1"/>
              <a:gd fmla="*/ 0 h 6858000" name="connsiteY1"/>
              <a:gd fmla="*/ 7322819 w 7322819" name="connsiteX2"/>
              <a:gd fmla="*/ 6858000 h 6858000" name="connsiteY2"/>
              <a:gd fmla="*/ 0 w 7322819" name="connsiteX3"/>
              <a:gd fmla="*/ 6858000 h 6858000" name="connsiteY3"/>
            </a:gdLst>
            <a:cxnLst>
              <a:cxn ang="0">
                <a:pos x="connsiteX0" y="connsiteY0"/>
              </a:cxn>
              <a:cxn ang="0">
                <a:pos x="connsiteX1" y="connsiteY1"/>
              </a:cxn>
              <a:cxn ang="0">
                <a:pos x="connsiteX2" y="connsiteY2"/>
              </a:cxn>
              <a:cxn ang="0">
                <a:pos x="connsiteX3" y="connsiteY3"/>
              </a:cxn>
            </a:cxnLst>
            <a:rect b="b" l="l" r="r" t="t"/>
            <a:pathLst>
              <a:path h="6858000" w="7322819">
                <a:moveTo>
                  <a:pt x="3328127" y="0"/>
                </a:moveTo>
                <a:lnTo>
                  <a:pt x="7322819" y="0"/>
                </a:lnTo>
                <a:lnTo>
                  <a:pt x="7322819" y="6858000"/>
                </a:lnTo>
                <a:lnTo>
                  <a:pt x="0" y="6858000"/>
                </a:lnTo>
                <a:close/>
              </a:path>
            </a:pathLst>
          </a:custGeom>
        </p:spPr>
      </p:pic>
      <p:sp>
        <p:nvSpPr>
          <p:cNvPr id="23" name="文本框 22"/>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24" name="正五边形 23"/>
          <p:cNvSpPr/>
          <p:nvPr/>
        </p:nvSpPr>
        <p:spPr>
          <a:xfrm>
            <a:off x="6103620" y="1348740"/>
            <a:ext cx="1703070" cy="937259"/>
          </a:xfrm>
          <a:custGeom>
            <a:gdLst>
              <a:gd fmla="*/ 0 w 1440178" name="connsiteX0"/>
              <a:gd fmla="*/ 457200 h 805159" name="connsiteY0"/>
              <a:gd fmla="*/ 377445 w 1440178" name="connsiteX1"/>
              <a:gd fmla="*/ 5061 h 805159" name="connsiteY1"/>
              <a:gd fmla="*/ 1440178 w 1440178" name="connsiteX2"/>
              <a:gd fmla="*/ 0 h 805159" name="connsiteY2"/>
              <a:gd fmla="*/ 1051072 w 1440178" name="connsiteX3"/>
              <a:gd fmla="*/ 805159 h 805159" name="connsiteY3"/>
              <a:gd fmla="*/ 423396 w 1440178" name="connsiteX4"/>
              <a:gd fmla="*/ 805159 h 805159" name="connsiteY4"/>
              <a:gd fmla="*/ 0 w 1440178" name="connsiteX5"/>
              <a:gd fmla="*/ 457200 h 805159"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805159" w="1440178">
                <a:moveTo>
                  <a:pt x="0" y="457200"/>
                </a:moveTo>
                <a:lnTo>
                  <a:pt x="377445" y="5061"/>
                </a:lnTo>
                <a:lnTo>
                  <a:pt x="1440178" y="0"/>
                </a:lnTo>
                <a:lnTo>
                  <a:pt x="1051072" y="805159"/>
                </a:lnTo>
                <a:lnTo>
                  <a:pt x="423396" y="805159"/>
                </a:lnTo>
                <a:lnTo>
                  <a:pt x="0" y="457200"/>
                </a:lnTo>
                <a:close/>
              </a:path>
            </a:pathLst>
          </a:cu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5" name="正五边形 23"/>
          <p:cNvSpPr/>
          <p:nvPr/>
        </p:nvSpPr>
        <p:spPr>
          <a:xfrm>
            <a:off x="5490210" y="2674621"/>
            <a:ext cx="1703070" cy="937259"/>
          </a:xfrm>
          <a:custGeom>
            <a:gdLst>
              <a:gd fmla="*/ 0 w 1440178" name="connsiteX0"/>
              <a:gd fmla="*/ 457200 h 805159" name="connsiteY0"/>
              <a:gd fmla="*/ 377445 w 1440178" name="connsiteX1"/>
              <a:gd fmla="*/ 5061 h 805159" name="connsiteY1"/>
              <a:gd fmla="*/ 1440178 w 1440178" name="connsiteX2"/>
              <a:gd fmla="*/ 0 h 805159" name="connsiteY2"/>
              <a:gd fmla="*/ 1051072 w 1440178" name="connsiteX3"/>
              <a:gd fmla="*/ 805159 h 805159" name="connsiteY3"/>
              <a:gd fmla="*/ 423396 w 1440178" name="connsiteX4"/>
              <a:gd fmla="*/ 805159 h 805159" name="connsiteY4"/>
              <a:gd fmla="*/ 0 w 1440178" name="connsiteX5"/>
              <a:gd fmla="*/ 457200 h 805159"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805159" w="1440178">
                <a:moveTo>
                  <a:pt x="0" y="457200"/>
                </a:moveTo>
                <a:lnTo>
                  <a:pt x="377445" y="5061"/>
                </a:lnTo>
                <a:lnTo>
                  <a:pt x="1440178" y="0"/>
                </a:lnTo>
                <a:lnTo>
                  <a:pt x="1051072" y="805159"/>
                </a:lnTo>
                <a:lnTo>
                  <a:pt x="423396" y="805159"/>
                </a:lnTo>
                <a:lnTo>
                  <a:pt x="0" y="457200"/>
                </a:lnTo>
                <a:close/>
              </a:path>
            </a:pathLst>
          </a:cu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6" name="正五边形 23"/>
          <p:cNvSpPr/>
          <p:nvPr/>
        </p:nvSpPr>
        <p:spPr>
          <a:xfrm>
            <a:off x="4815841" y="4023361"/>
            <a:ext cx="1703070" cy="937259"/>
          </a:xfrm>
          <a:custGeom>
            <a:gdLst>
              <a:gd fmla="*/ 0 w 1440178" name="connsiteX0"/>
              <a:gd fmla="*/ 457200 h 805159" name="connsiteY0"/>
              <a:gd fmla="*/ 377445 w 1440178" name="connsiteX1"/>
              <a:gd fmla="*/ 5061 h 805159" name="connsiteY1"/>
              <a:gd fmla="*/ 1440178 w 1440178" name="connsiteX2"/>
              <a:gd fmla="*/ 0 h 805159" name="connsiteY2"/>
              <a:gd fmla="*/ 1051072 w 1440178" name="connsiteX3"/>
              <a:gd fmla="*/ 805159 h 805159" name="connsiteY3"/>
              <a:gd fmla="*/ 423396 w 1440178" name="connsiteX4"/>
              <a:gd fmla="*/ 805159 h 805159" name="connsiteY4"/>
              <a:gd fmla="*/ 0 w 1440178" name="connsiteX5"/>
              <a:gd fmla="*/ 457200 h 805159"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805159" w="1440178">
                <a:moveTo>
                  <a:pt x="0" y="457200"/>
                </a:moveTo>
                <a:lnTo>
                  <a:pt x="377445" y="5061"/>
                </a:lnTo>
                <a:lnTo>
                  <a:pt x="1440178" y="0"/>
                </a:lnTo>
                <a:lnTo>
                  <a:pt x="1051072" y="805159"/>
                </a:lnTo>
                <a:lnTo>
                  <a:pt x="423396" y="805159"/>
                </a:lnTo>
                <a:lnTo>
                  <a:pt x="0" y="457200"/>
                </a:lnTo>
                <a:close/>
              </a:path>
            </a:pathLst>
          </a:cu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7" name="正五边形 23"/>
          <p:cNvSpPr/>
          <p:nvPr/>
        </p:nvSpPr>
        <p:spPr>
          <a:xfrm>
            <a:off x="4175760" y="5372101"/>
            <a:ext cx="1703070" cy="937259"/>
          </a:xfrm>
          <a:custGeom>
            <a:gdLst>
              <a:gd fmla="*/ 0 w 1440178" name="connsiteX0"/>
              <a:gd fmla="*/ 457200 h 805159" name="connsiteY0"/>
              <a:gd fmla="*/ 377445 w 1440178" name="connsiteX1"/>
              <a:gd fmla="*/ 5061 h 805159" name="connsiteY1"/>
              <a:gd fmla="*/ 1440178 w 1440178" name="connsiteX2"/>
              <a:gd fmla="*/ 0 h 805159" name="connsiteY2"/>
              <a:gd fmla="*/ 1051072 w 1440178" name="connsiteX3"/>
              <a:gd fmla="*/ 805159 h 805159" name="connsiteY3"/>
              <a:gd fmla="*/ 423396 w 1440178" name="connsiteX4"/>
              <a:gd fmla="*/ 805159 h 805159" name="connsiteY4"/>
              <a:gd fmla="*/ 0 w 1440178" name="connsiteX5"/>
              <a:gd fmla="*/ 457200 h 805159"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805159" w="1440178">
                <a:moveTo>
                  <a:pt x="0" y="457200"/>
                </a:moveTo>
                <a:lnTo>
                  <a:pt x="377445" y="5061"/>
                </a:lnTo>
                <a:lnTo>
                  <a:pt x="1440178" y="0"/>
                </a:lnTo>
                <a:lnTo>
                  <a:pt x="1051072" y="805159"/>
                </a:lnTo>
                <a:lnTo>
                  <a:pt x="423396" y="805159"/>
                </a:lnTo>
                <a:lnTo>
                  <a:pt x="0" y="457200"/>
                </a:lnTo>
                <a:close/>
              </a:path>
            </a:pathLst>
          </a:cu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8" name="矩形 27"/>
          <p:cNvSpPr/>
          <p:nvPr/>
        </p:nvSpPr>
        <p:spPr>
          <a:xfrm>
            <a:off x="2568893" y="1362778"/>
            <a:ext cx="3230880" cy="1005840"/>
          </a:xfrm>
          <a:prstGeom prst="rect">
            <a:avLst/>
          </a:prstGeom>
        </p:spPr>
        <p:txBody>
          <a:bodyPr wrap="none">
            <a:spAutoFit/>
          </a:bodyPr>
          <a:lstStyle/>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29" name="矩形 28"/>
          <p:cNvSpPr/>
          <p:nvPr/>
        </p:nvSpPr>
        <p:spPr>
          <a:xfrm>
            <a:off x="1941194" y="2693069"/>
            <a:ext cx="3230880" cy="1005840"/>
          </a:xfrm>
          <a:prstGeom prst="rect">
            <a:avLst/>
          </a:prstGeom>
        </p:spPr>
        <p:txBody>
          <a:bodyPr wrap="none">
            <a:spAutoFit/>
          </a:bodyPr>
          <a:lstStyle/>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30" name="矩形 29"/>
          <p:cNvSpPr/>
          <p:nvPr/>
        </p:nvSpPr>
        <p:spPr>
          <a:xfrm>
            <a:off x="1210628" y="4024962"/>
            <a:ext cx="3230880" cy="1005840"/>
          </a:xfrm>
          <a:prstGeom prst="rect">
            <a:avLst/>
          </a:prstGeom>
        </p:spPr>
        <p:txBody>
          <a:bodyPr wrap="none">
            <a:spAutoFit/>
          </a:bodyPr>
          <a:lstStyle/>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
        <p:nvSpPr>
          <p:cNvPr id="31" name="矩形 30"/>
          <p:cNvSpPr/>
          <p:nvPr/>
        </p:nvSpPr>
        <p:spPr>
          <a:xfrm>
            <a:off x="586264" y="5374709"/>
            <a:ext cx="3230880" cy="1005840"/>
          </a:xfrm>
          <a:prstGeom prst="rect">
            <a:avLst/>
          </a:prstGeom>
        </p:spPr>
        <p:txBody>
          <a:bodyPr wrap="none">
            <a:spAutoFit/>
          </a:bodyPr>
          <a:lstStyle/>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小标题</a:t>
            </a:r>
          </a:p>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a:p>
            <a:pPr algn="r"/>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a:t>
            </a:r>
          </a:p>
        </p:txBody>
      </p:sp>
    </p:spTree>
    <p:extLst>
      <p:ext uri="{BB962C8B-B14F-4D97-AF65-F5344CB8AC3E}">
        <p14:creationId val="4209996753"/>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3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5" name="图片 4"/>
          <p:cNvPicPr>
            <a:picLocks noChangeAspect="1"/>
          </p:cNvPicPr>
          <p:nvPr/>
        </p:nvPicPr>
        <p:blipFill>
          <a:blip r:embed="rId2">
            <a:extLst>
              <a:ext uri="{28A0092B-C50C-407E-A947-70E740481C1C}">
                <a14:useLocalDpi/>
              </a:ext>
            </a:extLst>
          </a:blip>
          <a:stretch>
            <a:fillRect/>
          </a:stretch>
        </p:blipFill>
        <p:spPr>
          <a:xfrm>
            <a:off x="1" y="0"/>
            <a:ext cx="10145486" cy="6858000"/>
          </a:xfrm>
          <a:prstGeom prst="rect">
            <a:avLst/>
          </a:prstGeom>
        </p:spPr>
      </p:pic>
      <p:sp>
        <p:nvSpPr>
          <p:cNvPr id="4" name="任意多边形 3"/>
          <p:cNvSpPr/>
          <p:nvPr/>
        </p:nvSpPr>
        <p:spPr>
          <a:xfrm flipV="1">
            <a:off x="6025860" y="-19609"/>
            <a:ext cx="6196120" cy="6898842"/>
          </a:xfrm>
          <a:custGeom>
            <a:gdLst>
              <a:gd fmla="*/ 3855757 w 6196120" name="connsiteX0"/>
              <a:gd fmla="*/ 0 h 6898842" name="connsiteY0"/>
              <a:gd fmla="*/ 6181130 w 6196120" name="connsiteX1"/>
              <a:gd fmla="*/ 0 h 6898842" name="connsiteY1"/>
              <a:gd fmla="*/ 6196120 w 6196120" name="connsiteX2"/>
              <a:gd fmla="*/ 3026569 h 6898842" name="connsiteY2"/>
              <a:gd fmla="*/ 4201562 w 6196120" name="connsiteX3"/>
              <a:gd fmla="*/ 6898842 h 6898842" name="connsiteY3"/>
              <a:gd fmla="*/ 0 w 6196120" name="connsiteX4"/>
              <a:gd fmla="*/ 6897761 h 6898842" name="connsiteY4"/>
              <a:gd fmla="*/ 3855757 w 6196120" name="connsiteX5"/>
              <a:gd fmla="*/ 0 h 6898842" name="connsiteY5"/>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b="b" l="l" r="r" t="t"/>
            <a:pathLst>
              <a:path h="6898842" w="6196120">
                <a:moveTo>
                  <a:pt x="3855757" y="0"/>
                </a:moveTo>
                <a:lnTo>
                  <a:pt x="6181130" y="0"/>
                </a:lnTo>
                <a:cubicBezTo>
                  <a:pt x="6186127" y="1008856"/>
                  <a:pt x="6191123" y="2017713"/>
                  <a:pt x="6196120" y="3026569"/>
                </a:cubicBezTo>
                <a:lnTo>
                  <a:pt x="4201562" y="6898842"/>
                </a:lnTo>
                <a:lnTo>
                  <a:pt x="0" y="6897761"/>
                </a:lnTo>
                <a:lnTo>
                  <a:pt x="3855757" y="0"/>
                </a:lnTo>
                <a:close/>
              </a:path>
            </a:pathLst>
          </a:cu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6" name="直角三角形 5"/>
          <p:cNvSpPr/>
          <p:nvPr/>
        </p:nvSpPr>
        <p:spPr>
          <a:xfrm>
            <a:off x="1" y="5501389"/>
            <a:ext cx="725658" cy="1356611"/>
          </a:xfrm>
          <a:prstGeom prst="rtTriangle">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7" name="椭圆 6"/>
          <p:cNvSpPr/>
          <p:nvPr/>
        </p:nvSpPr>
        <p:spPr>
          <a:xfrm>
            <a:off x="394944" y="336679"/>
            <a:ext cx="1598449" cy="1609344"/>
          </a:xfrm>
          <a:prstGeom prst="ellipse">
            <a:avLst/>
          </a:prstGeom>
          <a:noFill/>
          <a:ln w="19050">
            <a:solidFill>
              <a:schemeClr val="bg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8" name="椭圆 7"/>
          <p:cNvSpPr/>
          <p:nvPr/>
        </p:nvSpPr>
        <p:spPr>
          <a:xfrm>
            <a:off x="510069" y="451803"/>
            <a:ext cx="1379095" cy="1379095"/>
          </a:xfrm>
          <a:prstGeom prst="ellipse">
            <a:avLst/>
          </a:prstGeom>
          <a:solidFill>
            <a:srgbClr val="E00024">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z="2800">
                <a:solidFill>
                  <a:schemeClr val="bg1"/>
                </a:solidFill>
                <a:latin charset="-122" panose="020b0503020204020204" pitchFamily="34" typeface="微软雅黑"/>
                <a:ea charset="-122" panose="020b0503020204020204" pitchFamily="34" typeface="微软雅黑"/>
              </a:rPr>
              <a:t>结束</a:t>
            </a:r>
          </a:p>
        </p:txBody>
      </p:sp>
      <p:sp>
        <p:nvSpPr>
          <p:cNvPr id="9" name="平行四边形 8"/>
          <p:cNvSpPr/>
          <p:nvPr/>
        </p:nvSpPr>
        <p:spPr>
          <a:xfrm flipV="1">
            <a:off x="1179735" y="2895078"/>
            <a:ext cx="8979109" cy="1538372"/>
          </a:xfrm>
          <a:prstGeom prst="parallelogram">
            <a:avLst>
              <a:gd fmla="val 52869" name="adj"/>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sz="44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0" name="平行四边形 19"/>
          <p:cNvSpPr/>
          <p:nvPr/>
        </p:nvSpPr>
        <p:spPr>
          <a:xfrm flipH="1">
            <a:off x="4699569" y="4613320"/>
            <a:ext cx="5445918" cy="769185"/>
          </a:xfrm>
          <a:custGeom>
            <a:gdLst>
              <a:gd fmla="*/ 326106 w 2762012" name="connsiteX0"/>
              <a:gd fmla="*/ 896365 h 896365" name="connsiteY0"/>
              <a:gd fmla="*/ 0 w 2762012" name="connsiteX1"/>
              <a:gd fmla="*/ 1 h 896365" name="connsiteY1"/>
              <a:gd fmla="*/ 2442525 w 2762012" name="connsiteX2"/>
              <a:gd fmla="*/ 0 h 896365" name="connsiteY2"/>
              <a:gd fmla="*/ 2762012 w 2762012" name="connsiteX3"/>
              <a:gd fmla="*/ 880674 h 896365" name="connsiteY3"/>
              <a:gd fmla="*/ 326106 w 2762012" name="connsiteX4"/>
              <a:gd fmla="*/ 896365 h 896365"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896365" w="2762012">
                <a:moveTo>
                  <a:pt x="326106" y="896365"/>
                </a:moveTo>
                <a:lnTo>
                  <a:pt x="0" y="1"/>
                </a:lnTo>
                <a:lnTo>
                  <a:pt x="2442525" y="0"/>
                </a:lnTo>
                <a:lnTo>
                  <a:pt x="2762012" y="880674"/>
                </a:lnTo>
                <a:lnTo>
                  <a:pt x="326106" y="896365"/>
                </a:lnTo>
                <a:close/>
              </a:path>
            </a:pathLst>
          </a:cu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2400">
                <a:solidFill>
                  <a:schemeClr val="tx1">
                    <a:lumMod val="65000"/>
                    <a:lumOff val="35000"/>
                  </a:schemeClr>
                </a:solidFill>
                <a:latin charset="-122" panose="020b0503020204020204" pitchFamily="34" typeface="微软雅黑"/>
                <a:ea charset="-122" panose="020b0503020204020204" pitchFamily="34" typeface="微软雅黑"/>
              </a:rPr>
              <a:t>日期：2016年X月X日</a:t>
            </a:r>
          </a:p>
        </p:txBody>
      </p:sp>
      <p:sp>
        <p:nvSpPr>
          <p:cNvPr id="11" name="文本框 10"/>
          <p:cNvSpPr txBox="1"/>
          <p:nvPr/>
        </p:nvSpPr>
        <p:spPr>
          <a:xfrm>
            <a:off x="3884185" y="3279542"/>
            <a:ext cx="3535680" cy="762000"/>
          </a:xfrm>
          <a:prstGeom prst="rect">
            <a:avLst/>
          </a:prstGeom>
          <a:noFill/>
        </p:spPr>
        <p:txBody>
          <a:bodyPr rtlCol="0" wrap="none">
            <a:spAutoFit/>
          </a:bodyPr>
          <a:lstStyle/>
          <a:p>
            <a:r>
              <a:rPr altLang="en-US" b="1" lang="zh-CN" sz="4400">
                <a:solidFill>
                  <a:schemeClr val="tx1">
                    <a:lumMod val="65000"/>
                    <a:lumOff val="35000"/>
                  </a:schemeClr>
                </a:solidFill>
                <a:latin charset="-122" panose="020b0503020204020204" pitchFamily="34" typeface="微软雅黑"/>
                <a:ea charset="-122" panose="020b0503020204020204" pitchFamily="34" typeface="微软雅黑"/>
              </a:rPr>
              <a:t>感谢您的聆听</a:t>
            </a:r>
          </a:p>
        </p:txBody>
      </p:sp>
    </p:spTree>
    <p:extLst>
      <p:ext uri="{BB962C8B-B14F-4D97-AF65-F5344CB8AC3E}">
        <p14:creationId val="2689494659"/>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3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2" name="灯片编号占位符 1"/>
          <p:cNvSpPr>
            <a:spLocks noGrp="1"/>
          </p:cNvSpPr>
          <p:nvPr>
            <p:ph idx="12" sz="quarter" type="sldNum"/>
          </p:nvPr>
        </p:nvSpPr>
        <p:spPr/>
        <p:txBody>
          <a:bodyPr/>
          <a:lstStyle/>
          <a:p>
            <a:fld id="{38CA7A4B-FCAF-4520-9E51-BD8B53A477F7}" type="slidenum">
              <a:rPr altLang="en-US" lang="zh-CN" smtClean="0"/>
              <a:t>33</a:t>
            </a:fld>
          </a:p>
        </p:txBody>
      </p:sp>
      <p:sp>
        <p:nvSpPr>
          <p:cNvPr id="3" name="矩形 2"/>
          <p:cNvSpPr/>
          <p:nvPr/>
        </p:nvSpPr>
        <p:spPr>
          <a:xfrm>
            <a:off x="0" y="0"/>
            <a:ext cx="12192000" cy="6858000"/>
          </a:xfrm>
          <a:prstGeom prst="rect">
            <a:avLst/>
          </a:prstGeom>
          <a:solidFill>
            <a:srgbClr val="E0002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pic>
        <p:nvPicPr>
          <p:cNvPr id="4" name="图片 3"/>
          <p:cNvPicPr>
            <a:picLocks noChangeAspect="1"/>
          </p:cNvPicPr>
          <p:nvPr/>
        </p:nvPicPr>
        <p:blipFill>
          <a:blip r:embed="rId2">
            <a:extLst>
              <a:ext uri="{28A0092B-C50C-407E-A947-70E740481C1C}">
                <a14:useLocalDpi/>
              </a:ext>
            </a:extLst>
          </a:blip>
          <a:stretch>
            <a:fillRect/>
          </a:stretch>
        </p:blipFill>
        <p:spPr>
          <a:xfrm>
            <a:off x="4626430" y="1556657"/>
            <a:ext cx="2510490" cy="2471058"/>
          </a:xfrm>
          <a:prstGeom prst="rect">
            <a:avLst/>
          </a:prstGeom>
        </p:spPr>
      </p:pic>
      <p:sp>
        <p:nvSpPr>
          <p:cNvPr id="5" name="矩形 4"/>
          <p:cNvSpPr/>
          <p:nvPr/>
        </p:nvSpPr>
        <p:spPr>
          <a:xfrm>
            <a:off x="1041041" y="1648667"/>
            <a:ext cx="3128189" cy="2103120"/>
          </a:xfrm>
          <a:prstGeom prst="rect">
            <a:avLst/>
          </a:prstGeom>
        </p:spPr>
        <p:txBody>
          <a:bodyPr wrap="square">
            <a:spAutoFit/>
          </a:bodyPr>
          <a:lstStyle/>
          <a:p>
            <a:pPr>
              <a:lnSpc>
                <a:spcPct val="150000"/>
              </a:lnSpc>
            </a:pPr>
            <a:r>
              <a:rPr altLang="en-US" b="1" lang="zh-CN" smtClean="0" sz="4400">
                <a:solidFill>
                  <a:schemeClr val="bg1"/>
                </a:solidFill>
                <a:latin charset="-122" panose="020b0503020204020204" pitchFamily="34" typeface="微软雅黑"/>
                <a:ea charset="-122" panose="020b0503020204020204" pitchFamily="34" typeface="微软雅黑"/>
              </a:rPr>
              <a:t>微信扫一扫</a:t>
            </a:r>
          </a:p>
          <a:p>
            <a:pPr>
              <a:lnSpc>
                <a:spcPct val="150000"/>
              </a:lnSpc>
            </a:pPr>
            <a:r>
              <a:rPr altLang="en-US" b="1" lang="zh-CN" smtClean="0" sz="4400">
                <a:solidFill>
                  <a:schemeClr val="bg1"/>
                </a:solidFill>
                <a:latin charset="-122" panose="020b0503020204020204" pitchFamily="34" typeface="微软雅黑"/>
                <a:ea charset="-122" panose="020b0503020204020204" pitchFamily="34" typeface="微软雅黑"/>
              </a:rPr>
              <a:t>PPT做的好</a:t>
            </a:r>
          </a:p>
        </p:txBody>
      </p:sp>
      <p:sp>
        <p:nvSpPr>
          <p:cNvPr id="6" name="矩形 5"/>
          <p:cNvSpPr/>
          <p:nvPr/>
        </p:nvSpPr>
        <p:spPr>
          <a:xfrm>
            <a:off x="7706547" y="2050507"/>
            <a:ext cx="2830825" cy="1188720"/>
          </a:xfrm>
          <a:prstGeom prst="rect">
            <a:avLst/>
          </a:prstGeom>
        </p:spPr>
        <p:txBody>
          <a:bodyPr wrap="square">
            <a:spAutoFit/>
          </a:bodyPr>
          <a:lstStyle/>
          <a:p>
            <a:pPr>
              <a:lnSpc>
                <a:spcPct val="150000"/>
              </a:lnSpc>
            </a:pPr>
            <a:r>
              <a:rPr altLang="en-US" lang="zh-CN" smtClean="0" sz="2400">
                <a:solidFill>
                  <a:schemeClr val="bg1"/>
                </a:solidFill>
                <a:latin charset="-122" panose="020b0503020204020204" pitchFamily="34" typeface="微软雅黑"/>
                <a:ea charset="-122" panose="020b0503020204020204" pitchFamily="34" typeface="微软雅黑"/>
              </a:rPr>
              <a:t>也可关注新浪微博PP洛天，好礼不断。</a:t>
            </a:r>
          </a:p>
        </p:txBody>
      </p:sp>
      <p:sp>
        <p:nvSpPr>
          <p:cNvPr id="7" name="矩形 6"/>
          <p:cNvSpPr/>
          <p:nvPr/>
        </p:nvSpPr>
        <p:spPr>
          <a:xfrm>
            <a:off x="1675800" y="4581596"/>
            <a:ext cx="9158935" cy="1097280"/>
          </a:xfrm>
          <a:prstGeom prst="rect">
            <a:avLst/>
          </a:prstGeom>
        </p:spPr>
        <p:txBody>
          <a:bodyPr wrap="square">
            <a:spAutoFit/>
          </a:bodyPr>
          <a:lstStyle/>
          <a:p>
            <a:pPr>
              <a:lnSpc>
                <a:spcPct val="150000"/>
              </a:lnSpc>
            </a:pPr>
            <a:r>
              <a:rPr altLang="en-US" b="1" lang="zh-CN" smtClean="0" sz="4400">
                <a:solidFill>
                  <a:schemeClr val="bg1"/>
                </a:solidFill>
                <a:latin charset="-122" panose="020b0503020204020204" pitchFamily="34" typeface="微软雅黑"/>
                <a:ea charset="-122" panose="020b0503020204020204" pitchFamily="34" typeface="微软雅黑"/>
              </a:rPr>
              <a:t>希望提供的资源对您的PPT有帮助</a:t>
            </a:r>
          </a:p>
        </p:txBody>
      </p:sp>
    </p:spTree>
    <p:extLst>
      <p:ext uri="{BB962C8B-B14F-4D97-AF65-F5344CB8AC3E}">
        <p14:creationId val="2164732204"/>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7B3C5B8C-77E9-445E-BB00-F6A9981AA925}" type="slidenum">
              <a:rPr altLang="en-US" lang="zh-CN" smtClean="0"/>
              <a:t>4</a:t>
            </a:fld>
          </a:p>
        </p:txBody>
      </p:sp>
      <p:sp>
        <p:nvSpPr>
          <p:cNvPr id="15" name="文本框 14"/>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grpSp>
        <p:nvGrpSpPr>
          <p:cNvPr id="16" name="组合 15"/>
          <p:cNvGrpSpPr/>
          <p:nvPr/>
        </p:nvGrpSpPr>
        <p:grpSpPr>
          <a:xfrm>
            <a:off x="2664295" y="1560466"/>
            <a:ext cx="7383764" cy="4159857"/>
            <a:chOff x="5392096" y="2601900"/>
            <a:chExt cx="4469523" cy="2313766"/>
          </a:xfrm>
        </p:grpSpPr>
        <p:cxnSp>
          <p:nvCxnSpPr>
            <p:cNvPr id="17" name="直接箭头连接符 16"/>
            <p:cNvCxnSpPr/>
            <p:nvPr/>
          </p:nvCxnSpPr>
          <p:spPr>
            <a:xfrm>
              <a:off x="5392096" y="4310742"/>
              <a:ext cx="3990985" cy="0"/>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直接箭头连接符 17"/>
            <p:cNvCxnSpPr/>
            <p:nvPr/>
          </p:nvCxnSpPr>
          <p:spPr>
            <a:xfrm flipH="1" flipV="1">
              <a:off x="5601152" y="2601900"/>
              <a:ext cx="0" cy="1918687"/>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5920794" y="4374997"/>
              <a:ext cx="387452" cy="203440"/>
            </a:xfrm>
            <a:prstGeom prst="rect">
              <a:avLst/>
            </a:prstGeom>
          </p:spPr>
          <p:txBody>
            <a:bodyPr wrap="none">
              <a:spAutoFit/>
            </a:bodyPr>
            <a:lstStyle/>
            <a:p>
              <a:pPr algn="ctr"/>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南非</a:t>
              </a:r>
            </a:p>
          </p:txBody>
        </p:sp>
        <p:sp>
          <p:nvSpPr>
            <p:cNvPr id="20" name="矩形 19"/>
            <p:cNvSpPr/>
            <p:nvPr/>
          </p:nvSpPr>
          <p:spPr>
            <a:xfrm>
              <a:off x="6656549" y="4374997"/>
              <a:ext cx="664203" cy="203440"/>
            </a:xfrm>
            <a:prstGeom prst="rect">
              <a:avLst/>
            </a:prstGeom>
          </p:spPr>
          <p:txBody>
            <a:bodyPr wrap="none">
              <a:spAutoFit/>
            </a:bodyPr>
            <a:lstStyle/>
            <a:p>
              <a:pPr algn="ctr"/>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澳大利亚</a:t>
              </a:r>
            </a:p>
          </p:txBody>
        </p:sp>
        <p:sp>
          <p:nvSpPr>
            <p:cNvPr id="21" name="矩形 20"/>
            <p:cNvSpPr/>
            <p:nvPr/>
          </p:nvSpPr>
          <p:spPr>
            <a:xfrm>
              <a:off x="7669059" y="4374997"/>
              <a:ext cx="387452" cy="203440"/>
            </a:xfrm>
            <a:prstGeom prst="rect">
              <a:avLst/>
            </a:prstGeom>
          </p:spPr>
          <p:txBody>
            <a:bodyPr wrap="none">
              <a:spAutoFit/>
            </a:bodyPr>
            <a:lstStyle/>
            <a:p>
              <a:pPr algn="ctr"/>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美国</a:t>
              </a:r>
            </a:p>
          </p:txBody>
        </p:sp>
        <p:sp>
          <p:nvSpPr>
            <p:cNvPr id="22" name="矩形 21"/>
            <p:cNvSpPr/>
            <p:nvPr/>
          </p:nvSpPr>
          <p:spPr>
            <a:xfrm>
              <a:off x="8543192" y="4374997"/>
              <a:ext cx="387452" cy="203440"/>
            </a:xfrm>
            <a:prstGeom prst="rect">
              <a:avLst/>
            </a:prstGeom>
          </p:spPr>
          <p:txBody>
            <a:bodyPr wrap="none">
              <a:spAutoFit/>
            </a:bodyPr>
            <a:lstStyle/>
            <a:p>
              <a:pPr algn="ctr"/>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中国</a:t>
              </a:r>
            </a:p>
          </p:txBody>
        </p:sp>
        <p:sp>
          <p:nvSpPr>
            <p:cNvPr id="23" name="文本框 22"/>
            <p:cNvSpPr txBox="1"/>
            <p:nvPr/>
          </p:nvSpPr>
          <p:spPr>
            <a:xfrm>
              <a:off x="5392096" y="4735917"/>
              <a:ext cx="4469523" cy="178010"/>
            </a:xfrm>
            <a:prstGeom prst="rect">
              <a:avLst/>
            </a:prstGeom>
            <a:noFill/>
          </p:spPr>
          <p:txBody>
            <a:bodyPr rtlCol="0" wrap="square">
              <a:spAutoFit/>
            </a:bodyPr>
            <a:lstStyle/>
            <a:p>
              <a:pPr algn="ctr">
                <a:lnSpc>
                  <a:spcPts val="1800"/>
                </a:lnSpc>
              </a:pPr>
              <a:r>
                <a:rPr altLang="en-US" lang="zh-CN" smtClean="0">
                  <a:solidFill>
                    <a:schemeClr val="tx1">
                      <a:lumMod val="65000"/>
                      <a:lumOff val="35000"/>
                    </a:schemeClr>
                  </a:solidFill>
                  <a:latin charset="-122" panose="020b0503020204020204" pitchFamily="34" typeface="微软雅黑"/>
                  <a:ea charset="-122" panose="020b0503020204020204" pitchFamily="34" typeface="微软雅黑"/>
                </a:rPr>
                <a:t>此处输入图表标题</a:t>
              </a:r>
            </a:p>
          </p:txBody>
        </p:sp>
        <p:sp>
          <p:nvSpPr>
            <p:cNvPr id="24" name="五边形 23"/>
            <p:cNvSpPr/>
            <p:nvPr/>
          </p:nvSpPr>
          <p:spPr>
            <a:xfrm rot="16200000">
              <a:off x="5922906" y="3819380"/>
              <a:ext cx="383227" cy="609600"/>
            </a:xfrm>
            <a:prstGeom prst="homePlate">
              <a:avLst>
                <a:gd fmla="val 38070" name="adj"/>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5" name="五边形 24"/>
            <p:cNvSpPr/>
            <p:nvPr/>
          </p:nvSpPr>
          <p:spPr>
            <a:xfrm rot="16200000">
              <a:off x="6683875" y="3706216"/>
              <a:ext cx="609556" cy="609600"/>
            </a:xfrm>
            <a:prstGeom prst="homePlate">
              <a:avLst>
                <a:gd fmla="val 26899" name="adj"/>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6" name="五边形 25"/>
            <p:cNvSpPr/>
            <p:nvPr/>
          </p:nvSpPr>
          <p:spPr>
            <a:xfrm rot="16200000">
              <a:off x="8177780" y="3451855"/>
              <a:ext cx="1118277" cy="609600"/>
            </a:xfrm>
            <a:prstGeom prst="homePlate">
              <a:avLst>
                <a:gd fmla="val 26900" name="adj"/>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7" name="五边形 26"/>
            <p:cNvSpPr/>
            <p:nvPr/>
          </p:nvSpPr>
          <p:spPr>
            <a:xfrm rot="16200000">
              <a:off x="7455867" y="3604075"/>
              <a:ext cx="813837" cy="609600"/>
            </a:xfrm>
            <a:prstGeom prst="homePlate">
              <a:avLst>
                <a:gd fmla="val 30091" name="adj"/>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28" name="矩形 27"/>
            <p:cNvSpPr/>
            <p:nvPr/>
          </p:nvSpPr>
          <p:spPr>
            <a:xfrm>
              <a:off x="5926244" y="3662309"/>
              <a:ext cx="395139" cy="203440"/>
            </a:xfrm>
            <a:prstGeom prst="rect">
              <a:avLst/>
            </a:prstGeom>
          </p:spPr>
          <p:txBody>
            <a:bodyPr anchor="ctr" anchorCtr="0" wrap="none">
              <a:spAutoFit/>
            </a:bodyPr>
            <a:lstStyle/>
            <a:p>
              <a:pPr algn="ctr"/>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10%</a:t>
              </a:r>
            </a:p>
          </p:txBody>
        </p:sp>
        <p:sp>
          <p:nvSpPr>
            <p:cNvPr id="29" name="矩形 28"/>
            <p:cNvSpPr/>
            <p:nvPr/>
          </p:nvSpPr>
          <p:spPr>
            <a:xfrm>
              <a:off x="6790644" y="3438577"/>
              <a:ext cx="395139" cy="203440"/>
            </a:xfrm>
            <a:prstGeom prst="rect">
              <a:avLst/>
            </a:prstGeom>
          </p:spPr>
          <p:txBody>
            <a:bodyPr anchor="ctr" anchorCtr="0" wrap="none">
              <a:spAutoFit/>
            </a:bodyPr>
            <a:lstStyle/>
            <a:p>
              <a:pPr algn="ctr"/>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15%</a:t>
              </a:r>
            </a:p>
          </p:txBody>
        </p:sp>
        <p:sp>
          <p:nvSpPr>
            <p:cNvPr id="30" name="矩形 29"/>
            <p:cNvSpPr/>
            <p:nvPr/>
          </p:nvSpPr>
          <p:spPr>
            <a:xfrm>
              <a:off x="7664777" y="3234296"/>
              <a:ext cx="395139" cy="203440"/>
            </a:xfrm>
            <a:prstGeom prst="rect">
              <a:avLst/>
            </a:prstGeom>
          </p:spPr>
          <p:txBody>
            <a:bodyPr anchor="ctr" anchorCtr="0" wrap="none">
              <a:spAutoFit/>
            </a:bodyPr>
            <a:lstStyle/>
            <a:p>
              <a:pPr algn="ctr"/>
              <a:r>
                <a:rPr altLang="zh-CN" lang="en-US" smtClean="0">
                  <a:solidFill>
                    <a:schemeClr val="tx1">
                      <a:lumMod val="65000"/>
                      <a:lumOff val="35000"/>
                    </a:schemeClr>
                  </a:solidFill>
                  <a:latin charset="-122" panose="020b0503020204020204" pitchFamily="34" typeface="微软雅黑"/>
                  <a:ea charset="-122" panose="020b0503020204020204" pitchFamily="34" typeface="微软雅黑"/>
                </a:rPr>
                <a:t>25%</a:t>
              </a:r>
            </a:p>
          </p:txBody>
        </p:sp>
        <p:sp>
          <p:nvSpPr>
            <p:cNvPr id="31" name="矩形 30"/>
            <p:cNvSpPr/>
            <p:nvPr/>
          </p:nvSpPr>
          <p:spPr>
            <a:xfrm>
              <a:off x="8470378" y="2784127"/>
              <a:ext cx="480663" cy="254300"/>
            </a:xfrm>
            <a:prstGeom prst="rect">
              <a:avLst/>
            </a:prstGeom>
          </p:spPr>
          <p:txBody>
            <a:bodyPr anchor="ctr" anchorCtr="0" wrap="none">
              <a:spAutoFit/>
            </a:bodyPr>
            <a:lstStyle/>
            <a:p>
              <a:pPr algn="ctr"/>
              <a:r>
                <a:rPr altLang="zh-CN" b="1" lang="en-US" smtClean="0" sz="2400">
                  <a:solidFill>
                    <a:srgbClr val="E00024"/>
                  </a:solidFill>
                  <a:latin charset="0" panose="020b0604020202020204" pitchFamily="34" typeface="Arial"/>
                </a:rPr>
                <a:t>60%</a:t>
              </a:r>
            </a:p>
          </p:txBody>
        </p:sp>
      </p:grpSp>
    </p:spTree>
    <p:extLst>
      <p:ext uri="{BB962C8B-B14F-4D97-AF65-F5344CB8AC3E}">
        <p14:creationId val="1623822050"/>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D328D903-E149-44A8-AFE6-99BF75C7A3E8}" type="slidenum">
              <a:rPr altLang="en-US" lang="zh-CN" smtClean="0"/>
              <a:t>5</a:t>
            </a:fld>
          </a:p>
        </p:txBody>
      </p:sp>
      <p:sp>
        <p:nvSpPr>
          <p:cNvPr id="5" name="矩形 4"/>
          <p:cNvSpPr/>
          <p:nvPr/>
        </p:nvSpPr>
        <p:spPr>
          <a:xfrm>
            <a:off x="1055688"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gradFill>
          </a:ln>
          <a:effectLst>
            <a:outerShdw algn="tl" blurRad="88900" dir="2700000" dist="101600"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a:solidFill>
                <a:schemeClr val="tx1">
                  <a:lumMod val="75000"/>
                  <a:lumOff val="25000"/>
                </a:schemeClr>
              </a:solidFill>
            </a:endParaRPr>
          </a:p>
        </p:txBody>
      </p:sp>
      <p:sp>
        <p:nvSpPr>
          <p:cNvPr id="6" name="矩形 5"/>
          <p:cNvSpPr/>
          <p:nvPr/>
        </p:nvSpPr>
        <p:spPr>
          <a:xfrm>
            <a:off x="3091285"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gradFill>
          </a:ln>
          <a:effectLst>
            <a:outerShdw algn="tl" blurRad="88900" dir="2700000" dist="101600"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a:solidFill>
                <a:schemeClr val="tx1">
                  <a:lumMod val="75000"/>
                  <a:lumOff val="25000"/>
                </a:schemeClr>
              </a:solidFill>
            </a:endParaRPr>
          </a:p>
        </p:txBody>
      </p:sp>
      <p:sp>
        <p:nvSpPr>
          <p:cNvPr id="7" name="矩形 6"/>
          <p:cNvSpPr/>
          <p:nvPr/>
        </p:nvSpPr>
        <p:spPr>
          <a:xfrm>
            <a:off x="5126882"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gradFill>
          </a:ln>
          <a:effectLst>
            <a:outerShdw algn="tl" blurRad="88900" dir="2700000" dist="101600"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a:solidFill>
                <a:schemeClr val="tx1">
                  <a:lumMod val="75000"/>
                  <a:lumOff val="25000"/>
                </a:schemeClr>
              </a:solidFill>
            </a:endParaRPr>
          </a:p>
        </p:txBody>
      </p:sp>
      <p:sp>
        <p:nvSpPr>
          <p:cNvPr id="8" name="矩形 7"/>
          <p:cNvSpPr/>
          <p:nvPr/>
        </p:nvSpPr>
        <p:spPr>
          <a:xfrm>
            <a:off x="7162479"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gradFill>
          </a:ln>
          <a:effectLst>
            <a:outerShdw algn="tl" blurRad="88900" dir="2700000" dist="101600"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a:solidFill>
                <a:schemeClr val="tx1">
                  <a:lumMod val="75000"/>
                  <a:lumOff val="25000"/>
                </a:schemeClr>
              </a:solidFill>
            </a:endParaRPr>
          </a:p>
        </p:txBody>
      </p:sp>
      <p:sp>
        <p:nvSpPr>
          <p:cNvPr id="9" name="矩形 8"/>
          <p:cNvSpPr/>
          <p:nvPr/>
        </p:nvSpPr>
        <p:spPr>
          <a:xfrm>
            <a:off x="9198076" y="1916082"/>
            <a:ext cx="1932039" cy="1932039"/>
          </a:xfrm>
          <a:prstGeom prst="rect">
            <a:avLst/>
          </a:prstGeom>
          <a:solidFill>
            <a:srgbClr val="E00024"/>
          </a:solidFill>
          <a:ln w="38100">
            <a:gradFill flip="none" rotWithShape="1">
              <a:gsLst>
                <a:gs pos="0">
                  <a:schemeClr val="bg1"/>
                </a:gs>
                <a:gs pos="100000">
                  <a:schemeClr val="bg1">
                    <a:lumMod val="85000"/>
                  </a:schemeClr>
                </a:gs>
              </a:gsLst>
              <a:lin ang="2700000" scaled="1"/>
            </a:gradFill>
          </a:ln>
          <a:effectLst>
            <a:outerShdw algn="tl" blurRad="88900" dir="2700000" dist="101600"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b="1" lang="zh-CN">
              <a:solidFill>
                <a:schemeClr val="tx1">
                  <a:lumMod val="75000"/>
                  <a:lumOff val="25000"/>
                </a:schemeClr>
              </a:solidFill>
            </a:endParaRPr>
          </a:p>
        </p:txBody>
      </p:sp>
      <p:grpSp>
        <p:nvGrpSpPr>
          <p:cNvPr id="10" name="组合 9"/>
          <p:cNvGrpSpPr/>
          <p:nvPr/>
        </p:nvGrpSpPr>
        <p:grpSpPr>
          <a:xfrm>
            <a:off x="3790719" y="2633108"/>
            <a:ext cx="533171" cy="497987"/>
            <a:chOff x="1740921" y="2645461"/>
            <a:chExt cx="1408013" cy="1315096"/>
          </a:xfrm>
          <a:solidFill>
            <a:schemeClr val="bg1"/>
          </a:solidFill>
        </p:grpSpPr>
        <p:sp>
          <p:nvSpPr>
            <p:cNvPr id="11" name="Freeform 329"/>
            <p:cNvSpPr/>
            <p:nvPr/>
          </p:nvSpPr>
          <p:spPr bwMode="auto">
            <a:xfrm>
              <a:off x="1912456" y="3288715"/>
              <a:ext cx="257301" cy="464573"/>
            </a:xfrm>
            <a:custGeom>
              <a:gdLst>
                <a:gd fmla="*/ 9 w 36" name="T0"/>
                <a:gd fmla="*/ 0 h 66" name="T1"/>
                <a:gd fmla="*/ 0 w 36" name="T2"/>
                <a:gd fmla="*/ 9 h 66" name="T3"/>
                <a:gd fmla="*/ 0 w 36" name="T4"/>
                <a:gd fmla="*/ 56 h 66" name="T5"/>
                <a:gd fmla="*/ 9 w 36" name="T6"/>
                <a:gd fmla="*/ 66 h 66" name="T7"/>
                <a:gd fmla="*/ 26 w 36" name="T8"/>
                <a:gd fmla="*/ 66 h 66" name="T9"/>
                <a:gd fmla="*/ 36 w 36" name="T10"/>
                <a:gd fmla="*/ 56 h 66" name="T11"/>
                <a:gd fmla="*/ 36 w 36" name="T12"/>
                <a:gd fmla="*/ 9 h 66" name="T13"/>
                <a:gd fmla="*/ 26 w 36" name="T14"/>
                <a:gd fmla="*/ 0 h 66" name="T15"/>
                <a:gd fmla="*/ 9 w 36" name="T16"/>
                <a:gd fmla="*/ 0 h 66"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66" w="36">
                  <a:moveTo>
                    <a:pt x="9" y="0"/>
                  </a:moveTo>
                  <a:cubicBezTo>
                    <a:pt x="4" y="0"/>
                    <a:pt x="0" y="4"/>
                    <a:pt x="0" y="9"/>
                  </a:cubicBezTo>
                  <a:cubicBezTo>
                    <a:pt x="0" y="56"/>
                    <a:pt x="0" y="56"/>
                    <a:pt x="0" y="56"/>
                  </a:cubicBezTo>
                  <a:cubicBezTo>
                    <a:pt x="0" y="61"/>
                    <a:pt x="4" y="66"/>
                    <a:pt x="9" y="66"/>
                  </a:cubicBezTo>
                  <a:cubicBezTo>
                    <a:pt x="26" y="66"/>
                    <a:pt x="26" y="66"/>
                    <a:pt x="26" y="66"/>
                  </a:cubicBezTo>
                  <a:cubicBezTo>
                    <a:pt x="31" y="66"/>
                    <a:pt x="36" y="61"/>
                    <a:pt x="36" y="56"/>
                  </a:cubicBezTo>
                  <a:cubicBezTo>
                    <a:pt x="36" y="9"/>
                    <a:pt x="36" y="9"/>
                    <a:pt x="36" y="9"/>
                  </a:cubicBezTo>
                  <a:cubicBezTo>
                    <a:pt x="36" y="4"/>
                    <a:pt x="31" y="0"/>
                    <a:pt x="26" y="0"/>
                  </a:cubicBezTo>
                  <a:lnTo>
                    <a:pt x="9" y="0"/>
                  </a:ln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sp>
          <p:nvSpPr>
            <p:cNvPr id="12" name="Freeform 330"/>
            <p:cNvSpPr/>
            <p:nvPr/>
          </p:nvSpPr>
          <p:spPr bwMode="auto">
            <a:xfrm>
              <a:off x="2305557" y="3460249"/>
              <a:ext cx="257301" cy="293041"/>
            </a:xfrm>
            <a:custGeom>
              <a:gdLst>
                <a:gd fmla="*/ 9 w 36" name="T0"/>
                <a:gd fmla="*/ 0 h 42" name="T1"/>
                <a:gd fmla="*/ 0 w 36" name="T2"/>
                <a:gd fmla="*/ 9 h 42" name="T3"/>
                <a:gd fmla="*/ 0 w 36" name="T4"/>
                <a:gd fmla="*/ 32 h 42" name="T5"/>
                <a:gd fmla="*/ 9 w 36" name="T6"/>
                <a:gd fmla="*/ 42 h 42" name="T7"/>
                <a:gd fmla="*/ 26 w 36" name="T8"/>
                <a:gd fmla="*/ 42 h 42" name="T9"/>
                <a:gd fmla="*/ 36 w 36" name="T10"/>
                <a:gd fmla="*/ 32 h 42" name="T11"/>
                <a:gd fmla="*/ 36 w 36" name="T12"/>
                <a:gd fmla="*/ 9 h 42" name="T13"/>
                <a:gd fmla="*/ 26 w 36" name="T14"/>
                <a:gd fmla="*/ 0 h 42" name="T15"/>
                <a:gd fmla="*/ 9 w 36" name="T16"/>
                <a:gd fmla="*/ 0 h 42"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42" w="36">
                  <a:moveTo>
                    <a:pt x="9" y="0"/>
                  </a:moveTo>
                  <a:cubicBezTo>
                    <a:pt x="4" y="0"/>
                    <a:pt x="0" y="4"/>
                    <a:pt x="0" y="9"/>
                  </a:cubicBezTo>
                  <a:cubicBezTo>
                    <a:pt x="0" y="32"/>
                    <a:pt x="0" y="32"/>
                    <a:pt x="0" y="32"/>
                  </a:cubicBezTo>
                  <a:cubicBezTo>
                    <a:pt x="0" y="37"/>
                    <a:pt x="4" y="42"/>
                    <a:pt x="9" y="42"/>
                  </a:cubicBezTo>
                  <a:cubicBezTo>
                    <a:pt x="26" y="42"/>
                    <a:pt x="26" y="42"/>
                    <a:pt x="26" y="42"/>
                  </a:cubicBezTo>
                  <a:cubicBezTo>
                    <a:pt x="31" y="42"/>
                    <a:pt x="36" y="37"/>
                    <a:pt x="36" y="32"/>
                  </a:cubicBezTo>
                  <a:cubicBezTo>
                    <a:pt x="36" y="9"/>
                    <a:pt x="36" y="9"/>
                    <a:pt x="36" y="9"/>
                  </a:cubicBezTo>
                  <a:cubicBezTo>
                    <a:pt x="36" y="4"/>
                    <a:pt x="31" y="0"/>
                    <a:pt x="26" y="0"/>
                  </a:cubicBezTo>
                  <a:lnTo>
                    <a:pt x="9" y="0"/>
                  </a:ln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sp>
          <p:nvSpPr>
            <p:cNvPr id="13" name="Freeform 331"/>
            <p:cNvSpPr/>
            <p:nvPr/>
          </p:nvSpPr>
          <p:spPr bwMode="auto">
            <a:xfrm>
              <a:off x="2705804" y="3088591"/>
              <a:ext cx="250157" cy="664697"/>
            </a:xfrm>
            <a:custGeom>
              <a:gdLst>
                <a:gd fmla="*/ 26 w 36" name="T0"/>
                <a:gd fmla="*/ 0 h 94" name="T1"/>
                <a:gd fmla="*/ 9 w 36" name="T2"/>
                <a:gd fmla="*/ 0 h 94" name="T3"/>
                <a:gd fmla="*/ 0 w 36" name="T4"/>
                <a:gd fmla="*/ 9 h 94" name="T5"/>
                <a:gd fmla="*/ 0 w 36" name="T6"/>
                <a:gd fmla="*/ 84 h 94" name="T7"/>
                <a:gd fmla="*/ 9 w 36" name="T8"/>
                <a:gd fmla="*/ 94 h 94" name="T9"/>
                <a:gd fmla="*/ 26 w 36" name="T10"/>
                <a:gd fmla="*/ 94 h 94" name="T11"/>
                <a:gd fmla="*/ 36 w 36" name="T12"/>
                <a:gd fmla="*/ 84 h 94" name="T13"/>
                <a:gd fmla="*/ 36 w 36" name="T14"/>
                <a:gd fmla="*/ 9 h 94" name="T15"/>
                <a:gd fmla="*/ 26 w 36" name="T16"/>
                <a:gd fmla="*/ 0 h 94"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94" w="36">
                  <a:moveTo>
                    <a:pt x="26" y="0"/>
                  </a:moveTo>
                  <a:cubicBezTo>
                    <a:pt x="9" y="0"/>
                    <a:pt x="9" y="0"/>
                    <a:pt x="9" y="0"/>
                  </a:cubicBezTo>
                  <a:cubicBezTo>
                    <a:pt x="4" y="0"/>
                    <a:pt x="0" y="4"/>
                    <a:pt x="0" y="9"/>
                  </a:cubicBezTo>
                  <a:cubicBezTo>
                    <a:pt x="0" y="84"/>
                    <a:pt x="0" y="84"/>
                    <a:pt x="0" y="84"/>
                  </a:cubicBezTo>
                  <a:cubicBezTo>
                    <a:pt x="0" y="89"/>
                    <a:pt x="4" y="94"/>
                    <a:pt x="9" y="94"/>
                  </a:cubicBezTo>
                  <a:cubicBezTo>
                    <a:pt x="26" y="94"/>
                    <a:pt x="26" y="94"/>
                    <a:pt x="26" y="94"/>
                  </a:cubicBezTo>
                  <a:cubicBezTo>
                    <a:pt x="31" y="94"/>
                    <a:pt x="36" y="89"/>
                    <a:pt x="36" y="84"/>
                  </a:cubicBezTo>
                  <a:cubicBezTo>
                    <a:pt x="36" y="9"/>
                    <a:pt x="36" y="9"/>
                    <a:pt x="36" y="9"/>
                  </a:cubicBezTo>
                  <a:cubicBezTo>
                    <a:pt x="36" y="4"/>
                    <a:pt x="31" y="0"/>
                    <a:pt x="26" y="0"/>
                  </a:cubicBez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sp>
          <p:nvSpPr>
            <p:cNvPr id="14" name="Freeform 332"/>
            <p:cNvSpPr/>
            <p:nvPr/>
          </p:nvSpPr>
          <p:spPr bwMode="auto">
            <a:xfrm>
              <a:off x="1740921" y="3846200"/>
              <a:ext cx="1408013" cy="114357"/>
            </a:xfrm>
            <a:custGeom>
              <a:gdLst>
                <a:gd fmla="*/ 191 w 199" name="T0"/>
                <a:gd fmla="*/ 0 h 16" name="T1"/>
                <a:gd fmla="*/ 8 w 199" name="T2"/>
                <a:gd fmla="*/ 0 h 16" name="T3"/>
                <a:gd fmla="*/ 0 w 199" name="T4"/>
                <a:gd fmla="*/ 8 h 16" name="T5"/>
                <a:gd fmla="*/ 0 w 199" name="T6"/>
                <a:gd fmla="*/ 8 h 16" name="T7"/>
                <a:gd fmla="*/ 8 w 199" name="T8"/>
                <a:gd fmla="*/ 16 h 16" name="T9"/>
                <a:gd fmla="*/ 191 w 199" name="T10"/>
                <a:gd fmla="*/ 16 h 16" name="T11"/>
                <a:gd fmla="*/ 199 w 199" name="T12"/>
                <a:gd fmla="*/ 8 h 16" name="T13"/>
                <a:gd fmla="*/ 199 w 199" name="T14"/>
                <a:gd fmla="*/ 8 h 16" name="T15"/>
                <a:gd fmla="*/ 191 w 199" name="T16"/>
                <a:gd fmla="*/ 0 h 16" name="T1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b="b" l="0" r="r" t="0"/>
              <a:pathLst>
                <a:path h="16" w="199">
                  <a:moveTo>
                    <a:pt x="191" y="0"/>
                  </a:moveTo>
                  <a:cubicBezTo>
                    <a:pt x="8" y="0"/>
                    <a:pt x="8" y="0"/>
                    <a:pt x="8" y="0"/>
                  </a:cubicBezTo>
                  <a:cubicBezTo>
                    <a:pt x="3" y="0"/>
                    <a:pt x="0" y="3"/>
                    <a:pt x="0" y="8"/>
                  </a:cubicBezTo>
                  <a:cubicBezTo>
                    <a:pt x="0" y="8"/>
                    <a:pt x="0" y="8"/>
                    <a:pt x="0" y="8"/>
                  </a:cubicBezTo>
                  <a:cubicBezTo>
                    <a:pt x="0" y="13"/>
                    <a:pt x="3" y="16"/>
                    <a:pt x="8" y="16"/>
                  </a:cubicBezTo>
                  <a:cubicBezTo>
                    <a:pt x="191" y="16"/>
                    <a:pt x="191" y="16"/>
                    <a:pt x="191" y="16"/>
                  </a:cubicBezTo>
                  <a:cubicBezTo>
                    <a:pt x="196" y="16"/>
                    <a:pt x="199" y="13"/>
                    <a:pt x="199" y="8"/>
                  </a:cubicBezTo>
                  <a:cubicBezTo>
                    <a:pt x="199" y="8"/>
                    <a:pt x="199" y="8"/>
                    <a:pt x="199" y="8"/>
                  </a:cubicBezTo>
                  <a:cubicBezTo>
                    <a:pt x="199" y="3"/>
                    <a:pt x="196" y="0"/>
                    <a:pt x="191" y="0"/>
                  </a:cubicBez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sp>
          <p:nvSpPr>
            <p:cNvPr id="15" name="Freeform 333"/>
            <p:cNvSpPr/>
            <p:nvPr/>
          </p:nvSpPr>
          <p:spPr bwMode="auto">
            <a:xfrm>
              <a:off x="1833838" y="2645461"/>
              <a:ext cx="1179301" cy="550342"/>
            </a:xfrm>
            <a:custGeom>
              <a:gdLst>
                <a:gd fmla="*/ 8 w 167" name="T0"/>
                <a:gd fmla="*/ 68 h 78" name="T1"/>
                <a:gd fmla="*/ 28 w 167" name="T2"/>
                <a:gd fmla="*/ 48 h 78" name="T3"/>
                <a:gd fmla="*/ 82 w 167" name="T4"/>
                <a:gd fmla="*/ 77 h 78" name="T5"/>
                <a:gd fmla="*/ 84 w 167" name="T6"/>
                <a:gd fmla="*/ 78 h 78" name="T7"/>
                <a:gd fmla="*/ 87 w 167" name="T8"/>
                <a:gd fmla="*/ 77 h 78" name="T9"/>
                <a:gd fmla="*/ 148 w 167" name="T10"/>
                <a:gd fmla="*/ 22 h 78" name="T11"/>
                <a:gd fmla="*/ 154 w 167" name="T12"/>
                <a:gd fmla="*/ 28 h 78" name="T13"/>
                <a:gd fmla="*/ 155 w 167" name="T14"/>
                <a:gd fmla="*/ 29 h 78" name="T15"/>
                <a:gd fmla="*/ 156 w 167" name="T16"/>
                <a:gd fmla="*/ 28 h 78" name="T17"/>
                <a:gd fmla="*/ 158 w 167" name="T18"/>
                <a:gd fmla="*/ 26 h 78" name="T19"/>
                <a:gd fmla="*/ 166 w 167" name="T20"/>
                <a:gd fmla="*/ 2 h 78" name="T21"/>
                <a:gd fmla="*/ 166 w 167" name="T22"/>
                <a:gd fmla="*/ 0 h 78" name="T23"/>
                <a:gd fmla="*/ 165 w 167" name="T24"/>
                <a:gd fmla="*/ 0 h 78" name="T25"/>
                <a:gd fmla="*/ 164 w 167" name="T26"/>
                <a:gd fmla="*/ 0 h 78" name="T27"/>
                <a:gd fmla="*/ 140 w 167" name="T28"/>
                <a:gd fmla="*/ 9 h 78" name="T29"/>
                <a:gd fmla="*/ 139 w 167" name="T30"/>
                <a:gd fmla="*/ 10 h 78" name="T31"/>
                <a:gd fmla="*/ 138 w 167" name="T32"/>
                <a:gd fmla="*/ 12 h 78" name="T33"/>
                <a:gd fmla="*/ 138 w 167" name="T34"/>
                <a:gd fmla="*/ 13 h 78" name="T35"/>
                <a:gd fmla="*/ 142 w 167" name="T36"/>
                <a:gd fmla="*/ 17 h 78" name="T37"/>
                <a:gd fmla="*/ 83 w 167" name="T38"/>
                <a:gd fmla="*/ 69 h 78" name="T39"/>
                <a:gd fmla="*/ 29 w 167" name="T40"/>
                <a:gd fmla="*/ 40 h 78" name="T41"/>
                <a:gd fmla="*/ 25 w 167" name="T42"/>
                <a:gd fmla="*/ 41 h 78" name="T43"/>
                <a:gd fmla="*/ 2 w 167" name="T44"/>
                <a:gd fmla="*/ 63 h 78" name="T45"/>
                <a:gd fmla="*/ 2 w 167" name="T46"/>
                <a:gd fmla="*/ 68 h 78" name="T47"/>
                <a:gd fmla="*/ 8 w 167" name="T48"/>
                <a:gd fmla="*/ 68 h 78"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78" w="167">
                  <a:moveTo>
                    <a:pt x="8" y="68"/>
                  </a:moveTo>
                  <a:cubicBezTo>
                    <a:pt x="28" y="48"/>
                    <a:pt x="28" y="48"/>
                    <a:pt x="28" y="48"/>
                  </a:cubicBezTo>
                  <a:cubicBezTo>
                    <a:pt x="82" y="77"/>
                    <a:pt x="82" y="77"/>
                    <a:pt x="82" y="77"/>
                  </a:cubicBezTo>
                  <a:cubicBezTo>
                    <a:pt x="83" y="78"/>
                    <a:pt x="83" y="78"/>
                    <a:pt x="84" y="78"/>
                  </a:cubicBezTo>
                  <a:cubicBezTo>
                    <a:pt x="85" y="78"/>
                    <a:pt x="86" y="78"/>
                    <a:pt x="87" y="77"/>
                  </a:cubicBezTo>
                  <a:cubicBezTo>
                    <a:pt x="148" y="22"/>
                    <a:pt x="148" y="22"/>
                    <a:pt x="148" y="22"/>
                  </a:cubicBezTo>
                  <a:cubicBezTo>
                    <a:pt x="154" y="28"/>
                    <a:pt x="154" y="28"/>
                    <a:pt x="154" y="28"/>
                  </a:cubicBezTo>
                  <a:cubicBezTo>
                    <a:pt x="154" y="29"/>
                    <a:pt x="154" y="29"/>
                    <a:pt x="155" y="29"/>
                  </a:cubicBezTo>
                  <a:cubicBezTo>
                    <a:pt x="155" y="29"/>
                    <a:pt x="156" y="28"/>
                    <a:pt x="156" y="28"/>
                  </a:cubicBezTo>
                  <a:cubicBezTo>
                    <a:pt x="157" y="27"/>
                    <a:pt x="157" y="26"/>
                    <a:pt x="158" y="26"/>
                  </a:cubicBezTo>
                  <a:cubicBezTo>
                    <a:pt x="158" y="26"/>
                    <a:pt x="163" y="11"/>
                    <a:pt x="166" y="2"/>
                  </a:cubicBezTo>
                  <a:cubicBezTo>
                    <a:pt x="166" y="2"/>
                    <a:pt x="167" y="1"/>
                    <a:pt x="166" y="0"/>
                  </a:cubicBezTo>
                  <a:cubicBezTo>
                    <a:pt x="166" y="0"/>
                    <a:pt x="165" y="0"/>
                    <a:pt x="165" y="0"/>
                  </a:cubicBezTo>
                  <a:cubicBezTo>
                    <a:pt x="164" y="0"/>
                    <a:pt x="164" y="0"/>
                    <a:pt x="164" y="0"/>
                  </a:cubicBezTo>
                  <a:cubicBezTo>
                    <a:pt x="140" y="9"/>
                    <a:pt x="140" y="9"/>
                    <a:pt x="140" y="9"/>
                  </a:cubicBezTo>
                  <a:cubicBezTo>
                    <a:pt x="140" y="9"/>
                    <a:pt x="139" y="10"/>
                    <a:pt x="139" y="10"/>
                  </a:cubicBezTo>
                  <a:cubicBezTo>
                    <a:pt x="138" y="11"/>
                    <a:pt x="138" y="12"/>
                    <a:pt x="138" y="12"/>
                  </a:cubicBezTo>
                  <a:cubicBezTo>
                    <a:pt x="138" y="12"/>
                    <a:pt x="138" y="13"/>
                    <a:pt x="138" y="13"/>
                  </a:cubicBezTo>
                  <a:cubicBezTo>
                    <a:pt x="142" y="17"/>
                    <a:pt x="142" y="17"/>
                    <a:pt x="142" y="17"/>
                  </a:cubicBezTo>
                  <a:cubicBezTo>
                    <a:pt x="83" y="69"/>
                    <a:pt x="83" y="69"/>
                    <a:pt x="83" y="69"/>
                  </a:cubicBezTo>
                  <a:cubicBezTo>
                    <a:pt x="29" y="40"/>
                    <a:pt x="29" y="40"/>
                    <a:pt x="29" y="40"/>
                  </a:cubicBezTo>
                  <a:cubicBezTo>
                    <a:pt x="28" y="39"/>
                    <a:pt x="26" y="39"/>
                    <a:pt x="25" y="41"/>
                  </a:cubicBezTo>
                  <a:cubicBezTo>
                    <a:pt x="2" y="63"/>
                    <a:pt x="2" y="63"/>
                    <a:pt x="2" y="63"/>
                  </a:cubicBezTo>
                  <a:cubicBezTo>
                    <a:pt x="0" y="64"/>
                    <a:pt x="0" y="67"/>
                    <a:pt x="2" y="68"/>
                  </a:cubicBezTo>
                  <a:cubicBezTo>
                    <a:pt x="4" y="70"/>
                    <a:pt x="6" y="70"/>
                    <a:pt x="8" y="68"/>
                  </a:cubicBez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grpSp>
      <p:grpSp>
        <p:nvGrpSpPr>
          <p:cNvPr id="16" name="组合 15"/>
          <p:cNvGrpSpPr/>
          <p:nvPr/>
        </p:nvGrpSpPr>
        <p:grpSpPr>
          <a:xfrm>
            <a:off x="5809177" y="2576131"/>
            <a:ext cx="567448" cy="611941"/>
            <a:chOff x="7549885" y="3739194"/>
            <a:chExt cx="1720118" cy="1854990"/>
          </a:xfrm>
          <a:solidFill>
            <a:schemeClr val="bg1"/>
          </a:solidFill>
        </p:grpSpPr>
        <p:sp>
          <p:nvSpPr>
            <p:cNvPr id="17" name="Freeform 38"/>
            <p:cNvSpPr>
              <a:spLocks noEditPoints="1"/>
            </p:cNvSpPr>
            <p:nvPr/>
          </p:nvSpPr>
          <p:spPr bwMode="auto">
            <a:xfrm>
              <a:off x="7549885" y="3739194"/>
              <a:ext cx="1720118" cy="1278360"/>
            </a:xfrm>
            <a:custGeom>
              <a:gdLst>
                <a:gd fmla="*/ 83 w 489" name="T0"/>
                <a:gd fmla="*/ 363 h 363" name="T1"/>
                <a:gd fmla="*/ 0 w 489" name="T2"/>
                <a:gd fmla="*/ 280 h 363" name="T3"/>
                <a:gd fmla="*/ 0 w 489" name="T4"/>
                <a:gd fmla="*/ 280 h 363" name="T5"/>
                <a:gd fmla="*/ 0 w 489" name="T6"/>
                <a:gd fmla="*/ 83 h 363" name="T7"/>
                <a:gd fmla="*/ 83 w 489" name="T8"/>
                <a:gd fmla="*/ 0 h 363" name="T9"/>
                <a:gd fmla="*/ 83 w 489" name="T10"/>
                <a:gd fmla="*/ 0 h 363" name="T11"/>
                <a:gd fmla="*/ 406 w 489" name="T12"/>
                <a:gd fmla="*/ 0 h 363" name="T13"/>
                <a:gd fmla="*/ 489 w 489" name="T14"/>
                <a:gd fmla="*/ 83 h 363" name="T15"/>
                <a:gd fmla="*/ 489 w 489" name="T16"/>
                <a:gd fmla="*/ 83 h 363" name="T17"/>
                <a:gd fmla="*/ 489 w 489" name="T18"/>
                <a:gd fmla="*/ 280 h 363" name="T19"/>
                <a:gd fmla="*/ 406 w 489" name="T20"/>
                <a:gd fmla="*/ 363 h 363" name="T21"/>
                <a:gd fmla="*/ 406 w 489" name="T22"/>
                <a:gd fmla="*/ 363 h 363" name="T23"/>
                <a:gd fmla="*/ 83 w 489" name="T24"/>
                <a:gd fmla="*/ 363 h 363" name="T25"/>
                <a:gd fmla="*/ 43 w 489" name="T26"/>
                <a:gd fmla="*/ 83 h 363" name="T27"/>
                <a:gd fmla="*/ 43 w 489" name="T28"/>
                <a:gd fmla="*/ 280 h 363" name="T29"/>
                <a:gd fmla="*/ 83 w 489" name="T30"/>
                <a:gd fmla="*/ 320 h 363" name="T31"/>
                <a:gd fmla="*/ 83 w 489" name="T32"/>
                <a:gd fmla="*/ 320 h 363" name="T33"/>
                <a:gd fmla="*/ 406 w 489" name="T34"/>
                <a:gd fmla="*/ 320 h 363" name="T35"/>
                <a:gd fmla="*/ 446 w 489" name="T36"/>
                <a:gd fmla="*/ 280 h 363" name="T37"/>
                <a:gd fmla="*/ 446 w 489" name="T38"/>
                <a:gd fmla="*/ 280 h 363" name="T39"/>
                <a:gd fmla="*/ 446 w 489" name="T40"/>
                <a:gd fmla="*/ 83 h 363" name="T41"/>
                <a:gd fmla="*/ 406 w 489" name="T42"/>
                <a:gd fmla="*/ 43 h 363" name="T43"/>
                <a:gd fmla="*/ 406 w 489" name="T44"/>
                <a:gd fmla="*/ 43 h 363" name="T45"/>
                <a:gd fmla="*/ 83 w 489" name="T46"/>
                <a:gd fmla="*/ 43 h 363" name="T47"/>
                <a:gd fmla="*/ 43 w 489" name="T48"/>
                <a:gd fmla="*/ 83 h 363" name="T4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b="b" l="0" r="r" t="0"/>
              <a:pathLst>
                <a:path h="363" w="489">
                  <a:moveTo>
                    <a:pt x="83" y="363"/>
                  </a:moveTo>
                  <a:cubicBezTo>
                    <a:pt x="37" y="363"/>
                    <a:pt x="0" y="326"/>
                    <a:pt x="0" y="280"/>
                  </a:cubicBezTo>
                  <a:cubicBezTo>
                    <a:pt x="0" y="280"/>
                    <a:pt x="0" y="280"/>
                    <a:pt x="0" y="280"/>
                  </a:cubicBezTo>
                  <a:cubicBezTo>
                    <a:pt x="0" y="83"/>
                    <a:pt x="0" y="83"/>
                    <a:pt x="0" y="83"/>
                  </a:cubicBezTo>
                  <a:cubicBezTo>
                    <a:pt x="0" y="38"/>
                    <a:pt x="37" y="0"/>
                    <a:pt x="83" y="0"/>
                  </a:cubicBezTo>
                  <a:cubicBezTo>
                    <a:pt x="83" y="0"/>
                    <a:pt x="83" y="0"/>
                    <a:pt x="83" y="0"/>
                  </a:cubicBezTo>
                  <a:cubicBezTo>
                    <a:pt x="406" y="0"/>
                    <a:pt x="406" y="0"/>
                    <a:pt x="406" y="0"/>
                  </a:cubicBezTo>
                  <a:cubicBezTo>
                    <a:pt x="451" y="0"/>
                    <a:pt x="489" y="38"/>
                    <a:pt x="489" y="83"/>
                  </a:cubicBezTo>
                  <a:cubicBezTo>
                    <a:pt x="489" y="83"/>
                    <a:pt x="489" y="83"/>
                    <a:pt x="489" y="83"/>
                  </a:cubicBezTo>
                  <a:cubicBezTo>
                    <a:pt x="489" y="280"/>
                    <a:pt x="489" y="280"/>
                    <a:pt x="489" y="280"/>
                  </a:cubicBezTo>
                  <a:cubicBezTo>
                    <a:pt x="489" y="326"/>
                    <a:pt x="451" y="363"/>
                    <a:pt x="406" y="363"/>
                  </a:cubicBezTo>
                  <a:cubicBezTo>
                    <a:pt x="406" y="363"/>
                    <a:pt x="406" y="363"/>
                    <a:pt x="406" y="363"/>
                  </a:cubicBezTo>
                  <a:cubicBezTo>
                    <a:pt x="83" y="363"/>
                    <a:pt x="83" y="363"/>
                    <a:pt x="83" y="363"/>
                  </a:cubicBezTo>
                  <a:close/>
                  <a:moveTo>
                    <a:pt x="43" y="83"/>
                  </a:moveTo>
                  <a:cubicBezTo>
                    <a:pt x="43" y="280"/>
                    <a:pt x="43" y="280"/>
                    <a:pt x="43" y="280"/>
                  </a:cubicBezTo>
                  <a:cubicBezTo>
                    <a:pt x="43" y="302"/>
                    <a:pt x="61" y="320"/>
                    <a:pt x="83" y="320"/>
                  </a:cubicBezTo>
                  <a:cubicBezTo>
                    <a:pt x="83" y="320"/>
                    <a:pt x="83" y="320"/>
                    <a:pt x="83" y="320"/>
                  </a:cubicBezTo>
                  <a:cubicBezTo>
                    <a:pt x="406" y="320"/>
                    <a:pt x="406" y="320"/>
                    <a:pt x="406" y="320"/>
                  </a:cubicBezTo>
                  <a:cubicBezTo>
                    <a:pt x="428" y="320"/>
                    <a:pt x="446" y="302"/>
                    <a:pt x="446" y="280"/>
                  </a:cubicBezTo>
                  <a:cubicBezTo>
                    <a:pt x="446" y="280"/>
                    <a:pt x="446" y="280"/>
                    <a:pt x="446" y="280"/>
                  </a:cubicBezTo>
                  <a:cubicBezTo>
                    <a:pt x="446" y="83"/>
                    <a:pt x="446" y="83"/>
                    <a:pt x="446" y="83"/>
                  </a:cubicBezTo>
                  <a:cubicBezTo>
                    <a:pt x="446" y="61"/>
                    <a:pt x="428" y="43"/>
                    <a:pt x="406" y="43"/>
                  </a:cubicBezTo>
                  <a:cubicBezTo>
                    <a:pt x="406" y="43"/>
                    <a:pt x="406" y="43"/>
                    <a:pt x="406" y="43"/>
                  </a:cubicBezTo>
                  <a:cubicBezTo>
                    <a:pt x="83" y="43"/>
                    <a:pt x="83" y="43"/>
                    <a:pt x="83" y="43"/>
                  </a:cubicBezTo>
                  <a:cubicBezTo>
                    <a:pt x="61" y="43"/>
                    <a:pt x="43" y="61"/>
                    <a:pt x="43" y="83"/>
                  </a:cubicBez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sp>
          <p:nvSpPr>
            <p:cNvPr id="18" name="Freeform 39"/>
            <p:cNvSpPr/>
            <p:nvPr/>
          </p:nvSpPr>
          <p:spPr bwMode="auto">
            <a:xfrm>
              <a:off x="8013143" y="5044918"/>
              <a:ext cx="787736" cy="549266"/>
            </a:xfrm>
            <a:custGeom>
              <a:gdLst>
                <a:gd fmla="*/ 219 w 224" name="T0"/>
                <a:gd fmla="*/ 119 h 156" name="T1"/>
                <a:gd fmla="*/ 130 w 224" name="T2"/>
                <a:gd fmla="*/ 15 h 156" name="T3"/>
                <a:gd fmla="*/ 112 w 224" name="T4"/>
                <a:gd fmla="*/ 0 h 156" name="T5"/>
                <a:gd fmla="*/ 95 w 224" name="T6"/>
                <a:gd fmla="*/ 15 h 156" name="T7"/>
                <a:gd fmla="*/ 6 w 224" name="T8"/>
                <a:gd fmla="*/ 119 h 156" name="T9"/>
                <a:gd fmla="*/ 8 w 224" name="T10"/>
                <a:gd fmla="*/ 140 h 156" name="T11"/>
                <a:gd fmla="*/ 30 w 224" name="T12"/>
                <a:gd fmla="*/ 138 h 156" name="T13"/>
                <a:gd fmla="*/ 96 w 224" name="T14"/>
                <a:gd fmla="*/ 64 h 156" name="T15"/>
                <a:gd fmla="*/ 96 w 224" name="T16"/>
                <a:gd fmla="*/ 140 h 156" name="T17"/>
                <a:gd fmla="*/ 112 w 224" name="T18"/>
                <a:gd fmla="*/ 156 h 156" name="T19"/>
                <a:gd fmla="*/ 129 w 224" name="T20"/>
                <a:gd fmla="*/ 140 h 156" name="T21"/>
                <a:gd fmla="*/ 129 w 224" name="T22"/>
                <a:gd fmla="*/ 64 h 156" name="T23"/>
                <a:gd fmla="*/ 195 w 224" name="T24"/>
                <a:gd fmla="*/ 138 h 156" name="T25"/>
                <a:gd fmla="*/ 216 w 224" name="T26"/>
                <a:gd fmla="*/ 140 h 156" name="T27"/>
                <a:gd fmla="*/ 219 w 224" name="T28"/>
                <a:gd fmla="*/ 119 h 156" name="T2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b="b" l="0" r="r" t="0"/>
              <a:pathLst>
                <a:path h="156" w="224">
                  <a:moveTo>
                    <a:pt x="219" y="119"/>
                  </a:moveTo>
                  <a:cubicBezTo>
                    <a:pt x="130" y="15"/>
                    <a:pt x="130" y="15"/>
                    <a:pt x="130" y="15"/>
                  </a:cubicBezTo>
                  <a:cubicBezTo>
                    <a:pt x="130" y="15"/>
                    <a:pt x="118" y="0"/>
                    <a:pt x="112" y="0"/>
                  </a:cubicBezTo>
                  <a:cubicBezTo>
                    <a:pt x="107" y="0"/>
                    <a:pt x="95" y="15"/>
                    <a:pt x="95" y="15"/>
                  </a:cubicBezTo>
                  <a:cubicBezTo>
                    <a:pt x="6" y="119"/>
                    <a:pt x="6" y="119"/>
                    <a:pt x="6" y="119"/>
                  </a:cubicBezTo>
                  <a:cubicBezTo>
                    <a:pt x="0" y="126"/>
                    <a:pt x="2" y="135"/>
                    <a:pt x="8" y="140"/>
                  </a:cubicBezTo>
                  <a:cubicBezTo>
                    <a:pt x="15" y="146"/>
                    <a:pt x="25" y="144"/>
                    <a:pt x="30" y="138"/>
                  </a:cubicBezTo>
                  <a:cubicBezTo>
                    <a:pt x="96" y="64"/>
                    <a:pt x="96" y="64"/>
                    <a:pt x="96" y="64"/>
                  </a:cubicBezTo>
                  <a:cubicBezTo>
                    <a:pt x="96" y="140"/>
                    <a:pt x="96" y="140"/>
                    <a:pt x="96" y="140"/>
                  </a:cubicBezTo>
                  <a:cubicBezTo>
                    <a:pt x="96" y="149"/>
                    <a:pt x="103" y="156"/>
                    <a:pt x="112" y="156"/>
                  </a:cubicBezTo>
                  <a:cubicBezTo>
                    <a:pt x="121" y="156"/>
                    <a:pt x="129" y="149"/>
                    <a:pt x="129" y="140"/>
                  </a:cubicBezTo>
                  <a:cubicBezTo>
                    <a:pt x="129" y="64"/>
                    <a:pt x="129" y="64"/>
                    <a:pt x="129" y="64"/>
                  </a:cubicBezTo>
                  <a:cubicBezTo>
                    <a:pt x="195" y="138"/>
                    <a:pt x="195" y="138"/>
                    <a:pt x="195" y="138"/>
                  </a:cubicBezTo>
                  <a:cubicBezTo>
                    <a:pt x="200" y="144"/>
                    <a:pt x="210" y="146"/>
                    <a:pt x="216" y="140"/>
                  </a:cubicBezTo>
                  <a:cubicBezTo>
                    <a:pt x="223" y="135"/>
                    <a:pt x="224" y="126"/>
                    <a:pt x="219" y="119"/>
                  </a:cubicBez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sp>
          <p:nvSpPr>
            <p:cNvPr id="19" name="Freeform 40"/>
            <p:cNvSpPr/>
            <p:nvPr/>
          </p:nvSpPr>
          <p:spPr bwMode="auto">
            <a:xfrm>
              <a:off x="7813767" y="4073444"/>
              <a:ext cx="1192355" cy="619633"/>
            </a:xfrm>
            <a:custGeom>
              <a:gdLst>
                <a:gd fmla="*/ 3 w 339" name="T0"/>
                <a:gd fmla="*/ 169 h 176" name="T1"/>
                <a:gd fmla="*/ 4 w 339" name="T2"/>
                <a:gd fmla="*/ 155 h 176" name="T3"/>
                <a:gd fmla="*/ 4 w 339" name="T4"/>
                <a:gd fmla="*/ 155 h 176" name="T5"/>
                <a:gd fmla="*/ 57 w 339" name="T6"/>
                <a:gd fmla="*/ 102 h 176" name="T7"/>
                <a:gd fmla="*/ 66 w 339" name="T8"/>
                <a:gd fmla="*/ 99 h 176" name="T9"/>
                <a:gd fmla="*/ 66 w 339" name="T10"/>
                <a:gd fmla="*/ 99 h 176" name="T11"/>
                <a:gd fmla="*/ 72 w 339" name="T12"/>
                <a:gd fmla="*/ 105 h 176" name="T13"/>
                <a:gd fmla="*/ 72 w 339" name="T14"/>
                <a:gd fmla="*/ 105 h 176" name="T15"/>
                <a:gd fmla="*/ 83 w 339" name="T16"/>
                <a:gd fmla="*/ 144 h 176" name="T17"/>
                <a:gd fmla="*/ 166 w 339" name="T18"/>
                <a:gd fmla="*/ 12 h 176" name="T19"/>
                <a:gd fmla="*/ 176 w 339" name="T20"/>
                <a:gd fmla="*/ 7 h 176" name="T21"/>
                <a:gd fmla="*/ 176 w 339" name="T22"/>
                <a:gd fmla="*/ 7 h 176" name="T23"/>
                <a:gd fmla="*/ 182 w 339" name="T24"/>
                <a:gd fmla="*/ 16 h 176" name="T25"/>
                <a:gd fmla="*/ 182 w 339" name="T26"/>
                <a:gd fmla="*/ 16 h 176" name="T27"/>
                <a:gd fmla="*/ 181 w 339" name="T28"/>
                <a:gd fmla="*/ 99 h 176" name="T29"/>
                <a:gd fmla="*/ 221 w 339" name="T30"/>
                <a:gd fmla="*/ 59 h 176" name="T31"/>
                <a:gd fmla="*/ 228 w 339" name="T32"/>
                <a:gd fmla="*/ 57 h 176" name="T33"/>
                <a:gd fmla="*/ 228 w 339" name="T34"/>
                <a:gd fmla="*/ 57 h 176" name="T35"/>
                <a:gd fmla="*/ 234 w 339" name="T36"/>
                <a:gd fmla="*/ 61 h 176" name="T37"/>
                <a:gd fmla="*/ 234 w 339" name="T38"/>
                <a:gd fmla="*/ 61 h 176" name="T39"/>
                <a:gd fmla="*/ 246 w 339" name="T40"/>
                <a:gd fmla="*/ 84 h 176" name="T41"/>
                <a:gd fmla="*/ 322 w 339" name="T42"/>
                <a:gd fmla="*/ 5 h 176" name="T43"/>
                <a:gd fmla="*/ 335 w 339" name="T44"/>
                <a:gd fmla="*/ 4 h 176" name="T45"/>
                <a:gd fmla="*/ 335 w 339" name="T46"/>
                <a:gd fmla="*/ 4 h 176" name="T47"/>
                <a:gd fmla="*/ 335 w 339" name="T48"/>
                <a:gd fmla="*/ 18 h 176" name="T49"/>
                <a:gd fmla="*/ 335 w 339" name="T50"/>
                <a:gd fmla="*/ 18 h 176" name="T51"/>
                <a:gd fmla="*/ 251 w 339" name="T52"/>
                <a:gd fmla="*/ 106 h 176" name="T53"/>
                <a:gd fmla="*/ 243 w 339" name="T54"/>
                <a:gd fmla="*/ 110 h 176" name="T55"/>
                <a:gd fmla="*/ 243 w 339" name="T56"/>
                <a:gd fmla="*/ 110 h 176" name="T57"/>
                <a:gd fmla="*/ 236 w 339" name="T58"/>
                <a:gd fmla="*/ 106 h 176" name="T59"/>
                <a:gd fmla="*/ 236 w 339" name="T60"/>
                <a:gd fmla="*/ 106 h 176" name="T61"/>
                <a:gd fmla="*/ 224 w 339" name="T62"/>
                <a:gd fmla="*/ 81 h 176" name="T63"/>
                <a:gd fmla="*/ 177 w 339" name="T64"/>
                <a:gd fmla="*/ 126 h 176" name="T65"/>
                <a:gd fmla="*/ 168 w 339" name="T66"/>
                <a:gd fmla="*/ 127 h 176" name="T67"/>
                <a:gd fmla="*/ 168 w 339" name="T68"/>
                <a:gd fmla="*/ 127 h 176" name="T69"/>
                <a:gd fmla="*/ 163 w 339" name="T70"/>
                <a:gd fmla="*/ 119 h 176" name="T71"/>
                <a:gd fmla="*/ 163 w 339" name="T72"/>
                <a:gd fmla="*/ 119 h 176" name="T73"/>
                <a:gd fmla="*/ 164 w 339" name="T74"/>
                <a:gd fmla="*/ 49 h 176" name="T75"/>
                <a:gd fmla="*/ 88 w 339" name="T76"/>
                <a:gd fmla="*/ 171 h 176" name="T77"/>
                <a:gd fmla="*/ 79 w 339" name="T78"/>
                <a:gd fmla="*/ 176 h 176" name="T79"/>
                <a:gd fmla="*/ 79 w 339" name="T80"/>
                <a:gd fmla="*/ 176 h 176" name="T81"/>
                <a:gd fmla="*/ 71 w 339" name="T82"/>
                <a:gd fmla="*/ 170 h 176" name="T83"/>
                <a:gd fmla="*/ 71 w 339" name="T84"/>
                <a:gd fmla="*/ 170 h 176" name="T85"/>
                <a:gd fmla="*/ 59 w 339" name="T86"/>
                <a:gd fmla="*/ 126 h 176" name="T87"/>
                <a:gd fmla="*/ 16 w 339" name="T88"/>
                <a:gd fmla="*/ 170 h 176" name="T89"/>
                <a:gd fmla="*/ 16 w 339" name="T90"/>
                <a:gd fmla="*/ 170 h 176" name="T91"/>
                <a:gd fmla="*/ 7 w 339" name="T92"/>
                <a:gd fmla="*/ 172 h 176" name="T93"/>
                <a:gd fmla="*/ 7 w 339" name="T94"/>
                <a:gd fmla="*/ 172 h 176" name="T95"/>
                <a:gd fmla="*/ 3 w 339" name="T96"/>
                <a:gd fmla="*/ 169 h 176" name="T9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b="b" l="0" r="r" t="0"/>
              <a:pathLst>
                <a:path h="176" w="339">
                  <a:moveTo>
                    <a:pt x="3" y="169"/>
                  </a:moveTo>
                  <a:cubicBezTo>
                    <a:pt x="0" y="166"/>
                    <a:pt x="0" y="159"/>
                    <a:pt x="4" y="155"/>
                  </a:cubicBezTo>
                  <a:cubicBezTo>
                    <a:pt x="4" y="155"/>
                    <a:pt x="4" y="155"/>
                    <a:pt x="4" y="155"/>
                  </a:cubicBezTo>
                  <a:cubicBezTo>
                    <a:pt x="57" y="102"/>
                    <a:pt x="57" y="102"/>
                    <a:pt x="57" y="102"/>
                  </a:cubicBezTo>
                  <a:cubicBezTo>
                    <a:pt x="60" y="99"/>
                    <a:pt x="63" y="98"/>
                    <a:pt x="66" y="99"/>
                  </a:cubicBezTo>
                  <a:cubicBezTo>
                    <a:pt x="66" y="99"/>
                    <a:pt x="66" y="99"/>
                    <a:pt x="66" y="99"/>
                  </a:cubicBezTo>
                  <a:cubicBezTo>
                    <a:pt x="69" y="100"/>
                    <a:pt x="71" y="102"/>
                    <a:pt x="72" y="105"/>
                  </a:cubicBezTo>
                  <a:cubicBezTo>
                    <a:pt x="72" y="105"/>
                    <a:pt x="72" y="105"/>
                    <a:pt x="72" y="105"/>
                  </a:cubicBezTo>
                  <a:cubicBezTo>
                    <a:pt x="83" y="144"/>
                    <a:pt x="83" y="144"/>
                    <a:pt x="83" y="144"/>
                  </a:cubicBezTo>
                  <a:cubicBezTo>
                    <a:pt x="166" y="12"/>
                    <a:pt x="166" y="12"/>
                    <a:pt x="166" y="12"/>
                  </a:cubicBezTo>
                  <a:cubicBezTo>
                    <a:pt x="168" y="8"/>
                    <a:pt x="172" y="6"/>
                    <a:pt x="176" y="7"/>
                  </a:cubicBezTo>
                  <a:cubicBezTo>
                    <a:pt x="176" y="7"/>
                    <a:pt x="176" y="7"/>
                    <a:pt x="176" y="7"/>
                  </a:cubicBezTo>
                  <a:cubicBezTo>
                    <a:pt x="180" y="8"/>
                    <a:pt x="182" y="12"/>
                    <a:pt x="182" y="16"/>
                  </a:cubicBezTo>
                  <a:cubicBezTo>
                    <a:pt x="182" y="16"/>
                    <a:pt x="182" y="16"/>
                    <a:pt x="182" y="16"/>
                  </a:cubicBezTo>
                  <a:cubicBezTo>
                    <a:pt x="181" y="99"/>
                    <a:pt x="181" y="99"/>
                    <a:pt x="181" y="99"/>
                  </a:cubicBezTo>
                  <a:cubicBezTo>
                    <a:pt x="221" y="59"/>
                    <a:pt x="221" y="59"/>
                    <a:pt x="221" y="59"/>
                  </a:cubicBezTo>
                  <a:cubicBezTo>
                    <a:pt x="223" y="57"/>
                    <a:pt x="226" y="57"/>
                    <a:pt x="228" y="57"/>
                  </a:cubicBezTo>
                  <a:cubicBezTo>
                    <a:pt x="228" y="57"/>
                    <a:pt x="228" y="57"/>
                    <a:pt x="228" y="57"/>
                  </a:cubicBezTo>
                  <a:cubicBezTo>
                    <a:pt x="231" y="58"/>
                    <a:pt x="233" y="59"/>
                    <a:pt x="234" y="61"/>
                  </a:cubicBezTo>
                  <a:cubicBezTo>
                    <a:pt x="234" y="61"/>
                    <a:pt x="234" y="61"/>
                    <a:pt x="234" y="61"/>
                  </a:cubicBezTo>
                  <a:cubicBezTo>
                    <a:pt x="246" y="84"/>
                    <a:pt x="246" y="84"/>
                    <a:pt x="246" y="84"/>
                  </a:cubicBezTo>
                  <a:cubicBezTo>
                    <a:pt x="322" y="5"/>
                    <a:pt x="322" y="5"/>
                    <a:pt x="322" y="5"/>
                  </a:cubicBezTo>
                  <a:cubicBezTo>
                    <a:pt x="326" y="1"/>
                    <a:pt x="331" y="0"/>
                    <a:pt x="335" y="4"/>
                  </a:cubicBezTo>
                  <a:cubicBezTo>
                    <a:pt x="335" y="4"/>
                    <a:pt x="335" y="4"/>
                    <a:pt x="335" y="4"/>
                  </a:cubicBezTo>
                  <a:cubicBezTo>
                    <a:pt x="339" y="8"/>
                    <a:pt x="339" y="14"/>
                    <a:pt x="335" y="18"/>
                  </a:cubicBezTo>
                  <a:cubicBezTo>
                    <a:pt x="335" y="18"/>
                    <a:pt x="335" y="18"/>
                    <a:pt x="335" y="18"/>
                  </a:cubicBezTo>
                  <a:cubicBezTo>
                    <a:pt x="251" y="106"/>
                    <a:pt x="251" y="106"/>
                    <a:pt x="251" y="106"/>
                  </a:cubicBezTo>
                  <a:cubicBezTo>
                    <a:pt x="249" y="109"/>
                    <a:pt x="246" y="110"/>
                    <a:pt x="243" y="110"/>
                  </a:cubicBezTo>
                  <a:cubicBezTo>
                    <a:pt x="243" y="110"/>
                    <a:pt x="243" y="110"/>
                    <a:pt x="243" y="110"/>
                  </a:cubicBezTo>
                  <a:cubicBezTo>
                    <a:pt x="240" y="110"/>
                    <a:pt x="238" y="108"/>
                    <a:pt x="236" y="106"/>
                  </a:cubicBezTo>
                  <a:cubicBezTo>
                    <a:pt x="236" y="106"/>
                    <a:pt x="236" y="106"/>
                    <a:pt x="236" y="106"/>
                  </a:cubicBezTo>
                  <a:cubicBezTo>
                    <a:pt x="224" y="81"/>
                    <a:pt x="224" y="81"/>
                    <a:pt x="224" y="81"/>
                  </a:cubicBezTo>
                  <a:cubicBezTo>
                    <a:pt x="177" y="126"/>
                    <a:pt x="177" y="126"/>
                    <a:pt x="177" y="126"/>
                  </a:cubicBezTo>
                  <a:cubicBezTo>
                    <a:pt x="174" y="128"/>
                    <a:pt x="171" y="129"/>
                    <a:pt x="168" y="127"/>
                  </a:cubicBezTo>
                  <a:cubicBezTo>
                    <a:pt x="168" y="127"/>
                    <a:pt x="168" y="127"/>
                    <a:pt x="168" y="127"/>
                  </a:cubicBezTo>
                  <a:cubicBezTo>
                    <a:pt x="165" y="126"/>
                    <a:pt x="163" y="123"/>
                    <a:pt x="163" y="119"/>
                  </a:cubicBezTo>
                  <a:cubicBezTo>
                    <a:pt x="163" y="119"/>
                    <a:pt x="163" y="119"/>
                    <a:pt x="163" y="119"/>
                  </a:cubicBezTo>
                  <a:cubicBezTo>
                    <a:pt x="164" y="49"/>
                    <a:pt x="164" y="49"/>
                    <a:pt x="164" y="49"/>
                  </a:cubicBezTo>
                  <a:cubicBezTo>
                    <a:pt x="88" y="171"/>
                    <a:pt x="88" y="171"/>
                    <a:pt x="88" y="171"/>
                  </a:cubicBezTo>
                  <a:cubicBezTo>
                    <a:pt x="86" y="174"/>
                    <a:pt x="82" y="176"/>
                    <a:pt x="79" y="176"/>
                  </a:cubicBezTo>
                  <a:cubicBezTo>
                    <a:pt x="79" y="176"/>
                    <a:pt x="79" y="176"/>
                    <a:pt x="79" y="176"/>
                  </a:cubicBezTo>
                  <a:cubicBezTo>
                    <a:pt x="75" y="176"/>
                    <a:pt x="72" y="173"/>
                    <a:pt x="71" y="170"/>
                  </a:cubicBezTo>
                  <a:cubicBezTo>
                    <a:pt x="71" y="170"/>
                    <a:pt x="71" y="170"/>
                    <a:pt x="71" y="170"/>
                  </a:cubicBezTo>
                  <a:cubicBezTo>
                    <a:pt x="59" y="126"/>
                    <a:pt x="59" y="126"/>
                    <a:pt x="59" y="126"/>
                  </a:cubicBezTo>
                  <a:cubicBezTo>
                    <a:pt x="16" y="170"/>
                    <a:pt x="16" y="170"/>
                    <a:pt x="16" y="170"/>
                  </a:cubicBezTo>
                  <a:cubicBezTo>
                    <a:pt x="16" y="170"/>
                    <a:pt x="16" y="170"/>
                    <a:pt x="16" y="170"/>
                  </a:cubicBezTo>
                  <a:cubicBezTo>
                    <a:pt x="14" y="172"/>
                    <a:pt x="10" y="173"/>
                    <a:pt x="7" y="172"/>
                  </a:cubicBezTo>
                  <a:cubicBezTo>
                    <a:pt x="7" y="172"/>
                    <a:pt x="7" y="172"/>
                    <a:pt x="7" y="172"/>
                  </a:cubicBezTo>
                  <a:cubicBezTo>
                    <a:pt x="6" y="172"/>
                    <a:pt x="4" y="171"/>
                    <a:pt x="3" y="169"/>
                  </a:cubicBez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grpSp>
      <p:grpSp>
        <p:nvGrpSpPr>
          <p:cNvPr id="20" name="组合 19"/>
          <p:cNvGrpSpPr/>
          <p:nvPr/>
        </p:nvGrpSpPr>
        <p:grpSpPr>
          <a:xfrm>
            <a:off x="7889365" y="2634479"/>
            <a:ext cx="478267" cy="495245"/>
            <a:chOff x="4571018" y="3941631"/>
            <a:chExt cx="1142820" cy="1183390"/>
          </a:xfrm>
          <a:solidFill>
            <a:schemeClr val="bg1"/>
          </a:solidFill>
        </p:grpSpPr>
        <p:sp>
          <p:nvSpPr>
            <p:cNvPr id="21" name="Freeform 237"/>
            <p:cNvSpPr/>
            <p:nvPr/>
          </p:nvSpPr>
          <p:spPr bwMode="auto">
            <a:xfrm>
              <a:off x="5030850" y="3941631"/>
              <a:ext cx="426023" cy="561264"/>
            </a:xfrm>
            <a:custGeom>
              <a:gdLst>
                <a:gd fmla="*/ 126 w 126" name="T0"/>
                <a:gd fmla="*/ 28 h 166" name="T1"/>
                <a:gd fmla="*/ 38 w 126" name="T2"/>
                <a:gd fmla="*/ 166 h 166" name="T3"/>
                <a:gd fmla="*/ 36 w 126" name="T4"/>
                <a:gd fmla="*/ 166 h 166" name="T5"/>
                <a:gd fmla="*/ 0 w 126" name="T6"/>
                <a:gd fmla="*/ 3 h 166" name="T7"/>
                <a:gd fmla="*/ 0 w 126" name="T8"/>
                <a:gd fmla="*/ 3 h 166" name="T9"/>
                <a:gd fmla="*/ 17 w 126" name="T10"/>
                <a:gd fmla="*/ 1 h 166" name="T11"/>
                <a:gd fmla="*/ 33 w 126" name="T12"/>
                <a:gd fmla="*/ 0 h 166" name="T13"/>
                <a:gd fmla="*/ 48 w 126" name="T14"/>
                <a:gd fmla="*/ 0 h 166" name="T15"/>
                <a:gd fmla="*/ 63 w 126" name="T16"/>
                <a:gd fmla="*/ 2 h 166" name="T17"/>
                <a:gd fmla="*/ 79 w 126" name="T18"/>
                <a:gd fmla="*/ 5 h 166" name="T19"/>
                <a:gd fmla="*/ 94 w 126" name="T20"/>
                <a:gd fmla="*/ 10 h 166" name="T21"/>
                <a:gd fmla="*/ 108 w 126" name="T22"/>
                <a:gd fmla="*/ 17 h 166" name="T23"/>
                <a:gd fmla="*/ 123 w 126" name="T24"/>
                <a:gd fmla="*/ 25 h 166" name="T25"/>
                <a:gd fmla="*/ 123 w 126" name="T26"/>
                <a:gd fmla="*/ 25 h 166" name="T27"/>
                <a:gd fmla="*/ 126 w 126" name="T28"/>
                <a:gd fmla="*/ 28 h 166" name="T29"/>
                <a:gd fmla="*/ 126 w 126" name="T30"/>
                <a:gd fmla="*/ 28 h 166" name="T3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b="b" l="0" r="r" t="0"/>
              <a:pathLst>
                <a:path h="166" w="125">
                  <a:moveTo>
                    <a:pt x="126" y="28"/>
                  </a:moveTo>
                  <a:lnTo>
                    <a:pt x="38" y="166"/>
                  </a:lnTo>
                  <a:lnTo>
                    <a:pt x="36" y="166"/>
                  </a:lnTo>
                  <a:lnTo>
                    <a:pt x="0" y="3"/>
                  </a:lnTo>
                  <a:lnTo>
                    <a:pt x="0" y="3"/>
                  </a:lnTo>
                  <a:lnTo>
                    <a:pt x="17" y="1"/>
                  </a:lnTo>
                  <a:lnTo>
                    <a:pt x="33" y="0"/>
                  </a:lnTo>
                  <a:lnTo>
                    <a:pt x="48" y="0"/>
                  </a:lnTo>
                  <a:lnTo>
                    <a:pt x="63" y="2"/>
                  </a:lnTo>
                  <a:lnTo>
                    <a:pt x="79" y="5"/>
                  </a:lnTo>
                  <a:lnTo>
                    <a:pt x="94" y="10"/>
                  </a:lnTo>
                  <a:lnTo>
                    <a:pt x="108" y="17"/>
                  </a:lnTo>
                  <a:lnTo>
                    <a:pt x="123" y="25"/>
                  </a:lnTo>
                  <a:lnTo>
                    <a:pt x="123" y="25"/>
                  </a:lnTo>
                  <a:lnTo>
                    <a:pt x="126" y="28"/>
                  </a:lnTo>
                  <a:lnTo>
                    <a:pt x="126" y="28"/>
                  </a:ln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sp>
          <p:nvSpPr>
            <p:cNvPr id="22" name="Freeform 238"/>
            <p:cNvSpPr/>
            <p:nvPr/>
          </p:nvSpPr>
          <p:spPr bwMode="auto">
            <a:xfrm>
              <a:off x="5172859" y="4103925"/>
              <a:ext cx="540979" cy="1000812"/>
            </a:xfrm>
            <a:custGeom>
              <a:gdLst>
                <a:gd fmla="*/ 155 w 159" name="T0"/>
                <a:gd fmla="*/ 101 h 296" name="T1"/>
                <a:gd fmla="*/ 155 w 159" name="T2"/>
                <a:gd fmla="*/ 101 h 296" name="T3"/>
                <a:gd fmla="*/ 156 w 159" name="T4"/>
                <a:gd fmla="*/ 105 h 296" name="T5"/>
                <a:gd fmla="*/ 156 w 159" name="T6"/>
                <a:gd fmla="*/ 105 h 296" name="T7"/>
                <a:gd fmla="*/ 156 w 159" name="T8"/>
                <a:gd fmla="*/ 105 h 296" name="T9"/>
                <a:gd fmla="*/ 158 w 159" name="T10"/>
                <a:gd fmla="*/ 120 h 296" name="T11"/>
                <a:gd fmla="*/ 159 w 159" name="T12"/>
                <a:gd fmla="*/ 136 h 296" name="T13"/>
                <a:gd fmla="*/ 158 w 159" name="T14"/>
                <a:gd fmla="*/ 151 h 296" name="T15"/>
                <a:gd fmla="*/ 157 w 159" name="T16"/>
                <a:gd fmla="*/ 166 h 296" name="T17"/>
                <a:gd fmla="*/ 153 w 159" name="T18"/>
                <a:gd fmla="*/ 182 h 296" name="T19"/>
                <a:gd fmla="*/ 149 w 159" name="T20"/>
                <a:gd fmla="*/ 196 h 296" name="T21"/>
                <a:gd fmla="*/ 141 w 159" name="T22"/>
                <a:gd fmla="*/ 211 h 296" name="T23"/>
                <a:gd fmla="*/ 133 w 159" name="T24"/>
                <a:gd fmla="*/ 225 h 296" name="T25"/>
                <a:gd fmla="*/ 133 w 159" name="T26"/>
                <a:gd fmla="*/ 225 h 296" name="T27"/>
                <a:gd fmla="*/ 124 w 159" name="T28"/>
                <a:gd fmla="*/ 238 h 296" name="T29"/>
                <a:gd fmla="*/ 114 w 159" name="T30"/>
                <a:gd fmla="*/ 250 h 296" name="T31"/>
                <a:gd fmla="*/ 103 w 159" name="T32"/>
                <a:gd fmla="*/ 261 h 296" name="T33"/>
                <a:gd fmla="*/ 91 w 159" name="T34"/>
                <a:gd fmla="*/ 271 h 296" name="T35"/>
                <a:gd fmla="*/ 78 w 159" name="T36"/>
                <a:gd fmla="*/ 278 h 296" name="T37"/>
                <a:gd fmla="*/ 64 w 159" name="T38"/>
                <a:gd fmla="*/ 286 h 296" name="T39"/>
                <a:gd fmla="*/ 50 w 159" name="T40"/>
                <a:gd fmla="*/ 291 h 296" name="T41"/>
                <a:gd fmla="*/ 34 w 159" name="T42"/>
                <a:gd fmla="*/ 296 h 296" name="T43"/>
                <a:gd fmla="*/ 0 w 159" name="T44"/>
                <a:gd fmla="*/ 138 h 296" name="T45"/>
                <a:gd fmla="*/ 88 w 159" name="T46"/>
                <a:gd fmla="*/ 0 h 296" name="T47"/>
                <a:gd fmla="*/ 88 w 159" name="T48"/>
                <a:gd fmla="*/ 0 h 296" name="T49"/>
                <a:gd fmla="*/ 101 w 159" name="T50"/>
                <a:gd fmla="*/ 10 h 296" name="T51"/>
                <a:gd fmla="*/ 112 w 159" name="T52"/>
                <a:gd fmla="*/ 21 h 296" name="T53"/>
                <a:gd fmla="*/ 122 w 159" name="T54"/>
                <a:gd fmla="*/ 32 h 296" name="T55"/>
                <a:gd fmla="*/ 131 w 159" name="T56"/>
                <a:gd fmla="*/ 44 h 296" name="T57"/>
                <a:gd fmla="*/ 139 w 159" name="T58"/>
                <a:gd fmla="*/ 57 h 296" name="T59"/>
                <a:gd fmla="*/ 146 w 159" name="T60"/>
                <a:gd fmla="*/ 71 h 296" name="T61"/>
                <a:gd fmla="*/ 151 w 159" name="T62"/>
                <a:gd fmla="*/ 86 h 296" name="T63"/>
                <a:gd fmla="*/ 155 w 159" name="T64"/>
                <a:gd fmla="*/ 101 h 296" name="T65"/>
                <a:gd fmla="*/ 155 w 159" name="T66"/>
                <a:gd fmla="*/ 101 h 296"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296" w="159">
                  <a:moveTo>
                    <a:pt x="155" y="101"/>
                  </a:moveTo>
                  <a:lnTo>
                    <a:pt x="155" y="101"/>
                  </a:lnTo>
                  <a:lnTo>
                    <a:pt x="156" y="105"/>
                  </a:lnTo>
                  <a:lnTo>
                    <a:pt x="156" y="105"/>
                  </a:lnTo>
                  <a:lnTo>
                    <a:pt x="156" y="105"/>
                  </a:lnTo>
                  <a:lnTo>
                    <a:pt x="158" y="120"/>
                  </a:lnTo>
                  <a:lnTo>
                    <a:pt x="159" y="136"/>
                  </a:lnTo>
                  <a:lnTo>
                    <a:pt x="158" y="151"/>
                  </a:lnTo>
                  <a:lnTo>
                    <a:pt x="157" y="166"/>
                  </a:lnTo>
                  <a:lnTo>
                    <a:pt x="153" y="182"/>
                  </a:lnTo>
                  <a:lnTo>
                    <a:pt x="149" y="196"/>
                  </a:lnTo>
                  <a:lnTo>
                    <a:pt x="141" y="211"/>
                  </a:lnTo>
                  <a:lnTo>
                    <a:pt x="133" y="225"/>
                  </a:lnTo>
                  <a:lnTo>
                    <a:pt x="133" y="225"/>
                  </a:lnTo>
                  <a:lnTo>
                    <a:pt x="124" y="238"/>
                  </a:lnTo>
                  <a:lnTo>
                    <a:pt x="114" y="250"/>
                  </a:lnTo>
                  <a:lnTo>
                    <a:pt x="103" y="261"/>
                  </a:lnTo>
                  <a:lnTo>
                    <a:pt x="91" y="271"/>
                  </a:lnTo>
                  <a:lnTo>
                    <a:pt x="78" y="278"/>
                  </a:lnTo>
                  <a:lnTo>
                    <a:pt x="64" y="286"/>
                  </a:lnTo>
                  <a:lnTo>
                    <a:pt x="50" y="291"/>
                  </a:lnTo>
                  <a:lnTo>
                    <a:pt x="34" y="296"/>
                  </a:lnTo>
                  <a:lnTo>
                    <a:pt x="0" y="138"/>
                  </a:lnTo>
                  <a:lnTo>
                    <a:pt x="88" y="0"/>
                  </a:lnTo>
                  <a:lnTo>
                    <a:pt x="88" y="0"/>
                  </a:lnTo>
                  <a:lnTo>
                    <a:pt x="101" y="10"/>
                  </a:lnTo>
                  <a:lnTo>
                    <a:pt x="112" y="21"/>
                  </a:lnTo>
                  <a:lnTo>
                    <a:pt x="122" y="32"/>
                  </a:lnTo>
                  <a:lnTo>
                    <a:pt x="131" y="44"/>
                  </a:lnTo>
                  <a:lnTo>
                    <a:pt x="139" y="57"/>
                  </a:lnTo>
                  <a:lnTo>
                    <a:pt x="146" y="71"/>
                  </a:lnTo>
                  <a:lnTo>
                    <a:pt x="151" y="86"/>
                  </a:lnTo>
                  <a:lnTo>
                    <a:pt x="155" y="101"/>
                  </a:lnTo>
                  <a:lnTo>
                    <a:pt x="155" y="101"/>
                  </a:ln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sp>
          <p:nvSpPr>
            <p:cNvPr id="23" name="Freeform 239"/>
            <p:cNvSpPr/>
            <p:nvPr/>
          </p:nvSpPr>
          <p:spPr bwMode="auto">
            <a:xfrm>
              <a:off x="4571018" y="4029538"/>
              <a:ext cx="676224" cy="1095483"/>
            </a:xfrm>
            <a:custGeom>
              <a:gdLst>
                <a:gd fmla="*/ 131 w 201" name="T0"/>
                <a:gd fmla="*/ 0 h 323" name="T1"/>
                <a:gd fmla="*/ 201 w 201" name="T2"/>
                <a:gd fmla="*/ 319 h 323" name="T3"/>
                <a:gd fmla="*/ 201 w 201" name="T4"/>
                <a:gd fmla="*/ 319 h 323" name="T5"/>
                <a:gd fmla="*/ 200 w 201" name="T6"/>
                <a:gd fmla="*/ 320 h 323" name="T7"/>
                <a:gd fmla="*/ 200 w 201" name="T8"/>
                <a:gd fmla="*/ 320 h 323" name="T9"/>
                <a:gd fmla="*/ 184 w 201" name="T10"/>
                <a:gd fmla="*/ 322 h 323" name="T11"/>
                <a:gd fmla="*/ 168 w 201" name="T12"/>
                <a:gd fmla="*/ 323 h 323" name="T13"/>
                <a:gd fmla="*/ 152 w 201" name="T14"/>
                <a:gd fmla="*/ 323 h 323" name="T15"/>
                <a:gd fmla="*/ 136 w 201" name="T16"/>
                <a:gd fmla="*/ 321 h 323" name="T17"/>
                <a:gd fmla="*/ 121 w 201" name="T18"/>
                <a:gd fmla="*/ 318 h 323" name="T19"/>
                <a:gd fmla="*/ 106 w 201" name="T20"/>
                <a:gd fmla="*/ 312 h 323" name="T21"/>
                <a:gd fmla="*/ 91 w 201" name="T22"/>
                <a:gd fmla="*/ 306 h 323" name="T23"/>
                <a:gd fmla="*/ 77 w 201" name="T24"/>
                <a:gd fmla="*/ 297 h 323" name="T25"/>
                <a:gd fmla="*/ 77 w 201" name="T26"/>
                <a:gd fmla="*/ 297 h 323" name="T27"/>
                <a:gd fmla="*/ 63 w 201" name="T28"/>
                <a:gd fmla="*/ 288 h 323" name="T29"/>
                <a:gd fmla="*/ 50 w 201" name="T30"/>
                <a:gd fmla="*/ 278 h 323" name="T31"/>
                <a:gd fmla="*/ 40 w 201" name="T32"/>
                <a:gd fmla="*/ 266 h 323" name="T33"/>
                <a:gd fmla="*/ 30 w 201" name="T34"/>
                <a:gd fmla="*/ 254 h 323" name="T35"/>
                <a:gd fmla="*/ 22 w 201" name="T36"/>
                <a:gd fmla="*/ 241 h 323" name="T37"/>
                <a:gd fmla="*/ 15 w 201" name="T38"/>
                <a:gd fmla="*/ 227 h 323" name="T39"/>
                <a:gd fmla="*/ 9 w 201" name="T40"/>
                <a:gd fmla="*/ 211 h 323" name="T41"/>
                <a:gd fmla="*/ 5 w 201" name="T42"/>
                <a:gd fmla="*/ 195 h 323" name="T43"/>
                <a:gd fmla="*/ 5 w 201" name="T44"/>
                <a:gd fmla="*/ 195 h 323" name="T45"/>
                <a:gd fmla="*/ 2 w 201" name="T46"/>
                <a:gd fmla="*/ 179 h 323" name="T47"/>
                <a:gd fmla="*/ 0 w 201" name="T48"/>
                <a:gd fmla="*/ 162 h 323" name="T49"/>
                <a:gd fmla="*/ 2 w 201" name="T50"/>
                <a:gd fmla="*/ 146 h 323" name="T51"/>
                <a:gd fmla="*/ 3 w 201" name="T52"/>
                <a:gd fmla="*/ 131 h 323" name="T53"/>
                <a:gd fmla="*/ 7 w 201" name="T54"/>
                <a:gd fmla="*/ 116 h 323" name="T55"/>
                <a:gd fmla="*/ 11 w 201" name="T56"/>
                <a:gd fmla="*/ 101 h 323" name="T57"/>
                <a:gd fmla="*/ 18 w 201" name="T58"/>
                <a:gd fmla="*/ 86 h 323" name="T59"/>
                <a:gd fmla="*/ 27 w 201" name="T60"/>
                <a:gd fmla="*/ 71 h 323" name="T61"/>
                <a:gd fmla="*/ 27 w 201" name="T62"/>
                <a:gd fmla="*/ 71 h 323" name="T63"/>
                <a:gd fmla="*/ 36 w 201" name="T64"/>
                <a:gd fmla="*/ 58 h 323" name="T65"/>
                <a:gd fmla="*/ 47 w 201" name="T66"/>
                <a:gd fmla="*/ 45 h 323" name="T67"/>
                <a:gd fmla="*/ 58 w 201" name="T68"/>
                <a:gd fmla="*/ 34 h 323" name="T69"/>
                <a:gd fmla="*/ 71 w 201" name="T70"/>
                <a:gd fmla="*/ 25 h 323" name="T71"/>
                <a:gd fmla="*/ 84 w 201" name="T72"/>
                <a:gd fmla="*/ 17 h 323" name="T73"/>
                <a:gd fmla="*/ 98 w 201" name="T74"/>
                <a:gd fmla="*/ 9 h 323" name="T75"/>
                <a:gd fmla="*/ 113 w 201" name="T76"/>
                <a:gd fmla="*/ 4 h 323" name="T77"/>
                <a:gd fmla="*/ 130 w 201" name="T78"/>
                <a:gd fmla="*/ 0 h 323" name="T79"/>
                <a:gd fmla="*/ 130 w 201" name="T80"/>
                <a:gd fmla="*/ 0 h 323" name="T81"/>
                <a:gd fmla="*/ 131 w 201" name="T82"/>
                <a:gd fmla="*/ 0 h 323" name="T83"/>
                <a:gd fmla="*/ 131 w 201" name="T84"/>
                <a:gd fmla="*/ 0 h 323" name="T8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b="b" l="0" r="r" t="0"/>
              <a:pathLst>
                <a:path h="323" w="201">
                  <a:moveTo>
                    <a:pt x="131" y="0"/>
                  </a:moveTo>
                  <a:lnTo>
                    <a:pt x="201" y="319"/>
                  </a:lnTo>
                  <a:lnTo>
                    <a:pt x="201" y="319"/>
                  </a:lnTo>
                  <a:lnTo>
                    <a:pt x="200" y="320"/>
                  </a:lnTo>
                  <a:lnTo>
                    <a:pt x="200" y="320"/>
                  </a:lnTo>
                  <a:lnTo>
                    <a:pt x="184" y="322"/>
                  </a:lnTo>
                  <a:lnTo>
                    <a:pt x="168" y="323"/>
                  </a:lnTo>
                  <a:lnTo>
                    <a:pt x="152" y="323"/>
                  </a:lnTo>
                  <a:lnTo>
                    <a:pt x="136" y="321"/>
                  </a:lnTo>
                  <a:lnTo>
                    <a:pt x="121" y="318"/>
                  </a:lnTo>
                  <a:lnTo>
                    <a:pt x="106" y="312"/>
                  </a:lnTo>
                  <a:lnTo>
                    <a:pt x="91" y="306"/>
                  </a:lnTo>
                  <a:lnTo>
                    <a:pt x="77" y="297"/>
                  </a:lnTo>
                  <a:lnTo>
                    <a:pt x="77" y="297"/>
                  </a:lnTo>
                  <a:lnTo>
                    <a:pt x="63" y="288"/>
                  </a:lnTo>
                  <a:lnTo>
                    <a:pt x="50" y="278"/>
                  </a:lnTo>
                  <a:lnTo>
                    <a:pt x="40" y="266"/>
                  </a:lnTo>
                  <a:lnTo>
                    <a:pt x="30" y="254"/>
                  </a:lnTo>
                  <a:lnTo>
                    <a:pt x="22" y="241"/>
                  </a:lnTo>
                  <a:lnTo>
                    <a:pt x="15" y="227"/>
                  </a:lnTo>
                  <a:lnTo>
                    <a:pt x="9" y="211"/>
                  </a:lnTo>
                  <a:lnTo>
                    <a:pt x="5" y="195"/>
                  </a:lnTo>
                  <a:lnTo>
                    <a:pt x="5" y="195"/>
                  </a:lnTo>
                  <a:lnTo>
                    <a:pt x="2" y="179"/>
                  </a:lnTo>
                  <a:lnTo>
                    <a:pt x="0" y="162"/>
                  </a:lnTo>
                  <a:lnTo>
                    <a:pt x="2" y="146"/>
                  </a:lnTo>
                  <a:lnTo>
                    <a:pt x="3" y="131"/>
                  </a:lnTo>
                  <a:lnTo>
                    <a:pt x="7" y="116"/>
                  </a:lnTo>
                  <a:lnTo>
                    <a:pt x="11" y="101"/>
                  </a:lnTo>
                  <a:lnTo>
                    <a:pt x="18" y="86"/>
                  </a:lnTo>
                  <a:lnTo>
                    <a:pt x="27" y="71"/>
                  </a:lnTo>
                  <a:lnTo>
                    <a:pt x="27" y="71"/>
                  </a:lnTo>
                  <a:lnTo>
                    <a:pt x="36" y="58"/>
                  </a:lnTo>
                  <a:lnTo>
                    <a:pt x="47" y="45"/>
                  </a:lnTo>
                  <a:lnTo>
                    <a:pt x="58" y="34"/>
                  </a:lnTo>
                  <a:lnTo>
                    <a:pt x="71" y="25"/>
                  </a:lnTo>
                  <a:lnTo>
                    <a:pt x="84" y="17"/>
                  </a:lnTo>
                  <a:lnTo>
                    <a:pt x="98" y="9"/>
                  </a:lnTo>
                  <a:lnTo>
                    <a:pt x="113" y="4"/>
                  </a:lnTo>
                  <a:lnTo>
                    <a:pt x="130" y="0"/>
                  </a:lnTo>
                  <a:lnTo>
                    <a:pt x="130" y="0"/>
                  </a:lnTo>
                  <a:lnTo>
                    <a:pt x="131" y="0"/>
                  </a:lnTo>
                  <a:lnTo>
                    <a:pt x="131" y="0"/>
                  </a:lnTo>
                  <a:close/>
                </a:path>
              </a:pathLst>
            </a:custGeom>
            <a:grpFill/>
            <a:ln>
              <a:noFill/>
            </a:ln>
            <a:extLst/>
          </p:spPr>
          <p:txBody>
            <a:bodyPr anchor="t" anchorCtr="0" bIns="41153" compatLnSpc="1" lIns="82305" numCol="1" rIns="82305" tIns="41153" vert="horz" wrap="square">
              <a:prstTxWarp prst="textNoShape">
                <a:avLst/>
              </a:prstTxWarp>
            </a:bodyPr>
            <a:lstStyle/>
            <a:p>
              <a:endParaRPr altLang="en-US" kern="0" lang="zh-CN" sz="1600">
                <a:solidFill>
                  <a:schemeClr val="tx1">
                    <a:lumMod val="75000"/>
                    <a:lumOff val="25000"/>
                  </a:schemeClr>
                </a:solidFill>
                <a:latin charset="-122" panose="03000509000000000000" pitchFamily="65" typeface="方正中等线简体"/>
                <a:ea charset="-122" panose="03000509000000000000" pitchFamily="65" typeface="方正中等线简体"/>
              </a:endParaRPr>
            </a:p>
          </p:txBody>
        </p:sp>
      </p:grpSp>
      <p:sp>
        <p:nvSpPr>
          <p:cNvPr id="24" name="Freeform 128"/>
          <p:cNvSpPr>
            <a:spLocks noEditPoints="1"/>
          </p:cNvSpPr>
          <p:nvPr/>
        </p:nvSpPr>
        <p:spPr bwMode="black">
          <a:xfrm>
            <a:off x="9889674" y="2690173"/>
            <a:ext cx="548843" cy="383857"/>
          </a:xfrm>
          <a:custGeom>
            <a:gdLst>
              <a:gd fmla="*/ 7 w 300" name="T0"/>
              <a:gd fmla="*/ 0 h 210" name="T1"/>
              <a:gd fmla="*/ 293 w 300" name="T2"/>
              <a:gd fmla="*/ 0 h 210" name="T3"/>
              <a:gd fmla="*/ 150 w 300" name="T4"/>
              <a:gd fmla="*/ 120 h 210" name="T5"/>
              <a:gd fmla="*/ 7 w 300" name="T6"/>
              <a:gd fmla="*/ 0 h 210" name="T7"/>
              <a:gd fmla="*/ 153 w 300" name="T8"/>
              <a:gd fmla="*/ 130 h 210" name="T9"/>
              <a:gd fmla="*/ 153 w 300" name="T10"/>
              <a:gd fmla="*/ 130 h 210" name="T11"/>
              <a:gd fmla="*/ 153 w 300" name="T12"/>
              <a:gd fmla="*/ 131 h 210" name="T13"/>
              <a:gd fmla="*/ 152 w 300" name="T14"/>
              <a:gd fmla="*/ 131 h 210" name="T15"/>
              <a:gd fmla="*/ 152 w 300" name="T16"/>
              <a:gd fmla="*/ 131 h 210" name="T17"/>
              <a:gd fmla="*/ 151 w 300" name="T18"/>
              <a:gd fmla="*/ 131 h 210" name="T19"/>
              <a:gd fmla="*/ 151 w 300" name="T20"/>
              <a:gd fmla="*/ 131 h 210" name="T21"/>
              <a:gd fmla="*/ 150 w 300" name="T22"/>
              <a:gd fmla="*/ 131 h 210" name="T23"/>
              <a:gd fmla="*/ 150 w 300" name="T24"/>
              <a:gd fmla="*/ 131 h 210" name="T25"/>
              <a:gd fmla="*/ 150 w 300" name="T26"/>
              <a:gd fmla="*/ 131 h 210" name="T27"/>
              <a:gd fmla="*/ 149 w 300" name="T28"/>
              <a:gd fmla="*/ 131 h 210" name="T29"/>
              <a:gd fmla="*/ 149 w 300" name="T30"/>
              <a:gd fmla="*/ 131 h 210" name="T31"/>
              <a:gd fmla="*/ 148 w 300" name="T32"/>
              <a:gd fmla="*/ 131 h 210" name="T33"/>
              <a:gd fmla="*/ 148 w 300" name="T34"/>
              <a:gd fmla="*/ 131 h 210" name="T35"/>
              <a:gd fmla="*/ 147 w 300" name="T36"/>
              <a:gd fmla="*/ 131 h 210" name="T37"/>
              <a:gd fmla="*/ 147 w 300" name="T38"/>
              <a:gd fmla="*/ 130 h 210" name="T39"/>
              <a:gd fmla="*/ 147 w 300" name="T40"/>
              <a:gd fmla="*/ 130 h 210" name="T41"/>
              <a:gd fmla="*/ 125 w 300" name="T42"/>
              <a:gd fmla="*/ 112 h 210" name="T43"/>
              <a:gd fmla="*/ 8 w 300" name="T44"/>
              <a:gd fmla="*/ 210 h 210" name="T45"/>
              <a:gd fmla="*/ 293 w 300" name="T46"/>
              <a:gd fmla="*/ 210 h 210" name="T47"/>
              <a:gd fmla="*/ 175 w 300" name="T48"/>
              <a:gd fmla="*/ 112 h 210" name="T49"/>
              <a:gd fmla="*/ 153 w 300" name="T50"/>
              <a:gd fmla="*/ 130 h 210" name="T51"/>
              <a:gd fmla="*/ 0 w 300" name="T52"/>
              <a:gd fmla="*/ 6 h 210" name="T53"/>
              <a:gd fmla="*/ 0 w 300" name="T54"/>
              <a:gd fmla="*/ 204 h 210" name="T55"/>
              <a:gd fmla="*/ 118 w 300" name="T56"/>
              <a:gd fmla="*/ 106 h 210" name="T57"/>
              <a:gd fmla="*/ 0 w 300" name="T58"/>
              <a:gd fmla="*/ 6 h 210" name="T59"/>
              <a:gd fmla="*/ 182 w 300" name="T60"/>
              <a:gd fmla="*/ 106 h 210" name="T61"/>
              <a:gd fmla="*/ 300 w 300" name="T62"/>
              <a:gd fmla="*/ 204 h 210" name="T63"/>
              <a:gd fmla="*/ 300 w 300" name="T64"/>
              <a:gd fmla="*/ 6 h 210" name="T65"/>
              <a:gd fmla="*/ 182 w 300" name="T66"/>
              <a:gd fmla="*/ 106 h 210"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210" w="30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ln>
            <a:noFill/>
          </a:ln>
          <a:extLst/>
        </p:spPr>
        <p:txBody>
          <a:bodyPr anchor="t" anchorCtr="0" bIns="41153" compatLnSpc="1" lIns="82305" numCol="1" rIns="82305" tIns="41153" vert="horz" wrap="square">
            <a:prstTxWarp prst="textNoShape">
              <a:avLst/>
            </a:prstTxWarp>
          </a:bodyPr>
          <a:lstStyle/>
          <a:p>
            <a:pPr defTabSz="914400" eaLnBrk="1" fontAlgn="auto" hangingPunct="1" indent="0" latinLnBrk="0" lvl="0" marL="0" marR="0">
              <a:lnSpc>
                <a:spcPct val="100000"/>
              </a:lnSpc>
              <a:spcBef>
                <a:spcPct val="0"/>
              </a:spcBef>
              <a:spcAft>
                <a:spcPct val="0"/>
              </a:spcAft>
              <a:buClrTx/>
              <a:buSzTx/>
              <a:buFontTx/>
              <a:buNone/>
              <a:defRPr/>
            </a:pPr>
            <a:endParaRPr baseline="0" cap="none" i="0" kern="0" kumimoji="0" lang="en-US" noProof="0" normalizeH="0" smtClean="0" spc="0" strike="noStrike" sz="1600" u="none">
              <a:ln>
                <a:noFill/>
              </a:ln>
              <a:solidFill>
                <a:schemeClr val="tx1">
                  <a:lumMod val="75000"/>
                  <a:lumOff val="25000"/>
                </a:schemeClr>
              </a:solidFill>
              <a:effectLst/>
              <a:uLnTx/>
              <a:uFillTx/>
              <a:latin charset="-122" panose="03000509000000000000" pitchFamily="65" typeface="方正中等线简体"/>
              <a:ea charset="-122" panose="03000509000000000000" pitchFamily="65" typeface="方正中等线简体"/>
            </a:endParaRPr>
          </a:p>
        </p:txBody>
      </p:sp>
      <p:sp>
        <p:nvSpPr>
          <p:cNvPr id="25" name="Freeform 114"/>
          <p:cNvSpPr>
            <a:spLocks noEditPoints="1"/>
          </p:cNvSpPr>
          <p:nvPr/>
        </p:nvSpPr>
        <p:spPr bwMode="auto">
          <a:xfrm>
            <a:off x="1799913" y="2587048"/>
            <a:ext cx="443589" cy="590107"/>
          </a:xfrm>
          <a:custGeom>
            <a:gdLst>
              <a:gd fmla="*/ 680 w 680" name="T0"/>
              <a:gd fmla="*/ 527 h 904" name="T1"/>
              <a:gd fmla="*/ 680 w 680" name="T2"/>
              <a:gd fmla="*/ 803 h 904" name="T3"/>
              <a:gd fmla="*/ 340 w 680" name="T4"/>
              <a:gd fmla="*/ 904 h 904" name="T5"/>
              <a:gd fmla="*/ 0 w 680" name="T6"/>
              <a:gd fmla="*/ 803 h 904" name="T7"/>
              <a:gd fmla="*/ 0 w 680" name="T8"/>
              <a:gd fmla="*/ 527 h 904" name="T9"/>
              <a:gd fmla="*/ 340 w 680" name="T10"/>
              <a:gd fmla="*/ 591 h 904" name="T11"/>
              <a:gd fmla="*/ 680 w 680" name="T12"/>
              <a:gd fmla="*/ 527 h 904" name="T13"/>
              <a:gd fmla="*/ 299 w 680" name="T14"/>
              <a:gd fmla="*/ 398 h 904" name="T15"/>
              <a:gd fmla="*/ 381 w 680" name="T16"/>
              <a:gd fmla="*/ 398 h 904" name="T17"/>
              <a:gd fmla="*/ 550 w 680" name="T18"/>
              <a:gd fmla="*/ 217 h 904" name="T19"/>
              <a:gd fmla="*/ 531 w 680" name="T20"/>
              <a:gd fmla="*/ 174 h 904" name="T21"/>
              <a:gd fmla="*/ 444 w 680" name="T22"/>
              <a:gd fmla="*/ 174 h 904" name="T23"/>
              <a:gd fmla="*/ 444 w 680" name="T24"/>
              <a:gd fmla="*/ 59 h 904" name="T25"/>
              <a:gd fmla="*/ 385 w 680" name="T26"/>
              <a:gd fmla="*/ 0 h 904" name="T27"/>
              <a:gd fmla="*/ 295 w 680" name="T28"/>
              <a:gd fmla="*/ 0 h 904" name="T29"/>
              <a:gd fmla="*/ 236 w 680" name="T30"/>
              <a:gd fmla="*/ 59 h 904" name="T31"/>
              <a:gd fmla="*/ 236 w 680" name="T32"/>
              <a:gd fmla="*/ 174 h 904" name="T33"/>
              <a:gd fmla="*/ 149 w 680" name="T34"/>
              <a:gd fmla="*/ 174 h 904" name="T35"/>
              <a:gd fmla="*/ 130 w 680" name="T36"/>
              <a:gd fmla="*/ 217 h 904" name="T37"/>
              <a:gd fmla="*/ 299 w 680" name="T38"/>
              <a:gd fmla="*/ 398 h 904" name="T39"/>
              <a:gd fmla="*/ 477 w 680" name="T40"/>
              <a:gd fmla="*/ 356 h 904" name="T41"/>
              <a:gd fmla="*/ 411 w 680" name="T42"/>
              <a:gd fmla="*/ 426 h 904" name="T43"/>
              <a:gd fmla="*/ 340 w 680" name="T44"/>
              <a:gd fmla="*/ 457 h 904" name="T45"/>
              <a:gd fmla="*/ 269 w 680" name="T46"/>
              <a:gd fmla="*/ 426 h 904" name="T47"/>
              <a:gd fmla="*/ 203 w 680" name="T48"/>
              <a:gd fmla="*/ 356 h 904" name="T49"/>
              <a:gd fmla="*/ 0 w 680" name="T50"/>
              <a:gd fmla="*/ 448 h 904" name="T51"/>
              <a:gd fmla="*/ 340 w 680" name="T52"/>
              <a:gd fmla="*/ 550 h 904" name="T53"/>
              <a:gd fmla="*/ 680 w 680" name="T54"/>
              <a:gd fmla="*/ 448 h 904" name="T55"/>
              <a:gd fmla="*/ 477 w 680" name="T56"/>
              <a:gd fmla="*/ 356 h 904" name="T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b="b" l="0" r="r" t="0"/>
            <a:pathLst>
              <a:path h="904" w="680">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ln>
            <a:noFill/>
          </a:ln>
        </p:spPr>
        <p:txBody>
          <a:bodyPr anchor="t" anchorCtr="0" bIns="45716" compatLnSpc="1" lIns="91431" numCol="1" rIns="91431" tIns="45716" vert="horz" wrap="square">
            <a:prstTxWarp prst="textNoShape">
              <a:avLst/>
            </a:prstTxWarp>
          </a:bodyPr>
          <a:lstStyle/>
          <a:p>
            <a:pPr defTabSz="914400" eaLnBrk="1" fontAlgn="auto" hangingPunct="1" indent="0" latinLnBrk="0" lvl="0" marL="0" marR="0">
              <a:lnSpc>
                <a:spcPct val="100000"/>
              </a:lnSpc>
              <a:spcBef>
                <a:spcPct val="0"/>
              </a:spcBef>
              <a:spcAft>
                <a:spcPct val="0"/>
              </a:spcAft>
              <a:buClrTx/>
              <a:buSzTx/>
              <a:buFontTx/>
              <a:buNone/>
              <a:defRPr/>
            </a:pPr>
            <a:endParaRPr baseline="0" cap="none" i="0" kern="0" kumimoji="0" lang="en-US" noProof="0" normalizeH="0" smtClean="0" spc="0" strike="noStrike" sz="1800" u="none">
              <a:ln>
                <a:noFill/>
              </a:ln>
              <a:solidFill>
                <a:schemeClr val="tx1">
                  <a:lumMod val="75000"/>
                  <a:lumOff val="25000"/>
                </a:schemeClr>
              </a:solidFill>
              <a:effectLst/>
              <a:uLnTx/>
              <a:uFillTx/>
              <a:latin charset="-122" panose="03000509000000000000" pitchFamily="65" typeface="方正中等线简体"/>
              <a:ea charset="-122" panose="03000509000000000000" pitchFamily="65" typeface="方正中等线简体"/>
            </a:endParaRPr>
          </a:p>
        </p:txBody>
      </p:sp>
      <p:sp>
        <p:nvSpPr>
          <p:cNvPr id="26" name="文本框 25"/>
          <p:cNvSpPr txBox="1"/>
          <p:nvPr/>
        </p:nvSpPr>
        <p:spPr>
          <a:xfrm>
            <a:off x="997012" y="4533324"/>
            <a:ext cx="10227841" cy="1463040"/>
          </a:xfrm>
          <a:prstGeom prst="rect">
            <a:avLst/>
          </a:prstGeom>
          <a:noFill/>
        </p:spPr>
        <p:txBody>
          <a:bodyPr rtlCol="0" wrap="square">
            <a:spAutoFit/>
          </a:bodyPr>
          <a:lstStyle/>
          <a:p>
            <a:pPr>
              <a:lnSpc>
                <a:spcPct val="150000"/>
              </a:lnSpc>
            </a:pPr>
            <a:r>
              <a:rPr altLang="en-US" lang="zh-CN" sz="2000">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此处输入文本此处输入文本此处输入文本此处输入文本此处输入文本此处输入文本此处输入文本此处输入文本此处输入文本此处输入文本此处输入文本此处输入文本此处输入文本</a:t>
            </a:r>
          </a:p>
        </p:txBody>
      </p:sp>
      <p:sp>
        <p:nvSpPr>
          <p:cNvPr id="27" name="文本框 26"/>
          <p:cNvSpPr txBox="1"/>
          <p:nvPr/>
        </p:nvSpPr>
        <p:spPr>
          <a:xfrm>
            <a:off x="933387" y="3432501"/>
            <a:ext cx="2130335" cy="304800"/>
          </a:xfrm>
          <a:prstGeom prst="rect">
            <a:avLst/>
          </a:prstGeom>
          <a:noFill/>
        </p:spPr>
        <p:txBody>
          <a:bodyPr rtlCol="0" wrap="square">
            <a:spAutoFit/>
          </a:bodyPr>
          <a:lstStyle/>
          <a:p>
            <a:pPr algn="ctr"/>
            <a:r>
              <a:rPr altLang="en-US" lang="zh-CN" smtClean="0" sz="1400">
                <a:solidFill>
                  <a:schemeClr val="bg1"/>
                </a:solidFill>
                <a:latin charset="-122" panose="020b0503020204020204" pitchFamily="34" typeface="微软雅黑"/>
                <a:ea charset="-122" panose="020b0503020204020204" pitchFamily="34" typeface="微软雅黑"/>
              </a:rPr>
              <a:t>此处输入文本</a:t>
            </a:r>
          </a:p>
        </p:txBody>
      </p:sp>
      <p:sp>
        <p:nvSpPr>
          <p:cNvPr id="28" name="文本框 27"/>
          <p:cNvSpPr txBox="1"/>
          <p:nvPr/>
        </p:nvSpPr>
        <p:spPr>
          <a:xfrm>
            <a:off x="2987727" y="3432501"/>
            <a:ext cx="2130335" cy="304800"/>
          </a:xfrm>
          <a:prstGeom prst="rect">
            <a:avLst/>
          </a:prstGeom>
          <a:noFill/>
        </p:spPr>
        <p:txBody>
          <a:bodyPr rtlCol="0" wrap="square">
            <a:spAutoFit/>
          </a:bodyPr>
          <a:lstStyle/>
          <a:p>
            <a:pPr algn="ctr"/>
            <a:r>
              <a:rPr altLang="en-US" lang="zh-CN" smtClean="0" sz="1400">
                <a:solidFill>
                  <a:schemeClr val="bg1"/>
                </a:solidFill>
                <a:latin charset="-122" panose="020b0503020204020204" pitchFamily="34" typeface="微软雅黑"/>
                <a:ea charset="-122" panose="020b0503020204020204" pitchFamily="34" typeface="微软雅黑"/>
              </a:rPr>
              <a:t>此处输入文本</a:t>
            </a:r>
          </a:p>
        </p:txBody>
      </p:sp>
      <p:sp>
        <p:nvSpPr>
          <p:cNvPr id="29" name="文本框 28"/>
          <p:cNvSpPr txBox="1"/>
          <p:nvPr/>
        </p:nvSpPr>
        <p:spPr>
          <a:xfrm>
            <a:off x="5038008" y="3432501"/>
            <a:ext cx="2130335" cy="304800"/>
          </a:xfrm>
          <a:prstGeom prst="rect">
            <a:avLst/>
          </a:prstGeom>
          <a:noFill/>
        </p:spPr>
        <p:txBody>
          <a:bodyPr rtlCol="0" wrap="square">
            <a:spAutoFit/>
          </a:bodyPr>
          <a:lstStyle/>
          <a:p>
            <a:pPr algn="ctr"/>
            <a:r>
              <a:rPr altLang="en-US" lang="zh-CN" smtClean="0" sz="1400">
                <a:solidFill>
                  <a:schemeClr val="bg1"/>
                </a:solidFill>
                <a:latin charset="-122" panose="020b0503020204020204" pitchFamily="34" typeface="微软雅黑"/>
                <a:ea charset="-122" panose="020b0503020204020204" pitchFamily="34" typeface="微软雅黑"/>
              </a:rPr>
              <a:t>此处输入文本</a:t>
            </a:r>
          </a:p>
        </p:txBody>
      </p:sp>
      <p:sp>
        <p:nvSpPr>
          <p:cNvPr id="30" name="文本框 29"/>
          <p:cNvSpPr txBox="1"/>
          <p:nvPr/>
        </p:nvSpPr>
        <p:spPr>
          <a:xfrm>
            <a:off x="7063331" y="3432501"/>
            <a:ext cx="2130335" cy="304800"/>
          </a:xfrm>
          <a:prstGeom prst="rect">
            <a:avLst/>
          </a:prstGeom>
          <a:noFill/>
        </p:spPr>
        <p:txBody>
          <a:bodyPr rtlCol="0" wrap="square">
            <a:spAutoFit/>
          </a:bodyPr>
          <a:lstStyle/>
          <a:p>
            <a:pPr algn="ctr"/>
            <a:r>
              <a:rPr altLang="en-US" lang="zh-CN" smtClean="0" sz="1400">
                <a:solidFill>
                  <a:schemeClr val="bg1"/>
                </a:solidFill>
                <a:latin charset="-122" panose="020b0503020204020204" pitchFamily="34" typeface="微软雅黑"/>
                <a:ea charset="-122" panose="020b0503020204020204" pitchFamily="34" typeface="微软雅黑"/>
              </a:rPr>
              <a:t>此处输入文本</a:t>
            </a:r>
          </a:p>
        </p:txBody>
      </p:sp>
      <p:sp>
        <p:nvSpPr>
          <p:cNvPr id="31" name="文本框 30"/>
          <p:cNvSpPr txBox="1"/>
          <p:nvPr/>
        </p:nvSpPr>
        <p:spPr>
          <a:xfrm>
            <a:off x="9094519" y="3432501"/>
            <a:ext cx="2130335" cy="304800"/>
          </a:xfrm>
          <a:prstGeom prst="rect">
            <a:avLst/>
          </a:prstGeom>
          <a:noFill/>
        </p:spPr>
        <p:txBody>
          <a:bodyPr rtlCol="0" wrap="square">
            <a:spAutoFit/>
          </a:bodyPr>
          <a:lstStyle/>
          <a:p>
            <a:pPr algn="ctr"/>
            <a:r>
              <a:rPr altLang="en-US" lang="zh-CN" smtClean="0" sz="1400">
                <a:solidFill>
                  <a:schemeClr val="bg1"/>
                </a:solidFill>
                <a:latin charset="-122" panose="020b0503020204020204" pitchFamily="34" typeface="微软雅黑"/>
                <a:ea charset="-122" panose="020b0503020204020204" pitchFamily="34" typeface="微软雅黑"/>
              </a:rPr>
              <a:t>此处输入文本</a:t>
            </a:r>
          </a:p>
        </p:txBody>
      </p:sp>
      <p:sp useBgFill="1">
        <p:nvSpPr>
          <p:cNvPr id="32" name="Freeform 114"/>
          <p:cNvSpPr>
            <a:spLocks noEditPoints="1"/>
          </p:cNvSpPr>
          <p:nvPr/>
        </p:nvSpPr>
        <p:spPr bwMode="auto">
          <a:xfrm>
            <a:off x="1865225" y="2608816"/>
            <a:ext cx="443589" cy="590107"/>
          </a:xfrm>
          <a:custGeom>
            <a:gdLst>
              <a:gd fmla="*/ 680 w 680" name="T0"/>
              <a:gd fmla="*/ 527 h 904" name="T1"/>
              <a:gd fmla="*/ 680 w 680" name="T2"/>
              <a:gd fmla="*/ 803 h 904" name="T3"/>
              <a:gd fmla="*/ 340 w 680" name="T4"/>
              <a:gd fmla="*/ 904 h 904" name="T5"/>
              <a:gd fmla="*/ 0 w 680" name="T6"/>
              <a:gd fmla="*/ 803 h 904" name="T7"/>
              <a:gd fmla="*/ 0 w 680" name="T8"/>
              <a:gd fmla="*/ 527 h 904" name="T9"/>
              <a:gd fmla="*/ 340 w 680" name="T10"/>
              <a:gd fmla="*/ 591 h 904" name="T11"/>
              <a:gd fmla="*/ 680 w 680" name="T12"/>
              <a:gd fmla="*/ 527 h 904" name="T13"/>
              <a:gd fmla="*/ 299 w 680" name="T14"/>
              <a:gd fmla="*/ 398 h 904" name="T15"/>
              <a:gd fmla="*/ 381 w 680" name="T16"/>
              <a:gd fmla="*/ 398 h 904" name="T17"/>
              <a:gd fmla="*/ 550 w 680" name="T18"/>
              <a:gd fmla="*/ 217 h 904" name="T19"/>
              <a:gd fmla="*/ 531 w 680" name="T20"/>
              <a:gd fmla="*/ 174 h 904" name="T21"/>
              <a:gd fmla="*/ 444 w 680" name="T22"/>
              <a:gd fmla="*/ 174 h 904" name="T23"/>
              <a:gd fmla="*/ 444 w 680" name="T24"/>
              <a:gd fmla="*/ 59 h 904" name="T25"/>
              <a:gd fmla="*/ 385 w 680" name="T26"/>
              <a:gd fmla="*/ 0 h 904" name="T27"/>
              <a:gd fmla="*/ 295 w 680" name="T28"/>
              <a:gd fmla="*/ 0 h 904" name="T29"/>
              <a:gd fmla="*/ 236 w 680" name="T30"/>
              <a:gd fmla="*/ 59 h 904" name="T31"/>
              <a:gd fmla="*/ 236 w 680" name="T32"/>
              <a:gd fmla="*/ 174 h 904" name="T33"/>
              <a:gd fmla="*/ 149 w 680" name="T34"/>
              <a:gd fmla="*/ 174 h 904" name="T35"/>
              <a:gd fmla="*/ 130 w 680" name="T36"/>
              <a:gd fmla="*/ 217 h 904" name="T37"/>
              <a:gd fmla="*/ 299 w 680" name="T38"/>
              <a:gd fmla="*/ 398 h 904" name="T39"/>
              <a:gd fmla="*/ 477 w 680" name="T40"/>
              <a:gd fmla="*/ 356 h 904" name="T41"/>
              <a:gd fmla="*/ 411 w 680" name="T42"/>
              <a:gd fmla="*/ 426 h 904" name="T43"/>
              <a:gd fmla="*/ 340 w 680" name="T44"/>
              <a:gd fmla="*/ 457 h 904" name="T45"/>
              <a:gd fmla="*/ 269 w 680" name="T46"/>
              <a:gd fmla="*/ 426 h 904" name="T47"/>
              <a:gd fmla="*/ 203 w 680" name="T48"/>
              <a:gd fmla="*/ 356 h 904" name="T49"/>
              <a:gd fmla="*/ 0 w 680" name="T50"/>
              <a:gd fmla="*/ 448 h 904" name="T51"/>
              <a:gd fmla="*/ 340 w 680" name="T52"/>
              <a:gd fmla="*/ 550 h 904" name="T53"/>
              <a:gd fmla="*/ 680 w 680" name="T54"/>
              <a:gd fmla="*/ 448 h 904" name="T55"/>
              <a:gd fmla="*/ 477 w 680" name="T56"/>
              <a:gd fmla="*/ 356 h 904" name="T5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b="b" l="0" r="r" t="0"/>
            <a:pathLst>
              <a:path h="904" w="680">
                <a:moveTo>
                  <a:pt x="680" y="527"/>
                </a:moveTo>
                <a:cubicBezTo>
                  <a:pt x="680" y="803"/>
                  <a:pt x="680" y="803"/>
                  <a:pt x="680" y="803"/>
                </a:cubicBezTo>
                <a:cubicBezTo>
                  <a:pt x="680" y="859"/>
                  <a:pt x="528" y="904"/>
                  <a:pt x="340" y="904"/>
                </a:cubicBezTo>
                <a:cubicBezTo>
                  <a:pt x="152" y="904"/>
                  <a:pt x="0" y="859"/>
                  <a:pt x="0" y="803"/>
                </a:cubicBezTo>
                <a:cubicBezTo>
                  <a:pt x="0" y="527"/>
                  <a:pt x="0" y="527"/>
                  <a:pt x="0" y="527"/>
                </a:cubicBezTo>
                <a:cubicBezTo>
                  <a:pt x="109" y="587"/>
                  <a:pt x="291" y="591"/>
                  <a:pt x="340" y="591"/>
                </a:cubicBezTo>
                <a:cubicBezTo>
                  <a:pt x="389" y="591"/>
                  <a:pt x="571" y="587"/>
                  <a:pt x="680" y="527"/>
                </a:cubicBezTo>
                <a:close/>
                <a:moveTo>
                  <a:pt x="299" y="398"/>
                </a:moveTo>
                <a:cubicBezTo>
                  <a:pt x="322" y="422"/>
                  <a:pt x="358" y="422"/>
                  <a:pt x="381" y="398"/>
                </a:cubicBezTo>
                <a:cubicBezTo>
                  <a:pt x="550" y="217"/>
                  <a:pt x="550" y="217"/>
                  <a:pt x="550" y="217"/>
                </a:cubicBezTo>
                <a:cubicBezTo>
                  <a:pt x="572" y="194"/>
                  <a:pt x="564" y="174"/>
                  <a:pt x="531" y="174"/>
                </a:cubicBezTo>
                <a:cubicBezTo>
                  <a:pt x="444" y="174"/>
                  <a:pt x="444" y="174"/>
                  <a:pt x="444" y="174"/>
                </a:cubicBezTo>
                <a:cubicBezTo>
                  <a:pt x="444" y="59"/>
                  <a:pt x="444" y="59"/>
                  <a:pt x="444" y="59"/>
                </a:cubicBezTo>
                <a:cubicBezTo>
                  <a:pt x="444" y="27"/>
                  <a:pt x="417" y="0"/>
                  <a:pt x="385" y="0"/>
                </a:cubicBezTo>
                <a:cubicBezTo>
                  <a:pt x="295" y="0"/>
                  <a:pt x="295" y="0"/>
                  <a:pt x="295" y="0"/>
                </a:cubicBezTo>
                <a:cubicBezTo>
                  <a:pt x="263" y="0"/>
                  <a:pt x="236" y="27"/>
                  <a:pt x="236" y="59"/>
                </a:cubicBezTo>
                <a:cubicBezTo>
                  <a:pt x="236" y="174"/>
                  <a:pt x="236" y="174"/>
                  <a:pt x="236" y="174"/>
                </a:cubicBezTo>
                <a:cubicBezTo>
                  <a:pt x="149" y="174"/>
                  <a:pt x="149" y="174"/>
                  <a:pt x="149" y="174"/>
                </a:cubicBezTo>
                <a:cubicBezTo>
                  <a:pt x="116" y="174"/>
                  <a:pt x="108" y="194"/>
                  <a:pt x="130" y="217"/>
                </a:cubicBezTo>
                <a:lnTo>
                  <a:pt x="299" y="398"/>
                </a:lnTo>
                <a:close/>
                <a:moveTo>
                  <a:pt x="477" y="356"/>
                </a:moveTo>
                <a:cubicBezTo>
                  <a:pt x="411" y="426"/>
                  <a:pt x="411" y="426"/>
                  <a:pt x="411" y="426"/>
                </a:cubicBezTo>
                <a:cubicBezTo>
                  <a:pt x="392" y="446"/>
                  <a:pt x="367" y="457"/>
                  <a:pt x="340" y="457"/>
                </a:cubicBezTo>
                <a:cubicBezTo>
                  <a:pt x="313" y="457"/>
                  <a:pt x="288" y="446"/>
                  <a:pt x="269" y="426"/>
                </a:cubicBezTo>
                <a:cubicBezTo>
                  <a:pt x="203" y="356"/>
                  <a:pt x="203" y="356"/>
                  <a:pt x="203" y="356"/>
                </a:cubicBezTo>
                <a:cubicBezTo>
                  <a:pt x="83" y="371"/>
                  <a:pt x="0" y="407"/>
                  <a:pt x="0" y="448"/>
                </a:cubicBezTo>
                <a:cubicBezTo>
                  <a:pt x="0" y="504"/>
                  <a:pt x="152" y="550"/>
                  <a:pt x="340" y="550"/>
                </a:cubicBezTo>
                <a:cubicBezTo>
                  <a:pt x="528" y="550"/>
                  <a:pt x="680" y="504"/>
                  <a:pt x="680" y="448"/>
                </a:cubicBezTo>
                <a:cubicBezTo>
                  <a:pt x="680" y="407"/>
                  <a:pt x="597" y="371"/>
                  <a:pt x="477" y="356"/>
                </a:cubicBezTo>
                <a:close/>
              </a:path>
            </a:pathLst>
          </a:custGeom>
          <a:ln>
            <a:noFill/>
          </a:ln>
        </p:spPr>
        <p:txBody>
          <a:bodyPr anchor="t" anchorCtr="0" bIns="45716" compatLnSpc="1" lIns="91431" numCol="1" rIns="91431" tIns="45716" vert="horz" wrap="square">
            <a:prstTxWarp prst="textNoShape">
              <a:avLst/>
            </a:prstTxWarp>
          </a:bodyPr>
          <a:lstStyle/>
          <a:p>
            <a:pPr defTabSz="914400" eaLnBrk="1" fontAlgn="auto" hangingPunct="1" indent="0" latinLnBrk="0" lvl="0" marL="0" marR="0">
              <a:lnSpc>
                <a:spcPct val="100000"/>
              </a:lnSpc>
              <a:spcBef>
                <a:spcPct val="0"/>
              </a:spcBef>
              <a:spcAft>
                <a:spcPct val="0"/>
              </a:spcAft>
              <a:buClrTx/>
              <a:buSzTx/>
              <a:buFontTx/>
              <a:buNone/>
              <a:defRPr/>
            </a:pPr>
            <a:endParaRPr baseline="0" cap="none" i="0" kern="0" kumimoji="0" lang="en-US" noProof="0" normalizeH="0" smtClean="0" spc="0" strike="noStrike" sz="1800" u="none">
              <a:ln>
                <a:noFill/>
              </a:ln>
              <a:solidFill>
                <a:schemeClr val="bg1"/>
              </a:solidFill>
              <a:effectLst/>
              <a:uLnTx/>
              <a:uFillTx/>
              <a:latin charset="-122" panose="03000509000000000000" pitchFamily="65" typeface="方正中等线简体"/>
              <a:ea charset="-122" panose="03000509000000000000" pitchFamily="65" typeface="方正中等线简体"/>
            </a:endParaRPr>
          </a:p>
        </p:txBody>
      </p:sp>
      <p:sp useBgFill="1">
        <p:nvSpPr>
          <p:cNvPr id="33" name="Freeform 128"/>
          <p:cNvSpPr>
            <a:spLocks noEditPoints="1"/>
          </p:cNvSpPr>
          <p:nvPr/>
        </p:nvSpPr>
        <p:spPr bwMode="black">
          <a:xfrm>
            <a:off x="9900556" y="2701055"/>
            <a:ext cx="548843" cy="383857"/>
          </a:xfrm>
          <a:custGeom>
            <a:gdLst>
              <a:gd fmla="*/ 7 w 300" name="T0"/>
              <a:gd fmla="*/ 0 h 210" name="T1"/>
              <a:gd fmla="*/ 293 w 300" name="T2"/>
              <a:gd fmla="*/ 0 h 210" name="T3"/>
              <a:gd fmla="*/ 150 w 300" name="T4"/>
              <a:gd fmla="*/ 120 h 210" name="T5"/>
              <a:gd fmla="*/ 7 w 300" name="T6"/>
              <a:gd fmla="*/ 0 h 210" name="T7"/>
              <a:gd fmla="*/ 153 w 300" name="T8"/>
              <a:gd fmla="*/ 130 h 210" name="T9"/>
              <a:gd fmla="*/ 153 w 300" name="T10"/>
              <a:gd fmla="*/ 130 h 210" name="T11"/>
              <a:gd fmla="*/ 153 w 300" name="T12"/>
              <a:gd fmla="*/ 131 h 210" name="T13"/>
              <a:gd fmla="*/ 152 w 300" name="T14"/>
              <a:gd fmla="*/ 131 h 210" name="T15"/>
              <a:gd fmla="*/ 152 w 300" name="T16"/>
              <a:gd fmla="*/ 131 h 210" name="T17"/>
              <a:gd fmla="*/ 151 w 300" name="T18"/>
              <a:gd fmla="*/ 131 h 210" name="T19"/>
              <a:gd fmla="*/ 151 w 300" name="T20"/>
              <a:gd fmla="*/ 131 h 210" name="T21"/>
              <a:gd fmla="*/ 150 w 300" name="T22"/>
              <a:gd fmla="*/ 131 h 210" name="T23"/>
              <a:gd fmla="*/ 150 w 300" name="T24"/>
              <a:gd fmla="*/ 131 h 210" name="T25"/>
              <a:gd fmla="*/ 150 w 300" name="T26"/>
              <a:gd fmla="*/ 131 h 210" name="T27"/>
              <a:gd fmla="*/ 149 w 300" name="T28"/>
              <a:gd fmla="*/ 131 h 210" name="T29"/>
              <a:gd fmla="*/ 149 w 300" name="T30"/>
              <a:gd fmla="*/ 131 h 210" name="T31"/>
              <a:gd fmla="*/ 148 w 300" name="T32"/>
              <a:gd fmla="*/ 131 h 210" name="T33"/>
              <a:gd fmla="*/ 148 w 300" name="T34"/>
              <a:gd fmla="*/ 131 h 210" name="T35"/>
              <a:gd fmla="*/ 147 w 300" name="T36"/>
              <a:gd fmla="*/ 131 h 210" name="T37"/>
              <a:gd fmla="*/ 147 w 300" name="T38"/>
              <a:gd fmla="*/ 130 h 210" name="T39"/>
              <a:gd fmla="*/ 147 w 300" name="T40"/>
              <a:gd fmla="*/ 130 h 210" name="T41"/>
              <a:gd fmla="*/ 125 w 300" name="T42"/>
              <a:gd fmla="*/ 112 h 210" name="T43"/>
              <a:gd fmla="*/ 8 w 300" name="T44"/>
              <a:gd fmla="*/ 210 h 210" name="T45"/>
              <a:gd fmla="*/ 293 w 300" name="T46"/>
              <a:gd fmla="*/ 210 h 210" name="T47"/>
              <a:gd fmla="*/ 175 w 300" name="T48"/>
              <a:gd fmla="*/ 112 h 210" name="T49"/>
              <a:gd fmla="*/ 153 w 300" name="T50"/>
              <a:gd fmla="*/ 130 h 210" name="T51"/>
              <a:gd fmla="*/ 0 w 300" name="T52"/>
              <a:gd fmla="*/ 6 h 210" name="T53"/>
              <a:gd fmla="*/ 0 w 300" name="T54"/>
              <a:gd fmla="*/ 204 h 210" name="T55"/>
              <a:gd fmla="*/ 118 w 300" name="T56"/>
              <a:gd fmla="*/ 106 h 210" name="T57"/>
              <a:gd fmla="*/ 0 w 300" name="T58"/>
              <a:gd fmla="*/ 6 h 210" name="T59"/>
              <a:gd fmla="*/ 182 w 300" name="T60"/>
              <a:gd fmla="*/ 106 h 210" name="T61"/>
              <a:gd fmla="*/ 300 w 300" name="T62"/>
              <a:gd fmla="*/ 204 h 210" name="T63"/>
              <a:gd fmla="*/ 300 w 300" name="T64"/>
              <a:gd fmla="*/ 6 h 210" name="T65"/>
              <a:gd fmla="*/ 182 w 300" name="T66"/>
              <a:gd fmla="*/ 106 h 210"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210" w="30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ln>
            <a:noFill/>
          </a:ln>
          <a:extLst/>
        </p:spPr>
        <p:txBody>
          <a:bodyPr anchor="t" anchorCtr="0" bIns="41153" compatLnSpc="1" lIns="82305" numCol="1" rIns="82305" tIns="41153" vert="horz" wrap="square">
            <a:prstTxWarp prst="textNoShape">
              <a:avLst/>
            </a:prstTxWarp>
          </a:bodyPr>
          <a:lstStyle/>
          <a:p>
            <a:pPr defTabSz="914400" eaLnBrk="1" fontAlgn="auto" hangingPunct="1" indent="0" latinLnBrk="0" lvl="0" marL="0" marR="0">
              <a:lnSpc>
                <a:spcPct val="100000"/>
              </a:lnSpc>
              <a:spcBef>
                <a:spcPct val="0"/>
              </a:spcBef>
              <a:spcAft>
                <a:spcPct val="0"/>
              </a:spcAft>
              <a:buClrTx/>
              <a:buSzTx/>
              <a:buFontTx/>
              <a:buNone/>
              <a:defRPr/>
            </a:pPr>
            <a:endParaRPr baseline="0" cap="none" i="0" kern="0" kumimoji="0" lang="en-US" noProof="0" normalizeH="0" smtClean="0" spc="0" strike="noStrike" sz="1600" u="none">
              <a:ln>
                <a:noFill/>
              </a:ln>
              <a:solidFill>
                <a:schemeClr val="bg1"/>
              </a:solidFill>
              <a:effectLst/>
              <a:uLnTx/>
              <a:uFillTx/>
              <a:latin charset="-122" panose="03000509000000000000" pitchFamily="65" typeface="方正中等线简体"/>
              <a:ea charset="-122" panose="03000509000000000000" pitchFamily="65" typeface="方正中等线简体"/>
            </a:endParaRPr>
          </a:p>
        </p:txBody>
      </p:sp>
      <p:sp>
        <p:nvSpPr>
          <p:cNvPr id="34" name="文本框 33"/>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Tree>
    <p:extLst>
      <p:ext uri="{BB962C8B-B14F-4D97-AF65-F5344CB8AC3E}">
        <p14:creationId val="2356518910"/>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18E3FBA5-55C2-4391-B7EE-C8E7145883FC}" type="slidenum">
              <a:rPr altLang="en-US" lang="zh-CN" smtClean="0"/>
              <a:t>6</a:t>
            </a:fld>
          </a:p>
        </p:txBody>
      </p:sp>
      <p:sp>
        <p:nvSpPr>
          <p:cNvPr id="5" name="文本框 4"/>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7" name="Freeform 4"/>
          <p:cNvSpPr/>
          <p:nvPr/>
        </p:nvSpPr>
        <p:spPr bwMode="auto">
          <a:xfrm>
            <a:off x="6214089" y="4953252"/>
            <a:ext cx="322645" cy="326000"/>
          </a:xfrm>
          <a:custGeom>
            <a:cxnLst>
              <a:cxn ang="0">
                <a:pos x="53" y="137"/>
              </a:cxn>
              <a:cxn ang="0">
                <a:pos x="60" y="133"/>
              </a:cxn>
              <a:cxn ang="0">
                <a:pos x="66" y="141"/>
              </a:cxn>
              <a:cxn ang="0">
                <a:pos x="80" y="141"/>
              </a:cxn>
              <a:cxn ang="0">
                <a:pos x="87" y="134"/>
              </a:cxn>
              <a:cxn ang="0">
                <a:pos x="87" y="59"/>
              </a:cxn>
              <a:cxn ang="0">
                <a:pos x="99" y="55"/>
              </a:cxn>
              <a:cxn ang="0">
                <a:pos x="99" y="16"/>
              </a:cxn>
              <a:cxn ang="0">
                <a:pos x="109" y="15"/>
              </a:cxn>
              <a:cxn ang="0">
                <a:pos x="122" y="11"/>
              </a:cxn>
              <a:cxn ang="0">
                <a:pos x="128" y="16"/>
              </a:cxn>
              <a:cxn ang="0">
                <a:pos x="136" y="11"/>
              </a:cxn>
              <a:cxn ang="0">
                <a:pos x="144" y="9"/>
              </a:cxn>
              <a:cxn ang="0">
                <a:pos x="143" y="6"/>
              </a:cxn>
              <a:cxn ang="0">
                <a:pos x="119" y="8"/>
              </a:cxn>
              <a:cxn ang="0">
                <a:pos x="102" y="9"/>
              </a:cxn>
              <a:cxn ang="0">
                <a:pos x="77" y="9"/>
              </a:cxn>
              <a:cxn ang="0">
                <a:pos x="73" y="5"/>
              </a:cxn>
              <a:cxn ang="0">
                <a:pos x="34" y="5"/>
              </a:cxn>
              <a:cxn ang="0">
                <a:pos x="24" y="3"/>
              </a:cxn>
              <a:cxn ang="0">
                <a:pos x="13" y="2"/>
              </a:cxn>
              <a:cxn ang="0">
                <a:pos x="8" y="0"/>
              </a:cxn>
              <a:cxn ang="0">
                <a:pos x="4" y="3"/>
              </a:cxn>
              <a:cxn ang="0">
                <a:pos x="1" y="3"/>
              </a:cxn>
              <a:cxn ang="0">
                <a:pos x="7" y="18"/>
              </a:cxn>
              <a:cxn ang="0">
                <a:pos x="18" y="41"/>
              </a:cxn>
              <a:cxn ang="0">
                <a:pos x="29" y="65"/>
              </a:cxn>
              <a:cxn ang="0">
                <a:pos x="30" y="84"/>
              </a:cxn>
              <a:cxn ang="0">
                <a:pos x="34" y="101"/>
              </a:cxn>
              <a:cxn ang="0">
                <a:pos x="42" y="129"/>
              </a:cxn>
              <a:cxn ang="0">
                <a:pos x="49" y="138"/>
              </a:cxn>
              <a:cxn ang="0">
                <a:pos x="53" y="137"/>
              </a:cxn>
            </a:cxnLst>
            <a:rect b="b" l="0" r="r" t="0"/>
            <a:pathLst>
              <a:path h="143" w="144">
                <a:moveTo>
                  <a:pt x="53" y="137"/>
                </a:moveTo>
                <a:cubicBezTo>
                  <a:pt x="53" y="134"/>
                  <a:pt x="57" y="130"/>
                  <a:pt x="60" y="133"/>
                </a:cubicBezTo>
                <a:cubicBezTo>
                  <a:pt x="62" y="137"/>
                  <a:pt x="61" y="141"/>
                  <a:pt x="66" y="141"/>
                </a:cubicBezTo>
                <a:cubicBezTo>
                  <a:pt x="70" y="141"/>
                  <a:pt x="79" y="143"/>
                  <a:pt x="80" y="141"/>
                </a:cubicBezTo>
                <a:cubicBezTo>
                  <a:pt x="81" y="139"/>
                  <a:pt x="87" y="137"/>
                  <a:pt x="87" y="134"/>
                </a:cubicBezTo>
                <a:cubicBezTo>
                  <a:pt x="87" y="130"/>
                  <a:pt x="87" y="62"/>
                  <a:pt x="87" y="59"/>
                </a:cubicBezTo>
                <a:cubicBezTo>
                  <a:pt x="87" y="57"/>
                  <a:pt x="99" y="59"/>
                  <a:pt x="99" y="55"/>
                </a:cubicBezTo>
                <a:cubicBezTo>
                  <a:pt x="99" y="51"/>
                  <a:pt x="99" y="16"/>
                  <a:pt x="99" y="16"/>
                </a:cubicBezTo>
                <a:cubicBezTo>
                  <a:pt x="99" y="16"/>
                  <a:pt x="107" y="16"/>
                  <a:pt x="109" y="15"/>
                </a:cubicBezTo>
                <a:cubicBezTo>
                  <a:pt x="112" y="14"/>
                  <a:pt x="120" y="10"/>
                  <a:pt x="122" y="11"/>
                </a:cubicBezTo>
                <a:cubicBezTo>
                  <a:pt x="124" y="13"/>
                  <a:pt x="127" y="17"/>
                  <a:pt x="128" y="16"/>
                </a:cubicBezTo>
                <a:cubicBezTo>
                  <a:pt x="129" y="14"/>
                  <a:pt x="133" y="11"/>
                  <a:pt x="136" y="11"/>
                </a:cubicBezTo>
                <a:cubicBezTo>
                  <a:pt x="138" y="11"/>
                  <a:pt x="141" y="10"/>
                  <a:pt x="144" y="9"/>
                </a:cubicBezTo>
                <a:cubicBezTo>
                  <a:pt x="143" y="8"/>
                  <a:pt x="143" y="7"/>
                  <a:pt x="143" y="6"/>
                </a:cubicBezTo>
                <a:cubicBezTo>
                  <a:pt x="143" y="4"/>
                  <a:pt x="122" y="7"/>
                  <a:pt x="119" y="8"/>
                </a:cubicBezTo>
                <a:cubicBezTo>
                  <a:pt x="116" y="9"/>
                  <a:pt x="105" y="11"/>
                  <a:pt x="102" y="9"/>
                </a:cubicBezTo>
                <a:cubicBezTo>
                  <a:pt x="98" y="8"/>
                  <a:pt x="77" y="9"/>
                  <a:pt x="77" y="9"/>
                </a:cubicBezTo>
                <a:cubicBezTo>
                  <a:pt x="73" y="5"/>
                  <a:pt x="73" y="5"/>
                  <a:pt x="73" y="5"/>
                </a:cubicBezTo>
                <a:cubicBezTo>
                  <a:pt x="73" y="5"/>
                  <a:pt x="38" y="5"/>
                  <a:pt x="34" y="5"/>
                </a:cubicBezTo>
                <a:cubicBezTo>
                  <a:pt x="30" y="5"/>
                  <a:pt x="27" y="5"/>
                  <a:pt x="24" y="3"/>
                </a:cubicBezTo>
                <a:cubicBezTo>
                  <a:pt x="20" y="0"/>
                  <a:pt x="17" y="0"/>
                  <a:pt x="13" y="2"/>
                </a:cubicBezTo>
                <a:cubicBezTo>
                  <a:pt x="9" y="4"/>
                  <a:pt x="11" y="0"/>
                  <a:pt x="8" y="0"/>
                </a:cubicBezTo>
                <a:cubicBezTo>
                  <a:pt x="5" y="0"/>
                  <a:pt x="4" y="3"/>
                  <a:pt x="4" y="3"/>
                </a:cubicBezTo>
                <a:cubicBezTo>
                  <a:pt x="1" y="3"/>
                  <a:pt x="1" y="3"/>
                  <a:pt x="1" y="3"/>
                </a:cubicBezTo>
                <a:cubicBezTo>
                  <a:pt x="0" y="7"/>
                  <a:pt x="3" y="13"/>
                  <a:pt x="7" y="18"/>
                </a:cubicBezTo>
                <a:cubicBezTo>
                  <a:pt x="11" y="23"/>
                  <a:pt x="15" y="33"/>
                  <a:pt x="18" y="41"/>
                </a:cubicBezTo>
                <a:cubicBezTo>
                  <a:pt x="20" y="49"/>
                  <a:pt x="28" y="59"/>
                  <a:pt x="29" y="65"/>
                </a:cubicBezTo>
                <a:cubicBezTo>
                  <a:pt x="31" y="71"/>
                  <a:pt x="28" y="80"/>
                  <a:pt x="30" y="84"/>
                </a:cubicBezTo>
                <a:cubicBezTo>
                  <a:pt x="32" y="88"/>
                  <a:pt x="33" y="95"/>
                  <a:pt x="34" y="101"/>
                </a:cubicBezTo>
                <a:cubicBezTo>
                  <a:pt x="35" y="108"/>
                  <a:pt x="35" y="123"/>
                  <a:pt x="42" y="129"/>
                </a:cubicBezTo>
                <a:cubicBezTo>
                  <a:pt x="44" y="131"/>
                  <a:pt x="46" y="134"/>
                  <a:pt x="49" y="138"/>
                </a:cubicBezTo>
                <a:cubicBezTo>
                  <a:pt x="51" y="138"/>
                  <a:pt x="53" y="138"/>
                  <a:pt x="53" y="13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 name="Freeform 5"/>
          <p:cNvSpPr/>
          <p:nvPr/>
        </p:nvSpPr>
        <p:spPr bwMode="auto">
          <a:xfrm>
            <a:off x="6536735" y="4915345"/>
            <a:ext cx="200263" cy="178163"/>
          </a:xfrm>
          <a:custGeom>
            <a:cxnLst>
              <a:cxn ang="0">
                <a:pos x="59" y="4"/>
              </a:cxn>
              <a:cxn ang="0">
                <a:pos x="58" y="0"/>
              </a:cxn>
              <a:cxn ang="0">
                <a:pos x="48" y="0"/>
              </a:cxn>
              <a:cxn ang="0">
                <a:pos x="42" y="6"/>
              </a:cxn>
              <a:cxn ang="0">
                <a:pos x="31" y="14"/>
              </a:cxn>
              <a:cxn ang="0">
                <a:pos x="20" y="27"/>
              </a:cxn>
              <a:cxn ang="0">
                <a:pos x="5" y="24"/>
              </a:cxn>
              <a:cxn ang="0">
                <a:pos x="0" y="25"/>
              </a:cxn>
              <a:cxn ang="0">
                <a:pos x="6" y="31"/>
              </a:cxn>
              <a:cxn ang="0">
                <a:pos x="12" y="45"/>
              </a:cxn>
              <a:cxn ang="0">
                <a:pos x="23" y="53"/>
              </a:cxn>
              <a:cxn ang="0">
                <a:pos x="28" y="61"/>
              </a:cxn>
              <a:cxn ang="0">
                <a:pos x="36" y="69"/>
              </a:cxn>
              <a:cxn ang="0">
                <a:pos x="44" y="74"/>
              </a:cxn>
              <a:cxn ang="0">
                <a:pos x="55" y="76"/>
              </a:cxn>
              <a:cxn ang="0">
                <a:pos x="67" y="78"/>
              </a:cxn>
              <a:cxn ang="0">
                <a:pos x="79" y="67"/>
              </a:cxn>
              <a:cxn ang="0">
                <a:pos x="82" y="56"/>
              </a:cxn>
              <a:cxn ang="0">
                <a:pos x="88" y="48"/>
              </a:cxn>
              <a:cxn ang="0">
                <a:pos x="84" y="39"/>
              </a:cxn>
              <a:cxn ang="0">
                <a:pos x="87" y="29"/>
              </a:cxn>
              <a:cxn ang="0">
                <a:pos x="87" y="12"/>
              </a:cxn>
              <a:cxn ang="0">
                <a:pos x="74" y="7"/>
              </a:cxn>
              <a:cxn ang="0">
                <a:pos x="59" y="4"/>
              </a:cxn>
            </a:cxnLst>
            <a:rect b="b" l="0" r="r" t="0"/>
            <a:pathLst>
              <a:path h="78" w="90">
                <a:moveTo>
                  <a:pt x="59" y="4"/>
                </a:moveTo>
                <a:cubicBezTo>
                  <a:pt x="58" y="0"/>
                  <a:pt x="58" y="0"/>
                  <a:pt x="58" y="0"/>
                </a:cubicBezTo>
                <a:cubicBezTo>
                  <a:pt x="48" y="0"/>
                  <a:pt x="48" y="0"/>
                  <a:pt x="48" y="0"/>
                </a:cubicBezTo>
                <a:cubicBezTo>
                  <a:pt x="42" y="2"/>
                  <a:pt x="42" y="4"/>
                  <a:pt x="42" y="6"/>
                </a:cubicBezTo>
                <a:cubicBezTo>
                  <a:pt x="42" y="8"/>
                  <a:pt x="36" y="13"/>
                  <a:pt x="31" y="14"/>
                </a:cubicBezTo>
                <a:cubicBezTo>
                  <a:pt x="27" y="15"/>
                  <a:pt x="22" y="25"/>
                  <a:pt x="20" y="27"/>
                </a:cubicBezTo>
                <a:cubicBezTo>
                  <a:pt x="17" y="28"/>
                  <a:pt x="8" y="25"/>
                  <a:pt x="5" y="24"/>
                </a:cubicBezTo>
                <a:cubicBezTo>
                  <a:pt x="4" y="24"/>
                  <a:pt x="2" y="25"/>
                  <a:pt x="0" y="25"/>
                </a:cubicBezTo>
                <a:cubicBezTo>
                  <a:pt x="1" y="28"/>
                  <a:pt x="5" y="31"/>
                  <a:pt x="6" y="31"/>
                </a:cubicBezTo>
                <a:cubicBezTo>
                  <a:pt x="8" y="31"/>
                  <a:pt x="8" y="43"/>
                  <a:pt x="12" y="45"/>
                </a:cubicBezTo>
                <a:cubicBezTo>
                  <a:pt x="16" y="47"/>
                  <a:pt x="23" y="51"/>
                  <a:pt x="23" y="53"/>
                </a:cubicBezTo>
                <a:cubicBezTo>
                  <a:pt x="23" y="55"/>
                  <a:pt x="28" y="58"/>
                  <a:pt x="28" y="61"/>
                </a:cubicBezTo>
                <a:cubicBezTo>
                  <a:pt x="28" y="65"/>
                  <a:pt x="32" y="69"/>
                  <a:pt x="36" y="69"/>
                </a:cubicBezTo>
                <a:cubicBezTo>
                  <a:pt x="43" y="69"/>
                  <a:pt x="44" y="72"/>
                  <a:pt x="44" y="74"/>
                </a:cubicBezTo>
                <a:cubicBezTo>
                  <a:pt x="44" y="76"/>
                  <a:pt x="53" y="74"/>
                  <a:pt x="55" y="76"/>
                </a:cubicBezTo>
                <a:cubicBezTo>
                  <a:pt x="56" y="78"/>
                  <a:pt x="65" y="77"/>
                  <a:pt x="67" y="78"/>
                </a:cubicBezTo>
                <a:cubicBezTo>
                  <a:pt x="71" y="75"/>
                  <a:pt x="77" y="70"/>
                  <a:pt x="79" y="67"/>
                </a:cubicBezTo>
                <a:cubicBezTo>
                  <a:pt x="82" y="63"/>
                  <a:pt x="79" y="58"/>
                  <a:pt x="82" y="56"/>
                </a:cubicBezTo>
                <a:cubicBezTo>
                  <a:pt x="84" y="55"/>
                  <a:pt x="90" y="48"/>
                  <a:pt x="88" y="48"/>
                </a:cubicBezTo>
                <a:cubicBezTo>
                  <a:pt x="86" y="47"/>
                  <a:pt x="87" y="42"/>
                  <a:pt x="84" y="39"/>
                </a:cubicBezTo>
                <a:cubicBezTo>
                  <a:pt x="81" y="36"/>
                  <a:pt x="88" y="35"/>
                  <a:pt x="87" y="29"/>
                </a:cubicBezTo>
                <a:cubicBezTo>
                  <a:pt x="87" y="24"/>
                  <a:pt x="88" y="13"/>
                  <a:pt x="87" y="12"/>
                </a:cubicBezTo>
                <a:cubicBezTo>
                  <a:pt x="85" y="11"/>
                  <a:pt x="78" y="10"/>
                  <a:pt x="74" y="7"/>
                </a:cubicBezTo>
                <a:cubicBezTo>
                  <a:pt x="69" y="4"/>
                  <a:pt x="59" y="4"/>
                  <a:pt x="59" y="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 name="Freeform 6"/>
          <p:cNvSpPr/>
          <p:nvPr/>
        </p:nvSpPr>
        <p:spPr bwMode="auto">
          <a:xfrm>
            <a:off x="6408790" y="4974100"/>
            <a:ext cx="226223" cy="248291"/>
          </a:xfrm>
          <a:custGeom>
            <a:cxnLst>
              <a:cxn ang="0">
                <a:pos x="93" y="44"/>
              </a:cxn>
              <a:cxn ang="0">
                <a:pos x="85" y="36"/>
              </a:cxn>
              <a:cxn ang="0">
                <a:pos x="80" y="28"/>
              </a:cxn>
              <a:cxn ang="0">
                <a:pos x="69" y="20"/>
              </a:cxn>
              <a:cxn ang="0">
                <a:pos x="63" y="6"/>
              </a:cxn>
              <a:cxn ang="0">
                <a:pos x="57" y="0"/>
              </a:cxn>
              <a:cxn ang="0">
                <a:pos x="49" y="2"/>
              </a:cxn>
              <a:cxn ang="0">
                <a:pos x="41" y="7"/>
              </a:cxn>
              <a:cxn ang="0">
                <a:pos x="35" y="2"/>
              </a:cxn>
              <a:cxn ang="0">
                <a:pos x="22" y="6"/>
              </a:cxn>
              <a:cxn ang="0">
                <a:pos x="12" y="7"/>
              </a:cxn>
              <a:cxn ang="0">
                <a:pos x="12" y="46"/>
              </a:cxn>
              <a:cxn ang="0">
                <a:pos x="0" y="50"/>
              </a:cxn>
              <a:cxn ang="0">
                <a:pos x="0" y="83"/>
              </a:cxn>
              <a:cxn ang="0">
                <a:pos x="6" y="87"/>
              </a:cxn>
              <a:cxn ang="0">
                <a:pos x="9" y="100"/>
              </a:cxn>
              <a:cxn ang="0">
                <a:pos x="7" y="102"/>
              </a:cxn>
              <a:cxn ang="0">
                <a:pos x="9" y="107"/>
              </a:cxn>
              <a:cxn ang="0">
                <a:pos x="20" y="107"/>
              </a:cxn>
              <a:cxn ang="0">
                <a:pos x="31" y="95"/>
              </a:cxn>
              <a:cxn ang="0">
                <a:pos x="38" y="89"/>
              </a:cxn>
              <a:cxn ang="0">
                <a:pos x="52" y="93"/>
              </a:cxn>
              <a:cxn ang="0">
                <a:pos x="62" y="88"/>
              </a:cxn>
              <a:cxn ang="0">
                <a:pos x="67" y="80"/>
              </a:cxn>
              <a:cxn ang="0">
                <a:pos x="76" y="73"/>
              </a:cxn>
              <a:cxn ang="0">
                <a:pos x="81" y="65"/>
              </a:cxn>
              <a:cxn ang="0">
                <a:pos x="90" y="59"/>
              </a:cxn>
              <a:cxn ang="0">
                <a:pos x="97" y="55"/>
              </a:cxn>
              <a:cxn ang="0">
                <a:pos x="101" y="49"/>
              </a:cxn>
              <a:cxn ang="0">
                <a:pos x="101" y="49"/>
              </a:cxn>
              <a:cxn ang="0">
                <a:pos x="93" y="44"/>
              </a:cxn>
            </a:cxnLst>
            <a:rect b="b" l="0" r="r" t="0"/>
            <a:pathLst>
              <a:path h="109" w="100">
                <a:moveTo>
                  <a:pt x="93" y="44"/>
                </a:moveTo>
                <a:cubicBezTo>
                  <a:pt x="89" y="44"/>
                  <a:pt x="85" y="40"/>
                  <a:pt x="85" y="36"/>
                </a:cubicBezTo>
                <a:cubicBezTo>
                  <a:pt x="85" y="33"/>
                  <a:pt x="80" y="30"/>
                  <a:pt x="80" y="28"/>
                </a:cubicBezTo>
                <a:cubicBezTo>
                  <a:pt x="80" y="26"/>
                  <a:pt x="73" y="22"/>
                  <a:pt x="69" y="20"/>
                </a:cubicBezTo>
                <a:cubicBezTo>
                  <a:pt x="65" y="18"/>
                  <a:pt x="65" y="6"/>
                  <a:pt x="63" y="6"/>
                </a:cubicBezTo>
                <a:cubicBezTo>
                  <a:pt x="62" y="6"/>
                  <a:pt x="58" y="3"/>
                  <a:pt x="57" y="0"/>
                </a:cubicBezTo>
                <a:cubicBezTo>
                  <a:pt x="54" y="1"/>
                  <a:pt x="51" y="2"/>
                  <a:pt x="49" y="2"/>
                </a:cubicBezTo>
                <a:cubicBezTo>
                  <a:pt x="46" y="2"/>
                  <a:pt x="42" y="5"/>
                  <a:pt x="41" y="7"/>
                </a:cubicBezTo>
                <a:cubicBezTo>
                  <a:pt x="40" y="8"/>
                  <a:pt x="37" y="4"/>
                  <a:pt x="35" y="2"/>
                </a:cubicBezTo>
                <a:cubicBezTo>
                  <a:pt x="33" y="1"/>
                  <a:pt x="25" y="5"/>
                  <a:pt x="22" y="6"/>
                </a:cubicBezTo>
                <a:cubicBezTo>
                  <a:pt x="20" y="7"/>
                  <a:pt x="12" y="7"/>
                  <a:pt x="12" y="7"/>
                </a:cubicBezTo>
                <a:cubicBezTo>
                  <a:pt x="12" y="7"/>
                  <a:pt x="12" y="42"/>
                  <a:pt x="12" y="46"/>
                </a:cubicBezTo>
                <a:cubicBezTo>
                  <a:pt x="12" y="50"/>
                  <a:pt x="0" y="48"/>
                  <a:pt x="0" y="50"/>
                </a:cubicBezTo>
                <a:cubicBezTo>
                  <a:pt x="0" y="51"/>
                  <a:pt x="0" y="67"/>
                  <a:pt x="0" y="83"/>
                </a:cubicBezTo>
                <a:cubicBezTo>
                  <a:pt x="3" y="84"/>
                  <a:pt x="5" y="85"/>
                  <a:pt x="6" y="87"/>
                </a:cubicBezTo>
                <a:cubicBezTo>
                  <a:pt x="7" y="90"/>
                  <a:pt x="10" y="98"/>
                  <a:pt x="9" y="100"/>
                </a:cubicBezTo>
                <a:cubicBezTo>
                  <a:pt x="9" y="102"/>
                  <a:pt x="7" y="100"/>
                  <a:pt x="7" y="102"/>
                </a:cubicBezTo>
                <a:cubicBezTo>
                  <a:pt x="7" y="104"/>
                  <a:pt x="6" y="107"/>
                  <a:pt x="9" y="107"/>
                </a:cubicBezTo>
                <a:cubicBezTo>
                  <a:pt x="12" y="107"/>
                  <a:pt x="18" y="109"/>
                  <a:pt x="20" y="107"/>
                </a:cubicBezTo>
                <a:cubicBezTo>
                  <a:pt x="23" y="104"/>
                  <a:pt x="30" y="98"/>
                  <a:pt x="31" y="95"/>
                </a:cubicBezTo>
                <a:cubicBezTo>
                  <a:pt x="31" y="92"/>
                  <a:pt x="33" y="85"/>
                  <a:pt x="38" y="89"/>
                </a:cubicBezTo>
                <a:cubicBezTo>
                  <a:pt x="44" y="93"/>
                  <a:pt x="44" y="93"/>
                  <a:pt x="52" y="93"/>
                </a:cubicBezTo>
                <a:cubicBezTo>
                  <a:pt x="59" y="93"/>
                  <a:pt x="61" y="93"/>
                  <a:pt x="62" y="88"/>
                </a:cubicBezTo>
                <a:cubicBezTo>
                  <a:pt x="64" y="84"/>
                  <a:pt x="62" y="80"/>
                  <a:pt x="67" y="80"/>
                </a:cubicBezTo>
                <a:cubicBezTo>
                  <a:pt x="71" y="80"/>
                  <a:pt x="76" y="76"/>
                  <a:pt x="76" y="73"/>
                </a:cubicBezTo>
                <a:cubicBezTo>
                  <a:pt x="76" y="70"/>
                  <a:pt x="78" y="65"/>
                  <a:pt x="81" y="65"/>
                </a:cubicBezTo>
                <a:cubicBezTo>
                  <a:pt x="84" y="65"/>
                  <a:pt x="89" y="62"/>
                  <a:pt x="90" y="59"/>
                </a:cubicBezTo>
                <a:cubicBezTo>
                  <a:pt x="91" y="55"/>
                  <a:pt x="95" y="57"/>
                  <a:pt x="97" y="55"/>
                </a:cubicBezTo>
                <a:cubicBezTo>
                  <a:pt x="98" y="54"/>
                  <a:pt x="99" y="51"/>
                  <a:pt x="101" y="49"/>
                </a:cubicBezTo>
                <a:cubicBezTo>
                  <a:pt x="101" y="49"/>
                  <a:pt x="101" y="49"/>
                  <a:pt x="101" y="49"/>
                </a:cubicBezTo>
                <a:cubicBezTo>
                  <a:pt x="101" y="47"/>
                  <a:pt x="100" y="44"/>
                  <a:pt x="93" y="4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 name="Freeform 7"/>
          <p:cNvSpPr/>
          <p:nvPr/>
        </p:nvSpPr>
        <p:spPr bwMode="auto">
          <a:xfrm>
            <a:off x="6673952" y="5188275"/>
            <a:ext cx="35232" cy="43594"/>
          </a:xfrm>
          <a:custGeom>
            <a:cxnLst>
              <a:cxn ang="0">
                <a:pos x="7" y="0"/>
              </a:cxn>
              <a:cxn ang="0">
                <a:pos x="0" y="8"/>
              </a:cxn>
              <a:cxn ang="0">
                <a:pos x="7" y="19"/>
              </a:cxn>
              <a:cxn ang="0">
                <a:pos x="13" y="16"/>
              </a:cxn>
              <a:cxn ang="0">
                <a:pos x="15" y="13"/>
              </a:cxn>
              <a:cxn ang="0">
                <a:pos x="14" y="3"/>
              </a:cxn>
              <a:cxn ang="0">
                <a:pos x="7" y="0"/>
              </a:cxn>
            </a:cxnLst>
            <a:rect b="b" l="0" r="r" t="0"/>
            <a:pathLst>
              <a:path h="19" w="15">
                <a:moveTo>
                  <a:pt x="7" y="0"/>
                </a:moveTo>
                <a:cubicBezTo>
                  <a:pt x="5" y="0"/>
                  <a:pt x="0" y="7"/>
                  <a:pt x="0" y="8"/>
                </a:cubicBezTo>
                <a:cubicBezTo>
                  <a:pt x="0" y="10"/>
                  <a:pt x="3" y="18"/>
                  <a:pt x="7" y="19"/>
                </a:cubicBezTo>
                <a:cubicBezTo>
                  <a:pt x="10" y="19"/>
                  <a:pt x="13" y="19"/>
                  <a:pt x="13" y="16"/>
                </a:cubicBezTo>
                <a:cubicBezTo>
                  <a:pt x="13" y="15"/>
                  <a:pt x="14" y="14"/>
                  <a:pt x="15" y="13"/>
                </a:cubicBezTo>
                <a:cubicBezTo>
                  <a:pt x="15" y="11"/>
                  <a:pt x="14" y="6"/>
                  <a:pt x="14" y="3"/>
                </a:cubicBezTo>
                <a:cubicBezTo>
                  <a:pt x="12" y="2"/>
                  <a:pt x="9" y="0"/>
                  <a:pt x="7" y="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 name="Freeform 8"/>
          <p:cNvSpPr/>
          <p:nvPr/>
        </p:nvSpPr>
        <p:spPr bwMode="auto">
          <a:xfrm>
            <a:off x="6583092" y="5260298"/>
            <a:ext cx="55628" cy="64442"/>
          </a:xfrm>
          <a:custGeom>
            <a:cxnLst>
              <a:cxn ang="0">
                <a:pos x="18" y="3"/>
              </a:cxn>
              <a:cxn ang="0">
                <a:pos x="7" y="8"/>
              </a:cxn>
              <a:cxn ang="0">
                <a:pos x="0" y="18"/>
              </a:cxn>
              <a:cxn ang="0">
                <a:pos x="7" y="27"/>
              </a:cxn>
              <a:cxn ang="0">
                <a:pos x="11" y="28"/>
              </a:cxn>
              <a:cxn ang="0">
                <a:pos x="14" y="22"/>
              </a:cxn>
              <a:cxn ang="0">
                <a:pos x="21" y="20"/>
              </a:cxn>
              <a:cxn ang="0">
                <a:pos x="25" y="12"/>
              </a:cxn>
              <a:cxn ang="0">
                <a:pos x="18" y="3"/>
              </a:cxn>
            </a:cxnLst>
            <a:rect b="b" l="0" r="r" t="0"/>
            <a:pathLst>
              <a:path h="28" w="25">
                <a:moveTo>
                  <a:pt x="18" y="3"/>
                </a:moveTo>
                <a:cubicBezTo>
                  <a:pt x="17" y="0"/>
                  <a:pt x="8" y="5"/>
                  <a:pt x="7" y="8"/>
                </a:cubicBezTo>
                <a:cubicBezTo>
                  <a:pt x="5" y="10"/>
                  <a:pt x="0" y="18"/>
                  <a:pt x="0" y="18"/>
                </a:cubicBezTo>
                <a:cubicBezTo>
                  <a:pt x="7" y="27"/>
                  <a:pt x="7" y="27"/>
                  <a:pt x="7" y="27"/>
                </a:cubicBezTo>
                <a:cubicBezTo>
                  <a:pt x="11" y="28"/>
                  <a:pt x="11" y="28"/>
                  <a:pt x="11" y="28"/>
                </a:cubicBezTo>
                <a:cubicBezTo>
                  <a:pt x="11" y="28"/>
                  <a:pt x="13" y="24"/>
                  <a:pt x="14" y="22"/>
                </a:cubicBezTo>
                <a:cubicBezTo>
                  <a:pt x="15" y="19"/>
                  <a:pt x="21" y="22"/>
                  <a:pt x="21" y="20"/>
                </a:cubicBezTo>
                <a:cubicBezTo>
                  <a:pt x="21" y="17"/>
                  <a:pt x="25" y="14"/>
                  <a:pt x="25" y="12"/>
                </a:cubicBezTo>
                <a:cubicBezTo>
                  <a:pt x="25" y="9"/>
                  <a:pt x="19" y="6"/>
                  <a:pt x="18" y="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 name="Freeform 9"/>
          <p:cNvSpPr>
            <a:spLocks noEditPoints="1"/>
          </p:cNvSpPr>
          <p:nvPr/>
        </p:nvSpPr>
        <p:spPr bwMode="auto">
          <a:xfrm>
            <a:off x="6323493" y="5084030"/>
            <a:ext cx="404234" cy="363906"/>
          </a:xfrm>
          <a:custGeom>
            <a:cxnLst>
              <a:cxn ang="0">
                <a:pos x="172" y="59"/>
              </a:cxn>
              <a:cxn ang="0">
                <a:pos x="172" y="58"/>
              </a:cxn>
              <a:cxn ang="0">
                <a:pos x="170" y="61"/>
              </a:cxn>
              <a:cxn ang="0">
                <a:pos x="164" y="64"/>
              </a:cxn>
              <a:cxn ang="0">
                <a:pos x="157" y="53"/>
              </a:cxn>
              <a:cxn ang="0">
                <a:pos x="164" y="45"/>
              </a:cxn>
              <a:cxn ang="0">
                <a:pos x="171" y="48"/>
              </a:cxn>
              <a:cxn ang="0">
                <a:pos x="171" y="46"/>
              </a:cxn>
              <a:cxn ang="0">
                <a:pos x="170" y="26"/>
              </a:cxn>
              <a:cxn ang="0">
                <a:pos x="163" y="5"/>
              </a:cxn>
              <a:cxn ang="0">
                <a:pos x="150" y="2"/>
              </a:cxn>
              <a:cxn ang="0">
                <a:pos x="139" y="0"/>
              </a:cxn>
              <a:cxn ang="0">
                <a:pos x="135" y="6"/>
              </a:cxn>
              <a:cxn ang="0">
                <a:pos x="128" y="10"/>
              </a:cxn>
              <a:cxn ang="0">
                <a:pos x="119" y="16"/>
              </a:cxn>
              <a:cxn ang="0">
                <a:pos x="114" y="24"/>
              </a:cxn>
              <a:cxn ang="0">
                <a:pos x="105" y="31"/>
              </a:cxn>
              <a:cxn ang="0">
                <a:pos x="100" y="39"/>
              </a:cxn>
              <a:cxn ang="0">
                <a:pos x="90" y="44"/>
              </a:cxn>
              <a:cxn ang="0">
                <a:pos x="76" y="40"/>
              </a:cxn>
              <a:cxn ang="0">
                <a:pos x="69" y="46"/>
              </a:cxn>
              <a:cxn ang="0">
                <a:pos x="58" y="58"/>
              </a:cxn>
              <a:cxn ang="0">
                <a:pos x="47" y="58"/>
              </a:cxn>
              <a:cxn ang="0">
                <a:pos x="45" y="53"/>
              </a:cxn>
              <a:cxn ang="0">
                <a:pos x="47" y="51"/>
              </a:cxn>
              <a:cxn ang="0">
                <a:pos x="44" y="38"/>
              </a:cxn>
              <a:cxn ang="0">
                <a:pos x="38" y="34"/>
              </a:cxn>
              <a:cxn ang="0">
                <a:pos x="38" y="76"/>
              </a:cxn>
              <a:cxn ang="0">
                <a:pos x="31" y="83"/>
              </a:cxn>
              <a:cxn ang="0">
                <a:pos x="17" y="83"/>
              </a:cxn>
              <a:cxn ang="0">
                <a:pos x="11" y="75"/>
              </a:cxn>
              <a:cxn ang="0">
                <a:pos x="4" y="79"/>
              </a:cxn>
              <a:cxn ang="0">
                <a:pos x="0" y="80"/>
              </a:cxn>
              <a:cxn ang="0">
                <a:pos x="8" y="98"/>
              </a:cxn>
              <a:cxn ang="0">
                <a:pos x="19" y="120"/>
              </a:cxn>
              <a:cxn ang="0">
                <a:pos x="19" y="131"/>
              </a:cxn>
              <a:cxn ang="0">
                <a:pos x="19" y="140"/>
              </a:cxn>
              <a:cxn ang="0">
                <a:pos x="23" y="149"/>
              </a:cxn>
              <a:cxn ang="0">
                <a:pos x="27" y="152"/>
              </a:cxn>
              <a:cxn ang="0">
                <a:pos x="33" y="157"/>
              </a:cxn>
              <a:cxn ang="0">
                <a:pos x="41" y="157"/>
              </a:cxn>
              <a:cxn ang="0">
                <a:pos x="54" y="153"/>
              </a:cxn>
              <a:cxn ang="0">
                <a:pos x="64" y="149"/>
              </a:cxn>
              <a:cxn ang="0">
                <a:pos x="82" y="149"/>
              </a:cxn>
              <a:cxn ang="0">
                <a:pos x="93" y="147"/>
              </a:cxn>
              <a:cxn ang="0">
                <a:pos x="100" y="146"/>
              </a:cxn>
              <a:cxn ang="0">
                <a:pos x="109" y="143"/>
              </a:cxn>
              <a:cxn ang="0">
                <a:pos x="132" y="128"/>
              </a:cxn>
              <a:cxn ang="0">
                <a:pos x="159" y="95"/>
              </a:cxn>
              <a:cxn ang="0">
                <a:pos x="175" y="77"/>
              </a:cxn>
              <a:cxn ang="0">
                <a:pos x="181" y="59"/>
              </a:cxn>
              <a:cxn ang="0">
                <a:pos x="172" y="59"/>
              </a:cxn>
              <a:cxn ang="0">
                <a:pos x="137" y="97"/>
              </a:cxn>
              <a:cxn ang="0">
                <a:pos x="130" y="99"/>
              </a:cxn>
              <a:cxn ang="0">
                <a:pos x="127" y="105"/>
              </a:cxn>
              <a:cxn ang="0">
                <a:pos x="123" y="104"/>
              </a:cxn>
              <a:cxn ang="0">
                <a:pos x="116" y="95"/>
              </a:cxn>
              <a:cxn ang="0">
                <a:pos x="123" y="85"/>
              </a:cxn>
              <a:cxn ang="0">
                <a:pos x="134" y="80"/>
              </a:cxn>
              <a:cxn ang="0">
                <a:pos x="141" y="89"/>
              </a:cxn>
              <a:cxn ang="0">
                <a:pos x="137" y="97"/>
              </a:cxn>
            </a:cxnLst>
            <a:rect b="b" l="0" r="r" t="0"/>
            <a:pathLst>
              <a:path h="159" w="181">
                <a:moveTo>
                  <a:pt x="172" y="59"/>
                </a:moveTo>
                <a:cubicBezTo>
                  <a:pt x="172" y="59"/>
                  <a:pt x="172" y="59"/>
                  <a:pt x="172" y="58"/>
                </a:cubicBezTo>
                <a:cubicBezTo>
                  <a:pt x="171" y="59"/>
                  <a:pt x="170" y="60"/>
                  <a:pt x="170" y="61"/>
                </a:cubicBezTo>
                <a:cubicBezTo>
                  <a:pt x="170" y="64"/>
                  <a:pt x="167" y="64"/>
                  <a:pt x="164" y="64"/>
                </a:cubicBezTo>
                <a:cubicBezTo>
                  <a:pt x="160" y="63"/>
                  <a:pt x="157" y="55"/>
                  <a:pt x="157" y="53"/>
                </a:cubicBezTo>
                <a:cubicBezTo>
                  <a:pt x="157" y="52"/>
                  <a:pt x="162" y="45"/>
                  <a:pt x="164" y="45"/>
                </a:cubicBezTo>
                <a:cubicBezTo>
                  <a:pt x="166" y="45"/>
                  <a:pt x="169" y="47"/>
                  <a:pt x="171" y="48"/>
                </a:cubicBezTo>
                <a:cubicBezTo>
                  <a:pt x="171" y="47"/>
                  <a:pt x="171" y="47"/>
                  <a:pt x="171" y="46"/>
                </a:cubicBezTo>
                <a:cubicBezTo>
                  <a:pt x="171" y="45"/>
                  <a:pt x="173" y="28"/>
                  <a:pt x="170" y="26"/>
                </a:cubicBezTo>
                <a:cubicBezTo>
                  <a:pt x="167" y="24"/>
                  <a:pt x="164" y="7"/>
                  <a:pt x="163" y="5"/>
                </a:cubicBezTo>
                <a:cubicBezTo>
                  <a:pt x="162" y="3"/>
                  <a:pt x="151" y="4"/>
                  <a:pt x="150" y="2"/>
                </a:cubicBezTo>
                <a:cubicBezTo>
                  <a:pt x="148" y="0"/>
                  <a:pt x="139" y="2"/>
                  <a:pt x="139" y="0"/>
                </a:cubicBezTo>
                <a:cubicBezTo>
                  <a:pt x="137" y="2"/>
                  <a:pt x="136" y="5"/>
                  <a:pt x="135" y="6"/>
                </a:cubicBezTo>
                <a:cubicBezTo>
                  <a:pt x="133" y="8"/>
                  <a:pt x="129" y="6"/>
                  <a:pt x="128" y="10"/>
                </a:cubicBezTo>
                <a:cubicBezTo>
                  <a:pt x="127" y="13"/>
                  <a:pt x="122" y="16"/>
                  <a:pt x="119" y="16"/>
                </a:cubicBezTo>
                <a:cubicBezTo>
                  <a:pt x="116" y="16"/>
                  <a:pt x="114" y="21"/>
                  <a:pt x="114" y="24"/>
                </a:cubicBezTo>
                <a:cubicBezTo>
                  <a:pt x="114" y="27"/>
                  <a:pt x="109" y="31"/>
                  <a:pt x="105" y="31"/>
                </a:cubicBezTo>
                <a:cubicBezTo>
                  <a:pt x="100" y="31"/>
                  <a:pt x="102" y="35"/>
                  <a:pt x="100" y="39"/>
                </a:cubicBezTo>
                <a:cubicBezTo>
                  <a:pt x="99" y="44"/>
                  <a:pt x="97" y="44"/>
                  <a:pt x="90" y="44"/>
                </a:cubicBezTo>
                <a:cubicBezTo>
                  <a:pt x="82" y="44"/>
                  <a:pt x="82" y="44"/>
                  <a:pt x="76" y="40"/>
                </a:cubicBezTo>
                <a:cubicBezTo>
                  <a:pt x="71" y="36"/>
                  <a:pt x="69" y="43"/>
                  <a:pt x="69" y="46"/>
                </a:cubicBezTo>
                <a:cubicBezTo>
                  <a:pt x="68" y="49"/>
                  <a:pt x="61" y="55"/>
                  <a:pt x="58" y="58"/>
                </a:cubicBezTo>
                <a:cubicBezTo>
                  <a:pt x="56" y="60"/>
                  <a:pt x="50" y="58"/>
                  <a:pt x="47" y="58"/>
                </a:cubicBezTo>
                <a:cubicBezTo>
                  <a:pt x="44" y="58"/>
                  <a:pt x="45" y="55"/>
                  <a:pt x="45" y="53"/>
                </a:cubicBezTo>
                <a:cubicBezTo>
                  <a:pt x="45" y="51"/>
                  <a:pt x="47" y="53"/>
                  <a:pt x="47" y="51"/>
                </a:cubicBezTo>
                <a:cubicBezTo>
                  <a:pt x="48" y="49"/>
                  <a:pt x="45" y="41"/>
                  <a:pt x="44" y="38"/>
                </a:cubicBezTo>
                <a:cubicBezTo>
                  <a:pt x="43" y="36"/>
                  <a:pt x="41" y="35"/>
                  <a:pt x="38" y="34"/>
                </a:cubicBezTo>
                <a:cubicBezTo>
                  <a:pt x="38" y="53"/>
                  <a:pt x="38" y="74"/>
                  <a:pt x="38" y="76"/>
                </a:cubicBezTo>
                <a:cubicBezTo>
                  <a:pt x="38" y="79"/>
                  <a:pt x="32" y="81"/>
                  <a:pt x="31" y="83"/>
                </a:cubicBezTo>
                <a:cubicBezTo>
                  <a:pt x="30" y="85"/>
                  <a:pt x="21" y="83"/>
                  <a:pt x="17" y="83"/>
                </a:cubicBezTo>
                <a:cubicBezTo>
                  <a:pt x="12" y="83"/>
                  <a:pt x="13" y="79"/>
                  <a:pt x="11" y="75"/>
                </a:cubicBezTo>
                <a:cubicBezTo>
                  <a:pt x="8" y="72"/>
                  <a:pt x="4" y="76"/>
                  <a:pt x="4" y="79"/>
                </a:cubicBezTo>
                <a:cubicBezTo>
                  <a:pt x="4" y="80"/>
                  <a:pt x="2" y="80"/>
                  <a:pt x="0" y="80"/>
                </a:cubicBezTo>
                <a:cubicBezTo>
                  <a:pt x="3" y="85"/>
                  <a:pt x="6" y="92"/>
                  <a:pt x="8" y="98"/>
                </a:cubicBezTo>
                <a:cubicBezTo>
                  <a:pt x="11" y="107"/>
                  <a:pt x="17" y="115"/>
                  <a:pt x="19" y="120"/>
                </a:cubicBezTo>
                <a:cubicBezTo>
                  <a:pt x="21" y="125"/>
                  <a:pt x="22" y="130"/>
                  <a:pt x="19" y="131"/>
                </a:cubicBezTo>
                <a:cubicBezTo>
                  <a:pt x="15" y="131"/>
                  <a:pt x="15" y="134"/>
                  <a:pt x="19" y="140"/>
                </a:cubicBezTo>
                <a:cubicBezTo>
                  <a:pt x="23" y="145"/>
                  <a:pt x="20" y="149"/>
                  <a:pt x="23" y="149"/>
                </a:cubicBezTo>
                <a:cubicBezTo>
                  <a:pt x="26" y="150"/>
                  <a:pt x="25" y="152"/>
                  <a:pt x="27" y="152"/>
                </a:cubicBezTo>
                <a:cubicBezTo>
                  <a:pt x="30" y="152"/>
                  <a:pt x="32" y="155"/>
                  <a:pt x="33" y="157"/>
                </a:cubicBezTo>
                <a:cubicBezTo>
                  <a:pt x="35" y="159"/>
                  <a:pt x="39" y="159"/>
                  <a:pt x="41" y="157"/>
                </a:cubicBezTo>
                <a:cubicBezTo>
                  <a:pt x="43" y="154"/>
                  <a:pt x="48" y="153"/>
                  <a:pt x="54" y="153"/>
                </a:cubicBezTo>
                <a:cubicBezTo>
                  <a:pt x="60" y="153"/>
                  <a:pt x="59" y="151"/>
                  <a:pt x="64" y="149"/>
                </a:cubicBezTo>
                <a:cubicBezTo>
                  <a:pt x="70" y="147"/>
                  <a:pt x="77" y="147"/>
                  <a:pt x="82" y="149"/>
                </a:cubicBezTo>
                <a:cubicBezTo>
                  <a:pt x="87" y="150"/>
                  <a:pt x="90" y="149"/>
                  <a:pt x="93" y="147"/>
                </a:cubicBezTo>
                <a:cubicBezTo>
                  <a:pt x="95" y="146"/>
                  <a:pt x="99" y="150"/>
                  <a:pt x="100" y="146"/>
                </a:cubicBezTo>
                <a:cubicBezTo>
                  <a:pt x="100" y="142"/>
                  <a:pt x="105" y="143"/>
                  <a:pt x="109" y="143"/>
                </a:cubicBezTo>
                <a:cubicBezTo>
                  <a:pt x="113" y="143"/>
                  <a:pt x="124" y="136"/>
                  <a:pt x="132" y="128"/>
                </a:cubicBezTo>
                <a:cubicBezTo>
                  <a:pt x="141" y="120"/>
                  <a:pt x="154" y="103"/>
                  <a:pt x="159" y="95"/>
                </a:cubicBezTo>
                <a:cubicBezTo>
                  <a:pt x="164" y="87"/>
                  <a:pt x="171" y="81"/>
                  <a:pt x="175" y="77"/>
                </a:cubicBezTo>
                <a:cubicBezTo>
                  <a:pt x="178" y="75"/>
                  <a:pt x="180" y="65"/>
                  <a:pt x="181" y="59"/>
                </a:cubicBezTo>
                <a:cubicBezTo>
                  <a:pt x="177" y="59"/>
                  <a:pt x="172" y="59"/>
                  <a:pt x="172" y="59"/>
                </a:cubicBezTo>
                <a:close/>
                <a:moveTo>
                  <a:pt x="137" y="97"/>
                </a:moveTo>
                <a:cubicBezTo>
                  <a:pt x="137" y="99"/>
                  <a:pt x="131" y="96"/>
                  <a:pt x="130" y="99"/>
                </a:cubicBezTo>
                <a:cubicBezTo>
                  <a:pt x="129" y="101"/>
                  <a:pt x="127" y="105"/>
                  <a:pt x="127" y="105"/>
                </a:cubicBezTo>
                <a:cubicBezTo>
                  <a:pt x="123" y="104"/>
                  <a:pt x="123" y="104"/>
                  <a:pt x="123" y="104"/>
                </a:cubicBezTo>
                <a:cubicBezTo>
                  <a:pt x="116" y="95"/>
                  <a:pt x="116" y="95"/>
                  <a:pt x="116" y="95"/>
                </a:cubicBezTo>
                <a:cubicBezTo>
                  <a:pt x="116" y="95"/>
                  <a:pt x="121" y="87"/>
                  <a:pt x="123" y="85"/>
                </a:cubicBezTo>
                <a:cubicBezTo>
                  <a:pt x="124" y="82"/>
                  <a:pt x="133" y="77"/>
                  <a:pt x="134" y="80"/>
                </a:cubicBezTo>
                <a:cubicBezTo>
                  <a:pt x="135" y="83"/>
                  <a:pt x="141" y="86"/>
                  <a:pt x="141" y="89"/>
                </a:cubicBezTo>
                <a:cubicBezTo>
                  <a:pt x="141" y="91"/>
                  <a:pt x="137" y="94"/>
                  <a:pt x="137" y="97"/>
                </a:cubicBezTo>
                <a:close/>
              </a:path>
            </a:pathLst>
          </a:custGeom>
          <a:solidFill>
            <a:srgbClr val="E00024"/>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 name="Freeform 10"/>
          <p:cNvSpPr/>
          <p:nvPr/>
        </p:nvSpPr>
        <p:spPr bwMode="auto">
          <a:xfrm>
            <a:off x="6214089" y="4657578"/>
            <a:ext cx="294832" cy="320314"/>
          </a:xfrm>
          <a:custGeom>
            <a:cxnLst>
              <a:cxn ang="0">
                <a:pos x="8" y="129"/>
              </a:cxn>
              <a:cxn ang="0">
                <a:pos x="13" y="131"/>
              </a:cxn>
              <a:cxn ang="0">
                <a:pos x="24" y="132"/>
              </a:cxn>
              <a:cxn ang="0">
                <a:pos x="34" y="134"/>
              </a:cxn>
              <a:cxn ang="0">
                <a:pos x="73" y="134"/>
              </a:cxn>
              <a:cxn ang="0">
                <a:pos x="77" y="138"/>
              </a:cxn>
              <a:cxn ang="0">
                <a:pos x="102" y="138"/>
              </a:cxn>
              <a:cxn ang="0">
                <a:pos x="119" y="137"/>
              </a:cxn>
              <a:cxn ang="0">
                <a:pos x="122" y="136"/>
              </a:cxn>
              <a:cxn ang="0">
                <a:pos x="109" y="119"/>
              </a:cxn>
              <a:cxn ang="0">
                <a:pos x="110" y="81"/>
              </a:cxn>
              <a:cxn ang="0">
                <a:pos x="127" y="82"/>
              </a:cxn>
              <a:cxn ang="0">
                <a:pos x="130" y="79"/>
              </a:cxn>
              <a:cxn ang="0">
                <a:pos x="132" y="57"/>
              </a:cxn>
              <a:cxn ang="0">
                <a:pos x="129" y="57"/>
              </a:cxn>
              <a:cxn ang="0">
                <a:pos x="119" y="58"/>
              </a:cxn>
              <a:cxn ang="0">
                <a:pos x="113" y="61"/>
              </a:cxn>
              <a:cxn ang="0">
                <a:pos x="113" y="52"/>
              </a:cxn>
              <a:cxn ang="0">
                <a:pos x="108" y="43"/>
              </a:cxn>
              <a:cxn ang="0">
                <a:pos x="109" y="27"/>
              </a:cxn>
              <a:cxn ang="0">
                <a:pos x="107" y="18"/>
              </a:cxn>
              <a:cxn ang="0">
                <a:pos x="100" y="16"/>
              </a:cxn>
              <a:cxn ang="0">
                <a:pos x="94" y="14"/>
              </a:cxn>
              <a:cxn ang="0">
                <a:pos x="85" y="14"/>
              </a:cxn>
              <a:cxn ang="0">
                <a:pos x="81" y="24"/>
              </a:cxn>
              <a:cxn ang="0">
                <a:pos x="68" y="26"/>
              </a:cxn>
              <a:cxn ang="0">
                <a:pos x="58" y="19"/>
              </a:cxn>
              <a:cxn ang="0">
                <a:pos x="54" y="10"/>
              </a:cxn>
              <a:cxn ang="0">
                <a:pos x="52" y="1"/>
              </a:cxn>
              <a:cxn ang="0">
                <a:pos x="15" y="1"/>
              </a:cxn>
              <a:cxn ang="0">
                <a:pos x="9" y="4"/>
              </a:cxn>
              <a:cxn ang="0">
                <a:pos x="19" y="28"/>
              </a:cxn>
              <a:cxn ang="0">
                <a:pos x="17" y="39"/>
              </a:cxn>
              <a:cxn ang="0">
                <a:pos x="24" y="63"/>
              </a:cxn>
              <a:cxn ang="0">
                <a:pos x="16" y="79"/>
              </a:cxn>
              <a:cxn ang="0">
                <a:pos x="8" y="101"/>
              </a:cxn>
              <a:cxn ang="0">
                <a:pos x="2" y="117"/>
              </a:cxn>
              <a:cxn ang="0">
                <a:pos x="1" y="132"/>
              </a:cxn>
              <a:cxn ang="0">
                <a:pos x="1" y="132"/>
              </a:cxn>
              <a:cxn ang="0">
                <a:pos x="4" y="132"/>
              </a:cxn>
              <a:cxn ang="0">
                <a:pos x="8" y="129"/>
              </a:cxn>
            </a:cxnLst>
            <a:rect b="b" l="0" r="r" t="0"/>
            <a:pathLst>
              <a:path h="140" w="132">
                <a:moveTo>
                  <a:pt x="8" y="129"/>
                </a:moveTo>
                <a:cubicBezTo>
                  <a:pt x="11" y="129"/>
                  <a:pt x="9" y="133"/>
                  <a:pt x="13" y="131"/>
                </a:cubicBezTo>
                <a:cubicBezTo>
                  <a:pt x="17" y="129"/>
                  <a:pt x="20" y="129"/>
                  <a:pt x="24" y="132"/>
                </a:cubicBezTo>
                <a:cubicBezTo>
                  <a:pt x="27" y="134"/>
                  <a:pt x="30" y="134"/>
                  <a:pt x="34" y="134"/>
                </a:cubicBezTo>
                <a:cubicBezTo>
                  <a:pt x="38" y="134"/>
                  <a:pt x="73" y="134"/>
                  <a:pt x="73" y="134"/>
                </a:cubicBezTo>
                <a:cubicBezTo>
                  <a:pt x="77" y="138"/>
                  <a:pt x="77" y="138"/>
                  <a:pt x="77" y="138"/>
                </a:cubicBezTo>
                <a:cubicBezTo>
                  <a:pt x="77" y="138"/>
                  <a:pt x="98" y="137"/>
                  <a:pt x="102" y="138"/>
                </a:cubicBezTo>
                <a:cubicBezTo>
                  <a:pt x="105" y="140"/>
                  <a:pt x="116" y="138"/>
                  <a:pt x="119" y="137"/>
                </a:cubicBezTo>
                <a:cubicBezTo>
                  <a:pt x="120" y="137"/>
                  <a:pt x="121" y="137"/>
                  <a:pt x="122" y="136"/>
                </a:cubicBezTo>
                <a:cubicBezTo>
                  <a:pt x="109" y="119"/>
                  <a:pt x="109" y="119"/>
                  <a:pt x="109" y="119"/>
                </a:cubicBezTo>
                <a:cubicBezTo>
                  <a:pt x="110" y="81"/>
                  <a:pt x="110" y="81"/>
                  <a:pt x="110" y="81"/>
                </a:cubicBezTo>
                <a:cubicBezTo>
                  <a:pt x="127" y="82"/>
                  <a:pt x="127" y="82"/>
                  <a:pt x="127" y="82"/>
                </a:cubicBezTo>
                <a:cubicBezTo>
                  <a:pt x="130" y="79"/>
                  <a:pt x="130" y="79"/>
                  <a:pt x="130" y="79"/>
                </a:cubicBezTo>
                <a:cubicBezTo>
                  <a:pt x="132" y="57"/>
                  <a:pt x="132" y="57"/>
                  <a:pt x="132" y="57"/>
                </a:cubicBezTo>
                <a:cubicBezTo>
                  <a:pt x="132" y="56"/>
                  <a:pt x="131" y="56"/>
                  <a:pt x="129" y="57"/>
                </a:cubicBezTo>
                <a:cubicBezTo>
                  <a:pt x="126" y="58"/>
                  <a:pt x="123" y="58"/>
                  <a:pt x="119" y="58"/>
                </a:cubicBezTo>
                <a:cubicBezTo>
                  <a:pt x="116" y="58"/>
                  <a:pt x="115" y="61"/>
                  <a:pt x="113" y="61"/>
                </a:cubicBezTo>
                <a:cubicBezTo>
                  <a:pt x="111" y="60"/>
                  <a:pt x="113" y="54"/>
                  <a:pt x="113" y="52"/>
                </a:cubicBezTo>
                <a:cubicBezTo>
                  <a:pt x="114" y="49"/>
                  <a:pt x="110" y="45"/>
                  <a:pt x="108" y="43"/>
                </a:cubicBezTo>
                <a:cubicBezTo>
                  <a:pt x="105" y="41"/>
                  <a:pt x="111" y="28"/>
                  <a:pt x="109" y="27"/>
                </a:cubicBezTo>
                <a:cubicBezTo>
                  <a:pt x="108" y="25"/>
                  <a:pt x="107" y="21"/>
                  <a:pt x="107" y="18"/>
                </a:cubicBezTo>
                <a:cubicBezTo>
                  <a:pt x="107" y="14"/>
                  <a:pt x="105" y="16"/>
                  <a:pt x="100" y="16"/>
                </a:cubicBezTo>
                <a:cubicBezTo>
                  <a:pt x="95" y="16"/>
                  <a:pt x="94" y="14"/>
                  <a:pt x="94" y="14"/>
                </a:cubicBezTo>
                <a:cubicBezTo>
                  <a:pt x="94" y="14"/>
                  <a:pt x="88" y="12"/>
                  <a:pt x="85" y="14"/>
                </a:cubicBezTo>
                <a:cubicBezTo>
                  <a:pt x="82" y="15"/>
                  <a:pt x="83" y="24"/>
                  <a:pt x="81" y="24"/>
                </a:cubicBezTo>
                <a:cubicBezTo>
                  <a:pt x="79" y="23"/>
                  <a:pt x="73" y="24"/>
                  <a:pt x="68" y="26"/>
                </a:cubicBezTo>
                <a:cubicBezTo>
                  <a:pt x="63" y="27"/>
                  <a:pt x="61" y="25"/>
                  <a:pt x="58" y="19"/>
                </a:cubicBezTo>
                <a:cubicBezTo>
                  <a:pt x="56" y="13"/>
                  <a:pt x="53" y="15"/>
                  <a:pt x="54" y="10"/>
                </a:cubicBezTo>
                <a:cubicBezTo>
                  <a:pt x="55" y="6"/>
                  <a:pt x="52" y="1"/>
                  <a:pt x="52" y="1"/>
                </a:cubicBezTo>
                <a:cubicBezTo>
                  <a:pt x="52" y="1"/>
                  <a:pt x="19" y="0"/>
                  <a:pt x="15" y="1"/>
                </a:cubicBezTo>
                <a:cubicBezTo>
                  <a:pt x="14" y="1"/>
                  <a:pt x="11" y="2"/>
                  <a:pt x="9" y="4"/>
                </a:cubicBezTo>
                <a:cubicBezTo>
                  <a:pt x="11" y="12"/>
                  <a:pt x="17" y="25"/>
                  <a:pt x="19" y="28"/>
                </a:cubicBezTo>
                <a:cubicBezTo>
                  <a:pt x="20" y="31"/>
                  <a:pt x="17" y="34"/>
                  <a:pt x="17" y="39"/>
                </a:cubicBezTo>
                <a:cubicBezTo>
                  <a:pt x="17" y="45"/>
                  <a:pt x="23" y="56"/>
                  <a:pt x="24" y="63"/>
                </a:cubicBezTo>
                <a:cubicBezTo>
                  <a:pt x="25" y="70"/>
                  <a:pt x="20" y="75"/>
                  <a:pt x="16" y="79"/>
                </a:cubicBezTo>
                <a:cubicBezTo>
                  <a:pt x="12" y="84"/>
                  <a:pt x="8" y="95"/>
                  <a:pt x="8" y="101"/>
                </a:cubicBezTo>
                <a:cubicBezTo>
                  <a:pt x="8" y="108"/>
                  <a:pt x="2" y="114"/>
                  <a:pt x="2" y="117"/>
                </a:cubicBezTo>
                <a:cubicBezTo>
                  <a:pt x="2" y="120"/>
                  <a:pt x="1" y="129"/>
                  <a:pt x="1" y="132"/>
                </a:cubicBezTo>
                <a:cubicBezTo>
                  <a:pt x="0" y="132"/>
                  <a:pt x="1" y="132"/>
                  <a:pt x="1" y="132"/>
                </a:cubicBezTo>
                <a:cubicBezTo>
                  <a:pt x="4" y="132"/>
                  <a:pt x="4" y="132"/>
                  <a:pt x="4" y="132"/>
                </a:cubicBezTo>
                <a:cubicBezTo>
                  <a:pt x="4" y="132"/>
                  <a:pt x="5" y="129"/>
                  <a:pt x="8" y="12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 name="Freeform 11"/>
          <p:cNvSpPr/>
          <p:nvPr/>
        </p:nvSpPr>
        <p:spPr bwMode="auto">
          <a:xfrm>
            <a:off x="6458855" y="4718229"/>
            <a:ext cx="289268" cy="261558"/>
          </a:xfrm>
          <a:custGeom>
            <a:cxnLst>
              <a:cxn ang="0">
                <a:pos x="100" y="5"/>
              </a:cxn>
              <a:cxn ang="0">
                <a:pos x="92" y="0"/>
              </a:cxn>
              <a:cxn ang="0">
                <a:pos x="78" y="3"/>
              </a:cxn>
              <a:cxn ang="0">
                <a:pos x="75" y="10"/>
              </a:cxn>
              <a:cxn ang="0">
                <a:pos x="74" y="16"/>
              </a:cxn>
              <a:cxn ang="0">
                <a:pos x="73" y="29"/>
              </a:cxn>
              <a:cxn ang="0">
                <a:pos x="71" y="39"/>
              </a:cxn>
              <a:cxn ang="0">
                <a:pos x="78" y="48"/>
              </a:cxn>
              <a:cxn ang="0">
                <a:pos x="86" y="46"/>
              </a:cxn>
              <a:cxn ang="0">
                <a:pos x="87" y="54"/>
              </a:cxn>
              <a:cxn ang="0">
                <a:pos x="85" y="59"/>
              </a:cxn>
              <a:cxn ang="0">
                <a:pos x="77" y="59"/>
              </a:cxn>
              <a:cxn ang="0">
                <a:pos x="73" y="49"/>
              </a:cxn>
              <a:cxn ang="0">
                <a:pos x="64" y="47"/>
              </a:cxn>
              <a:cxn ang="0">
                <a:pos x="58" y="41"/>
              </a:cxn>
              <a:cxn ang="0">
                <a:pos x="54" y="43"/>
              </a:cxn>
              <a:cxn ang="0">
                <a:pos x="49" y="44"/>
              </a:cxn>
              <a:cxn ang="0">
                <a:pos x="40" y="41"/>
              </a:cxn>
              <a:cxn ang="0">
                <a:pos x="36" y="36"/>
              </a:cxn>
              <a:cxn ang="0">
                <a:pos x="29" y="36"/>
              </a:cxn>
              <a:cxn ang="0">
                <a:pos x="26" y="34"/>
              </a:cxn>
              <a:cxn ang="0">
                <a:pos x="23" y="31"/>
              </a:cxn>
              <a:cxn ang="0">
                <a:pos x="21" y="53"/>
              </a:cxn>
              <a:cxn ang="0">
                <a:pos x="18" y="56"/>
              </a:cxn>
              <a:cxn ang="0">
                <a:pos x="1" y="55"/>
              </a:cxn>
              <a:cxn ang="0">
                <a:pos x="0" y="93"/>
              </a:cxn>
              <a:cxn ang="0">
                <a:pos x="13" y="110"/>
              </a:cxn>
              <a:cxn ang="0">
                <a:pos x="34" y="109"/>
              </a:cxn>
              <a:cxn ang="0">
                <a:pos x="35" y="112"/>
              </a:cxn>
              <a:cxn ang="0">
                <a:pos x="40" y="111"/>
              </a:cxn>
              <a:cxn ang="0">
                <a:pos x="55" y="114"/>
              </a:cxn>
              <a:cxn ang="0">
                <a:pos x="66" y="101"/>
              </a:cxn>
              <a:cxn ang="0">
                <a:pos x="77" y="93"/>
              </a:cxn>
              <a:cxn ang="0">
                <a:pos x="83" y="87"/>
              </a:cxn>
              <a:cxn ang="0">
                <a:pos x="93" y="87"/>
              </a:cxn>
              <a:cxn ang="0">
                <a:pos x="93" y="87"/>
              </a:cxn>
              <a:cxn ang="0">
                <a:pos x="91" y="79"/>
              </a:cxn>
              <a:cxn ang="0">
                <a:pos x="122" y="67"/>
              </a:cxn>
              <a:cxn ang="0">
                <a:pos x="120" y="62"/>
              </a:cxn>
              <a:cxn ang="0">
                <a:pos x="122" y="51"/>
              </a:cxn>
              <a:cxn ang="0">
                <a:pos x="127" y="48"/>
              </a:cxn>
              <a:cxn ang="0">
                <a:pos x="126" y="30"/>
              </a:cxn>
              <a:cxn ang="0">
                <a:pos x="130" y="28"/>
              </a:cxn>
              <a:cxn ang="0">
                <a:pos x="125" y="16"/>
              </a:cxn>
              <a:cxn ang="0">
                <a:pos x="110" y="9"/>
              </a:cxn>
              <a:cxn ang="0">
                <a:pos x="100" y="5"/>
              </a:cxn>
            </a:cxnLst>
            <a:rect b="b" l="0" r="r" t="0"/>
            <a:pathLst>
              <a:path h="115" w="130">
                <a:moveTo>
                  <a:pt x="100" y="5"/>
                </a:moveTo>
                <a:cubicBezTo>
                  <a:pt x="99" y="5"/>
                  <a:pt x="95" y="3"/>
                  <a:pt x="92" y="0"/>
                </a:cubicBezTo>
                <a:cubicBezTo>
                  <a:pt x="90" y="3"/>
                  <a:pt x="82" y="3"/>
                  <a:pt x="78" y="3"/>
                </a:cubicBezTo>
                <a:cubicBezTo>
                  <a:pt x="74" y="3"/>
                  <a:pt x="78" y="8"/>
                  <a:pt x="75" y="10"/>
                </a:cubicBezTo>
                <a:cubicBezTo>
                  <a:pt x="73" y="12"/>
                  <a:pt x="72" y="15"/>
                  <a:pt x="74" y="16"/>
                </a:cubicBezTo>
                <a:cubicBezTo>
                  <a:pt x="76" y="17"/>
                  <a:pt x="73" y="26"/>
                  <a:pt x="73" y="29"/>
                </a:cubicBezTo>
                <a:cubicBezTo>
                  <a:pt x="73" y="32"/>
                  <a:pt x="69" y="38"/>
                  <a:pt x="71" y="39"/>
                </a:cubicBezTo>
                <a:cubicBezTo>
                  <a:pt x="72" y="40"/>
                  <a:pt x="75" y="47"/>
                  <a:pt x="78" y="48"/>
                </a:cubicBezTo>
                <a:cubicBezTo>
                  <a:pt x="82" y="49"/>
                  <a:pt x="84" y="46"/>
                  <a:pt x="86" y="46"/>
                </a:cubicBezTo>
                <a:cubicBezTo>
                  <a:pt x="87" y="46"/>
                  <a:pt x="87" y="50"/>
                  <a:pt x="87" y="54"/>
                </a:cubicBezTo>
                <a:cubicBezTo>
                  <a:pt x="87" y="57"/>
                  <a:pt x="85" y="59"/>
                  <a:pt x="85" y="59"/>
                </a:cubicBezTo>
                <a:cubicBezTo>
                  <a:pt x="85" y="59"/>
                  <a:pt x="80" y="61"/>
                  <a:pt x="77" y="59"/>
                </a:cubicBezTo>
                <a:cubicBezTo>
                  <a:pt x="75" y="57"/>
                  <a:pt x="73" y="51"/>
                  <a:pt x="73" y="49"/>
                </a:cubicBezTo>
                <a:cubicBezTo>
                  <a:pt x="73" y="47"/>
                  <a:pt x="67" y="47"/>
                  <a:pt x="64" y="47"/>
                </a:cubicBezTo>
                <a:cubicBezTo>
                  <a:pt x="62" y="47"/>
                  <a:pt x="59" y="43"/>
                  <a:pt x="58" y="41"/>
                </a:cubicBezTo>
                <a:cubicBezTo>
                  <a:pt x="57" y="39"/>
                  <a:pt x="54" y="41"/>
                  <a:pt x="54" y="43"/>
                </a:cubicBezTo>
                <a:cubicBezTo>
                  <a:pt x="54" y="44"/>
                  <a:pt x="52" y="44"/>
                  <a:pt x="49" y="44"/>
                </a:cubicBezTo>
                <a:cubicBezTo>
                  <a:pt x="47" y="44"/>
                  <a:pt x="42" y="40"/>
                  <a:pt x="40" y="41"/>
                </a:cubicBezTo>
                <a:cubicBezTo>
                  <a:pt x="38" y="42"/>
                  <a:pt x="36" y="38"/>
                  <a:pt x="36" y="36"/>
                </a:cubicBezTo>
                <a:cubicBezTo>
                  <a:pt x="37" y="34"/>
                  <a:pt x="31" y="35"/>
                  <a:pt x="29" y="36"/>
                </a:cubicBezTo>
                <a:cubicBezTo>
                  <a:pt x="27" y="37"/>
                  <a:pt x="26" y="34"/>
                  <a:pt x="26" y="34"/>
                </a:cubicBezTo>
                <a:cubicBezTo>
                  <a:pt x="26" y="34"/>
                  <a:pt x="25" y="32"/>
                  <a:pt x="23" y="31"/>
                </a:cubicBezTo>
                <a:cubicBezTo>
                  <a:pt x="21" y="53"/>
                  <a:pt x="21" y="53"/>
                  <a:pt x="21" y="53"/>
                </a:cubicBezTo>
                <a:cubicBezTo>
                  <a:pt x="18" y="56"/>
                  <a:pt x="18" y="56"/>
                  <a:pt x="18" y="56"/>
                </a:cubicBezTo>
                <a:cubicBezTo>
                  <a:pt x="1" y="55"/>
                  <a:pt x="1" y="55"/>
                  <a:pt x="1" y="55"/>
                </a:cubicBezTo>
                <a:cubicBezTo>
                  <a:pt x="0" y="93"/>
                  <a:pt x="0" y="93"/>
                  <a:pt x="0" y="93"/>
                </a:cubicBezTo>
                <a:cubicBezTo>
                  <a:pt x="13" y="110"/>
                  <a:pt x="13" y="110"/>
                  <a:pt x="13" y="110"/>
                </a:cubicBezTo>
                <a:cubicBezTo>
                  <a:pt x="20" y="109"/>
                  <a:pt x="34" y="107"/>
                  <a:pt x="34" y="109"/>
                </a:cubicBezTo>
                <a:cubicBezTo>
                  <a:pt x="34" y="110"/>
                  <a:pt x="34" y="111"/>
                  <a:pt x="35" y="112"/>
                </a:cubicBezTo>
                <a:cubicBezTo>
                  <a:pt x="37" y="112"/>
                  <a:pt x="39" y="111"/>
                  <a:pt x="40" y="111"/>
                </a:cubicBezTo>
                <a:cubicBezTo>
                  <a:pt x="43" y="112"/>
                  <a:pt x="52" y="115"/>
                  <a:pt x="55" y="114"/>
                </a:cubicBezTo>
                <a:cubicBezTo>
                  <a:pt x="57" y="112"/>
                  <a:pt x="62" y="102"/>
                  <a:pt x="66" y="101"/>
                </a:cubicBezTo>
                <a:cubicBezTo>
                  <a:pt x="71" y="100"/>
                  <a:pt x="77" y="95"/>
                  <a:pt x="77" y="93"/>
                </a:cubicBezTo>
                <a:cubicBezTo>
                  <a:pt x="77" y="91"/>
                  <a:pt x="77" y="89"/>
                  <a:pt x="83" y="87"/>
                </a:cubicBezTo>
                <a:cubicBezTo>
                  <a:pt x="93" y="87"/>
                  <a:pt x="93" y="87"/>
                  <a:pt x="93" y="87"/>
                </a:cubicBezTo>
                <a:cubicBezTo>
                  <a:pt x="93" y="87"/>
                  <a:pt x="93" y="87"/>
                  <a:pt x="93" y="87"/>
                </a:cubicBezTo>
                <a:cubicBezTo>
                  <a:pt x="91" y="79"/>
                  <a:pt x="91" y="79"/>
                  <a:pt x="91" y="79"/>
                </a:cubicBezTo>
                <a:cubicBezTo>
                  <a:pt x="91" y="79"/>
                  <a:pt x="121" y="67"/>
                  <a:pt x="122" y="67"/>
                </a:cubicBezTo>
                <a:cubicBezTo>
                  <a:pt x="121" y="65"/>
                  <a:pt x="120" y="63"/>
                  <a:pt x="120" y="62"/>
                </a:cubicBezTo>
                <a:cubicBezTo>
                  <a:pt x="121" y="62"/>
                  <a:pt x="122" y="54"/>
                  <a:pt x="122" y="51"/>
                </a:cubicBezTo>
                <a:cubicBezTo>
                  <a:pt x="122" y="49"/>
                  <a:pt x="129" y="51"/>
                  <a:pt x="127" y="48"/>
                </a:cubicBezTo>
                <a:cubicBezTo>
                  <a:pt x="124" y="46"/>
                  <a:pt x="125" y="33"/>
                  <a:pt x="126" y="30"/>
                </a:cubicBezTo>
                <a:cubicBezTo>
                  <a:pt x="127" y="27"/>
                  <a:pt x="130" y="30"/>
                  <a:pt x="130" y="28"/>
                </a:cubicBezTo>
                <a:cubicBezTo>
                  <a:pt x="130" y="25"/>
                  <a:pt x="127" y="18"/>
                  <a:pt x="125" y="16"/>
                </a:cubicBezTo>
                <a:cubicBezTo>
                  <a:pt x="124" y="14"/>
                  <a:pt x="113" y="10"/>
                  <a:pt x="110" y="9"/>
                </a:cubicBezTo>
                <a:cubicBezTo>
                  <a:pt x="108" y="9"/>
                  <a:pt x="103" y="5"/>
                  <a:pt x="100" y="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 name="Freeform 12"/>
          <p:cNvSpPr/>
          <p:nvPr/>
        </p:nvSpPr>
        <p:spPr bwMode="auto">
          <a:xfrm>
            <a:off x="6629449" y="4532485"/>
            <a:ext cx="50066" cy="45488"/>
          </a:xfrm>
          <a:custGeom>
            <a:cxnLst>
              <a:cxn ang="0">
                <a:pos x="18" y="0"/>
              </a:cxn>
              <a:cxn ang="0">
                <a:pos x="12" y="2"/>
              </a:cxn>
              <a:cxn ang="0">
                <a:pos x="6" y="3"/>
              </a:cxn>
              <a:cxn ang="0">
                <a:pos x="5" y="5"/>
              </a:cxn>
              <a:cxn ang="0">
                <a:pos x="3" y="12"/>
              </a:cxn>
              <a:cxn ang="0">
                <a:pos x="0" y="15"/>
              </a:cxn>
              <a:cxn ang="0">
                <a:pos x="3" y="18"/>
              </a:cxn>
              <a:cxn ang="0">
                <a:pos x="6" y="19"/>
              </a:cxn>
              <a:cxn ang="0">
                <a:pos x="12" y="15"/>
              </a:cxn>
              <a:cxn ang="0">
                <a:pos x="22" y="13"/>
              </a:cxn>
              <a:cxn ang="0">
                <a:pos x="20" y="5"/>
              </a:cxn>
              <a:cxn ang="0">
                <a:pos x="18" y="0"/>
              </a:cxn>
            </a:cxnLst>
            <a:rect b="b" l="0" r="r" t="0"/>
            <a:pathLst>
              <a:path h="20" w="22">
                <a:moveTo>
                  <a:pt x="18" y="0"/>
                </a:moveTo>
                <a:cubicBezTo>
                  <a:pt x="16" y="1"/>
                  <a:pt x="13" y="2"/>
                  <a:pt x="12" y="2"/>
                </a:cubicBezTo>
                <a:cubicBezTo>
                  <a:pt x="11" y="3"/>
                  <a:pt x="10" y="4"/>
                  <a:pt x="6" y="3"/>
                </a:cubicBezTo>
                <a:cubicBezTo>
                  <a:pt x="6" y="4"/>
                  <a:pt x="6" y="4"/>
                  <a:pt x="5" y="5"/>
                </a:cubicBezTo>
                <a:cubicBezTo>
                  <a:pt x="2" y="6"/>
                  <a:pt x="3" y="12"/>
                  <a:pt x="3" y="12"/>
                </a:cubicBezTo>
                <a:cubicBezTo>
                  <a:pt x="3" y="12"/>
                  <a:pt x="0" y="12"/>
                  <a:pt x="0" y="15"/>
                </a:cubicBezTo>
                <a:cubicBezTo>
                  <a:pt x="0" y="17"/>
                  <a:pt x="2" y="18"/>
                  <a:pt x="3" y="18"/>
                </a:cubicBezTo>
                <a:cubicBezTo>
                  <a:pt x="4" y="18"/>
                  <a:pt x="5" y="18"/>
                  <a:pt x="6" y="19"/>
                </a:cubicBezTo>
                <a:cubicBezTo>
                  <a:pt x="13" y="20"/>
                  <a:pt x="12" y="15"/>
                  <a:pt x="12" y="15"/>
                </a:cubicBezTo>
                <a:cubicBezTo>
                  <a:pt x="12" y="15"/>
                  <a:pt x="21" y="16"/>
                  <a:pt x="22" y="13"/>
                </a:cubicBezTo>
                <a:cubicBezTo>
                  <a:pt x="22" y="10"/>
                  <a:pt x="20" y="5"/>
                  <a:pt x="20" y="5"/>
                </a:cubicBezTo>
                <a:lnTo>
                  <a:pt x="18" y="0"/>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 name="Freeform 13"/>
          <p:cNvSpPr/>
          <p:nvPr/>
        </p:nvSpPr>
        <p:spPr bwMode="auto">
          <a:xfrm>
            <a:off x="6933551" y="4189427"/>
            <a:ext cx="261455" cy="356325"/>
          </a:xfrm>
          <a:custGeom>
            <a:cxnLst>
              <a:cxn ang="0">
                <a:pos x="27" y="30"/>
              </a:cxn>
              <a:cxn ang="0">
                <a:pos x="35" y="37"/>
              </a:cxn>
              <a:cxn ang="0">
                <a:pos x="58" y="45"/>
              </a:cxn>
              <a:cxn ang="0">
                <a:pos x="73" y="48"/>
              </a:cxn>
              <a:cxn ang="0">
                <a:pos x="77" y="51"/>
              </a:cxn>
              <a:cxn ang="0">
                <a:pos x="47" y="81"/>
              </a:cxn>
              <a:cxn ang="0">
                <a:pos x="35" y="83"/>
              </a:cxn>
              <a:cxn ang="0">
                <a:pos x="20" y="91"/>
              </a:cxn>
              <a:cxn ang="0">
                <a:pos x="11" y="92"/>
              </a:cxn>
              <a:cxn ang="0">
                <a:pos x="5" y="100"/>
              </a:cxn>
              <a:cxn ang="0">
                <a:pos x="0" y="108"/>
              </a:cxn>
              <a:cxn ang="0">
                <a:pos x="1" y="148"/>
              </a:cxn>
              <a:cxn ang="0">
                <a:pos x="6" y="157"/>
              </a:cxn>
              <a:cxn ang="0">
                <a:pos x="31" y="131"/>
              </a:cxn>
              <a:cxn ang="0">
                <a:pos x="51" y="116"/>
              </a:cxn>
              <a:cxn ang="0">
                <a:pos x="79" y="88"/>
              </a:cxn>
              <a:cxn ang="0">
                <a:pos x="92" y="67"/>
              </a:cxn>
              <a:cxn ang="0">
                <a:pos x="102" y="50"/>
              </a:cxn>
              <a:cxn ang="0">
                <a:pos x="113" y="28"/>
              </a:cxn>
              <a:cxn ang="0">
                <a:pos x="117" y="8"/>
              </a:cxn>
              <a:cxn ang="0">
                <a:pos x="109" y="4"/>
              </a:cxn>
              <a:cxn ang="0">
                <a:pos x="84" y="11"/>
              </a:cxn>
              <a:cxn ang="0">
                <a:pos x="66" y="15"/>
              </a:cxn>
              <a:cxn ang="0">
                <a:pos x="51" y="18"/>
              </a:cxn>
              <a:cxn ang="0">
                <a:pos x="33" y="16"/>
              </a:cxn>
              <a:cxn ang="0">
                <a:pos x="27" y="10"/>
              </a:cxn>
              <a:cxn ang="0">
                <a:pos x="20" y="20"/>
              </a:cxn>
              <a:cxn ang="0">
                <a:pos x="27" y="30"/>
              </a:cxn>
            </a:cxnLst>
            <a:rect b="b" l="0" r="r" t="0"/>
            <a:pathLst>
              <a:path h="157" w="117">
                <a:moveTo>
                  <a:pt x="27" y="30"/>
                </a:moveTo>
                <a:cubicBezTo>
                  <a:pt x="29" y="31"/>
                  <a:pt x="33" y="36"/>
                  <a:pt x="35" y="37"/>
                </a:cubicBezTo>
                <a:cubicBezTo>
                  <a:pt x="37" y="37"/>
                  <a:pt x="50" y="41"/>
                  <a:pt x="58" y="45"/>
                </a:cubicBezTo>
                <a:cubicBezTo>
                  <a:pt x="66" y="48"/>
                  <a:pt x="71" y="48"/>
                  <a:pt x="73" y="48"/>
                </a:cubicBezTo>
                <a:cubicBezTo>
                  <a:pt x="76" y="48"/>
                  <a:pt x="79" y="49"/>
                  <a:pt x="77" y="51"/>
                </a:cubicBezTo>
                <a:cubicBezTo>
                  <a:pt x="75" y="52"/>
                  <a:pt x="50" y="77"/>
                  <a:pt x="47" y="81"/>
                </a:cubicBezTo>
                <a:cubicBezTo>
                  <a:pt x="44" y="84"/>
                  <a:pt x="42" y="83"/>
                  <a:pt x="35" y="83"/>
                </a:cubicBezTo>
                <a:cubicBezTo>
                  <a:pt x="27" y="83"/>
                  <a:pt x="22" y="91"/>
                  <a:pt x="20" y="91"/>
                </a:cubicBezTo>
                <a:cubicBezTo>
                  <a:pt x="19" y="90"/>
                  <a:pt x="14" y="91"/>
                  <a:pt x="11" y="92"/>
                </a:cubicBezTo>
                <a:cubicBezTo>
                  <a:pt x="5" y="100"/>
                  <a:pt x="5" y="100"/>
                  <a:pt x="5" y="100"/>
                </a:cubicBezTo>
                <a:cubicBezTo>
                  <a:pt x="0" y="108"/>
                  <a:pt x="0" y="108"/>
                  <a:pt x="0" y="108"/>
                </a:cubicBezTo>
                <a:cubicBezTo>
                  <a:pt x="1" y="148"/>
                  <a:pt x="1" y="148"/>
                  <a:pt x="1" y="148"/>
                </a:cubicBezTo>
                <a:cubicBezTo>
                  <a:pt x="6" y="157"/>
                  <a:pt x="6" y="157"/>
                  <a:pt x="6" y="157"/>
                </a:cubicBezTo>
                <a:cubicBezTo>
                  <a:pt x="11" y="151"/>
                  <a:pt x="23" y="140"/>
                  <a:pt x="31" y="131"/>
                </a:cubicBezTo>
                <a:cubicBezTo>
                  <a:pt x="41" y="121"/>
                  <a:pt x="46" y="118"/>
                  <a:pt x="51" y="116"/>
                </a:cubicBezTo>
                <a:cubicBezTo>
                  <a:pt x="56" y="113"/>
                  <a:pt x="70" y="100"/>
                  <a:pt x="79" y="88"/>
                </a:cubicBezTo>
                <a:cubicBezTo>
                  <a:pt x="85" y="81"/>
                  <a:pt x="91" y="73"/>
                  <a:pt x="92" y="67"/>
                </a:cubicBezTo>
                <a:cubicBezTo>
                  <a:pt x="93" y="62"/>
                  <a:pt x="98" y="55"/>
                  <a:pt x="102" y="50"/>
                </a:cubicBezTo>
                <a:cubicBezTo>
                  <a:pt x="106" y="45"/>
                  <a:pt x="113" y="32"/>
                  <a:pt x="113" y="28"/>
                </a:cubicBezTo>
                <a:cubicBezTo>
                  <a:pt x="113" y="24"/>
                  <a:pt x="116" y="15"/>
                  <a:pt x="117" y="8"/>
                </a:cubicBezTo>
                <a:cubicBezTo>
                  <a:pt x="117" y="1"/>
                  <a:pt x="111" y="0"/>
                  <a:pt x="109" y="4"/>
                </a:cubicBezTo>
                <a:cubicBezTo>
                  <a:pt x="107" y="8"/>
                  <a:pt x="93" y="11"/>
                  <a:pt x="84" y="11"/>
                </a:cubicBezTo>
                <a:cubicBezTo>
                  <a:pt x="75" y="11"/>
                  <a:pt x="69" y="12"/>
                  <a:pt x="66" y="15"/>
                </a:cubicBezTo>
                <a:cubicBezTo>
                  <a:pt x="63" y="18"/>
                  <a:pt x="54" y="14"/>
                  <a:pt x="51" y="18"/>
                </a:cubicBezTo>
                <a:cubicBezTo>
                  <a:pt x="48" y="21"/>
                  <a:pt x="36" y="24"/>
                  <a:pt x="33" y="16"/>
                </a:cubicBezTo>
                <a:cubicBezTo>
                  <a:pt x="31" y="13"/>
                  <a:pt x="29" y="11"/>
                  <a:pt x="27" y="10"/>
                </a:cubicBezTo>
                <a:cubicBezTo>
                  <a:pt x="24" y="13"/>
                  <a:pt x="20" y="18"/>
                  <a:pt x="20" y="20"/>
                </a:cubicBezTo>
                <a:cubicBezTo>
                  <a:pt x="21" y="22"/>
                  <a:pt x="25" y="29"/>
                  <a:pt x="27" y="3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 name="Freeform 14"/>
          <p:cNvSpPr/>
          <p:nvPr/>
        </p:nvSpPr>
        <p:spPr bwMode="auto">
          <a:xfrm>
            <a:off x="5589197" y="3533637"/>
            <a:ext cx="304102" cy="246395"/>
          </a:xfrm>
          <a:custGeom>
            <a:cxnLst>
              <a:cxn ang="0">
                <a:pos x="50" y="108"/>
              </a:cxn>
              <a:cxn ang="0">
                <a:pos x="50" y="93"/>
              </a:cxn>
              <a:cxn ang="0">
                <a:pos x="68" y="81"/>
              </a:cxn>
              <a:cxn ang="0">
                <a:pos x="75" y="79"/>
              </a:cxn>
              <a:cxn ang="0">
                <a:pos x="85" y="77"/>
              </a:cxn>
              <a:cxn ang="0">
                <a:pos x="91" y="70"/>
              </a:cxn>
              <a:cxn ang="0">
                <a:pos x="99" y="67"/>
              </a:cxn>
              <a:cxn ang="0">
                <a:pos x="104" y="64"/>
              </a:cxn>
              <a:cxn ang="0">
                <a:pos x="106" y="57"/>
              </a:cxn>
              <a:cxn ang="0">
                <a:pos x="110" y="54"/>
              </a:cxn>
              <a:cxn ang="0">
                <a:pos x="116" y="50"/>
              </a:cxn>
              <a:cxn ang="0">
                <a:pos x="133" y="49"/>
              </a:cxn>
              <a:cxn ang="0">
                <a:pos x="135" y="45"/>
              </a:cxn>
              <a:cxn ang="0">
                <a:pos x="131" y="37"/>
              </a:cxn>
              <a:cxn ang="0">
                <a:pos x="130" y="27"/>
              </a:cxn>
              <a:cxn ang="0">
                <a:pos x="127" y="15"/>
              </a:cxn>
              <a:cxn ang="0">
                <a:pos x="125" y="11"/>
              </a:cxn>
              <a:cxn ang="0">
                <a:pos x="112" y="8"/>
              </a:cxn>
              <a:cxn ang="0">
                <a:pos x="93" y="6"/>
              </a:cxn>
              <a:cxn ang="0">
                <a:pos x="82" y="2"/>
              </a:cxn>
              <a:cxn ang="0">
                <a:pos x="70" y="25"/>
              </a:cxn>
              <a:cxn ang="0">
                <a:pos x="53" y="33"/>
              </a:cxn>
              <a:cxn ang="0">
                <a:pos x="44" y="42"/>
              </a:cxn>
              <a:cxn ang="0">
                <a:pos x="38" y="53"/>
              </a:cxn>
              <a:cxn ang="0">
                <a:pos x="38" y="70"/>
              </a:cxn>
              <a:cxn ang="0">
                <a:pos x="25" y="89"/>
              </a:cxn>
              <a:cxn ang="0">
                <a:pos x="8" y="100"/>
              </a:cxn>
              <a:cxn ang="0">
                <a:pos x="0" y="104"/>
              </a:cxn>
              <a:cxn ang="0">
                <a:pos x="42" y="104"/>
              </a:cxn>
              <a:cxn ang="0">
                <a:pos x="50" y="108"/>
              </a:cxn>
            </a:cxnLst>
            <a:rect b="b" l="0" r="r" t="0"/>
            <a:pathLst>
              <a:path h="108" w="136">
                <a:moveTo>
                  <a:pt x="50" y="108"/>
                </a:moveTo>
                <a:cubicBezTo>
                  <a:pt x="50" y="101"/>
                  <a:pt x="49" y="94"/>
                  <a:pt x="50" y="93"/>
                </a:cubicBezTo>
                <a:cubicBezTo>
                  <a:pt x="50" y="91"/>
                  <a:pt x="65" y="83"/>
                  <a:pt x="68" y="81"/>
                </a:cubicBezTo>
                <a:cubicBezTo>
                  <a:pt x="70" y="80"/>
                  <a:pt x="75" y="82"/>
                  <a:pt x="75" y="79"/>
                </a:cubicBezTo>
                <a:cubicBezTo>
                  <a:pt x="75" y="76"/>
                  <a:pt x="81" y="77"/>
                  <a:pt x="85" y="77"/>
                </a:cubicBezTo>
                <a:cubicBezTo>
                  <a:pt x="89" y="76"/>
                  <a:pt x="91" y="73"/>
                  <a:pt x="91" y="70"/>
                </a:cubicBezTo>
                <a:cubicBezTo>
                  <a:pt x="91" y="67"/>
                  <a:pt x="96" y="67"/>
                  <a:pt x="99" y="67"/>
                </a:cubicBezTo>
                <a:cubicBezTo>
                  <a:pt x="103" y="67"/>
                  <a:pt x="102" y="64"/>
                  <a:pt x="104" y="64"/>
                </a:cubicBezTo>
                <a:cubicBezTo>
                  <a:pt x="107" y="64"/>
                  <a:pt x="105" y="60"/>
                  <a:pt x="106" y="57"/>
                </a:cubicBezTo>
                <a:cubicBezTo>
                  <a:pt x="106" y="53"/>
                  <a:pt x="106" y="54"/>
                  <a:pt x="110" y="54"/>
                </a:cubicBezTo>
                <a:cubicBezTo>
                  <a:pt x="113" y="54"/>
                  <a:pt x="116" y="52"/>
                  <a:pt x="116" y="50"/>
                </a:cubicBezTo>
                <a:cubicBezTo>
                  <a:pt x="116" y="48"/>
                  <a:pt x="130" y="49"/>
                  <a:pt x="133" y="49"/>
                </a:cubicBezTo>
                <a:cubicBezTo>
                  <a:pt x="135" y="49"/>
                  <a:pt x="136" y="46"/>
                  <a:pt x="135" y="45"/>
                </a:cubicBezTo>
                <a:cubicBezTo>
                  <a:pt x="135" y="43"/>
                  <a:pt x="133" y="37"/>
                  <a:pt x="131" y="37"/>
                </a:cubicBezTo>
                <a:cubicBezTo>
                  <a:pt x="129" y="37"/>
                  <a:pt x="130" y="31"/>
                  <a:pt x="130" y="27"/>
                </a:cubicBezTo>
                <a:cubicBezTo>
                  <a:pt x="130" y="22"/>
                  <a:pt x="129" y="18"/>
                  <a:pt x="127" y="15"/>
                </a:cubicBezTo>
                <a:cubicBezTo>
                  <a:pt x="126" y="14"/>
                  <a:pt x="126" y="13"/>
                  <a:pt x="125" y="11"/>
                </a:cubicBezTo>
                <a:cubicBezTo>
                  <a:pt x="121" y="11"/>
                  <a:pt x="116" y="8"/>
                  <a:pt x="112" y="8"/>
                </a:cubicBezTo>
                <a:cubicBezTo>
                  <a:pt x="106" y="8"/>
                  <a:pt x="97" y="11"/>
                  <a:pt x="93" y="6"/>
                </a:cubicBezTo>
                <a:cubicBezTo>
                  <a:pt x="88" y="2"/>
                  <a:pt x="85" y="0"/>
                  <a:pt x="82" y="2"/>
                </a:cubicBezTo>
                <a:cubicBezTo>
                  <a:pt x="79" y="3"/>
                  <a:pt x="73" y="20"/>
                  <a:pt x="70" y="25"/>
                </a:cubicBezTo>
                <a:cubicBezTo>
                  <a:pt x="67" y="29"/>
                  <a:pt x="57" y="33"/>
                  <a:pt x="53" y="33"/>
                </a:cubicBezTo>
                <a:cubicBezTo>
                  <a:pt x="48" y="33"/>
                  <a:pt x="48" y="40"/>
                  <a:pt x="44" y="42"/>
                </a:cubicBezTo>
                <a:cubicBezTo>
                  <a:pt x="41" y="45"/>
                  <a:pt x="42" y="50"/>
                  <a:pt x="38" y="53"/>
                </a:cubicBezTo>
                <a:cubicBezTo>
                  <a:pt x="34" y="56"/>
                  <a:pt x="36" y="67"/>
                  <a:pt x="38" y="70"/>
                </a:cubicBezTo>
                <a:cubicBezTo>
                  <a:pt x="40" y="74"/>
                  <a:pt x="30" y="85"/>
                  <a:pt x="25" y="89"/>
                </a:cubicBezTo>
                <a:cubicBezTo>
                  <a:pt x="19" y="92"/>
                  <a:pt x="17" y="98"/>
                  <a:pt x="8" y="100"/>
                </a:cubicBezTo>
                <a:cubicBezTo>
                  <a:pt x="5" y="100"/>
                  <a:pt x="2" y="102"/>
                  <a:pt x="0" y="104"/>
                </a:cubicBezTo>
                <a:cubicBezTo>
                  <a:pt x="14" y="104"/>
                  <a:pt x="35" y="104"/>
                  <a:pt x="42" y="104"/>
                </a:cubicBezTo>
                <a:cubicBezTo>
                  <a:pt x="50" y="104"/>
                  <a:pt x="48" y="106"/>
                  <a:pt x="50" y="108"/>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8" name="Freeform 15"/>
          <p:cNvSpPr/>
          <p:nvPr/>
        </p:nvSpPr>
        <p:spPr bwMode="auto">
          <a:xfrm>
            <a:off x="6104687" y="3490045"/>
            <a:ext cx="109403" cy="208488"/>
          </a:xfrm>
          <a:custGeom>
            <a:cxnLst>
              <a:cxn ang="0">
                <a:pos x="13" y="23"/>
              </a:cxn>
              <a:cxn ang="0">
                <a:pos x="10" y="35"/>
              </a:cxn>
              <a:cxn ang="0">
                <a:pos x="3" y="42"/>
              </a:cxn>
              <a:cxn ang="0">
                <a:pos x="7" y="54"/>
              </a:cxn>
              <a:cxn ang="0">
                <a:pos x="12" y="62"/>
              </a:cxn>
              <a:cxn ang="0">
                <a:pos x="21" y="68"/>
              </a:cxn>
              <a:cxn ang="0">
                <a:pos x="26" y="88"/>
              </a:cxn>
              <a:cxn ang="0">
                <a:pos x="27" y="91"/>
              </a:cxn>
              <a:cxn ang="0">
                <a:pos x="32" y="87"/>
              </a:cxn>
              <a:cxn ang="0">
                <a:pos x="34" y="78"/>
              </a:cxn>
              <a:cxn ang="0">
                <a:pos x="35" y="73"/>
              </a:cxn>
              <a:cxn ang="0">
                <a:pos x="43" y="65"/>
              </a:cxn>
              <a:cxn ang="0">
                <a:pos x="48" y="61"/>
              </a:cxn>
              <a:cxn ang="0">
                <a:pos x="49" y="55"/>
              </a:cxn>
              <a:cxn ang="0">
                <a:pos x="44" y="51"/>
              </a:cxn>
              <a:cxn ang="0">
                <a:pos x="40" y="47"/>
              </a:cxn>
              <a:cxn ang="0">
                <a:pos x="31" y="43"/>
              </a:cxn>
              <a:cxn ang="0">
                <a:pos x="40" y="35"/>
              </a:cxn>
              <a:cxn ang="0">
                <a:pos x="40" y="20"/>
              </a:cxn>
              <a:cxn ang="0">
                <a:pos x="42" y="10"/>
              </a:cxn>
              <a:cxn ang="0">
                <a:pos x="40" y="6"/>
              </a:cxn>
              <a:cxn ang="0">
                <a:pos x="35" y="4"/>
              </a:cxn>
              <a:cxn ang="0">
                <a:pos x="20" y="4"/>
              </a:cxn>
              <a:cxn ang="0">
                <a:pos x="13" y="5"/>
              </a:cxn>
              <a:cxn ang="0">
                <a:pos x="13" y="23"/>
              </a:cxn>
            </a:cxnLst>
            <a:rect b="b" l="0" r="r" t="0"/>
            <a:pathLst>
              <a:path h="91" w="49">
                <a:moveTo>
                  <a:pt x="13" y="23"/>
                </a:moveTo>
                <a:cubicBezTo>
                  <a:pt x="16" y="27"/>
                  <a:pt x="13" y="34"/>
                  <a:pt x="10" y="35"/>
                </a:cubicBezTo>
                <a:cubicBezTo>
                  <a:pt x="7" y="36"/>
                  <a:pt x="5" y="42"/>
                  <a:pt x="3" y="42"/>
                </a:cubicBezTo>
                <a:cubicBezTo>
                  <a:pt x="0" y="42"/>
                  <a:pt x="3" y="52"/>
                  <a:pt x="7" y="54"/>
                </a:cubicBezTo>
                <a:cubicBezTo>
                  <a:pt x="12" y="56"/>
                  <a:pt x="12" y="60"/>
                  <a:pt x="12" y="62"/>
                </a:cubicBezTo>
                <a:cubicBezTo>
                  <a:pt x="12" y="64"/>
                  <a:pt x="19" y="66"/>
                  <a:pt x="21" y="68"/>
                </a:cubicBezTo>
                <a:cubicBezTo>
                  <a:pt x="23" y="71"/>
                  <a:pt x="26" y="84"/>
                  <a:pt x="26" y="88"/>
                </a:cubicBezTo>
                <a:cubicBezTo>
                  <a:pt x="26" y="89"/>
                  <a:pt x="26" y="90"/>
                  <a:pt x="27" y="91"/>
                </a:cubicBezTo>
                <a:cubicBezTo>
                  <a:pt x="29" y="90"/>
                  <a:pt x="31" y="89"/>
                  <a:pt x="32" y="87"/>
                </a:cubicBezTo>
                <a:cubicBezTo>
                  <a:pt x="33" y="84"/>
                  <a:pt x="34" y="79"/>
                  <a:pt x="34" y="78"/>
                </a:cubicBezTo>
                <a:cubicBezTo>
                  <a:pt x="33" y="77"/>
                  <a:pt x="33" y="74"/>
                  <a:pt x="35" y="73"/>
                </a:cubicBezTo>
                <a:cubicBezTo>
                  <a:pt x="36" y="72"/>
                  <a:pt x="42" y="65"/>
                  <a:pt x="43" y="65"/>
                </a:cubicBezTo>
                <a:cubicBezTo>
                  <a:pt x="45" y="64"/>
                  <a:pt x="48" y="65"/>
                  <a:pt x="48" y="61"/>
                </a:cubicBezTo>
                <a:cubicBezTo>
                  <a:pt x="48" y="60"/>
                  <a:pt x="48" y="58"/>
                  <a:pt x="49" y="55"/>
                </a:cubicBezTo>
                <a:cubicBezTo>
                  <a:pt x="46" y="54"/>
                  <a:pt x="44" y="52"/>
                  <a:pt x="44" y="51"/>
                </a:cubicBezTo>
                <a:cubicBezTo>
                  <a:pt x="44" y="49"/>
                  <a:pt x="41" y="45"/>
                  <a:pt x="40" y="47"/>
                </a:cubicBezTo>
                <a:cubicBezTo>
                  <a:pt x="38" y="49"/>
                  <a:pt x="32" y="47"/>
                  <a:pt x="31" y="43"/>
                </a:cubicBezTo>
                <a:cubicBezTo>
                  <a:pt x="30" y="39"/>
                  <a:pt x="35" y="39"/>
                  <a:pt x="40" y="35"/>
                </a:cubicBezTo>
                <a:cubicBezTo>
                  <a:pt x="44" y="31"/>
                  <a:pt x="45" y="24"/>
                  <a:pt x="40" y="20"/>
                </a:cubicBezTo>
                <a:cubicBezTo>
                  <a:pt x="35" y="16"/>
                  <a:pt x="38" y="14"/>
                  <a:pt x="42" y="10"/>
                </a:cubicBezTo>
                <a:cubicBezTo>
                  <a:pt x="45" y="7"/>
                  <a:pt x="42" y="5"/>
                  <a:pt x="40" y="6"/>
                </a:cubicBezTo>
                <a:cubicBezTo>
                  <a:pt x="39" y="8"/>
                  <a:pt x="36" y="8"/>
                  <a:pt x="35" y="4"/>
                </a:cubicBezTo>
                <a:cubicBezTo>
                  <a:pt x="35" y="0"/>
                  <a:pt x="24" y="0"/>
                  <a:pt x="20" y="4"/>
                </a:cubicBezTo>
                <a:cubicBezTo>
                  <a:pt x="18" y="5"/>
                  <a:pt x="16" y="5"/>
                  <a:pt x="13" y="5"/>
                </a:cubicBezTo>
                <a:cubicBezTo>
                  <a:pt x="12" y="12"/>
                  <a:pt x="12" y="20"/>
                  <a:pt x="13" y="2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9" name="Freeform 16"/>
          <p:cNvSpPr/>
          <p:nvPr/>
        </p:nvSpPr>
        <p:spPr bwMode="auto">
          <a:xfrm>
            <a:off x="5698599" y="3497626"/>
            <a:ext cx="524763" cy="513639"/>
          </a:xfrm>
          <a:custGeom>
            <a:cxnLst>
              <a:cxn ang="0">
                <a:pos x="81" y="43"/>
              </a:cxn>
              <a:cxn ang="0">
                <a:pos x="82" y="53"/>
              </a:cxn>
              <a:cxn ang="0">
                <a:pos x="86" y="61"/>
              </a:cxn>
              <a:cxn ang="0">
                <a:pos x="84" y="65"/>
              </a:cxn>
              <a:cxn ang="0">
                <a:pos x="67" y="66"/>
              </a:cxn>
              <a:cxn ang="0">
                <a:pos x="61" y="70"/>
              </a:cxn>
              <a:cxn ang="0">
                <a:pos x="57" y="73"/>
              </a:cxn>
              <a:cxn ang="0">
                <a:pos x="55" y="80"/>
              </a:cxn>
              <a:cxn ang="0">
                <a:pos x="50" y="83"/>
              </a:cxn>
              <a:cxn ang="0">
                <a:pos x="42" y="86"/>
              </a:cxn>
              <a:cxn ang="0">
                <a:pos x="36" y="93"/>
              </a:cxn>
              <a:cxn ang="0">
                <a:pos x="26" y="95"/>
              </a:cxn>
              <a:cxn ang="0">
                <a:pos x="19" y="97"/>
              </a:cxn>
              <a:cxn ang="0">
                <a:pos x="1" y="109"/>
              </a:cxn>
              <a:cxn ang="0">
                <a:pos x="1" y="124"/>
              </a:cxn>
              <a:cxn ang="0">
                <a:pos x="3" y="126"/>
              </a:cxn>
              <a:cxn ang="0">
                <a:pos x="112" y="199"/>
              </a:cxn>
              <a:cxn ang="0">
                <a:pos x="120" y="209"/>
              </a:cxn>
              <a:cxn ang="0">
                <a:pos x="132" y="213"/>
              </a:cxn>
              <a:cxn ang="0">
                <a:pos x="138" y="225"/>
              </a:cxn>
              <a:cxn ang="0">
                <a:pos x="149" y="223"/>
              </a:cxn>
              <a:cxn ang="0">
                <a:pos x="166" y="217"/>
              </a:cxn>
              <a:cxn ang="0">
                <a:pos x="187" y="201"/>
              </a:cxn>
              <a:cxn ang="0">
                <a:pos x="235" y="171"/>
              </a:cxn>
              <a:cxn ang="0">
                <a:pos x="235" y="171"/>
              </a:cxn>
              <a:cxn ang="0">
                <a:pos x="230" y="161"/>
              </a:cxn>
              <a:cxn ang="0">
                <a:pos x="221" y="158"/>
              </a:cxn>
              <a:cxn ang="0">
                <a:pos x="214" y="154"/>
              </a:cxn>
              <a:cxn ang="0">
                <a:pos x="212" y="145"/>
              </a:cxn>
              <a:cxn ang="0">
                <a:pos x="207" y="138"/>
              </a:cxn>
              <a:cxn ang="0">
                <a:pos x="212" y="133"/>
              </a:cxn>
              <a:cxn ang="0">
                <a:pos x="211" y="127"/>
              </a:cxn>
              <a:cxn ang="0">
                <a:pos x="211" y="120"/>
              </a:cxn>
              <a:cxn ang="0">
                <a:pos x="211" y="113"/>
              </a:cxn>
              <a:cxn ang="0">
                <a:pos x="212" y="101"/>
              </a:cxn>
              <a:cxn ang="0">
                <a:pos x="207" y="91"/>
              </a:cxn>
              <a:cxn ang="0">
                <a:pos x="209" y="88"/>
              </a:cxn>
              <a:cxn ang="0">
                <a:pos x="208" y="85"/>
              </a:cxn>
              <a:cxn ang="0">
                <a:pos x="203" y="65"/>
              </a:cxn>
              <a:cxn ang="0">
                <a:pos x="194" y="59"/>
              </a:cxn>
              <a:cxn ang="0">
                <a:pos x="189" y="51"/>
              </a:cxn>
              <a:cxn ang="0">
                <a:pos x="185" y="39"/>
              </a:cxn>
              <a:cxn ang="0">
                <a:pos x="192" y="32"/>
              </a:cxn>
              <a:cxn ang="0">
                <a:pos x="195" y="20"/>
              </a:cxn>
              <a:cxn ang="0">
                <a:pos x="195" y="2"/>
              </a:cxn>
              <a:cxn ang="0">
                <a:pos x="185" y="0"/>
              </a:cxn>
              <a:cxn ang="0">
                <a:pos x="173" y="1"/>
              </a:cxn>
              <a:cxn ang="0">
                <a:pos x="158" y="5"/>
              </a:cxn>
              <a:cxn ang="0">
                <a:pos x="115" y="7"/>
              </a:cxn>
              <a:cxn ang="0">
                <a:pos x="98" y="16"/>
              </a:cxn>
              <a:cxn ang="0">
                <a:pos x="80" y="26"/>
              </a:cxn>
              <a:cxn ang="0">
                <a:pos x="76" y="27"/>
              </a:cxn>
              <a:cxn ang="0">
                <a:pos x="78" y="31"/>
              </a:cxn>
              <a:cxn ang="0">
                <a:pos x="81" y="43"/>
              </a:cxn>
            </a:cxnLst>
            <a:rect b="b" l="0" r="r" t="0"/>
            <a:pathLst>
              <a:path h="225" w="235">
                <a:moveTo>
                  <a:pt x="81" y="43"/>
                </a:moveTo>
                <a:cubicBezTo>
                  <a:pt x="81" y="47"/>
                  <a:pt x="80" y="53"/>
                  <a:pt x="82" y="53"/>
                </a:cubicBezTo>
                <a:cubicBezTo>
                  <a:pt x="84" y="53"/>
                  <a:pt x="86" y="59"/>
                  <a:pt x="86" y="61"/>
                </a:cubicBezTo>
                <a:cubicBezTo>
                  <a:pt x="87" y="62"/>
                  <a:pt x="86" y="65"/>
                  <a:pt x="84" y="65"/>
                </a:cubicBezTo>
                <a:cubicBezTo>
                  <a:pt x="81" y="65"/>
                  <a:pt x="67" y="64"/>
                  <a:pt x="67" y="66"/>
                </a:cubicBezTo>
                <a:cubicBezTo>
                  <a:pt x="67" y="68"/>
                  <a:pt x="64" y="70"/>
                  <a:pt x="61" y="70"/>
                </a:cubicBezTo>
                <a:cubicBezTo>
                  <a:pt x="57" y="70"/>
                  <a:pt x="57" y="69"/>
                  <a:pt x="57" y="73"/>
                </a:cubicBezTo>
                <a:cubicBezTo>
                  <a:pt x="56" y="76"/>
                  <a:pt x="58" y="80"/>
                  <a:pt x="55" y="80"/>
                </a:cubicBezTo>
                <a:cubicBezTo>
                  <a:pt x="53" y="80"/>
                  <a:pt x="54" y="83"/>
                  <a:pt x="50" y="83"/>
                </a:cubicBezTo>
                <a:cubicBezTo>
                  <a:pt x="47" y="83"/>
                  <a:pt x="42" y="83"/>
                  <a:pt x="42" y="86"/>
                </a:cubicBezTo>
                <a:cubicBezTo>
                  <a:pt x="42" y="89"/>
                  <a:pt x="40" y="92"/>
                  <a:pt x="36" y="93"/>
                </a:cubicBezTo>
                <a:cubicBezTo>
                  <a:pt x="32" y="93"/>
                  <a:pt x="26" y="92"/>
                  <a:pt x="26" y="95"/>
                </a:cubicBezTo>
                <a:cubicBezTo>
                  <a:pt x="26" y="98"/>
                  <a:pt x="21" y="96"/>
                  <a:pt x="19" y="97"/>
                </a:cubicBezTo>
                <a:cubicBezTo>
                  <a:pt x="16" y="99"/>
                  <a:pt x="1" y="107"/>
                  <a:pt x="1" y="109"/>
                </a:cubicBezTo>
                <a:cubicBezTo>
                  <a:pt x="0" y="110"/>
                  <a:pt x="1" y="117"/>
                  <a:pt x="1" y="124"/>
                </a:cubicBezTo>
                <a:cubicBezTo>
                  <a:pt x="1" y="125"/>
                  <a:pt x="2" y="126"/>
                  <a:pt x="3" y="126"/>
                </a:cubicBezTo>
                <a:cubicBezTo>
                  <a:pt x="9" y="129"/>
                  <a:pt x="109" y="196"/>
                  <a:pt x="112" y="199"/>
                </a:cubicBezTo>
                <a:cubicBezTo>
                  <a:pt x="116" y="202"/>
                  <a:pt x="120" y="209"/>
                  <a:pt x="120" y="209"/>
                </a:cubicBezTo>
                <a:cubicBezTo>
                  <a:pt x="120" y="209"/>
                  <a:pt x="127" y="210"/>
                  <a:pt x="132" y="213"/>
                </a:cubicBezTo>
                <a:cubicBezTo>
                  <a:pt x="138" y="217"/>
                  <a:pt x="138" y="225"/>
                  <a:pt x="138" y="225"/>
                </a:cubicBezTo>
                <a:cubicBezTo>
                  <a:pt x="138" y="225"/>
                  <a:pt x="145" y="224"/>
                  <a:pt x="149" y="223"/>
                </a:cubicBezTo>
                <a:cubicBezTo>
                  <a:pt x="153" y="222"/>
                  <a:pt x="166" y="217"/>
                  <a:pt x="166" y="217"/>
                </a:cubicBezTo>
                <a:cubicBezTo>
                  <a:pt x="187" y="201"/>
                  <a:pt x="187" y="201"/>
                  <a:pt x="187" y="201"/>
                </a:cubicBezTo>
                <a:cubicBezTo>
                  <a:pt x="235" y="171"/>
                  <a:pt x="235" y="171"/>
                  <a:pt x="235" y="171"/>
                </a:cubicBezTo>
                <a:cubicBezTo>
                  <a:pt x="235" y="171"/>
                  <a:pt x="235" y="171"/>
                  <a:pt x="235" y="171"/>
                </a:cubicBezTo>
                <a:cubicBezTo>
                  <a:pt x="234" y="165"/>
                  <a:pt x="232" y="161"/>
                  <a:pt x="230" y="161"/>
                </a:cubicBezTo>
                <a:cubicBezTo>
                  <a:pt x="227" y="161"/>
                  <a:pt x="225" y="158"/>
                  <a:pt x="221" y="158"/>
                </a:cubicBezTo>
                <a:cubicBezTo>
                  <a:pt x="218" y="158"/>
                  <a:pt x="214" y="157"/>
                  <a:pt x="214" y="154"/>
                </a:cubicBezTo>
                <a:cubicBezTo>
                  <a:pt x="213" y="151"/>
                  <a:pt x="215" y="149"/>
                  <a:pt x="212" y="145"/>
                </a:cubicBezTo>
                <a:cubicBezTo>
                  <a:pt x="210" y="141"/>
                  <a:pt x="207" y="140"/>
                  <a:pt x="207" y="138"/>
                </a:cubicBezTo>
                <a:cubicBezTo>
                  <a:pt x="207" y="136"/>
                  <a:pt x="212" y="133"/>
                  <a:pt x="212" y="133"/>
                </a:cubicBezTo>
                <a:cubicBezTo>
                  <a:pt x="213" y="132"/>
                  <a:pt x="211" y="129"/>
                  <a:pt x="211" y="127"/>
                </a:cubicBezTo>
                <a:cubicBezTo>
                  <a:pt x="211" y="126"/>
                  <a:pt x="209" y="122"/>
                  <a:pt x="211" y="120"/>
                </a:cubicBezTo>
                <a:cubicBezTo>
                  <a:pt x="212" y="118"/>
                  <a:pt x="213" y="116"/>
                  <a:pt x="211" y="113"/>
                </a:cubicBezTo>
                <a:cubicBezTo>
                  <a:pt x="210" y="109"/>
                  <a:pt x="214" y="106"/>
                  <a:pt x="212" y="101"/>
                </a:cubicBezTo>
                <a:cubicBezTo>
                  <a:pt x="210" y="96"/>
                  <a:pt x="206" y="92"/>
                  <a:pt x="207" y="91"/>
                </a:cubicBezTo>
                <a:cubicBezTo>
                  <a:pt x="207" y="90"/>
                  <a:pt x="208" y="89"/>
                  <a:pt x="209" y="88"/>
                </a:cubicBezTo>
                <a:cubicBezTo>
                  <a:pt x="208" y="87"/>
                  <a:pt x="208" y="86"/>
                  <a:pt x="208" y="85"/>
                </a:cubicBezTo>
                <a:cubicBezTo>
                  <a:pt x="208" y="81"/>
                  <a:pt x="205" y="68"/>
                  <a:pt x="203" y="65"/>
                </a:cubicBezTo>
                <a:cubicBezTo>
                  <a:pt x="201" y="63"/>
                  <a:pt x="194" y="61"/>
                  <a:pt x="194" y="59"/>
                </a:cubicBezTo>
                <a:cubicBezTo>
                  <a:pt x="194" y="57"/>
                  <a:pt x="194" y="53"/>
                  <a:pt x="189" y="51"/>
                </a:cubicBezTo>
                <a:cubicBezTo>
                  <a:pt x="185" y="49"/>
                  <a:pt x="182" y="39"/>
                  <a:pt x="185" y="39"/>
                </a:cubicBezTo>
                <a:cubicBezTo>
                  <a:pt x="187" y="39"/>
                  <a:pt x="189" y="33"/>
                  <a:pt x="192" y="32"/>
                </a:cubicBezTo>
                <a:cubicBezTo>
                  <a:pt x="195" y="31"/>
                  <a:pt x="198" y="24"/>
                  <a:pt x="195" y="20"/>
                </a:cubicBezTo>
                <a:cubicBezTo>
                  <a:pt x="194" y="17"/>
                  <a:pt x="194" y="9"/>
                  <a:pt x="195" y="2"/>
                </a:cubicBezTo>
                <a:cubicBezTo>
                  <a:pt x="191" y="2"/>
                  <a:pt x="186" y="1"/>
                  <a:pt x="185" y="0"/>
                </a:cubicBezTo>
                <a:cubicBezTo>
                  <a:pt x="183" y="0"/>
                  <a:pt x="177" y="1"/>
                  <a:pt x="173" y="1"/>
                </a:cubicBezTo>
                <a:cubicBezTo>
                  <a:pt x="170" y="2"/>
                  <a:pt x="161" y="7"/>
                  <a:pt x="158" y="5"/>
                </a:cubicBezTo>
                <a:cubicBezTo>
                  <a:pt x="155" y="2"/>
                  <a:pt x="124" y="7"/>
                  <a:pt x="115" y="7"/>
                </a:cubicBezTo>
                <a:cubicBezTo>
                  <a:pt x="107" y="7"/>
                  <a:pt x="103" y="16"/>
                  <a:pt x="98" y="16"/>
                </a:cubicBezTo>
                <a:cubicBezTo>
                  <a:pt x="93" y="16"/>
                  <a:pt x="85" y="21"/>
                  <a:pt x="80" y="26"/>
                </a:cubicBezTo>
                <a:cubicBezTo>
                  <a:pt x="79" y="27"/>
                  <a:pt x="78" y="27"/>
                  <a:pt x="76" y="27"/>
                </a:cubicBezTo>
                <a:cubicBezTo>
                  <a:pt x="77" y="29"/>
                  <a:pt x="77" y="30"/>
                  <a:pt x="78" y="31"/>
                </a:cubicBezTo>
                <a:cubicBezTo>
                  <a:pt x="80" y="34"/>
                  <a:pt x="81" y="38"/>
                  <a:pt x="81" y="4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0" name="Freeform 17"/>
          <p:cNvSpPr/>
          <p:nvPr/>
        </p:nvSpPr>
        <p:spPr bwMode="auto">
          <a:xfrm>
            <a:off x="6158461" y="3615138"/>
            <a:ext cx="383837" cy="377174"/>
          </a:xfrm>
          <a:custGeom>
            <a:cxnLst>
              <a:cxn ang="0">
                <a:pos x="19" y="10"/>
              </a:cxn>
              <a:cxn ang="0">
                <a:pos x="11" y="18"/>
              </a:cxn>
              <a:cxn ang="0">
                <a:pos x="10" y="23"/>
              </a:cxn>
              <a:cxn ang="0">
                <a:pos x="8" y="32"/>
              </a:cxn>
              <a:cxn ang="0">
                <a:pos x="1" y="39"/>
              </a:cxn>
              <a:cxn ang="0">
                <a:pos x="6" y="49"/>
              </a:cxn>
              <a:cxn ang="0">
                <a:pos x="5" y="61"/>
              </a:cxn>
              <a:cxn ang="0">
                <a:pos x="5" y="68"/>
              </a:cxn>
              <a:cxn ang="0">
                <a:pos x="5" y="75"/>
              </a:cxn>
              <a:cxn ang="0">
                <a:pos x="6" y="81"/>
              </a:cxn>
              <a:cxn ang="0">
                <a:pos x="1" y="86"/>
              </a:cxn>
              <a:cxn ang="0">
                <a:pos x="6" y="93"/>
              </a:cxn>
              <a:cxn ang="0">
                <a:pos x="8" y="102"/>
              </a:cxn>
              <a:cxn ang="0">
                <a:pos x="15" y="106"/>
              </a:cxn>
              <a:cxn ang="0">
                <a:pos x="24" y="109"/>
              </a:cxn>
              <a:cxn ang="0">
                <a:pos x="29" y="119"/>
              </a:cxn>
              <a:cxn ang="0">
                <a:pos x="46" y="122"/>
              </a:cxn>
              <a:cxn ang="0">
                <a:pos x="53" y="129"/>
              </a:cxn>
              <a:cxn ang="0">
                <a:pos x="72" y="119"/>
              </a:cxn>
              <a:cxn ang="0">
                <a:pos x="158" y="165"/>
              </a:cxn>
              <a:cxn ang="0">
                <a:pos x="158" y="159"/>
              </a:cxn>
              <a:cxn ang="0">
                <a:pos x="169" y="159"/>
              </a:cxn>
              <a:cxn ang="0">
                <a:pos x="169" y="48"/>
              </a:cxn>
              <a:cxn ang="0">
                <a:pos x="169" y="32"/>
              </a:cxn>
              <a:cxn ang="0">
                <a:pos x="170" y="18"/>
              </a:cxn>
              <a:cxn ang="0">
                <a:pos x="171" y="15"/>
              </a:cxn>
              <a:cxn ang="0">
                <a:pos x="171" y="15"/>
              </a:cxn>
              <a:cxn ang="0">
                <a:pos x="156" y="11"/>
              </a:cxn>
              <a:cxn ang="0">
                <a:pos x="138" y="2"/>
              </a:cxn>
              <a:cxn ang="0">
                <a:pos x="113" y="15"/>
              </a:cxn>
              <a:cxn ang="0">
                <a:pos x="115" y="29"/>
              </a:cxn>
              <a:cxn ang="0">
                <a:pos x="97" y="29"/>
              </a:cxn>
              <a:cxn ang="0">
                <a:pos x="77" y="22"/>
              </a:cxn>
              <a:cxn ang="0">
                <a:pos x="65" y="14"/>
              </a:cxn>
              <a:cxn ang="0">
                <a:pos x="58" y="7"/>
              </a:cxn>
              <a:cxn ang="0">
                <a:pos x="38" y="3"/>
              </a:cxn>
              <a:cxn ang="0">
                <a:pos x="25" y="0"/>
              </a:cxn>
              <a:cxn ang="0">
                <a:pos x="24" y="6"/>
              </a:cxn>
              <a:cxn ang="0">
                <a:pos x="19" y="10"/>
              </a:cxn>
            </a:cxnLst>
            <a:rect b="b" l="0" r="r" t="0"/>
            <a:pathLst>
              <a:path h="165" w="172">
                <a:moveTo>
                  <a:pt x="19" y="10"/>
                </a:moveTo>
                <a:cubicBezTo>
                  <a:pt x="18" y="10"/>
                  <a:pt x="12" y="17"/>
                  <a:pt x="11" y="18"/>
                </a:cubicBezTo>
                <a:cubicBezTo>
                  <a:pt x="9" y="19"/>
                  <a:pt x="9" y="22"/>
                  <a:pt x="10" y="23"/>
                </a:cubicBezTo>
                <a:cubicBezTo>
                  <a:pt x="10" y="24"/>
                  <a:pt x="9" y="29"/>
                  <a:pt x="8" y="32"/>
                </a:cubicBezTo>
                <a:cubicBezTo>
                  <a:pt x="6" y="35"/>
                  <a:pt x="1" y="37"/>
                  <a:pt x="1" y="39"/>
                </a:cubicBezTo>
                <a:cubicBezTo>
                  <a:pt x="0" y="40"/>
                  <a:pt x="4" y="44"/>
                  <a:pt x="6" y="49"/>
                </a:cubicBezTo>
                <a:cubicBezTo>
                  <a:pt x="8" y="54"/>
                  <a:pt x="4" y="57"/>
                  <a:pt x="5" y="61"/>
                </a:cubicBezTo>
                <a:cubicBezTo>
                  <a:pt x="7" y="64"/>
                  <a:pt x="6" y="66"/>
                  <a:pt x="5" y="68"/>
                </a:cubicBezTo>
                <a:cubicBezTo>
                  <a:pt x="3" y="70"/>
                  <a:pt x="5" y="74"/>
                  <a:pt x="5" y="75"/>
                </a:cubicBezTo>
                <a:cubicBezTo>
                  <a:pt x="5" y="77"/>
                  <a:pt x="7" y="80"/>
                  <a:pt x="6" y="81"/>
                </a:cubicBezTo>
                <a:cubicBezTo>
                  <a:pt x="6" y="81"/>
                  <a:pt x="1" y="84"/>
                  <a:pt x="1" y="86"/>
                </a:cubicBezTo>
                <a:cubicBezTo>
                  <a:pt x="1" y="88"/>
                  <a:pt x="4" y="89"/>
                  <a:pt x="6" y="93"/>
                </a:cubicBezTo>
                <a:cubicBezTo>
                  <a:pt x="9" y="97"/>
                  <a:pt x="7" y="99"/>
                  <a:pt x="8" y="102"/>
                </a:cubicBezTo>
                <a:cubicBezTo>
                  <a:pt x="8" y="105"/>
                  <a:pt x="12" y="106"/>
                  <a:pt x="15" y="106"/>
                </a:cubicBezTo>
                <a:cubicBezTo>
                  <a:pt x="19" y="106"/>
                  <a:pt x="21" y="109"/>
                  <a:pt x="24" y="109"/>
                </a:cubicBezTo>
                <a:cubicBezTo>
                  <a:pt x="26" y="109"/>
                  <a:pt x="28" y="113"/>
                  <a:pt x="29" y="119"/>
                </a:cubicBezTo>
                <a:cubicBezTo>
                  <a:pt x="31" y="119"/>
                  <a:pt x="41" y="119"/>
                  <a:pt x="46" y="122"/>
                </a:cubicBezTo>
                <a:cubicBezTo>
                  <a:pt x="51" y="125"/>
                  <a:pt x="53" y="129"/>
                  <a:pt x="53" y="129"/>
                </a:cubicBezTo>
                <a:cubicBezTo>
                  <a:pt x="72" y="119"/>
                  <a:pt x="72" y="119"/>
                  <a:pt x="72" y="119"/>
                </a:cubicBezTo>
                <a:cubicBezTo>
                  <a:pt x="158" y="165"/>
                  <a:pt x="158" y="165"/>
                  <a:pt x="158" y="165"/>
                </a:cubicBezTo>
                <a:cubicBezTo>
                  <a:pt x="158" y="159"/>
                  <a:pt x="158" y="159"/>
                  <a:pt x="158" y="159"/>
                </a:cubicBezTo>
                <a:cubicBezTo>
                  <a:pt x="169" y="159"/>
                  <a:pt x="169" y="159"/>
                  <a:pt x="169" y="159"/>
                </a:cubicBezTo>
                <a:cubicBezTo>
                  <a:pt x="169" y="159"/>
                  <a:pt x="169" y="56"/>
                  <a:pt x="169" y="48"/>
                </a:cubicBezTo>
                <a:cubicBezTo>
                  <a:pt x="169" y="41"/>
                  <a:pt x="165" y="36"/>
                  <a:pt x="169" y="32"/>
                </a:cubicBezTo>
                <a:cubicBezTo>
                  <a:pt x="172" y="27"/>
                  <a:pt x="167" y="25"/>
                  <a:pt x="170" y="18"/>
                </a:cubicBezTo>
                <a:cubicBezTo>
                  <a:pt x="170" y="17"/>
                  <a:pt x="171" y="16"/>
                  <a:pt x="171" y="15"/>
                </a:cubicBezTo>
                <a:cubicBezTo>
                  <a:pt x="171" y="15"/>
                  <a:pt x="171" y="15"/>
                  <a:pt x="171" y="15"/>
                </a:cubicBezTo>
                <a:cubicBezTo>
                  <a:pt x="170" y="12"/>
                  <a:pt x="165" y="12"/>
                  <a:pt x="156" y="11"/>
                </a:cubicBezTo>
                <a:cubicBezTo>
                  <a:pt x="146" y="9"/>
                  <a:pt x="149" y="2"/>
                  <a:pt x="138" y="2"/>
                </a:cubicBezTo>
                <a:cubicBezTo>
                  <a:pt x="127" y="1"/>
                  <a:pt x="113" y="10"/>
                  <a:pt x="113" y="15"/>
                </a:cubicBezTo>
                <a:cubicBezTo>
                  <a:pt x="113" y="19"/>
                  <a:pt x="118" y="24"/>
                  <a:pt x="115" y="29"/>
                </a:cubicBezTo>
                <a:cubicBezTo>
                  <a:pt x="111" y="34"/>
                  <a:pt x="103" y="35"/>
                  <a:pt x="97" y="29"/>
                </a:cubicBezTo>
                <a:cubicBezTo>
                  <a:pt x="92" y="24"/>
                  <a:pt x="83" y="22"/>
                  <a:pt x="77" y="22"/>
                </a:cubicBezTo>
                <a:cubicBezTo>
                  <a:pt x="70" y="22"/>
                  <a:pt x="65" y="18"/>
                  <a:pt x="65" y="14"/>
                </a:cubicBezTo>
                <a:cubicBezTo>
                  <a:pt x="66" y="10"/>
                  <a:pt x="64" y="9"/>
                  <a:pt x="58" y="7"/>
                </a:cubicBezTo>
                <a:cubicBezTo>
                  <a:pt x="52" y="6"/>
                  <a:pt x="48" y="2"/>
                  <a:pt x="38" y="3"/>
                </a:cubicBezTo>
                <a:cubicBezTo>
                  <a:pt x="32" y="4"/>
                  <a:pt x="28" y="2"/>
                  <a:pt x="25" y="0"/>
                </a:cubicBezTo>
                <a:cubicBezTo>
                  <a:pt x="24" y="3"/>
                  <a:pt x="24" y="5"/>
                  <a:pt x="24" y="6"/>
                </a:cubicBezTo>
                <a:cubicBezTo>
                  <a:pt x="24" y="10"/>
                  <a:pt x="21" y="9"/>
                  <a:pt x="19" y="1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1" name="Freeform 18"/>
          <p:cNvSpPr/>
          <p:nvPr/>
        </p:nvSpPr>
        <p:spPr bwMode="auto">
          <a:xfrm>
            <a:off x="5500191" y="4140148"/>
            <a:ext cx="72318" cy="26535"/>
          </a:xfrm>
          <a:custGeom>
            <a:cxnLst>
              <a:cxn ang="0">
                <a:pos x="16" y="7"/>
              </a:cxn>
              <a:cxn ang="0">
                <a:pos x="25" y="10"/>
              </a:cxn>
              <a:cxn ang="0">
                <a:pos x="32" y="8"/>
              </a:cxn>
              <a:cxn ang="0">
                <a:pos x="26" y="7"/>
              </a:cxn>
              <a:cxn ang="0">
                <a:pos x="15" y="2"/>
              </a:cxn>
              <a:cxn ang="0">
                <a:pos x="1" y="5"/>
              </a:cxn>
              <a:cxn ang="0">
                <a:pos x="0" y="11"/>
              </a:cxn>
              <a:cxn ang="0">
                <a:pos x="3" y="11"/>
              </a:cxn>
              <a:cxn ang="0">
                <a:pos x="16" y="7"/>
              </a:cxn>
            </a:cxnLst>
            <a:rect b="b" l="0" r="r" t="0"/>
            <a:pathLst>
              <a:path h="11" w="32">
                <a:moveTo>
                  <a:pt x="16" y="7"/>
                </a:moveTo>
                <a:cubicBezTo>
                  <a:pt x="18" y="5"/>
                  <a:pt x="22" y="9"/>
                  <a:pt x="25" y="10"/>
                </a:cubicBezTo>
                <a:cubicBezTo>
                  <a:pt x="29" y="10"/>
                  <a:pt x="32" y="8"/>
                  <a:pt x="32" y="8"/>
                </a:cubicBezTo>
                <a:cubicBezTo>
                  <a:pt x="32" y="8"/>
                  <a:pt x="32" y="7"/>
                  <a:pt x="26" y="7"/>
                </a:cubicBezTo>
                <a:cubicBezTo>
                  <a:pt x="21" y="7"/>
                  <a:pt x="20" y="0"/>
                  <a:pt x="15" y="2"/>
                </a:cubicBezTo>
                <a:cubicBezTo>
                  <a:pt x="10" y="5"/>
                  <a:pt x="7" y="5"/>
                  <a:pt x="1" y="5"/>
                </a:cubicBezTo>
                <a:cubicBezTo>
                  <a:pt x="1" y="6"/>
                  <a:pt x="0" y="9"/>
                  <a:pt x="0" y="11"/>
                </a:cubicBezTo>
                <a:cubicBezTo>
                  <a:pt x="1" y="11"/>
                  <a:pt x="2" y="11"/>
                  <a:pt x="3" y="11"/>
                </a:cubicBezTo>
                <a:cubicBezTo>
                  <a:pt x="6" y="11"/>
                  <a:pt x="13" y="9"/>
                  <a:pt x="16" y="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2" name="Freeform 19"/>
          <p:cNvSpPr/>
          <p:nvPr/>
        </p:nvSpPr>
        <p:spPr bwMode="auto">
          <a:xfrm>
            <a:off x="5485357" y="4070021"/>
            <a:ext cx="146489" cy="121302"/>
          </a:xfrm>
          <a:custGeom>
            <a:cxnLst>
              <a:cxn ang="0">
                <a:pos x="15" y="51"/>
              </a:cxn>
              <a:cxn ang="0">
                <a:pos x="21" y="48"/>
              </a:cxn>
              <a:cxn ang="0">
                <a:pos x="37" y="47"/>
              </a:cxn>
              <a:cxn ang="0">
                <a:pos x="40" y="48"/>
              </a:cxn>
              <a:cxn ang="0">
                <a:pos x="40" y="47"/>
              </a:cxn>
              <a:cxn ang="0">
                <a:pos x="48" y="50"/>
              </a:cxn>
              <a:cxn ang="0">
                <a:pos x="65" y="51"/>
              </a:cxn>
              <a:cxn ang="0">
                <a:pos x="66" y="50"/>
              </a:cxn>
              <a:cxn ang="0">
                <a:pos x="66" y="43"/>
              </a:cxn>
              <a:cxn ang="0">
                <a:pos x="60" y="36"/>
              </a:cxn>
              <a:cxn ang="0">
                <a:pos x="58" y="29"/>
              </a:cxn>
              <a:cxn ang="0">
                <a:pos x="56" y="26"/>
              </a:cxn>
              <a:cxn ang="0">
                <a:pos x="50" y="18"/>
              </a:cxn>
              <a:cxn ang="0">
                <a:pos x="42" y="8"/>
              </a:cxn>
              <a:cxn ang="0">
                <a:pos x="38" y="8"/>
              </a:cxn>
              <a:cxn ang="0">
                <a:pos x="32" y="2"/>
              </a:cxn>
              <a:cxn ang="0">
                <a:pos x="23" y="3"/>
              </a:cxn>
              <a:cxn ang="0">
                <a:pos x="13" y="3"/>
              </a:cxn>
              <a:cxn ang="0">
                <a:pos x="6" y="8"/>
              </a:cxn>
              <a:cxn ang="0">
                <a:pos x="6" y="8"/>
              </a:cxn>
              <a:cxn ang="0">
                <a:pos x="3" y="18"/>
              </a:cxn>
              <a:cxn ang="0">
                <a:pos x="7" y="34"/>
              </a:cxn>
              <a:cxn ang="0">
                <a:pos x="8" y="36"/>
              </a:cxn>
              <a:cxn ang="0">
                <a:pos x="22" y="33"/>
              </a:cxn>
              <a:cxn ang="0">
                <a:pos x="33" y="38"/>
              </a:cxn>
              <a:cxn ang="0">
                <a:pos x="39" y="39"/>
              </a:cxn>
              <a:cxn ang="0">
                <a:pos x="32" y="41"/>
              </a:cxn>
              <a:cxn ang="0">
                <a:pos x="23" y="38"/>
              </a:cxn>
              <a:cxn ang="0">
                <a:pos x="10" y="42"/>
              </a:cxn>
              <a:cxn ang="0">
                <a:pos x="7" y="42"/>
              </a:cxn>
              <a:cxn ang="0">
                <a:pos x="8" y="48"/>
              </a:cxn>
              <a:cxn ang="0">
                <a:pos x="9" y="49"/>
              </a:cxn>
              <a:cxn ang="0">
                <a:pos x="15" y="51"/>
              </a:cxn>
            </a:cxnLst>
            <a:rect b="b" l="0" r="r" t="0"/>
            <a:pathLst>
              <a:path h="52" w="66">
                <a:moveTo>
                  <a:pt x="15" y="51"/>
                </a:moveTo>
                <a:cubicBezTo>
                  <a:pt x="17" y="51"/>
                  <a:pt x="21" y="48"/>
                  <a:pt x="21" y="48"/>
                </a:cubicBezTo>
                <a:cubicBezTo>
                  <a:pt x="21" y="48"/>
                  <a:pt x="35" y="47"/>
                  <a:pt x="37" y="47"/>
                </a:cubicBezTo>
                <a:cubicBezTo>
                  <a:pt x="38" y="47"/>
                  <a:pt x="39" y="47"/>
                  <a:pt x="40" y="48"/>
                </a:cubicBezTo>
                <a:cubicBezTo>
                  <a:pt x="40" y="47"/>
                  <a:pt x="40" y="47"/>
                  <a:pt x="40" y="47"/>
                </a:cubicBezTo>
                <a:cubicBezTo>
                  <a:pt x="40" y="47"/>
                  <a:pt x="48" y="48"/>
                  <a:pt x="48" y="50"/>
                </a:cubicBezTo>
                <a:cubicBezTo>
                  <a:pt x="49" y="52"/>
                  <a:pt x="59" y="53"/>
                  <a:pt x="65" y="51"/>
                </a:cubicBezTo>
                <a:cubicBezTo>
                  <a:pt x="65" y="51"/>
                  <a:pt x="66" y="50"/>
                  <a:pt x="66" y="50"/>
                </a:cubicBezTo>
                <a:cubicBezTo>
                  <a:pt x="66" y="48"/>
                  <a:pt x="66" y="44"/>
                  <a:pt x="66" y="43"/>
                </a:cubicBezTo>
                <a:cubicBezTo>
                  <a:pt x="66" y="42"/>
                  <a:pt x="62" y="38"/>
                  <a:pt x="60" y="36"/>
                </a:cubicBezTo>
                <a:cubicBezTo>
                  <a:pt x="58" y="34"/>
                  <a:pt x="58" y="29"/>
                  <a:pt x="58" y="29"/>
                </a:cubicBezTo>
                <a:cubicBezTo>
                  <a:pt x="56" y="26"/>
                  <a:pt x="56" y="26"/>
                  <a:pt x="56" y="26"/>
                </a:cubicBezTo>
                <a:cubicBezTo>
                  <a:pt x="56" y="26"/>
                  <a:pt x="55" y="19"/>
                  <a:pt x="50" y="18"/>
                </a:cubicBezTo>
                <a:cubicBezTo>
                  <a:pt x="45" y="16"/>
                  <a:pt x="42" y="8"/>
                  <a:pt x="42" y="8"/>
                </a:cubicBezTo>
                <a:cubicBezTo>
                  <a:pt x="38" y="8"/>
                  <a:pt x="38" y="8"/>
                  <a:pt x="38" y="8"/>
                </a:cubicBezTo>
                <a:cubicBezTo>
                  <a:pt x="38" y="8"/>
                  <a:pt x="35" y="4"/>
                  <a:pt x="32" y="2"/>
                </a:cubicBezTo>
                <a:cubicBezTo>
                  <a:pt x="29" y="0"/>
                  <a:pt x="23" y="3"/>
                  <a:pt x="23" y="3"/>
                </a:cubicBezTo>
                <a:cubicBezTo>
                  <a:pt x="23" y="3"/>
                  <a:pt x="17" y="4"/>
                  <a:pt x="13" y="3"/>
                </a:cubicBezTo>
                <a:cubicBezTo>
                  <a:pt x="9" y="2"/>
                  <a:pt x="10" y="8"/>
                  <a:pt x="6" y="8"/>
                </a:cubicBezTo>
                <a:cubicBezTo>
                  <a:pt x="6" y="8"/>
                  <a:pt x="6" y="8"/>
                  <a:pt x="6" y="8"/>
                </a:cubicBezTo>
                <a:cubicBezTo>
                  <a:pt x="5" y="12"/>
                  <a:pt x="5" y="15"/>
                  <a:pt x="3" y="18"/>
                </a:cubicBezTo>
                <a:cubicBezTo>
                  <a:pt x="0" y="23"/>
                  <a:pt x="5" y="31"/>
                  <a:pt x="7" y="34"/>
                </a:cubicBezTo>
                <a:cubicBezTo>
                  <a:pt x="8" y="34"/>
                  <a:pt x="8" y="35"/>
                  <a:pt x="8" y="36"/>
                </a:cubicBezTo>
                <a:cubicBezTo>
                  <a:pt x="14" y="36"/>
                  <a:pt x="17" y="36"/>
                  <a:pt x="22" y="33"/>
                </a:cubicBezTo>
                <a:cubicBezTo>
                  <a:pt x="27" y="31"/>
                  <a:pt x="28" y="38"/>
                  <a:pt x="33" y="38"/>
                </a:cubicBezTo>
                <a:cubicBezTo>
                  <a:pt x="39" y="38"/>
                  <a:pt x="39" y="39"/>
                  <a:pt x="39" y="39"/>
                </a:cubicBezTo>
                <a:cubicBezTo>
                  <a:pt x="39" y="39"/>
                  <a:pt x="36" y="41"/>
                  <a:pt x="32" y="41"/>
                </a:cubicBezTo>
                <a:cubicBezTo>
                  <a:pt x="29" y="40"/>
                  <a:pt x="25" y="36"/>
                  <a:pt x="23" y="38"/>
                </a:cubicBezTo>
                <a:cubicBezTo>
                  <a:pt x="20" y="40"/>
                  <a:pt x="13" y="42"/>
                  <a:pt x="10" y="42"/>
                </a:cubicBezTo>
                <a:cubicBezTo>
                  <a:pt x="9" y="42"/>
                  <a:pt x="8" y="42"/>
                  <a:pt x="7" y="42"/>
                </a:cubicBezTo>
                <a:cubicBezTo>
                  <a:pt x="6" y="44"/>
                  <a:pt x="6" y="46"/>
                  <a:pt x="8" y="48"/>
                </a:cubicBezTo>
                <a:cubicBezTo>
                  <a:pt x="8" y="48"/>
                  <a:pt x="9" y="49"/>
                  <a:pt x="9" y="49"/>
                </a:cubicBezTo>
                <a:cubicBezTo>
                  <a:pt x="15" y="48"/>
                  <a:pt x="13" y="50"/>
                  <a:pt x="15" y="5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3" name="Freeform 20"/>
          <p:cNvSpPr/>
          <p:nvPr/>
        </p:nvSpPr>
        <p:spPr bwMode="auto">
          <a:xfrm>
            <a:off x="5503900" y="4178055"/>
            <a:ext cx="70463" cy="39803"/>
          </a:xfrm>
          <a:custGeom>
            <a:cxnLst>
              <a:cxn ang="0">
                <a:pos x="16" y="17"/>
              </a:cxn>
              <a:cxn ang="0">
                <a:pos x="26" y="12"/>
              </a:cxn>
              <a:cxn ang="0">
                <a:pos x="30" y="10"/>
              </a:cxn>
              <a:cxn ang="0">
                <a:pos x="29" y="5"/>
              </a:cxn>
              <a:cxn ang="0">
                <a:pos x="31" y="1"/>
              </a:cxn>
              <a:cxn ang="0">
                <a:pos x="28" y="0"/>
              </a:cxn>
              <a:cxn ang="0">
                <a:pos x="12" y="1"/>
              </a:cxn>
              <a:cxn ang="0">
                <a:pos x="6" y="4"/>
              </a:cxn>
              <a:cxn ang="0">
                <a:pos x="0" y="2"/>
              </a:cxn>
              <a:cxn ang="0">
                <a:pos x="9" y="9"/>
              </a:cxn>
              <a:cxn ang="0">
                <a:pos x="14" y="18"/>
              </a:cxn>
              <a:cxn ang="0">
                <a:pos x="15" y="18"/>
              </a:cxn>
              <a:cxn ang="0">
                <a:pos x="16" y="17"/>
              </a:cxn>
            </a:cxnLst>
            <a:rect b="b" l="0" r="r" t="0"/>
            <a:pathLst>
              <a:path h="18" w="31">
                <a:moveTo>
                  <a:pt x="16" y="17"/>
                </a:moveTo>
                <a:cubicBezTo>
                  <a:pt x="19" y="16"/>
                  <a:pt x="24" y="11"/>
                  <a:pt x="26" y="12"/>
                </a:cubicBezTo>
                <a:cubicBezTo>
                  <a:pt x="27" y="13"/>
                  <a:pt x="30" y="11"/>
                  <a:pt x="30" y="10"/>
                </a:cubicBezTo>
                <a:cubicBezTo>
                  <a:pt x="30" y="9"/>
                  <a:pt x="26" y="6"/>
                  <a:pt x="29" y="5"/>
                </a:cubicBezTo>
                <a:cubicBezTo>
                  <a:pt x="31" y="4"/>
                  <a:pt x="31" y="2"/>
                  <a:pt x="31" y="1"/>
                </a:cubicBezTo>
                <a:cubicBezTo>
                  <a:pt x="30" y="0"/>
                  <a:pt x="29" y="0"/>
                  <a:pt x="28" y="0"/>
                </a:cubicBezTo>
                <a:cubicBezTo>
                  <a:pt x="26" y="0"/>
                  <a:pt x="12" y="1"/>
                  <a:pt x="12" y="1"/>
                </a:cubicBezTo>
                <a:cubicBezTo>
                  <a:pt x="12" y="1"/>
                  <a:pt x="8" y="4"/>
                  <a:pt x="6" y="4"/>
                </a:cubicBezTo>
                <a:cubicBezTo>
                  <a:pt x="4" y="3"/>
                  <a:pt x="6" y="1"/>
                  <a:pt x="0" y="2"/>
                </a:cubicBezTo>
                <a:cubicBezTo>
                  <a:pt x="3" y="6"/>
                  <a:pt x="3" y="7"/>
                  <a:pt x="9" y="9"/>
                </a:cubicBezTo>
                <a:cubicBezTo>
                  <a:pt x="16" y="11"/>
                  <a:pt x="9" y="14"/>
                  <a:pt x="14" y="18"/>
                </a:cubicBezTo>
                <a:cubicBezTo>
                  <a:pt x="14" y="18"/>
                  <a:pt x="15" y="18"/>
                  <a:pt x="15" y="18"/>
                </a:cubicBezTo>
                <a:cubicBezTo>
                  <a:pt x="16" y="18"/>
                  <a:pt x="16" y="17"/>
                  <a:pt x="16" y="1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4" name="Freeform 21"/>
          <p:cNvSpPr/>
          <p:nvPr/>
        </p:nvSpPr>
        <p:spPr bwMode="auto">
          <a:xfrm>
            <a:off x="6284552" y="4215962"/>
            <a:ext cx="307811" cy="221756"/>
          </a:xfrm>
          <a:custGeom>
            <a:cxnLst>
              <a:cxn ang="0">
                <a:pos x="128" y="55"/>
              </a:cxn>
              <a:cxn ang="0">
                <a:pos x="124" y="47"/>
              </a:cxn>
              <a:cxn ang="0">
                <a:pos x="117" y="41"/>
              </a:cxn>
              <a:cxn ang="0">
                <a:pos x="112" y="34"/>
              </a:cxn>
              <a:cxn ang="0">
                <a:pos x="103" y="30"/>
              </a:cxn>
              <a:cxn ang="0">
                <a:pos x="101" y="27"/>
              </a:cxn>
              <a:cxn ang="0">
                <a:pos x="97" y="26"/>
              </a:cxn>
              <a:cxn ang="0">
                <a:pos x="98" y="22"/>
              </a:cxn>
              <a:cxn ang="0">
                <a:pos x="97" y="12"/>
              </a:cxn>
              <a:cxn ang="0">
                <a:pos x="89" y="1"/>
              </a:cxn>
              <a:cxn ang="0">
                <a:pos x="87" y="1"/>
              </a:cxn>
              <a:cxn ang="0">
                <a:pos x="78" y="5"/>
              </a:cxn>
              <a:cxn ang="0">
                <a:pos x="76" y="10"/>
              </a:cxn>
              <a:cxn ang="0">
                <a:pos x="65" y="21"/>
              </a:cxn>
              <a:cxn ang="0">
                <a:pos x="49" y="25"/>
              </a:cxn>
              <a:cxn ang="0">
                <a:pos x="48" y="31"/>
              </a:cxn>
              <a:cxn ang="0">
                <a:pos x="38" y="36"/>
              </a:cxn>
              <a:cxn ang="0">
                <a:pos x="26" y="40"/>
              </a:cxn>
              <a:cxn ang="0">
                <a:pos x="18" y="40"/>
              </a:cxn>
              <a:cxn ang="0">
                <a:pos x="12" y="42"/>
              </a:cxn>
              <a:cxn ang="0">
                <a:pos x="11" y="41"/>
              </a:cxn>
              <a:cxn ang="0">
                <a:pos x="5" y="48"/>
              </a:cxn>
              <a:cxn ang="0">
                <a:pos x="0" y="59"/>
              </a:cxn>
              <a:cxn ang="0">
                <a:pos x="1" y="69"/>
              </a:cxn>
              <a:cxn ang="0">
                <a:pos x="5" y="78"/>
              </a:cxn>
              <a:cxn ang="0">
                <a:pos x="6" y="84"/>
              </a:cxn>
              <a:cxn ang="0">
                <a:pos x="9" y="88"/>
              </a:cxn>
              <a:cxn ang="0">
                <a:pos x="16" y="95"/>
              </a:cxn>
              <a:cxn ang="0">
                <a:pos x="18" y="97"/>
              </a:cxn>
              <a:cxn ang="0">
                <a:pos x="19" y="96"/>
              </a:cxn>
              <a:cxn ang="0">
                <a:pos x="21" y="88"/>
              </a:cxn>
              <a:cxn ang="0">
                <a:pos x="27" y="86"/>
              </a:cxn>
              <a:cxn ang="0">
                <a:pos x="32" y="85"/>
              </a:cxn>
              <a:cxn ang="0">
                <a:pos x="42" y="86"/>
              </a:cxn>
              <a:cxn ang="0">
                <a:pos x="42" y="79"/>
              </a:cxn>
              <a:cxn ang="0">
                <a:pos x="53" y="70"/>
              </a:cxn>
              <a:cxn ang="0">
                <a:pos x="63" y="76"/>
              </a:cxn>
              <a:cxn ang="0">
                <a:pos x="84" y="80"/>
              </a:cxn>
              <a:cxn ang="0">
                <a:pos x="88" y="72"/>
              </a:cxn>
              <a:cxn ang="0">
                <a:pos x="97" y="72"/>
              </a:cxn>
              <a:cxn ang="0">
                <a:pos x="108" y="69"/>
              </a:cxn>
              <a:cxn ang="0">
                <a:pos x="117" y="68"/>
              </a:cxn>
              <a:cxn ang="0">
                <a:pos x="130" y="69"/>
              </a:cxn>
              <a:cxn ang="0">
                <a:pos x="138" y="68"/>
              </a:cxn>
              <a:cxn ang="0">
                <a:pos x="136" y="61"/>
              </a:cxn>
              <a:cxn ang="0">
                <a:pos x="128" y="55"/>
              </a:cxn>
            </a:cxnLst>
            <a:rect b="b" l="0" r="r" t="0"/>
            <a:pathLst>
              <a:path h="97" w="138">
                <a:moveTo>
                  <a:pt x="128" y="55"/>
                </a:moveTo>
                <a:cubicBezTo>
                  <a:pt x="128" y="53"/>
                  <a:pt x="128" y="51"/>
                  <a:pt x="124" y="47"/>
                </a:cubicBezTo>
                <a:cubicBezTo>
                  <a:pt x="120" y="44"/>
                  <a:pt x="117" y="43"/>
                  <a:pt x="117" y="41"/>
                </a:cubicBezTo>
                <a:cubicBezTo>
                  <a:pt x="117" y="39"/>
                  <a:pt x="115" y="38"/>
                  <a:pt x="112" y="34"/>
                </a:cubicBezTo>
                <a:cubicBezTo>
                  <a:pt x="108" y="30"/>
                  <a:pt x="103" y="30"/>
                  <a:pt x="103" y="30"/>
                </a:cubicBezTo>
                <a:cubicBezTo>
                  <a:pt x="101" y="27"/>
                  <a:pt x="101" y="27"/>
                  <a:pt x="101" y="27"/>
                </a:cubicBezTo>
                <a:cubicBezTo>
                  <a:pt x="97" y="26"/>
                  <a:pt x="97" y="26"/>
                  <a:pt x="97" y="26"/>
                </a:cubicBezTo>
                <a:cubicBezTo>
                  <a:pt x="97" y="26"/>
                  <a:pt x="94" y="24"/>
                  <a:pt x="98" y="22"/>
                </a:cubicBezTo>
                <a:cubicBezTo>
                  <a:pt x="102" y="20"/>
                  <a:pt x="98" y="14"/>
                  <a:pt x="97" y="12"/>
                </a:cubicBezTo>
                <a:cubicBezTo>
                  <a:pt x="97" y="10"/>
                  <a:pt x="91" y="3"/>
                  <a:pt x="89" y="1"/>
                </a:cubicBezTo>
                <a:cubicBezTo>
                  <a:pt x="89" y="1"/>
                  <a:pt x="88" y="1"/>
                  <a:pt x="87" y="1"/>
                </a:cubicBezTo>
                <a:cubicBezTo>
                  <a:pt x="85" y="0"/>
                  <a:pt x="80" y="2"/>
                  <a:pt x="78" y="5"/>
                </a:cubicBezTo>
                <a:cubicBezTo>
                  <a:pt x="76" y="7"/>
                  <a:pt x="77" y="8"/>
                  <a:pt x="76" y="10"/>
                </a:cubicBezTo>
                <a:cubicBezTo>
                  <a:pt x="74" y="12"/>
                  <a:pt x="68" y="17"/>
                  <a:pt x="65" y="21"/>
                </a:cubicBezTo>
                <a:cubicBezTo>
                  <a:pt x="61" y="26"/>
                  <a:pt x="52" y="23"/>
                  <a:pt x="49" y="25"/>
                </a:cubicBezTo>
                <a:cubicBezTo>
                  <a:pt x="46" y="26"/>
                  <a:pt x="50" y="29"/>
                  <a:pt x="48" y="31"/>
                </a:cubicBezTo>
                <a:cubicBezTo>
                  <a:pt x="46" y="32"/>
                  <a:pt x="40" y="35"/>
                  <a:pt x="38" y="36"/>
                </a:cubicBezTo>
                <a:cubicBezTo>
                  <a:pt x="36" y="37"/>
                  <a:pt x="28" y="37"/>
                  <a:pt x="26" y="40"/>
                </a:cubicBezTo>
                <a:cubicBezTo>
                  <a:pt x="23" y="43"/>
                  <a:pt x="21" y="36"/>
                  <a:pt x="18" y="40"/>
                </a:cubicBezTo>
                <a:cubicBezTo>
                  <a:pt x="16" y="43"/>
                  <a:pt x="13" y="43"/>
                  <a:pt x="12" y="42"/>
                </a:cubicBezTo>
                <a:cubicBezTo>
                  <a:pt x="12" y="42"/>
                  <a:pt x="11" y="42"/>
                  <a:pt x="11" y="41"/>
                </a:cubicBezTo>
                <a:cubicBezTo>
                  <a:pt x="9" y="43"/>
                  <a:pt x="6" y="45"/>
                  <a:pt x="5" y="48"/>
                </a:cubicBezTo>
                <a:cubicBezTo>
                  <a:pt x="4" y="53"/>
                  <a:pt x="0" y="57"/>
                  <a:pt x="0" y="59"/>
                </a:cubicBezTo>
                <a:cubicBezTo>
                  <a:pt x="0" y="62"/>
                  <a:pt x="1" y="65"/>
                  <a:pt x="1" y="69"/>
                </a:cubicBezTo>
                <a:cubicBezTo>
                  <a:pt x="1" y="73"/>
                  <a:pt x="2" y="75"/>
                  <a:pt x="5" y="78"/>
                </a:cubicBezTo>
                <a:cubicBezTo>
                  <a:pt x="7" y="81"/>
                  <a:pt x="6" y="84"/>
                  <a:pt x="6" y="84"/>
                </a:cubicBezTo>
                <a:cubicBezTo>
                  <a:pt x="6" y="84"/>
                  <a:pt x="7" y="86"/>
                  <a:pt x="9" y="88"/>
                </a:cubicBezTo>
                <a:cubicBezTo>
                  <a:pt x="11" y="90"/>
                  <a:pt x="16" y="94"/>
                  <a:pt x="16" y="95"/>
                </a:cubicBezTo>
                <a:cubicBezTo>
                  <a:pt x="16" y="96"/>
                  <a:pt x="17" y="97"/>
                  <a:pt x="18" y="97"/>
                </a:cubicBezTo>
                <a:cubicBezTo>
                  <a:pt x="18" y="97"/>
                  <a:pt x="18" y="96"/>
                  <a:pt x="19" y="96"/>
                </a:cubicBezTo>
                <a:cubicBezTo>
                  <a:pt x="22" y="93"/>
                  <a:pt x="21" y="88"/>
                  <a:pt x="21" y="88"/>
                </a:cubicBezTo>
                <a:cubicBezTo>
                  <a:pt x="27" y="86"/>
                  <a:pt x="27" y="86"/>
                  <a:pt x="27" y="86"/>
                </a:cubicBezTo>
                <a:cubicBezTo>
                  <a:pt x="32" y="85"/>
                  <a:pt x="32" y="85"/>
                  <a:pt x="32" y="85"/>
                </a:cubicBezTo>
                <a:cubicBezTo>
                  <a:pt x="42" y="86"/>
                  <a:pt x="42" y="86"/>
                  <a:pt x="42" y="86"/>
                </a:cubicBezTo>
                <a:cubicBezTo>
                  <a:pt x="42" y="79"/>
                  <a:pt x="42" y="79"/>
                  <a:pt x="42" y="79"/>
                </a:cubicBezTo>
                <a:cubicBezTo>
                  <a:pt x="42" y="79"/>
                  <a:pt x="49" y="70"/>
                  <a:pt x="53" y="70"/>
                </a:cubicBezTo>
                <a:cubicBezTo>
                  <a:pt x="58" y="70"/>
                  <a:pt x="63" y="76"/>
                  <a:pt x="63" y="76"/>
                </a:cubicBezTo>
                <a:cubicBezTo>
                  <a:pt x="84" y="80"/>
                  <a:pt x="84" y="80"/>
                  <a:pt x="84" y="80"/>
                </a:cubicBezTo>
                <a:cubicBezTo>
                  <a:pt x="84" y="80"/>
                  <a:pt x="85" y="74"/>
                  <a:pt x="88" y="72"/>
                </a:cubicBezTo>
                <a:cubicBezTo>
                  <a:pt x="90" y="71"/>
                  <a:pt x="94" y="74"/>
                  <a:pt x="97" y="72"/>
                </a:cubicBezTo>
                <a:cubicBezTo>
                  <a:pt x="99" y="71"/>
                  <a:pt x="104" y="69"/>
                  <a:pt x="108" y="69"/>
                </a:cubicBezTo>
                <a:cubicBezTo>
                  <a:pt x="113" y="69"/>
                  <a:pt x="115" y="72"/>
                  <a:pt x="117" y="68"/>
                </a:cubicBezTo>
                <a:cubicBezTo>
                  <a:pt x="120" y="63"/>
                  <a:pt x="130" y="69"/>
                  <a:pt x="130" y="69"/>
                </a:cubicBezTo>
                <a:cubicBezTo>
                  <a:pt x="138" y="68"/>
                  <a:pt x="138" y="68"/>
                  <a:pt x="138" y="68"/>
                </a:cubicBezTo>
                <a:cubicBezTo>
                  <a:pt x="136" y="61"/>
                  <a:pt x="136" y="61"/>
                  <a:pt x="136" y="61"/>
                </a:cubicBezTo>
                <a:cubicBezTo>
                  <a:pt x="136" y="61"/>
                  <a:pt x="128" y="57"/>
                  <a:pt x="128" y="5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5" name="Freeform 22"/>
          <p:cNvSpPr/>
          <p:nvPr/>
        </p:nvSpPr>
        <p:spPr bwMode="auto">
          <a:xfrm>
            <a:off x="5989722" y="4142044"/>
            <a:ext cx="298540" cy="253976"/>
          </a:xfrm>
          <a:custGeom>
            <a:cxnLst>
              <a:cxn ang="0">
                <a:pos x="83" y="81"/>
              </a:cxn>
              <a:cxn ang="0">
                <a:pos x="89" y="80"/>
              </a:cxn>
              <a:cxn ang="0">
                <a:pos x="97" y="86"/>
              </a:cxn>
              <a:cxn ang="0">
                <a:pos x="102" y="81"/>
              </a:cxn>
              <a:cxn ang="0">
                <a:pos x="110" y="63"/>
              </a:cxn>
              <a:cxn ang="0">
                <a:pos x="116" y="57"/>
              </a:cxn>
              <a:cxn ang="0">
                <a:pos x="117" y="51"/>
              </a:cxn>
              <a:cxn ang="0">
                <a:pos x="120" y="43"/>
              </a:cxn>
              <a:cxn ang="0">
                <a:pos x="126" y="31"/>
              </a:cxn>
              <a:cxn ang="0">
                <a:pos x="133" y="27"/>
              </a:cxn>
              <a:cxn ang="0">
                <a:pos x="132" y="20"/>
              </a:cxn>
              <a:cxn ang="0">
                <a:pos x="128" y="16"/>
              </a:cxn>
              <a:cxn ang="0">
                <a:pos x="128" y="9"/>
              </a:cxn>
              <a:cxn ang="0">
                <a:pos x="124" y="5"/>
              </a:cxn>
              <a:cxn ang="0">
                <a:pos x="120" y="3"/>
              </a:cxn>
              <a:cxn ang="0">
                <a:pos x="112" y="10"/>
              </a:cxn>
              <a:cxn ang="0">
                <a:pos x="103" y="8"/>
              </a:cxn>
              <a:cxn ang="0">
                <a:pos x="88" y="7"/>
              </a:cxn>
              <a:cxn ang="0">
                <a:pos x="80" y="13"/>
              </a:cxn>
              <a:cxn ang="0">
                <a:pos x="69" y="13"/>
              </a:cxn>
              <a:cxn ang="0">
                <a:pos x="60" y="8"/>
              </a:cxn>
              <a:cxn ang="0">
                <a:pos x="51" y="11"/>
              </a:cxn>
              <a:cxn ang="0">
                <a:pos x="45" y="5"/>
              </a:cxn>
              <a:cxn ang="0">
                <a:pos x="36" y="2"/>
              </a:cxn>
              <a:cxn ang="0">
                <a:pos x="29" y="4"/>
              </a:cxn>
              <a:cxn ang="0">
                <a:pos x="19" y="4"/>
              </a:cxn>
              <a:cxn ang="0">
                <a:pos x="16" y="13"/>
              </a:cxn>
              <a:cxn ang="0">
                <a:pos x="11" y="21"/>
              </a:cxn>
              <a:cxn ang="0">
                <a:pos x="10" y="23"/>
              </a:cxn>
              <a:cxn ang="0">
                <a:pos x="11" y="31"/>
              </a:cxn>
              <a:cxn ang="0">
                <a:pos x="10" y="47"/>
              </a:cxn>
              <a:cxn ang="0">
                <a:pos x="6" y="54"/>
              </a:cxn>
              <a:cxn ang="0">
                <a:pos x="1" y="62"/>
              </a:cxn>
              <a:cxn ang="0">
                <a:pos x="1" y="75"/>
              </a:cxn>
              <a:cxn ang="0">
                <a:pos x="5" y="84"/>
              </a:cxn>
              <a:cxn ang="0">
                <a:pos x="5" y="84"/>
              </a:cxn>
              <a:cxn ang="0">
                <a:pos x="22" y="88"/>
              </a:cxn>
              <a:cxn ang="0">
                <a:pos x="32" y="100"/>
              </a:cxn>
              <a:cxn ang="0">
                <a:pos x="38" y="110"/>
              </a:cxn>
              <a:cxn ang="0">
                <a:pos x="50" y="107"/>
              </a:cxn>
              <a:cxn ang="0">
                <a:pos x="65" y="105"/>
              </a:cxn>
              <a:cxn ang="0">
                <a:pos x="66" y="105"/>
              </a:cxn>
              <a:cxn ang="0">
                <a:pos x="70" y="93"/>
              </a:cxn>
              <a:cxn ang="0">
                <a:pos x="83" y="81"/>
              </a:cxn>
            </a:cxnLst>
            <a:rect b="b" l="0" r="r" t="0"/>
            <a:pathLst>
              <a:path h="110" w="134">
                <a:moveTo>
                  <a:pt x="83" y="81"/>
                </a:moveTo>
                <a:cubicBezTo>
                  <a:pt x="84" y="81"/>
                  <a:pt x="87" y="82"/>
                  <a:pt x="89" y="80"/>
                </a:cubicBezTo>
                <a:cubicBezTo>
                  <a:pt x="92" y="78"/>
                  <a:pt x="97" y="82"/>
                  <a:pt x="97" y="86"/>
                </a:cubicBezTo>
                <a:cubicBezTo>
                  <a:pt x="98" y="89"/>
                  <a:pt x="100" y="84"/>
                  <a:pt x="102" y="81"/>
                </a:cubicBezTo>
                <a:cubicBezTo>
                  <a:pt x="104" y="77"/>
                  <a:pt x="110" y="66"/>
                  <a:pt x="110" y="63"/>
                </a:cubicBezTo>
                <a:cubicBezTo>
                  <a:pt x="110" y="61"/>
                  <a:pt x="116" y="58"/>
                  <a:pt x="116" y="57"/>
                </a:cubicBezTo>
                <a:cubicBezTo>
                  <a:pt x="116" y="55"/>
                  <a:pt x="115" y="51"/>
                  <a:pt x="117" y="51"/>
                </a:cubicBezTo>
                <a:cubicBezTo>
                  <a:pt x="119" y="50"/>
                  <a:pt x="120" y="45"/>
                  <a:pt x="120" y="43"/>
                </a:cubicBezTo>
                <a:cubicBezTo>
                  <a:pt x="119" y="42"/>
                  <a:pt x="125" y="32"/>
                  <a:pt x="126" y="31"/>
                </a:cubicBezTo>
                <a:cubicBezTo>
                  <a:pt x="127" y="30"/>
                  <a:pt x="133" y="30"/>
                  <a:pt x="133" y="27"/>
                </a:cubicBezTo>
                <a:cubicBezTo>
                  <a:pt x="133" y="24"/>
                  <a:pt x="134" y="21"/>
                  <a:pt x="132" y="20"/>
                </a:cubicBezTo>
                <a:cubicBezTo>
                  <a:pt x="130" y="20"/>
                  <a:pt x="128" y="17"/>
                  <a:pt x="128" y="16"/>
                </a:cubicBezTo>
                <a:cubicBezTo>
                  <a:pt x="128" y="15"/>
                  <a:pt x="128" y="12"/>
                  <a:pt x="128" y="9"/>
                </a:cubicBezTo>
                <a:cubicBezTo>
                  <a:pt x="126" y="9"/>
                  <a:pt x="126" y="6"/>
                  <a:pt x="124" y="5"/>
                </a:cubicBezTo>
                <a:cubicBezTo>
                  <a:pt x="122" y="3"/>
                  <a:pt x="122" y="2"/>
                  <a:pt x="120" y="3"/>
                </a:cubicBezTo>
                <a:cubicBezTo>
                  <a:pt x="118" y="3"/>
                  <a:pt x="115" y="9"/>
                  <a:pt x="112" y="10"/>
                </a:cubicBezTo>
                <a:cubicBezTo>
                  <a:pt x="109" y="11"/>
                  <a:pt x="105" y="9"/>
                  <a:pt x="103" y="8"/>
                </a:cubicBezTo>
                <a:cubicBezTo>
                  <a:pt x="101" y="7"/>
                  <a:pt x="91" y="8"/>
                  <a:pt x="88" y="7"/>
                </a:cubicBezTo>
                <a:cubicBezTo>
                  <a:pt x="85" y="7"/>
                  <a:pt x="82" y="11"/>
                  <a:pt x="80" y="13"/>
                </a:cubicBezTo>
                <a:cubicBezTo>
                  <a:pt x="78" y="14"/>
                  <a:pt x="71" y="13"/>
                  <a:pt x="69" y="13"/>
                </a:cubicBezTo>
                <a:cubicBezTo>
                  <a:pt x="67" y="12"/>
                  <a:pt x="62" y="8"/>
                  <a:pt x="60" y="8"/>
                </a:cubicBezTo>
                <a:cubicBezTo>
                  <a:pt x="58" y="8"/>
                  <a:pt x="54" y="9"/>
                  <a:pt x="51" y="11"/>
                </a:cubicBezTo>
                <a:cubicBezTo>
                  <a:pt x="48" y="13"/>
                  <a:pt x="47" y="7"/>
                  <a:pt x="45" y="5"/>
                </a:cubicBezTo>
                <a:cubicBezTo>
                  <a:pt x="43" y="2"/>
                  <a:pt x="38" y="4"/>
                  <a:pt x="36" y="2"/>
                </a:cubicBezTo>
                <a:cubicBezTo>
                  <a:pt x="33" y="0"/>
                  <a:pt x="31" y="5"/>
                  <a:pt x="29" y="4"/>
                </a:cubicBezTo>
                <a:cubicBezTo>
                  <a:pt x="27" y="4"/>
                  <a:pt x="21" y="3"/>
                  <a:pt x="19" y="4"/>
                </a:cubicBezTo>
                <a:cubicBezTo>
                  <a:pt x="17" y="6"/>
                  <a:pt x="17" y="12"/>
                  <a:pt x="16" y="13"/>
                </a:cubicBezTo>
                <a:cubicBezTo>
                  <a:pt x="15" y="14"/>
                  <a:pt x="11" y="19"/>
                  <a:pt x="11" y="21"/>
                </a:cubicBezTo>
                <a:cubicBezTo>
                  <a:pt x="11" y="22"/>
                  <a:pt x="11" y="23"/>
                  <a:pt x="10" y="23"/>
                </a:cubicBezTo>
                <a:cubicBezTo>
                  <a:pt x="10" y="26"/>
                  <a:pt x="11" y="30"/>
                  <a:pt x="11" y="31"/>
                </a:cubicBezTo>
                <a:cubicBezTo>
                  <a:pt x="11" y="33"/>
                  <a:pt x="12" y="45"/>
                  <a:pt x="10" y="47"/>
                </a:cubicBezTo>
                <a:cubicBezTo>
                  <a:pt x="7" y="50"/>
                  <a:pt x="6" y="54"/>
                  <a:pt x="6" y="54"/>
                </a:cubicBezTo>
                <a:cubicBezTo>
                  <a:pt x="6" y="54"/>
                  <a:pt x="2" y="56"/>
                  <a:pt x="1" y="62"/>
                </a:cubicBezTo>
                <a:cubicBezTo>
                  <a:pt x="0" y="67"/>
                  <a:pt x="1" y="71"/>
                  <a:pt x="1" y="75"/>
                </a:cubicBezTo>
                <a:cubicBezTo>
                  <a:pt x="1" y="78"/>
                  <a:pt x="3" y="80"/>
                  <a:pt x="5" y="84"/>
                </a:cubicBezTo>
                <a:cubicBezTo>
                  <a:pt x="5" y="84"/>
                  <a:pt x="5" y="84"/>
                  <a:pt x="5" y="84"/>
                </a:cubicBezTo>
                <a:cubicBezTo>
                  <a:pt x="7" y="87"/>
                  <a:pt x="16" y="87"/>
                  <a:pt x="22" y="88"/>
                </a:cubicBezTo>
                <a:cubicBezTo>
                  <a:pt x="27" y="90"/>
                  <a:pt x="32" y="97"/>
                  <a:pt x="32" y="100"/>
                </a:cubicBezTo>
                <a:cubicBezTo>
                  <a:pt x="32" y="103"/>
                  <a:pt x="36" y="108"/>
                  <a:pt x="38" y="110"/>
                </a:cubicBezTo>
                <a:cubicBezTo>
                  <a:pt x="41" y="111"/>
                  <a:pt x="47" y="107"/>
                  <a:pt x="50" y="107"/>
                </a:cubicBezTo>
                <a:cubicBezTo>
                  <a:pt x="53" y="107"/>
                  <a:pt x="63" y="107"/>
                  <a:pt x="65" y="105"/>
                </a:cubicBezTo>
                <a:cubicBezTo>
                  <a:pt x="65" y="105"/>
                  <a:pt x="66" y="105"/>
                  <a:pt x="66" y="105"/>
                </a:cubicBezTo>
                <a:cubicBezTo>
                  <a:pt x="69" y="99"/>
                  <a:pt x="70" y="93"/>
                  <a:pt x="70" y="93"/>
                </a:cubicBezTo>
                <a:cubicBezTo>
                  <a:pt x="70" y="93"/>
                  <a:pt x="81" y="81"/>
                  <a:pt x="83" y="8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6" name="Freeform 23"/>
          <p:cNvSpPr/>
          <p:nvPr/>
        </p:nvSpPr>
        <p:spPr bwMode="auto">
          <a:xfrm>
            <a:off x="5939655" y="4181846"/>
            <a:ext cx="76026" cy="159209"/>
          </a:xfrm>
          <a:custGeom>
            <a:cxnLst>
              <a:cxn ang="0">
                <a:pos x="23" y="45"/>
              </a:cxn>
              <a:cxn ang="0">
                <a:pos x="28" y="37"/>
              </a:cxn>
              <a:cxn ang="0">
                <a:pos x="32" y="30"/>
              </a:cxn>
              <a:cxn ang="0">
                <a:pos x="33" y="14"/>
              </a:cxn>
              <a:cxn ang="0">
                <a:pos x="32" y="6"/>
              </a:cxn>
              <a:cxn ang="0">
                <a:pos x="28" y="6"/>
              </a:cxn>
              <a:cxn ang="0">
                <a:pos x="25" y="1"/>
              </a:cxn>
              <a:cxn ang="0">
                <a:pos x="21" y="6"/>
              </a:cxn>
              <a:cxn ang="0">
                <a:pos x="18" y="11"/>
              </a:cxn>
              <a:cxn ang="0">
                <a:pos x="8" y="13"/>
              </a:cxn>
              <a:cxn ang="0">
                <a:pos x="2" y="17"/>
              </a:cxn>
              <a:cxn ang="0">
                <a:pos x="0" y="17"/>
              </a:cxn>
              <a:cxn ang="0">
                <a:pos x="6" y="28"/>
              </a:cxn>
              <a:cxn ang="0">
                <a:pos x="9" y="36"/>
              </a:cxn>
              <a:cxn ang="0">
                <a:pos x="10" y="49"/>
              </a:cxn>
              <a:cxn ang="0">
                <a:pos x="11" y="70"/>
              </a:cxn>
              <a:cxn ang="0">
                <a:pos x="19" y="69"/>
              </a:cxn>
              <a:cxn ang="0">
                <a:pos x="27" y="67"/>
              </a:cxn>
              <a:cxn ang="0">
                <a:pos x="23" y="58"/>
              </a:cxn>
              <a:cxn ang="0">
                <a:pos x="23" y="45"/>
              </a:cxn>
            </a:cxnLst>
            <a:rect b="b" l="0" r="r" t="0"/>
            <a:pathLst>
              <a:path h="70" w="34">
                <a:moveTo>
                  <a:pt x="23" y="45"/>
                </a:moveTo>
                <a:cubicBezTo>
                  <a:pt x="24" y="39"/>
                  <a:pt x="28" y="37"/>
                  <a:pt x="28" y="37"/>
                </a:cubicBezTo>
                <a:cubicBezTo>
                  <a:pt x="28" y="37"/>
                  <a:pt x="29" y="33"/>
                  <a:pt x="32" y="30"/>
                </a:cubicBezTo>
                <a:cubicBezTo>
                  <a:pt x="34" y="28"/>
                  <a:pt x="33" y="16"/>
                  <a:pt x="33" y="14"/>
                </a:cubicBezTo>
                <a:cubicBezTo>
                  <a:pt x="33" y="13"/>
                  <a:pt x="32" y="9"/>
                  <a:pt x="32" y="6"/>
                </a:cubicBezTo>
                <a:cubicBezTo>
                  <a:pt x="31" y="7"/>
                  <a:pt x="30" y="7"/>
                  <a:pt x="28" y="6"/>
                </a:cubicBezTo>
                <a:cubicBezTo>
                  <a:pt x="25" y="5"/>
                  <a:pt x="28" y="2"/>
                  <a:pt x="25" y="1"/>
                </a:cubicBezTo>
                <a:cubicBezTo>
                  <a:pt x="21" y="0"/>
                  <a:pt x="20" y="4"/>
                  <a:pt x="21" y="6"/>
                </a:cubicBezTo>
                <a:cubicBezTo>
                  <a:pt x="21" y="9"/>
                  <a:pt x="19" y="9"/>
                  <a:pt x="18" y="11"/>
                </a:cubicBezTo>
                <a:cubicBezTo>
                  <a:pt x="16" y="12"/>
                  <a:pt x="10" y="13"/>
                  <a:pt x="8" y="13"/>
                </a:cubicBezTo>
                <a:cubicBezTo>
                  <a:pt x="6" y="13"/>
                  <a:pt x="4" y="16"/>
                  <a:pt x="2" y="17"/>
                </a:cubicBezTo>
                <a:cubicBezTo>
                  <a:pt x="2" y="17"/>
                  <a:pt x="1" y="17"/>
                  <a:pt x="0" y="17"/>
                </a:cubicBezTo>
                <a:cubicBezTo>
                  <a:pt x="1" y="26"/>
                  <a:pt x="2" y="25"/>
                  <a:pt x="6" y="28"/>
                </a:cubicBezTo>
                <a:cubicBezTo>
                  <a:pt x="11" y="30"/>
                  <a:pt x="7" y="34"/>
                  <a:pt x="9" y="36"/>
                </a:cubicBezTo>
                <a:cubicBezTo>
                  <a:pt x="11" y="38"/>
                  <a:pt x="10" y="43"/>
                  <a:pt x="10" y="49"/>
                </a:cubicBezTo>
                <a:cubicBezTo>
                  <a:pt x="11" y="53"/>
                  <a:pt x="11" y="63"/>
                  <a:pt x="11" y="70"/>
                </a:cubicBezTo>
                <a:cubicBezTo>
                  <a:pt x="14" y="70"/>
                  <a:pt x="17" y="69"/>
                  <a:pt x="19" y="69"/>
                </a:cubicBezTo>
                <a:cubicBezTo>
                  <a:pt x="22" y="69"/>
                  <a:pt x="25" y="65"/>
                  <a:pt x="27" y="67"/>
                </a:cubicBezTo>
                <a:cubicBezTo>
                  <a:pt x="25" y="63"/>
                  <a:pt x="23" y="61"/>
                  <a:pt x="23" y="58"/>
                </a:cubicBezTo>
                <a:cubicBezTo>
                  <a:pt x="23" y="54"/>
                  <a:pt x="22" y="50"/>
                  <a:pt x="23" y="4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7" name="Freeform 24"/>
          <p:cNvSpPr/>
          <p:nvPr/>
        </p:nvSpPr>
        <p:spPr bwMode="auto">
          <a:xfrm>
            <a:off x="5917404" y="4215962"/>
            <a:ext cx="48211" cy="134570"/>
          </a:xfrm>
          <a:custGeom>
            <a:cxnLst>
              <a:cxn ang="0">
                <a:pos x="19" y="21"/>
              </a:cxn>
              <a:cxn ang="0">
                <a:pos x="16" y="13"/>
              </a:cxn>
              <a:cxn ang="0">
                <a:pos x="10" y="2"/>
              </a:cxn>
              <a:cxn ang="0">
                <a:pos x="2" y="1"/>
              </a:cxn>
              <a:cxn ang="0">
                <a:pos x="0" y="1"/>
              </a:cxn>
              <a:cxn ang="0">
                <a:pos x="3" y="8"/>
              </a:cxn>
              <a:cxn ang="0">
                <a:pos x="5" y="15"/>
              </a:cxn>
              <a:cxn ang="0">
                <a:pos x="6" y="31"/>
              </a:cxn>
              <a:cxn ang="0">
                <a:pos x="9" y="46"/>
              </a:cxn>
              <a:cxn ang="0">
                <a:pos x="13" y="59"/>
              </a:cxn>
              <a:cxn ang="0">
                <a:pos x="15" y="58"/>
              </a:cxn>
              <a:cxn ang="0">
                <a:pos x="21" y="55"/>
              </a:cxn>
              <a:cxn ang="0">
                <a:pos x="20" y="34"/>
              </a:cxn>
              <a:cxn ang="0">
                <a:pos x="19" y="21"/>
              </a:cxn>
            </a:cxnLst>
            <a:rect b="b" l="0" r="r" t="0"/>
            <a:pathLst>
              <a:path h="59" w="21">
                <a:moveTo>
                  <a:pt x="19" y="21"/>
                </a:moveTo>
                <a:cubicBezTo>
                  <a:pt x="17" y="19"/>
                  <a:pt x="21" y="15"/>
                  <a:pt x="16" y="13"/>
                </a:cubicBezTo>
                <a:cubicBezTo>
                  <a:pt x="12" y="10"/>
                  <a:pt x="11" y="11"/>
                  <a:pt x="10" y="2"/>
                </a:cubicBezTo>
                <a:cubicBezTo>
                  <a:pt x="8" y="2"/>
                  <a:pt x="4" y="1"/>
                  <a:pt x="2" y="1"/>
                </a:cubicBezTo>
                <a:cubicBezTo>
                  <a:pt x="1" y="0"/>
                  <a:pt x="1" y="1"/>
                  <a:pt x="0" y="1"/>
                </a:cubicBezTo>
                <a:cubicBezTo>
                  <a:pt x="1" y="4"/>
                  <a:pt x="2" y="7"/>
                  <a:pt x="3" y="8"/>
                </a:cubicBezTo>
                <a:cubicBezTo>
                  <a:pt x="4" y="9"/>
                  <a:pt x="6" y="11"/>
                  <a:pt x="5" y="15"/>
                </a:cubicBezTo>
                <a:cubicBezTo>
                  <a:pt x="5" y="19"/>
                  <a:pt x="4" y="27"/>
                  <a:pt x="6" y="31"/>
                </a:cubicBezTo>
                <a:cubicBezTo>
                  <a:pt x="7" y="34"/>
                  <a:pt x="9" y="40"/>
                  <a:pt x="9" y="46"/>
                </a:cubicBezTo>
                <a:cubicBezTo>
                  <a:pt x="9" y="50"/>
                  <a:pt x="11" y="55"/>
                  <a:pt x="13" y="59"/>
                </a:cubicBezTo>
                <a:cubicBezTo>
                  <a:pt x="14" y="59"/>
                  <a:pt x="14" y="58"/>
                  <a:pt x="15" y="58"/>
                </a:cubicBezTo>
                <a:cubicBezTo>
                  <a:pt x="17" y="56"/>
                  <a:pt x="19" y="55"/>
                  <a:pt x="21" y="55"/>
                </a:cubicBezTo>
                <a:cubicBezTo>
                  <a:pt x="21" y="48"/>
                  <a:pt x="21" y="38"/>
                  <a:pt x="20" y="34"/>
                </a:cubicBezTo>
                <a:cubicBezTo>
                  <a:pt x="20" y="28"/>
                  <a:pt x="21" y="23"/>
                  <a:pt x="19" y="2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8" name="Freeform 25"/>
          <p:cNvSpPr/>
          <p:nvPr/>
        </p:nvSpPr>
        <p:spPr bwMode="auto">
          <a:xfrm>
            <a:off x="6136210" y="4162892"/>
            <a:ext cx="187283" cy="297570"/>
          </a:xfrm>
          <a:custGeom>
            <a:cxnLst>
              <a:cxn ang="0">
                <a:pos x="35" y="124"/>
              </a:cxn>
              <a:cxn ang="0">
                <a:pos x="65" y="125"/>
              </a:cxn>
              <a:cxn ang="0">
                <a:pos x="81" y="130"/>
              </a:cxn>
              <a:cxn ang="0">
                <a:pos x="84" y="120"/>
              </a:cxn>
              <a:cxn ang="0">
                <a:pos x="82" y="118"/>
              </a:cxn>
              <a:cxn ang="0">
                <a:pos x="75" y="111"/>
              </a:cxn>
              <a:cxn ang="0">
                <a:pos x="72" y="107"/>
              </a:cxn>
              <a:cxn ang="0">
                <a:pos x="71" y="101"/>
              </a:cxn>
              <a:cxn ang="0">
                <a:pos x="67" y="92"/>
              </a:cxn>
              <a:cxn ang="0">
                <a:pos x="66" y="82"/>
              </a:cxn>
              <a:cxn ang="0">
                <a:pos x="71" y="71"/>
              </a:cxn>
              <a:cxn ang="0">
                <a:pos x="77" y="64"/>
              </a:cxn>
              <a:cxn ang="0">
                <a:pos x="74" y="56"/>
              </a:cxn>
              <a:cxn ang="0">
                <a:pos x="64" y="46"/>
              </a:cxn>
              <a:cxn ang="0">
                <a:pos x="62" y="38"/>
              </a:cxn>
              <a:cxn ang="0">
                <a:pos x="71" y="37"/>
              </a:cxn>
              <a:cxn ang="0">
                <a:pos x="76" y="35"/>
              </a:cxn>
              <a:cxn ang="0">
                <a:pos x="71" y="21"/>
              </a:cxn>
              <a:cxn ang="0">
                <a:pos x="70" y="11"/>
              </a:cxn>
              <a:cxn ang="0">
                <a:pos x="63" y="1"/>
              </a:cxn>
              <a:cxn ang="0">
                <a:pos x="62" y="0"/>
              </a:cxn>
              <a:cxn ang="0">
                <a:pos x="62" y="7"/>
              </a:cxn>
              <a:cxn ang="0">
                <a:pos x="66" y="11"/>
              </a:cxn>
              <a:cxn ang="0">
                <a:pos x="67" y="18"/>
              </a:cxn>
              <a:cxn ang="0">
                <a:pos x="60" y="22"/>
              </a:cxn>
              <a:cxn ang="0">
                <a:pos x="54" y="34"/>
              </a:cxn>
              <a:cxn ang="0">
                <a:pos x="51" y="42"/>
              </a:cxn>
              <a:cxn ang="0">
                <a:pos x="50" y="48"/>
              </a:cxn>
              <a:cxn ang="0">
                <a:pos x="44" y="54"/>
              </a:cxn>
              <a:cxn ang="0">
                <a:pos x="36" y="72"/>
              </a:cxn>
              <a:cxn ang="0">
                <a:pos x="31" y="77"/>
              </a:cxn>
              <a:cxn ang="0">
                <a:pos x="23" y="71"/>
              </a:cxn>
              <a:cxn ang="0">
                <a:pos x="17" y="72"/>
              </a:cxn>
              <a:cxn ang="0">
                <a:pos x="4" y="84"/>
              </a:cxn>
              <a:cxn ang="0">
                <a:pos x="0" y="96"/>
              </a:cxn>
              <a:cxn ang="0">
                <a:pos x="5" y="103"/>
              </a:cxn>
              <a:cxn ang="0">
                <a:pos x="14" y="104"/>
              </a:cxn>
              <a:cxn ang="0">
                <a:pos x="17" y="115"/>
              </a:cxn>
              <a:cxn ang="0">
                <a:pos x="15" y="125"/>
              </a:cxn>
              <a:cxn ang="0">
                <a:pos x="31" y="125"/>
              </a:cxn>
              <a:cxn ang="0">
                <a:pos x="35" y="124"/>
              </a:cxn>
            </a:cxnLst>
            <a:rect b="b" l="0" r="r" t="0"/>
            <a:pathLst>
              <a:path h="130" w="84">
                <a:moveTo>
                  <a:pt x="35" y="124"/>
                </a:moveTo>
                <a:cubicBezTo>
                  <a:pt x="35" y="124"/>
                  <a:pt x="62" y="125"/>
                  <a:pt x="65" y="125"/>
                </a:cubicBezTo>
                <a:cubicBezTo>
                  <a:pt x="69" y="124"/>
                  <a:pt x="81" y="130"/>
                  <a:pt x="81" y="130"/>
                </a:cubicBezTo>
                <a:cubicBezTo>
                  <a:pt x="81" y="130"/>
                  <a:pt x="82" y="124"/>
                  <a:pt x="84" y="120"/>
                </a:cubicBezTo>
                <a:cubicBezTo>
                  <a:pt x="83" y="120"/>
                  <a:pt x="82" y="119"/>
                  <a:pt x="82" y="118"/>
                </a:cubicBezTo>
                <a:cubicBezTo>
                  <a:pt x="82" y="117"/>
                  <a:pt x="77" y="113"/>
                  <a:pt x="75" y="111"/>
                </a:cubicBezTo>
                <a:cubicBezTo>
                  <a:pt x="73" y="109"/>
                  <a:pt x="72" y="107"/>
                  <a:pt x="72" y="107"/>
                </a:cubicBezTo>
                <a:cubicBezTo>
                  <a:pt x="72" y="107"/>
                  <a:pt x="73" y="104"/>
                  <a:pt x="71" y="101"/>
                </a:cubicBezTo>
                <a:cubicBezTo>
                  <a:pt x="68" y="98"/>
                  <a:pt x="67" y="96"/>
                  <a:pt x="67" y="92"/>
                </a:cubicBezTo>
                <a:cubicBezTo>
                  <a:pt x="67" y="88"/>
                  <a:pt x="66" y="85"/>
                  <a:pt x="66" y="82"/>
                </a:cubicBezTo>
                <a:cubicBezTo>
                  <a:pt x="66" y="80"/>
                  <a:pt x="70" y="76"/>
                  <a:pt x="71" y="71"/>
                </a:cubicBezTo>
                <a:cubicBezTo>
                  <a:pt x="72" y="68"/>
                  <a:pt x="75" y="66"/>
                  <a:pt x="77" y="64"/>
                </a:cubicBezTo>
                <a:cubicBezTo>
                  <a:pt x="76" y="62"/>
                  <a:pt x="75" y="59"/>
                  <a:pt x="74" y="56"/>
                </a:cubicBezTo>
                <a:cubicBezTo>
                  <a:pt x="72" y="52"/>
                  <a:pt x="69" y="50"/>
                  <a:pt x="64" y="46"/>
                </a:cubicBezTo>
                <a:cubicBezTo>
                  <a:pt x="60" y="42"/>
                  <a:pt x="62" y="40"/>
                  <a:pt x="62" y="38"/>
                </a:cubicBezTo>
                <a:cubicBezTo>
                  <a:pt x="62" y="37"/>
                  <a:pt x="67" y="37"/>
                  <a:pt x="71" y="37"/>
                </a:cubicBezTo>
                <a:cubicBezTo>
                  <a:pt x="75" y="37"/>
                  <a:pt x="78" y="36"/>
                  <a:pt x="76" y="35"/>
                </a:cubicBezTo>
                <a:cubicBezTo>
                  <a:pt x="74" y="34"/>
                  <a:pt x="71" y="27"/>
                  <a:pt x="71" y="21"/>
                </a:cubicBezTo>
                <a:cubicBezTo>
                  <a:pt x="72" y="16"/>
                  <a:pt x="70" y="14"/>
                  <a:pt x="70" y="11"/>
                </a:cubicBezTo>
                <a:cubicBezTo>
                  <a:pt x="70" y="8"/>
                  <a:pt x="66" y="1"/>
                  <a:pt x="63" y="1"/>
                </a:cubicBezTo>
                <a:cubicBezTo>
                  <a:pt x="63" y="1"/>
                  <a:pt x="63" y="0"/>
                  <a:pt x="62" y="0"/>
                </a:cubicBezTo>
                <a:cubicBezTo>
                  <a:pt x="62" y="3"/>
                  <a:pt x="62" y="6"/>
                  <a:pt x="62" y="7"/>
                </a:cubicBezTo>
                <a:cubicBezTo>
                  <a:pt x="62" y="8"/>
                  <a:pt x="64" y="11"/>
                  <a:pt x="66" y="11"/>
                </a:cubicBezTo>
                <a:cubicBezTo>
                  <a:pt x="68" y="12"/>
                  <a:pt x="67" y="15"/>
                  <a:pt x="67" y="18"/>
                </a:cubicBezTo>
                <a:cubicBezTo>
                  <a:pt x="67" y="21"/>
                  <a:pt x="61" y="21"/>
                  <a:pt x="60" y="22"/>
                </a:cubicBezTo>
                <a:cubicBezTo>
                  <a:pt x="59" y="23"/>
                  <a:pt x="53" y="33"/>
                  <a:pt x="54" y="34"/>
                </a:cubicBezTo>
                <a:cubicBezTo>
                  <a:pt x="54" y="36"/>
                  <a:pt x="53" y="41"/>
                  <a:pt x="51" y="42"/>
                </a:cubicBezTo>
                <a:cubicBezTo>
                  <a:pt x="49" y="42"/>
                  <a:pt x="50" y="46"/>
                  <a:pt x="50" y="48"/>
                </a:cubicBezTo>
                <a:cubicBezTo>
                  <a:pt x="50" y="49"/>
                  <a:pt x="44" y="52"/>
                  <a:pt x="44" y="54"/>
                </a:cubicBezTo>
                <a:cubicBezTo>
                  <a:pt x="44" y="57"/>
                  <a:pt x="38" y="68"/>
                  <a:pt x="36" y="72"/>
                </a:cubicBezTo>
                <a:cubicBezTo>
                  <a:pt x="34" y="75"/>
                  <a:pt x="32" y="80"/>
                  <a:pt x="31" y="77"/>
                </a:cubicBezTo>
                <a:cubicBezTo>
                  <a:pt x="31" y="73"/>
                  <a:pt x="26" y="69"/>
                  <a:pt x="23" y="71"/>
                </a:cubicBezTo>
                <a:cubicBezTo>
                  <a:pt x="21" y="73"/>
                  <a:pt x="18" y="72"/>
                  <a:pt x="17" y="72"/>
                </a:cubicBezTo>
                <a:cubicBezTo>
                  <a:pt x="15" y="72"/>
                  <a:pt x="4" y="84"/>
                  <a:pt x="4" y="84"/>
                </a:cubicBezTo>
                <a:cubicBezTo>
                  <a:pt x="4" y="84"/>
                  <a:pt x="3" y="90"/>
                  <a:pt x="0" y="96"/>
                </a:cubicBezTo>
                <a:cubicBezTo>
                  <a:pt x="2" y="97"/>
                  <a:pt x="4" y="100"/>
                  <a:pt x="5" y="103"/>
                </a:cubicBezTo>
                <a:cubicBezTo>
                  <a:pt x="8" y="106"/>
                  <a:pt x="12" y="103"/>
                  <a:pt x="14" y="104"/>
                </a:cubicBezTo>
                <a:cubicBezTo>
                  <a:pt x="16" y="105"/>
                  <a:pt x="18" y="113"/>
                  <a:pt x="17" y="115"/>
                </a:cubicBezTo>
                <a:cubicBezTo>
                  <a:pt x="16" y="117"/>
                  <a:pt x="14" y="123"/>
                  <a:pt x="15" y="125"/>
                </a:cubicBezTo>
                <a:cubicBezTo>
                  <a:pt x="31" y="125"/>
                  <a:pt x="31" y="125"/>
                  <a:pt x="31" y="125"/>
                </a:cubicBezTo>
                <a:lnTo>
                  <a:pt x="35" y="124"/>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29" name="Freeform 26"/>
          <p:cNvSpPr/>
          <p:nvPr/>
        </p:nvSpPr>
        <p:spPr bwMode="auto">
          <a:xfrm>
            <a:off x="5704162" y="4227334"/>
            <a:ext cx="153906" cy="161105"/>
          </a:xfrm>
          <a:custGeom>
            <a:cxnLst>
              <a:cxn ang="0">
                <a:pos x="66" y="60"/>
              </a:cxn>
              <a:cxn ang="0">
                <a:pos x="61" y="47"/>
              </a:cxn>
              <a:cxn ang="0">
                <a:pos x="65" y="36"/>
              </a:cxn>
              <a:cxn ang="0">
                <a:pos x="69" y="29"/>
              </a:cxn>
              <a:cxn ang="0">
                <a:pos x="65" y="11"/>
              </a:cxn>
              <a:cxn ang="0">
                <a:pos x="63" y="10"/>
              </a:cxn>
              <a:cxn ang="0">
                <a:pos x="50" y="12"/>
              </a:cxn>
              <a:cxn ang="0">
                <a:pos x="40" y="7"/>
              </a:cxn>
              <a:cxn ang="0">
                <a:pos x="31" y="4"/>
              </a:cxn>
              <a:cxn ang="0">
                <a:pos x="27" y="3"/>
              </a:cxn>
              <a:cxn ang="0">
                <a:pos x="22" y="4"/>
              </a:cxn>
              <a:cxn ang="0">
                <a:pos x="15" y="7"/>
              </a:cxn>
              <a:cxn ang="0">
                <a:pos x="10" y="5"/>
              </a:cxn>
              <a:cxn ang="0">
                <a:pos x="6" y="6"/>
              </a:cxn>
              <a:cxn ang="0">
                <a:pos x="6" y="15"/>
              </a:cxn>
              <a:cxn ang="0">
                <a:pos x="8" y="20"/>
              </a:cxn>
              <a:cxn ang="0">
                <a:pos x="10" y="27"/>
              </a:cxn>
              <a:cxn ang="0">
                <a:pos x="5" y="28"/>
              </a:cxn>
              <a:cxn ang="0">
                <a:pos x="6" y="35"/>
              </a:cxn>
              <a:cxn ang="0">
                <a:pos x="2" y="41"/>
              </a:cxn>
              <a:cxn ang="0">
                <a:pos x="1" y="49"/>
              </a:cxn>
              <a:cxn ang="0">
                <a:pos x="5" y="52"/>
              </a:cxn>
              <a:cxn ang="0">
                <a:pos x="14" y="61"/>
              </a:cxn>
              <a:cxn ang="0">
                <a:pos x="10" y="71"/>
              </a:cxn>
              <a:cxn ang="0">
                <a:pos x="44" y="64"/>
              </a:cxn>
              <a:cxn ang="0">
                <a:pos x="65" y="65"/>
              </a:cxn>
              <a:cxn ang="0">
                <a:pos x="66" y="60"/>
              </a:cxn>
            </a:cxnLst>
            <a:rect b="b" l="0" r="r" t="0"/>
            <a:pathLst>
              <a:path h="71" w="69">
                <a:moveTo>
                  <a:pt x="66" y="60"/>
                </a:moveTo>
                <a:cubicBezTo>
                  <a:pt x="64" y="58"/>
                  <a:pt x="61" y="49"/>
                  <a:pt x="61" y="47"/>
                </a:cubicBezTo>
                <a:cubicBezTo>
                  <a:pt x="61" y="45"/>
                  <a:pt x="65" y="39"/>
                  <a:pt x="65" y="36"/>
                </a:cubicBezTo>
                <a:cubicBezTo>
                  <a:pt x="65" y="33"/>
                  <a:pt x="69" y="31"/>
                  <a:pt x="69" y="29"/>
                </a:cubicBezTo>
                <a:cubicBezTo>
                  <a:pt x="69" y="27"/>
                  <a:pt x="68" y="17"/>
                  <a:pt x="65" y="11"/>
                </a:cubicBezTo>
                <a:cubicBezTo>
                  <a:pt x="65" y="11"/>
                  <a:pt x="64" y="11"/>
                  <a:pt x="63" y="10"/>
                </a:cubicBezTo>
                <a:cubicBezTo>
                  <a:pt x="61" y="8"/>
                  <a:pt x="53" y="9"/>
                  <a:pt x="50" y="12"/>
                </a:cubicBezTo>
                <a:cubicBezTo>
                  <a:pt x="47" y="15"/>
                  <a:pt x="41" y="9"/>
                  <a:pt x="40" y="7"/>
                </a:cubicBezTo>
                <a:cubicBezTo>
                  <a:pt x="39" y="6"/>
                  <a:pt x="35" y="2"/>
                  <a:pt x="31" y="4"/>
                </a:cubicBezTo>
                <a:cubicBezTo>
                  <a:pt x="28" y="7"/>
                  <a:pt x="27" y="6"/>
                  <a:pt x="27" y="3"/>
                </a:cubicBezTo>
                <a:cubicBezTo>
                  <a:pt x="28" y="0"/>
                  <a:pt x="22" y="1"/>
                  <a:pt x="22" y="4"/>
                </a:cubicBezTo>
                <a:cubicBezTo>
                  <a:pt x="21" y="6"/>
                  <a:pt x="17" y="9"/>
                  <a:pt x="15" y="7"/>
                </a:cubicBezTo>
                <a:cubicBezTo>
                  <a:pt x="14" y="5"/>
                  <a:pt x="11" y="2"/>
                  <a:pt x="10" y="5"/>
                </a:cubicBezTo>
                <a:cubicBezTo>
                  <a:pt x="9" y="7"/>
                  <a:pt x="7" y="7"/>
                  <a:pt x="6" y="6"/>
                </a:cubicBezTo>
                <a:cubicBezTo>
                  <a:pt x="5" y="9"/>
                  <a:pt x="4" y="14"/>
                  <a:pt x="6" y="15"/>
                </a:cubicBezTo>
                <a:cubicBezTo>
                  <a:pt x="8" y="16"/>
                  <a:pt x="8" y="19"/>
                  <a:pt x="8" y="20"/>
                </a:cubicBezTo>
                <a:cubicBezTo>
                  <a:pt x="7" y="22"/>
                  <a:pt x="12" y="25"/>
                  <a:pt x="10" y="27"/>
                </a:cubicBezTo>
                <a:cubicBezTo>
                  <a:pt x="8" y="29"/>
                  <a:pt x="6" y="25"/>
                  <a:pt x="5" y="28"/>
                </a:cubicBezTo>
                <a:cubicBezTo>
                  <a:pt x="3" y="30"/>
                  <a:pt x="7" y="33"/>
                  <a:pt x="6" y="35"/>
                </a:cubicBezTo>
                <a:cubicBezTo>
                  <a:pt x="4" y="37"/>
                  <a:pt x="2" y="37"/>
                  <a:pt x="2" y="41"/>
                </a:cubicBezTo>
                <a:cubicBezTo>
                  <a:pt x="3" y="45"/>
                  <a:pt x="3" y="48"/>
                  <a:pt x="1" y="49"/>
                </a:cubicBezTo>
                <a:cubicBezTo>
                  <a:pt x="0" y="50"/>
                  <a:pt x="1" y="50"/>
                  <a:pt x="5" y="52"/>
                </a:cubicBezTo>
                <a:cubicBezTo>
                  <a:pt x="8" y="55"/>
                  <a:pt x="14" y="57"/>
                  <a:pt x="14" y="61"/>
                </a:cubicBezTo>
                <a:cubicBezTo>
                  <a:pt x="13" y="64"/>
                  <a:pt x="12" y="65"/>
                  <a:pt x="10" y="71"/>
                </a:cubicBezTo>
                <a:cubicBezTo>
                  <a:pt x="17" y="71"/>
                  <a:pt x="29" y="66"/>
                  <a:pt x="44" y="64"/>
                </a:cubicBezTo>
                <a:cubicBezTo>
                  <a:pt x="52" y="62"/>
                  <a:pt x="60" y="64"/>
                  <a:pt x="65" y="65"/>
                </a:cubicBezTo>
                <a:cubicBezTo>
                  <a:pt x="66" y="63"/>
                  <a:pt x="66" y="61"/>
                  <a:pt x="66" y="6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0" name="Freeform 27"/>
          <p:cNvSpPr/>
          <p:nvPr/>
        </p:nvSpPr>
        <p:spPr bwMode="auto">
          <a:xfrm>
            <a:off x="5839524" y="4217858"/>
            <a:ext cx="107548" cy="166790"/>
          </a:xfrm>
          <a:custGeom>
            <a:cxnLst>
              <a:cxn ang="0">
                <a:pos x="41" y="30"/>
              </a:cxn>
              <a:cxn ang="0">
                <a:pos x="40" y="14"/>
              </a:cxn>
              <a:cxn ang="0">
                <a:pos x="38" y="7"/>
              </a:cxn>
              <a:cxn ang="0">
                <a:pos x="35" y="0"/>
              </a:cxn>
              <a:cxn ang="0">
                <a:pos x="32" y="3"/>
              </a:cxn>
              <a:cxn ang="0">
                <a:pos x="4" y="2"/>
              </a:cxn>
              <a:cxn ang="0">
                <a:pos x="6" y="13"/>
              </a:cxn>
              <a:cxn ang="0">
                <a:pos x="4" y="15"/>
              </a:cxn>
              <a:cxn ang="0">
                <a:pos x="8" y="33"/>
              </a:cxn>
              <a:cxn ang="0">
                <a:pos x="4" y="40"/>
              </a:cxn>
              <a:cxn ang="0">
                <a:pos x="0" y="51"/>
              </a:cxn>
              <a:cxn ang="0">
                <a:pos x="5" y="64"/>
              </a:cxn>
              <a:cxn ang="0">
                <a:pos x="4" y="69"/>
              </a:cxn>
              <a:cxn ang="0">
                <a:pos x="13" y="72"/>
              </a:cxn>
              <a:cxn ang="0">
                <a:pos x="35" y="64"/>
              </a:cxn>
              <a:cxn ang="0">
                <a:pos x="48" y="58"/>
              </a:cxn>
              <a:cxn ang="0">
                <a:pos x="44" y="45"/>
              </a:cxn>
              <a:cxn ang="0">
                <a:pos x="41" y="30"/>
              </a:cxn>
            </a:cxnLst>
            <a:rect b="b" l="0" r="r" t="0"/>
            <a:pathLst>
              <a:path h="73" w="48">
                <a:moveTo>
                  <a:pt x="41" y="30"/>
                </a:moveTo>
                <a:cubicBezTo>
                  <a:pt x="39" y="26"/>
                  <a:pt x="40" y="18"/>
                  <a:pt x="40" y="14"/>
                </a:cubicBezTo>
                <a:cubicBezTo>
                  <a:pt x="41" y="10"/>
                  <a:pt x="39" y="8"/>
                  <a:pt x="38" y="7"/>
                </a:cubicBezTo>
                <a:cubicBezTo>
                  <a:pt x="37" y="6"/>
                  <a:pt x="36" y="3"/>
                  <a:pt x="35" y="0"/>
                </a:cubicBezTo>
                <a:cubicBezTo>
                  <a:pt x="33" y="1"/>
                  <a:pt x="33" y="4"/>
                  <a:pt x="32" y="3"/>
                </a:cubicBezTo>
                <a:cubicBezTo>
                  <a:pt x="31" y="1"/>
                  <a:pt x="5" y="0"/>
                  <a:pt x="4" y="2"/>
                </a:cubicBezTo>
                <a:cubicBezTo>
                  <a:pt x="3" y="4"/>
                  <a:pt x="6" y="11"/>
                  <a:pt x="6" y="13"/>
                </a:cubicBezTo>
                <a:cubicBezTo>
                  <a:pt x="6" y="14"/>
                  <a:pt x="5" y="15"/>
                  <a:pt x="4" y="15"/>
                </a:cubicBezTo>
                <a:cubicBezTo>
                  <a:pt x="7" y="21"/>
                  <a:pt x="8" y="31"/>
                  <a:pt x="8" y="33"/>
                </a:cubicBezTo>
                <a:cubicBezTo>
                  <a:pt x="8" y="35"/>
                  <a:pt x="4" y="37"/>
                  <a:pt x="4" y="40"/>
                </a:cubicBezTo>
                <a:cubicBezTo>
                  <a:pt x="4" y="43"/>
                  <a:pt x="0" y="49"/>
                  <a:pt x="0" y="51"/>
                </a:cubicBezTo>
                <a:cubicBezTo>
                  <a:pt x="0" y="53"/>
                  <a:pt x="3" y="62"/>
                  <a:pt x="5" y="64"/>
                </a:cubicBezTo>
                <a:cubicBezTo>
                  <a:pt x="5" y="65"/>
                  <a:pt x="5" y="67"/>
                  <a:pt x="4" y="69"/>
                </a:cubicBezTo>
                <a:cubicBezTo>
                  <a:pt x="9" y="71"/>
                  <a:pt x="12" y="72"/>
                  <a:pt x="13" y="72"/>
                </a:cubicBezTo>
                <a:cubicBezTo>
                  <a:pt x="15" y="73"/>
                  <a:pt x="29" y="66"/>
                  <a:pt x="35" y="64"/>
                </a:cubicBezTo>
                <a:cubicBezTo>
                  <a:pt x="39" y="61"/>
                  <a:pt x="44" y="60"/>
                  <a:pt x="48" y="58"/>
                </a:cubicBezTo>
                <a:cubicBezTo>
                  <a:pt x="46" y="54"/>
                  <a:pt x="44" y="49"/>
                  <a:pt x="44" y="45"/>
                </a:cubicBezTo>
                <a:cubicBezTo>
                  <a:pt x="44" y="39"/>
                  <a:pt x="42" y="33"/>
                  <a:pt x="41" y="3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1" name="Freeform 28"/>
          <p:cNvSpPr/>
          <p:nvPr/>
        </p:nvSpPr>
        <p:spPr bwMode="auto">
          <a:xfrm>
            <a:off x="5537277" y="4178055"/>
            <a:ext cx="192845" cy="145942"/>
          </a:xfrm>
          <a:custGeom>
            <a:cxnLst>
              <a:cxn ang="0">
                <a:pos x="29" y="34"/>
              </a:cxn>
              <a:cxn ang="0">
                <a:pos x="34" y="33"/>
              </a:cxn>
              <a:cxn ang="0">
                <a:pos x="42" y="31"/>
              </a:cxn>
              <a:cxn ang="0">
                <a:pos x="51" y="42"/>
              </a:cxn>
              <a:cxn ang="0">
                <a:pos x="53" y="49"/>
              </a:cxn>
              <a:cxn ang="0">
                <a:pos x="53" y="50"/>
              </a:cxn>
              <a:cxn ang="0">
                <a:pos x="61" y="48"/>
              </a:cxn>
              <a:cxn ang="0">
                <a:pos x="65" y="58"/>
              </a:cxn>
              <a:cxn ang="0">
                <a:pos x="70" y="62"/>
              </a:cxn>
              <a:cxn ang="0">
                <a:pos x="74" y="58"/>
              </a:cxn>
              <a:cxn ang="0">
                <a:pos x="77" y="60"/>
              </a:cxn>
              <a:cxn ang="0">
                <a:pos x="80" y="57"/>
              </a:cxn>
              <a:cxn ang="0">
                <a:pos x="79" y="50"/>
              </a:cxn>
              <a:cxn ang="0">
                <a:pos x="84" y="49"/>
              </a:cxn>
              <a:cxn ang="0">
                <a:pos x="82" y="42"/>
              </a:cxn>
              <a:cxn ang="0">
                <a:pos x="80" y="37"/>
              </a:cxn>
              <a:cxn ang="0">
                <a:pos x="80" y="28"/>
              </a:cxn>
              <a:cxn ang="0">
                <a:pos x="78" y="26"/>
              </a:cxn>
              <a:cxn ang="0">
                <a:pos x="76" y="20"/>
              </a:cxn>
              <a:cxn ang="0">
                <a:pos x="76" y="16"/>
              </a:cxn>
              <a:cxn ang="0">
                <a:pos x="72" y="11"/>
              </a:cxn>
              <a:cxn ang="0">
                <a:pos x="67" y="2"/>
              </a:cxn>
              <a:cxn ang="0">
                <a:pos x="59" y="8"/>
              </a:cxn>
              <a:cxn ang="0">
                <a:pos x="52" y="7"/>
              </a:cxn>
              <a:cxn ang="0">
                <a:pos x="45" y="8"/>
              </a:cxn>
              <a:cxn ang="0">
                <a:pos x="42" y="5"/>
              </a:cxn>
              <a:cxn ang="0">
                <a:pos x="42" y="3"/>
              </a:cxn>
              <a:cxn ang="0">
                <a:pos x="41" y="4"/>
              </a:cxn>
              <a:cxn ang="0">
                <a:pos x="24" y="3"/>
              </a:cxn>
              <a:cxn ang="0">
                <a:pos x="16" y="0"/>
              </a:cxn>
              <a:cxn ang="0">
                <a:pos x="14" y="5"/>
              </a:cxn>
              <a:cxn ang="0">
                <a:pos x="15" y="10"/>
              </a:cxn>
              <a:cxn ang="0">
                <a:pos x="11" y="12"/>
              </a:cxn>
              <a:cxn ang="0">
                <a:pos x="1" y="17"/>
              </a:cxn>
              <a:cxn ang="0">
                <a:pos x="0" y="18"/>
              </a:cxn>
              <a:cxn ang="0">
                <a:pos x="8" y="28"/>
              </a:cxn>
              <a:cxn ang="0">
                <a:pos x="21" y="42"/>
              </a:cxn>
              <a:cxn ang="0">
                <a:pos x="29" y="34"/>
              </a:cxn>
            </a:cxnLst>
            <a:rect b="b" l="0" r="r" t="0"/>
            <a:pathLst>
              <a:path h="64" w="86">
                <a:moveTo>
                  <a:pt x="29" y="34"/>
                </a:moveTo>
                <a:cubicBezTo>
                  <a:pt x="29" y="31"/>
                  <a:pt x="31" y="32"/>
                  <a:pt x="34" y="33"/>
                </a:cubicBezTo>
                <a:cubicBezTo>
                  <a:pt x="37" y="33"/>
                  <a:pt x="40" y="31"/>
                  <a:pt x="42" y="31"/>
                </a:cubicBezTo>
                <a:cubicBezTo>
                  <a:pt x="45" y="31"/>
                  <a:pt x="51" y="40"/>
                  <a:pt x="51" y="42"/>
                </a:cubicBezTo>
                <a:cubicBezTo>
                  <a:pt x="51" y="45"/>
                  <a:pt x="52" y="47"/>
                  <a:pt x="53" y="49"/>
                </a:cubicBezTo>
                <a:cubicBezTo>
                  <a:pt x="53" y="49"/>
                  <a:pt x="53" y="49"/>
                  <a:pt x="53" y="50"/>
                </a:cubicBezTo>
                <a:cubicBezTo>
                  <a:pt x="57" y="49"/>
                  <a:pt x="61" y="48"/>
                  <a:pt x="61" y="48"/>
                </a:cubicBezTo>
                <a:cubicBezTo>
                  <a:pt x="63" y="48"/>
                  <a:pt x="65" y="54"/>
                  <a:pt x="65" y="58"/>
                </a:cubicBezTo>
                <a:cubicBezTo>
                  <a:pt x="64" y="61"/>
                  <a:pt x="68" y="64"/>
                  <a:pt x="70" y="62"/>
                </a:cubicBezTo>
                <a:cubicBezTo>
                  <a:pt x="72" y="59"/>
                  <a:pt x="74" y="56"/>
                  <a:pt x="74" y="58"/>
                </a:cubicBezTo>
                <a:cubicBezTo>
                  <a:pt x="75" y="59"/>
                  <a:pt x="75" y="59"/>
                  <a:pt x="77" y="60"/>
                </a:cubicBezTo>
                <a:cubicBezTo>
                  <a:pt x="77" y="58"/>
                  <a:pt x="79" y="58"/>
                  <a:pt x="80" y="57"/>
                </a:cubicBezTo>
                <a:cubicBezTo>
                  <a:pt x="81" y="55"/>
                  <a:pt x="77" y="52"/>
                  <a:pt x="79" y="50"/>
                </a:cubicBezTo>
                <a:cubicBezTo>
                  <a:pt x="80" y="47"/>
                  <a:pt x="82" y="51"/>
                  <a:pt x="84" y="49"/>
                </a:cubicBezTo>
                <a:cubicBezTo>
                  <a:pt x="86" y="47"/>
                  <a:pt x="81" y="44"/>
                  <a:pt x="82" y="42"/>
                </a:cubicBezTo>
                <a:cubicBezTo>
                  <a:pt x="82" y="41"/>
                  <a:pt x="82" y="38"/>
                  <a:pt x="80" y="37"/>
                </a:cubicBezTo>
                <a:cubicBezTo>
                  <a:pt x="78" y="36"/>
                  <a:pt x="79" y="31"/>
                  <a:pt x="80" y="28"/>
                </a:cubicBezTo>
                <a:cubicBezTo>
                  <a:pt x="79" y="27"/>
                  <a:pt x="79" y="27"/>
                  <a:pt x="78" y="26"/>
                </a:cubicBezTo>
                <a:cubicBezTo>
                  <a:pt x="77" y="24"/>
                  <a:pt x="78" y="20"/>
                  <a:pt x="76" y="20"/>
                </a:cubicBezTo>
                <a:cubicBezTo>
                  <a:pt x="73" y="20"/>
                  <a:pt x="74" y="17"/>
                  <a:pt x="76" y="16"/>
                </a:cubicBezTo>
                <a:cubicBezTo>
                  <a:pt x="78" y="15"/>
                  <a:pt x="72" y="13"/>
                  <a:pt x="72" y="11"/>
                </a:cubicBezTo>
                <a:cubicBezTo>
                  <a:pt x="72" y="8"/>
                  <a:pt x="69" y="3"/>
                  <a:pt x="67" y="2"/>
                </a:cubicBezTo>
                <a:cubicBezTo>
                  <a:pt x="66" y="2"/>
                  <a:pt x="61" y="8"/>
                  <a:pt x="59" y="8"/>
                </a:cubicBezTo>
                <a:cubicBezTo>
                  <a:pt x="57" y="8"/>
                  <a:pt x="53" y="4"/>
                  <a:pt x="52" y="7"/>
                </a:cubicBezTo>
                <a:cubicBezTo>
                  <a:pt x="50" y="11"/>
                  <a:pt x="47" y="6"/>
                  <a:pt x="45" y="8"/>
                </a:cubicBezTo>
                <a:cubicBezTo>
                  <a:pt x="43" y="11"/>
                  <a:pt x="42" y="5"/>
                  <a:pt x="42" y="5"/>
                </a:cubicBezTo>
                <a:cubicBezTo>
                  <a:pt x="42" y="5"/>
                  <a:pt x="42" y="4"/>
                  <a:pt x="42" y="3"/>
                </a:cubicBezTo>
                <a:cubicBezTo>
                  <a:pt x="42" y="3"/>
                  <a:pt x="41" y="4"/>
                  <a:pt x="41" y="4"/>
                </a:cubicBezTo>
                <a:cubicBezTo>
                  <a:pt x="35" y="6"/>
                  <a:pt x="25" y="5"/>
                  <a:pt x="24" y="3"/>
                </a:cubicBezTo>
                <a:cubicBezTo>
                  <a:pt x="24" y="1"/>
                  <a:pt x="16" y="0"/>
                  <a:pt x="16" y="0"/>
                </a:cubicBezTo>
                <a:cubicBezTo>
                  <a:pt x="16" y="0"/>
                  <a:pt x="17" y="4"/>
                  <a:pt x="14" y="5"/>
                </a:cubicBezTo>
                <a:cubicBezTo>
                  <a:pt x="11" y="6"/>
                  <a:pt x="15" y="9"/>
                  <a:pt x="15" y="10"/>
                </a:cubicBezTo>
                <a:cubicBezTo>
                  <a:pt x="15" y="11"/>
                  <a:pt x="12" y="13"/>
                  <a:pt x="11" y="12"/>
                </a:cubicBezTo>
                <a:cubicBezTo>
                  <a:pt x="9" y="11"/>
                  <a:pt x="4" y="16"/>
                  <a:pt x="1" y="17"/>
                </a:cubicBezTo>
                <a:cubicBezTo>
                  <a:pt x="1" y="17"/>
                  <a:pt x="1" y="18"/>
                  <a:pt x="0" y="18"/>
                </a:cubicBezTo>
                <a:cubicBezTo>
                  <a:pt x="4" y="22"/>
                  <a:pt x="4" y="25"/>
                  <a:pt x="8" y="28"/>
                </a:cubicBezTo>
                <a:cubicBezTo>
                  <a:pt x="12" y="31"/>
                  <a:pt x="18" y="36"/>
                  <a:pt x="21" y="42"/>
                </a:cubicBezTo>
                <a:cubicBezTo>
                  <a:pt x="24" y="39"/>
                  <a:pt x="28" y="36"/>
                  <a:pt x="29" y="3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2" name="Freeform 29"/>
          <p:cNvSpPr/>
          <p:nvPr/>
        </p:nvSpPr>
        <p:spPr bwMode="auto">
          <a:xfrm>
            <a:off x="5629991" y="4286090"/>
            <a:ext cx="103840" cy="102349"/>
          </a:xfrm>
          <a:custGeom>
            <a:cxnLst>
              <a:cxn ang="0">
                <a:pos x="38" y="26"/>
              </a:cxn>
              <a:cxn ang="0">
                <a:pos x="34" y="23"/>
              </a:cxn>
              <a:cxn ang="0">
                <a:pos x="35" y="15"/>
              </a:cxn>
              <a:cxn ang="0">
                <a:pos x="36" y="12"/>
              </a:cxn>
              <a:cxn ang="0">
                <a:pos x="33" y="10"/>
              </a:cxn>
              <a:cxn ang="0">
                <a:pos x="29" y="14"/>
              </a:cxn>
              <a:cxn ang="0">
                <a:pos x="24" y="10"/>
              </a:cxn>
              <a:cxn ang="0">
                <a:pos x="20" y="0"/>
              </a:cxn>
              <a:cxn ang="0">
                <a:pos x="12" y="2"/>
              </a:cxn>
              <a:cxn ang="0">
                <a:pos x="11" y="7"/>
              </a:cxn>
              <a:cxn ang="0">
                <a:pos x="2" y="15"/>
              </a:cxn>
              <a:cxn ang="0">
                <a:pos x="0" y="19"/>
              </a:cxn>
              <a:cxn ang="0">
                <a:pos x="14" y="28"/>
              </a:cxn>
              <a:cxn ang="0">
                <a:pos x="41" y="45"/>
              </a:cxn>
              <a:cxn ang="0">
                <a:pos x="43" y="45"/>
              </a:cxn>
              <a:cxn ang="0">
                <a:pos x="47" y="35"/>
              </a:cxn>
              <a:cxn ang="0">
                <a:pos x="38" y="26"/>
              </a:cxn>
            </a:cxnLst>
            <a:rect b="b" l="0" r="r" t="0"/>
            <a:pathLst>
              <a:path h="45" w="47">
                <a:moveTo>
                  <a:pt x="38" y="26"/>
                </a:moveTo>
                <a:cubicBezTo>
                  <a:pt x="34" y="24"/>
                  <a:pt x="33" y="24"/>
                  <a:pt x="34" y="23"/>
                </a:cubicBezTo>
                <a:cubicBezTo>
                  <a:pt x="36" y="22"/>
                  <a:pt x="36" y="19"/>
                  <a:pt x="35" y="15"/>
                </a:cubicBezTo>
                <a:cubicBezTo>
                  <a:pt x="35" y="13"/>
                  <a:pt x="35" y="13"/>
                  <a:pt x="36" y="12"/>
                </a:cubicBezTo>
                <a:cubicBezTo>
                  <a:pt x="34" y="11"/>
                  <a:pt x="34" y="11"/>
                  <a:pt x="33" y="10"/>
                </a:cubicBezTo>
                <a:cubicBezTo>
                  <a:pt x="33" y="8"/>
                  <a:pt x="31" y="11"/>
                  <a:pt x="29" y="14"/>
                </a:cubicBezTo>
                <a:cubicBezTo>
                  <a:pt x="27" y="16"/>
                  <a:pt x="23" y="13"/>
                  <a:pt x="24" y="10"/>
                </a:cubicBezTo>
                <a:cubicBezTo>
                  <a:pt x="24" y="6"/>
                  <a:pt x="22" y="0"/>
                  <a:pt x="20" y="0"/>
                </a:cubicBezTo>
                <a:cubicBezTo>
                  <a:pt x="20" y="0"/>
                  <a:pt x="16" y="1"/>
                  <a:pt x="12" y="2"/>
                </a:cubicBezTo>
                <a:cubicBezTo>
                  <a:pt x="13" y="3"/>
                  <a:pt x="12" y="5"/>
                  <a:pt x="11" y="7"/>
                </a:cubicBezTo>
                <a:cubicBezTo>
                  <a:pt x="11" y="10"/>
                  <a:pt x="5" y="13"/>
                  <a:pt x="2" y="15"/>
                </a:cubicBezTo>
                <a:cubicBezTo>
                  <a:pt x="1" y="15"/>
                  <a:pt x="0" y="17"/>
                  <a:pt x="0" y="19"/>
                </a:cubicBezTo>
                <a:cubicBezTo>
                  <a:pt x="4" y="22"/>
                  <a:pt x="10" y="25"/>
                  <a:pt x="14" y="28"/>
                </a:cubicBezTo>
                <a:cubicBezTo>
                  <a:pt x="22" y="35"/>
                  <a:pt x="35" y="43"/>
                  <a:pt x="41" y="45"/>
                </a:cubicBezTo>
                <a:cubicBezTo>
                  <a:pt x="41" y="45"/>
                  <a:pt x="42" y="45"/>
                  <a:pt x="43" y="45"/>
                </a:cubicBezTo>
                <a:cubicBezTo>
                  <a:pt x="45" y="39"/>
                  <a:pt x="46" y="38"/>
                  <a:pt x="47" y="35"/>
                </a:cubicBezTo>
                <a:cubicBezTo>
                  <a:pt x="47" y="31"/>
                  <a:pt x="41" y="29"/>
                  <a:pt x="38" y="2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0" pitchFamily="34" typeface="Calibri"/>
            </a:endParaRPr>
          </a:p>
        </p:txBody>
      </p:sp>
      <p:sp>
        <p:nvSpPr>
          <p:cNvPr id="33" name="Freeform 30"/>
          <p:cNvSpPr/>
          <p:nvPr/>
        </p:nvSpPr>
        <p:spPr bwMode="auto">
          <a:xfrm>
            <a:off x="5585488" y="4248183"/>
            <a:ext cx="74171" cy="81500"/>
          </a:xfrm>
          <a:custGeom>
            <a:cxnLst>
              <a:cxn ang="0">
                <a:pos x="31" y="24"/>
              </a:cxn>
              <a:cxn ang="0">
                <a:pos x="32" y="18"/>
              </a:cxn>
              <a:cxn ang="0">
                <a:pos x="30" y="11"/>
              </a:cxn>
              <a:cxn ang="0">
                <a:pos x="21" y="0"/>
              </a:cxn>
              <a:cxn ang="0">
                <a:pos x="13" y="2"/>
              </a:cxn>
              <a:cxn ang="0">
                <a:pos x="8" y="3"/>
              </a:cxn>
              <a:cxn ang="0">
                <a:pos x="0" y="11"/>
              </a:cxn>
              <a:cxn ang="0">
                <a:pos x="2" y="15"/>
              </a:cxn>
              <a:cxn ang="0">
                <a:pos x="11" y="30"/>
              </a:cxn>
              <a:cxn ang="0">
                <a:pos x="20" y="36"/>
              </a:cxn>
              <a:cxn ang="0">
                <a:pos x="22" y="32"/>
              </a:cxn>
              <a:cxn ang="0">
                <a:pos x="31" y="24"/>
              </a:cxn>
            </a:cxnLst>
            <a:rect b="b" l="0" r="r" t="0"/>
            <a:pathLst>
              <a:path h="36" w="33">
                <a:moveTo>
                  <a:pt x="31" y="24"/>
                </a:moveTo>
                <a:cubicBezTo>
                  <a:pt x="32" y="22"/>
                  <a:pt x="33" y="20"/>
                  <a:pt x="32" y="18"/>
                </a:cubicBezTo>
                <a:cubicBezTo>
                  <a:pt x="31" y="16"/>
                  <a:pt x="30" y="14"/>
                  <a:pt x="30" y="11"/>
                </a:cubicBezTo>
                <a:cubicBezTo>
                  <a:pt x="30" y="9"/>
                  <a:pt x="24" y="0"/>
                  <a:pt x="21" y="0"/>
                </a:cubicBezTo>
                <a:cubicBezTo>
                  <a:pt x="19" y="0"/>
                  <a:pt x="16" y="2"/>
                  <a:pt x="13" y="2"/>
                </a:cubicBezTo>
                <a:cubicBezTo>
                  <a:pt x="10" y="1"/>
                  <a:pt x="8" y="0"/>
                  <a:pt x="8" y="3"/>
                </a:cubicBezTo>
                <a:cubicBezTo>
                  <a:pt x="7" y="5"/>
                  <a:pt x="3" y="8"/>
                  <a:pt x="0" y="11"/>
                </a:cubicBezTo>
                <a:cubicBezTo>
                  <a:pt x="1" y="12"/>
                  <a:pt x="1" y="14"/>
                  <a:pt x="2" y="15"/>
                </a:cubicBezTo>
                <a:cubicBezTo>
                  <a:pt x="4" y="25"/>
                  <a:pt x="7" y="26"/>
                  <a:pt x="11" y="30"/>
                </a:cubicBezTo>
                <a:cubicBezTo>
                  <a:pt x="12" y="31"/>
                  <a:pt x="16" y="33"/>
                  <a:pt x="20" y="36"/>
                </a:cubicBezTo>
                <a:cubicBezTo>
                  <a:pt x="20" y="34"/>
                  <a:pt x="21" y="32"/>
                  <a:pt x="22" y="32"/>
                </a:cubicBezTo>
                <a:cubicBezTo>
                  <a:pt x="25" y="30"/>
                  <a:pt x="31" y="27"/>
                  <a:pt x="31" y="2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4" name="Freeform 31"/>
          <p:cNvSpPr/>
          <p:nvPr/>
        </p:nvSpPr>
        <p:spPr bwMode="auto">
          <a:xfrm>
            <a:off x="5490919" y="3770556"/>
            <a:ext cx="209535" cy="176268"/>
          </a:xfrm>
          <a:custGeom>
            <a:cxnLst>
              <a:cxn ang="0">
                <a:pos x="44" y="59"/>
              </a:cxn>
              <a:cxn ang="0">
                <a:pos x="56" y="51"/>
              </a:cxn>
              <a:cxn ang="0">
                <a:pos x="56" y="20"/>
              </a:cxn>
              <a:cxn ang="0">
                <a:pos x="94" y="20"/>
              </a:cxn>
              <a:cxn ang="0">
                <a:pos x="94" y="4"/>
              </a:cxn>
              <a:cxn ang="0">
                <a:pos x="86" y="0"/>
              </a:cxn>
              <a:cxn ang="0">
                <a:pos x="44" y="0"/>
              </a:cxn>
              <a:cxn ang="0">
                <a:pos x="38" y="10"/>
              </a:cxn>
              <a:cxn ang="0">
                <a:pos x="23" y="31"/>
              </a:cxn>
              <a:cxn ang="0">
                <a:pos x="3" y="66"/>
              </a:cxn>
              <a:cxn ang="0">
                <a:pos x="0" y="77"/>
              </a:cxn>
              <a:cxn ang="0">
                <a:pos x="44" y="77"/>
              </a:cxn>
              <a:cxn ang="0">
                <a:pos x="44" y="59"/>
              </a:cxn>
            </a:cxnLst>
            <a:rect b="b" l="0" r="r" t="0"/>
            <a:pathLst>
              <a:path h="77" w="94">
                <a:moveTo>
                  <a:pt x="44" y="59"/>
                </a:moveTo>
                <a:cubicBezTo>
                  <a:pt x="44" y="56"/>
                  <a:pt x="56" y="53"/>
                  <a:pt x="56" y="51"/>
                </a:cubicBezTo>
                <a:cubicBezTo>
                  <a:pt x="56" y="48"/>
                  <a:pt x="56" y="20"/>
                  <a:pt x="56" y="20"/>
                </a:cubicBezTo>
                <a:cubicBezTo>
                  <a:pt x="56" y="20"/>
                  <a:pt x="93" y="21"/>
                  <a:pt x="94" y="20"/>
                </a:cubicBezTo>
                <a:cubicBezTo>
                  <a:pt x="94" y="20"/>
                  <a:pt x="94" y="12"/>
                  <a:pt x="94" y="4"/>
                </a:cubicBezTo>
                <a:cubicBezTo>
                  <a:pt x="92" y="2"/>
                  <a:pt x="94" y="0"/>
                  <a:pt x="86" y="0"/>
                </a:cubicBezTo>
                <a:cubicBezTo>
                  <a:pt x="79" y="0"/>
                  <a:pt x="58" y="0"/>
                  <a:pt x="44" y="0"/>
                </a:cubicBezTo>
                <a:cubicBezTo>
                  <a:pt x="41" y="3"/>
                  <a:pt x="39" y="7"/>
                  <a:pt x="38" y="10"/>
                </a:cubicBezTo>
                <a:cubicBezTo>
                  <a:pt x="36" y="16"/>
                  <a:pt x="23" y="23"/>
                  <a:pt x="23" y="31"/>
                </a:cubicBezTo>
                <a:cubicBezTo>
                  <a:pt x="22" y="38"/>
                  <a:pt x="11" y="50"/>
                  <a:pt x="3" y="66"/>
                </a:cubicBezTo>
                <a:cubicBezTo>
                  <a:pt x="1" y="70"/>
                  <a:pt x="0" y="74"/>
                  <a:pt x="0" y="77"/>
                </a:cubicBezTo>
                <a:cubicBezTo>
                  <a:pt x="44" y="77"/>
                  <a:pt x="44" y="77"/>
                  <a:pt x="44" y="77"/>
                </a:cubicBezTo>
                <a:cubicBezTo>
                  <a:pt x="44" y="77"/>
                  <a:pt x="44" y="62"/>
                  <a:pt x="44" y="5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5" name="Freeform 32"/>
          <p:cNvSpPr/>
          <p:nvPr/>
        </p:nvSpPr>
        <p:spPr bwMode="auto">
          <a:xfrm>
            <a:off x="5489065" y="3780032"/>
            <a:ext cx="305957" cy="343058"/>
          </a:xfrm>
          <a:custGeom>
            <a:cxnLst>
              <a:cxn ang="0">
                <a:pos x="11" y="130"/>
              </a:cxn>
              <a:cxn ang="0">
                <a:pos x="21" y="130"/>
              </a:cxn>
              <a:cxn ang="0">
                <a:pos x="30" y="129"/>
              </a:cxn>
              <a:cxn ang="0">
                <a:pos x="36" y="135"/>
              </a:cxn>
              <a:cxn ang="0">
                <a:pos x="40" y="135"/>
              </a:cxn>
              <a:cxn ang="0">
                <a:pos x="48" y="145"/>
              </a:cxn>
              <a:cxn ang="0">
                <a:pos x="53" y="150"/>
              </a:cxn>
              <a:cxn ang="0">
                <a:pos x="59" y="147"/>
              </a:cxn>
              <a:cxn ang="0">
                <a:pos x="66" y="144"/>
              </a:cxn>
              <a:cxn ang="0">
                <a:pos x="72" y="143"/>
              </a:cxn>
              <a:cxn ang="0">
                <a:pos x="80" y="144"/>
              </a:cxn>
              <a:cxn ang="0">
                <a:pos x="87" y="141"/>
              </a:cxn>
              <a:cxn ang="0">
                <a:pos x="131" y="141"/>
              </a:cxn>
              <a:cxn ang="0">
                <a:pos x="132" y="131"/>
              </a:cxn>
              <a:cxn ang="0">
                <a:pos x="129" y="128"/>
              </a:cxn>
              <a:cxn ang="0">
                <a:pos x="118" y="28"/>
              </a:cxn>
              <a:cxn ang="0">
                <a:pos x="137" y="28"/>
              </a:cxn>
              <a:cxn ang="0">
                <a:pos x="97" y="2"/>
              </a:cxn>
              <a:cxn ang="0">
                <a:pos x="95" y="0"/>
              </a:cxn>
              <a:cxn ang="0">
                <a:pos x="95" y="16"/>
              </a:cxn>
              <a:cxn ang="0">
                <a:pos x="57" y="16"/>
              </a:cxn>
              <a:cxn ang="0">
                <a:pos x="57" y="47"/>
              </a:cxn>
              <a:cxn ang="0">
                <a:pos x="45" y="55"/>
              </a:cxn>
              <a:cxn ang="0">
                <a:pos x="45" y="73"/>
              </a:cxn>
              <a:cxn ang="0">
                <a:pos x="1" y="73"/>
              </a:cxn>
              <a:cxn ang="0">
                <a:pos x="7" y="85"/>
              </a:cxn>
              <a:cxn ang="0">
                <a:pos x="9" y="104"/>
              </a:cxn>
              <a:cxn ang="0">
                <a:pos x="6" y="126"/>
              </a:cxn>
              <a:cxn ang="0">
                <a:pos x="4" y="135"/>
              </a:cxn>
              <a:cxn ang="0">
                <a:pos x="4" y="135"/>
              </a:cxn>
              <a:cxn ang="0">
                <a:pos x="11" y="130"/>
              </a:cxn>
            </a:cxnLst>
            <a:rect b="b" l="0" r="r" t="0"/>
            <a:pathLst>
              <a:path h="150" w="137">
                <a:moveTo>
                  <a:pt x="11" y="130"/>
                </a:moveTo>
                <a:cubicBezTo>
                  <a:pt x="15" y="131"/>
                  <a:pt x="21" y="130"/>
                  <a:pt x="21" y="130"/>
                </a:cubicBezTo>
                <a:cubicBezTo>
                  <a:pt x="21" y="130"/>
                  <a:pt x="27" y="127"/>
                  <a:pt x="30" y="129"/>
                </a:cubicBezTo>
                <a:cubicBezTo>
                  <a:pt x="33" y="131"/>
                  <a:pt x="36" y="135"/>
                  <a:pt x="36" y="135"/>
                </a:cubicBezTo>
                <a:cubicBezTo>
                  <a:pt x="40" y="135"/>
                  <a:pt x="40" y="135"/>
                  <a:pt x="40" y="135"/>
                </a:cubicBezTo>
                <a:cubicBezTo>
                  <a:pt x="40" y="135"/>
                  <a:pt x="43" y="143"/>
                  <a:pt x="48" y="145"/>
                </a:cubicBezTo>
                <a:cubicBezTo>
                  <a:pt x="51" y="146"/>
                  <a:pt x="52" y="148"/>
                  <a:pt x="53" y="150"/>
                </a:cubicBezTo>
                <a:cubicBezTo>
                  <a:pt x="57" y="150"/>
                  <a:pt x="59" y="149"/>
                  <a:pt x="59" y="147"/>
                </a:cubicBezTo>
                <a:cubicBezTo>
                  <a:pt x="59" y="144"/>
                  <a:pt x="61" y="139"/>
                  <a:pt x="66" y="144"/>
                </a:cubicBezTo>
                <a:cubicBezTo>
                  <a:pt x="71" y="149"/>
                  <a:pt x="71" y="145"/>
                  <a:pt x="72" y="143"/>
                </a:cubicBezTo>
                <a:cubicBezTo>
                  <a:pt x="73" y="141"/>
                  <a:pt x="76" y="144"/>
                  <a:pt x="80" y="144"/>
                </a:cubicBezTo>
                <a:cubicBezTo>
                  <a:pt x="83" y="144"/>
                  <a:pt x="87" y="141"/>
                  <a:pt x="87" y="141"/>
                </a:cubicBezTo>
                <a:cubicBezTo>
                  <a:pt x="87" y="141"/>
                  <a:pt x="129" y="142"/>
                  <a:pt x="131" y="141"/>
                </a:cubicBezTo>
                <a:cubicBezTo>
                  <a:pt x="133" y="140"/>
                  <a:pt x="132" y="131"/>
                  <a:pt x="132" y="131"/>
                </a:cubicBezTo>
                <a:cubicBezTo>
                  <a:pt x="129" y="128"/>
                  <a:pt x="129" y="128"/>
                  <a:pt x="129" y="128"/>
                </a:cubicBezTo>
                <a:cubicBezTo>
                  <a:pt x="118" y="28"/>
                  <a:pt x="118" y="28"/>
                  <a:pt x="118" y="28"/>
                </a:cubicBezTo>
                <a:cubicBezTo>
                  <a:pt x="137" y="28"/>
                  <a:pt x="137" y="28"/>
                  <a:pt x="137" y="28"/>
                </a:cubicBezTo>
                <a:cubicBezTo>
                  <a:pt x="117" y="15"/>
                  <a:pt x="99" y="3"/>
                  <a:pt x="97" y="2"/>
                </a:cubicBezTo>
                <a:cubicBezTo>
                  <a:pt x="96" y="2"/>
                  <a:pt x="95" y="1"/>
                  <a:pt x="95" y="0"/>
                </a:cubicBezTo>
                <a:cubicBezTo>
                  <a:pt x="95" y="8"/>
                  <a:pt x="95" y="16"/>
                  <a:pt x="95" y="16"/>
                </a:cubicBezTo>
                <a:cubicBezTo>
                  <a:pt x="94" y="17"/>
                  <a:pt x="57" y="16"/>
                  <a:pt x="57" y="16"/>
                </a:cubicBezTo>
                <a:cubicBezTo>
                  <a:pt x="57" y="16"/>
                  <a:pt x="57" y="44"/>
                  <a:pt x="57" y="47"/>
                </a:cubicBezTo>
                <a:cubicBezTo>
                  <a:pt x="57" y="49"/>
                  <a:pt x="45" y="52"/>
                  <a:pt x="45" y="55"/>
                </a:cubicBezTo>
                <a:cubicBezTo>
                  <a:pt x="45" y="58"/>
                  <a:pt x="45" y="73"/>
                  <a:pt x="45" y="73"/>
                </a:cubicBezTo>
                <a:cubicBezTo>
                  <a:pt x="1" y="73"/>
                  <a:pt x="1" y="73"/>
                  <a:pt x="1" y="73"/>
                </a:cubicBezTo>
                <a:cubicBezTo>
                  <a:pt x="0" y="80"/>
                  <a:pt x="4" y="82"/>
                  <a:pt x="7" y="85"/>
                </a:cubicBezTo>
                <a:cubicBezTo>
                  <a:pt x="10" y="89"/>
                  <a:pt x="4" y="96"/>
                  <a:pt x="9" y="104"/>
                </a:cubicBezTo>
                <a:cubicBezTo>
                  <a:pt x="15" y="111"/>
                  <a:pt x="8" y="122"/>
                  <a:pt x="6" y="126"/>
                </a:cubicBezTo>
                <a:cubicBezTo>
                  <a:pt x="4" y="128"/>
                  <a:pt x="4" y="132"/>
                  <a:pt x="4" y="135"/>
                </a:cubicBezTo>
                <a:cubicBezTo>
                  <a:pt x="4" y="135"/>
                  <a:pt x="4" y="135"/>
                  <a:pt x="4" y="135"/>
                </a:cubicBezTo>
                <a:cubicBezTo>
                  <a:pt x="8" y="135"/>
                  <a:pt x="7" y="129"/>
                  <a:pt x="11" y="13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6" name="Freeform 33"/>
          <p:cNvSpPr/>
          <p:nvPr/>
        </p:nvSpPr>
        <p:spPr bwMode="auto">
          <a:xfrm>
            <a:off x="5607739" y="3844474"/>
            <a:ext cx="420923" cy="403709"/>
          </a:xfrm>
          <a:custGeom>
            <a:cxnLst>
              <a:cxn ang="0">
                <a:pos x="179" y="73"/>
              </a:cxn>
              <a:cxn ang="0">
                <a:pos x="173" y="61"/>
              </a:cxn>
              <a:cxn ang="0">
                <a:pos x="161" y="57"/>
              </a:cxn>
              <a:cxn ang="0">
                <a:pos x="153" y="47"/>
              </a:cxn>
              <a:cxn ang="0">
                <a:pos x="84" y="0"/>
              </a:cxn>
              <a:cxn ang="0">
                <a:pos x="65" y="0"/>
              </a:cxn>
              <a:cxn ang="0">
                <a:pos x="76" y="100"/>
              </a:cxn>
              <a:cxn ang="0">
                <a:pos x="79" y="103"/>
              </a:cxn>
              <a:cxn ang="0">
                <a:pos x="78" y="113"/>
              </a:cxn>
              <a:cxn ang="0">
                <a:pos x="34" y="113"/>
              </a:cxn>
              <a:cxn ang="0">
                <a:pos x="27" y="116"/>
              </a:cxn>
              <a:cxn ang="0">
                <a:pos x="19" y="115"/>
              </a:cxn>
              <a:cxn ang="0">
                <a:pos x="13" y="116"/>
              </a:cxn>
              <a:cxn ang="0">
                <a:pos x="6" y="119"/>
              </a:cxn>
              <a:cxn ang="0">
                <a:pos x="0" y="122"/>
              </a:cxn>
              <a:cxn ang="0">
                <a:pos x="1" y="125"/>
              </a:cxn>
              <a:cxn ang="0">
                <a:pos x="3" y="128"/>
              </a:cxn>
              <a:cxn ang="0">
                <a:pos x="5" y="135"/>
              </a:cxn>
              <a:cxn ang="0">
                <a:pos x="11" y="142"/>
              </a:cxn>
              <a:cxn ang="0">
                <a:pos x="11" y="151"/>
              </a:cxn>
              <a:cxn ang="0">
                <a:pos x="14" y="154"/>
              </a:cxn>
              <a:cxn ang="0">
                <a:pos x="21" y="153"/>
              </a:cxn>
              <a:cxn ang="0">
                <a:pos x="28" y="154"/>
              </a:cxn>
              <a:cxn ang="0">
                <a:pos x="36" y="148"/>
              </a:cxn>
              <a:cxn ang="0">
                <a:pos x="41" y="157"/>
              </a:cxn>
              <a:cxn ang="0">
                <a:pos x="45" y="162"/>
              </a:cxn>
              <a:cxn ang="0">
                <a:pos x="45" y="166"/>
              </a:cxn>
              <a:cxn ang="0">
                <a:pos x="47" y="172"/>
              </a:cxn>
              <a:cxn ang="0">
                <a:pos x="53" y="173"/>
              </a:cxn>
              <a:cxn ang="0">
                <a:pos x="58" y="175"/>
              </a:cxn>
              <a:cxn ang="0">
                <a:pos x="65" y="172"/>
              </a:cxn>
              <a:cxn ang="0">
                <a:pos x="70" y="171"/>
              </a:cxn>
              <a:cxn ang="0">
                <a:pos x="74" y="172"/>
              </a:cxn>
              <a:cxn ang="0">
                <a:pos x="78" y="172"/>
              </a:cxn>
              <a:cxn ang="0">
                <a:pos x="81" y="163"/>
              </a:cxn>
              <a:cxn ang="0">
                <a:pos x="80" y="156"/>
              </a:cxn>
              <a:cxn ang="0">
                <a:pos x="89" y="152"/>
              </a:cxn>
              <a:cxn ang="0">
                <a:pos x="93" y="145"/>
              </a:cxn>
              <a:cxn ang="0">
                <a:pos x="96" y="136"/>
              </a:cxn>
              <a:cxn ang="0">
                <a:pos x="103" y="137"/>
              </a:cxn>
              <a:cxn ang="0">
                <a:pos x="108" y="131"/>
              </a:cxn>
              <a:cxn ang="0">
                <a:pos x="114" y="129"/>
              </a:cxn>
              <a:cxn ang="0">
                <a:pos x="118" y="126"/>
              </a:cxn>
              <a:cxn ang="0">
                <a:pos x="128" y="122"/>
              </a:cxn>
              <a:cxn ang="0">
                <a:pos x="136" y="119"/>
              </a:cxn>
              <a:cxn ang="0">
                <a:pos x="150" y="119"/>
              </a:cxn>
              <a:cxn ang="0">
                <a:pos x="159" y="116"/>
              </a:cxn>
              <a:cxn ang="0">
                <a:pos x="177" y="115"/>
              </a:cxn>
              <a:cxn ang="0">
                <a:pos x="184" y="110"/>
              </a:cxn>
              <a:cxn ang="0">
                <a:pos x="188" y="101"/>
              </a:cxn>
              <a:cxn ang="0">
                <a:pos x="188" y="71"/>
              </a:cxn>
              <a:cxn ang="0">
                <a:pos x="179" y="73"/>
              </a:cxn>
            </a:cxnLst>
            <a:rect b="b" l="0" r="r" t="0"/>
            <a:pathLst>
              <a:path h="177" w="189">
                <a:moveTo>
                  <a:pt x="179" y="73"/>
                </a:moveTo>
                <a:cubicBezTo>
                  <a:pt x="179" y="73"/>
                  <a:pt x="179" y="65"/>
                  <a:pt x="173" y="61"/>
                </a:cubicBezTo>
                <a:cubicBezTo>
                  <a:pt x="168" y="58"/>
                  <a:pt x="161" y="57"/>
                  <a:pt x="161" y="57"/>
                </a:cubicBezTo>
                <a:cubicBezTo>
                  <a:pt x="161" y="57"/>
                  <a:pt x="157" y="50"/>
                  <a:pt x="153" y="47"/>
                </a:cubicBezTo>
                <a:cubicBezTo>
                  <a:pt x="152" y="45"/>
                  <a:pt x="114" y="20"/>
                  <a:pt x="84" y="0"/>
                </a:cubicBezTo>
                <a:cubicBezTo>
                  <a:pt x="65" y="0"/>
                  <a:pt x="65" y="0"/>
                  <a:pt x="65" y="0"/>
                </a:cubicBezTo>
                <a:cubicBezTo>
                  <a:pt x="76" y="100"/>
                  <a:pt x="76" y="100"/>
                  <a:pt x="76" y="100"/>
                </a:cubicBezTo>
                <a:cubicBezTo>
                  <a:pt x="79" y="103"/>
                  <a:pt x="79" y="103"/>
                  <a:pt x="79" y="103"/>
                </a:cubicBezTo>
                <a:cubicBezTo>
                  <a:pt x="79" y="103"/>
                  <a:pt x="80" y="112"/>
                  <a:pt x="78" y="113"/>
                </a:cubicBezTo>
                <a:cubicBezTo>
                  <a:pt x="76" y="114"/>
                  <a:pt x="34" y="113"/>
                  <a:pt x="34" y="113"/>
                </a:cubicBezTo>
                <a:cubicBezTo>
                  <a:pt x="34" y="113"/>
                  <a:pt x="30" y="116"/>
                  <a:pt x="27" y="116"/>
                </a:cubicBezTo>
                <a:cubicBezTo>
                  <a:pt x="23" y="116"/>
                  <a:pt x="20" y="113"/>
                  <a:pt x="19" y="115"/>
                </a:cubicBezTo>
                <a:cubicBezTo>
                  <a:pt x="18" y="117"/>
                  <a:pt x="18" y="121"/>
                  <a:pt x="13" y="116"/>
                </a:cubicBezTo>
                <a:cubicBezTo>
                  <a:pt x="8" y="111"/>
                  <a:pt x="6" y="116"/>
                  <a:pt x="6" y="119"/>
                </a:cubicBezTo>
                <a:cubicBezTo>
                  <a:pt x="6" y="121"/>
                  <a:pt x="4" y="122"/>
                  <a:pt x="0" y="122"/>
                </a:cubicBezTo>
                <a:cubicBezTo>
                  <a:pt x="1" y="124"/>
                  <a:pt x="1" y="125"/>
                  <a:pt x="1" y="125"/>
                </a:cubicBezTo>
                <a:cubicBezTo>
                  <a:pt x="3" y="128"/>
                  <a:pt x="3" y="128"/>
                  <a:pt x="3" y="128"/>
                </a:cubicBezTo>
                <a:cubicBezTo>
                  <a:pt x="3" y="128"/>
                  <a:pt x="3" y="133"/>
                  <a:pt x="5" y="135"/>
                </a:cubicBezTo>
                <a:cubicBezTo>
                  <a:pt x="7" y="137"/>
                  <a:pt x="11" y="141"/>
                  <a:pt x="11" y="142"/>
                </a:cubicBezTo>
                <a:cubicBezTo>
                  <a:pt x="11" y="144"/>
                  <a:pt x="11" y="151"/>
                  <a:pt x="11" y="151"/>
                </a:cubicBezTo>
                <a:cubicBezTo>
                  <a:pt x="11" y="151"/>
                  <a:pt x="12" y="157"/>
                  <a:pt x="14" y="154"/>
                </a:cubicBezTo>
                <a:cubicBezTo>
                  <a:pt x="16" y="152"/>
                  <a:pt x="19" y="157"/>
                  <a:pt x="21" y="153"/>
                </a:cubicBezTo>
                <a:cubicBezTo>
                  <a:pt x="22" y="150"/>
                  <a:pt x="26" y="154"/>
                  <a:pt x="28" y="154"/>
                </a:cubicBezTo>
                <a:cubicBezTo>
                  <a:pt x="30" y="154"/>
                  <a:pt x="35" y="148"/>
                  <a:pt x="36" y="148"/>
                </a:cubicBezTo>
                <a:cubicBezTo>
                  <a:pt x="38" y="149"/>
                  <a:pt x="41" y="154"/>
                  <a:pt x="41" y="157"/>
                </a:cubicBezTo>
                <a:cubicBezTo>
                  <a:pt x="41" y="159"/>
                  <a:pt x="47" y="161"/>
                  <a:pt x="45" y="162"/>
                </a:cubicBezTo>
                <a:cubicBezTo>
                  <a:pt x="43" y="163"/>
                  <a:pt x="42" y="166"/>
                  <a:pt x="45" y="166"/>
                </a:cubicBezTo>
                <a:cubicBezTo>
                  <a:pt x="47" y="166"/>
                  <a:pt x="46" y="170"/>
                  <a:pt x="47" y="172"/>
                </a:cubicBezTo>
                <a:cubicBezTo>
                  <a:pt x="49" y="174"/>
                  <a:pt x="51" y="176"/>
                  <a:pt x="53" y="173"/>
                </a:cubicBezTo>
                <a:cubicBezTo>
                  <a:pt x="54" y="170"/>
                  <a:pt x="57" y="173"/>
                  <a:pt x="58" y="175"/>
                </a:cubicBezTo>
                <a:cubicBezTo>
                  <a:pt x="60" y="177"/>
                  <a:pt x="64" y="174"/>
                  <a:pt x="65" y="172"/>
                </a:cubicBezTo>
                <a:cubicBezTo>
                  <a:pt x="65" y="169"/>
                  <a:pt x="71" y="168"/>
                  <a:pt x="70" y="171"/>
                </a:cubicBezTo>
                <a:cubicBezTo>
                  <a:pt x="70" y="174"/>
                  <a:pt x="71" y="175"/>
                  <a:pt x="74" y="172"/>
                </a:cubicBezTo>
                <a:cubicBezTo>
                  <a:pt x="75" y="171"/>
                  <a:pt x="76" y="171"/>
                  <a:pt x="78" y="172"/>
                </a:cubicBezTo>
                <a:cubicBezTo>
                  <a:pt x="79" y="168"/>
                  <a:pt x="80" y="164"/>
                  <a:pt x="81" y="163"/>
                </a:cubicBezTo>
                <a:cubicBezTo>
                  <a:pt x="82" y="161"/>
                  <a:pt x="78" y="156"/>
                  <a:pt x="80" y="156"/>
                </a:cubicBezTo>
                <a:cubicBezTo>
                  <a:pt x="82" y="155"/>
                  <a:pt x="87" y="156"/>
                  <a:pt x="89" y="152"/>
                </a:cubicBezTo>
                <a:cubicBezTo>
                  <a:pt x="91" y="147"/>
                  <a:pt x="93" y="145"/>
                  <a:pt x="93" y="145"/>
                </a:cubicBezTo>
                <a:cubicBezTo>
                  <a:pt x="93" y="145"/>
                  <a:pt x="93" y="135"/>
                  <a:pt x="96" y="136"/>
                </a:cubicBezTo>
                <a:cubicBezTo>
                  <a:pt x="99" y="138"/>
                  <a:pt x="103" y="141"/>
                  <a:pt x="103" y="137"/>
                </a:cubicBezTo>
                <a:cubicBezTo>
                  <a:pt x="104" y="133"/>
                  <a:pt x="107" y="135"/>
                  <a:pt x="108" y="131"/>
                </a:cubicBezTo>
                <a:cubicBezTo>
                  <a:pt x="109" y="128"/>
                  <a:pt x="111" y="128"/>
                  <a:pt x="114" y="129"/>
                </a:cubicBezTo>
                <a:cubicBezTo>
                  <a:pt x="116" y="129"/>
                  <a:pt x="118" y="128"/>
                  <a:pt x="118" y="126"/>
                </a:cubicBezTo>
                <a:cubicBezTo>
                  <a:pt x="118" y="124"/>
                  <a:pt x="123" y="125"/>
                  <a:pt x="128" y="122"/>
                </a:cubicBezTo>
                <a:cubicBezTo>
                  <a:pt x="132" y="119"/>
                  <a:pt x="134" y="117"/>
                  <a:pt x="136" y="119"/>
                </a:cubicBezTo>
                <a:cubicBezTo>
                  <a:pt x="138" y="120"/>
                  <a:pt x="149" y="120"/>
                  <a:pt x="150" y="119"/>
                </a:cubicBezTo>
                <a:cubicBezTo>
                  <a:pt x="152" y="119"/>
                  <a:pt x="155" y="116"/>
                  <a:pt x="159" y="116"/>
                </a:cubicBezTo>
                <a:cubicBezTo>
                  <a:pt x="163" y="117"/>
                  <a:pt x="173" y="115"/>
                  <a:pt x="177" y="115"/>
                </a:cubicBezTo>
                <a:cubicBezTo>
                  <a:pt x="181" y="115"/>
                  <a:pt x="183" y="111"/>
                  <a:pt x="184" y="110"/>
                </a:cubicBezTo>
                <a:cubicBezTo>
                  <a:pt x="185" y="108"/>
                  <a:pt x="186" y="102"/>
                  <a:pt x="188" y="101"/>
                </a:cubicBezTo>
                <a:cubicBezTo>
                  <a:pt x="189" y="100"/>
                  <a:pt x="189" y="79"/>
                  <a:pt x="188" y="71"/>
                </a:cubicBezTo>
                <a:cubicBezTo>
                  <a:pt x="184" y="72"/>
                  <a:pt x="179" y="73"/>
                  <a:pt x="179" y="7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7" name="Freeform 34"/>
          <p:cNvSpPr/>
          <p:nvPr/>
        </p:nvSpPr>
        <p:spPr bwMode="auto">
          <a:xfrm>
            <a:off x="5782042" y="4111719"/>
            <a:ext cx="205826" cy="149733"/>
          </a:xfrm>
          <a:custGeom>
            <a:cxnLst>
              <a:cxn ang="0">
                <a:pos x="92" y="37"/>
              </a:cxn>
              <a:cxn ang="0">
                <a:pos x="87" y="35"/>
              </a:cxn>
              <a:cxn ang="0">
                <a:pos x="86" y="29"/>
              </a:cxn>
              <a:cxn ang="0">
                <a:pos x="81" y="30"/>
              </a:cxn>
              <a:cxn ang="0">
                <a:pos x="76" y="26"/>
              </a:cxn>
              <a:cxn ang="0">
                <a:pos x="74" y="21"/>
              </a:cxn>
              <a:cxn ang="0">
                <a:pos x="69" y="15"/>
              </a:cxn>
              <a:cxn ang="0">
                <a:pos x="65" y="9"/>
              </a:cxn>
              <a:cxn ang="0">
                <a:pos x="65" y="3"/>
              </a:cxn>
              <a:cxn ang="0">
                <a:pos x="58" y="2"/>
              </a:cxn>
              <a:cxn ang="0">
                <a:pos x="50" y="5"/>
              </a:cxn>
              <a:cxn ang="0">
                <a:pos x="40" y="9"/>
              </a:cxn>
              <a:cxn ang="0">
                <a:pos x="36" y="12"/>
              </a:cxn>
              <a:cxn ang="0">
                <a:pos x="30" y="14"/>
              </a:cxn>
              <a:cxn ang="0">
                <a:pos x="25" y="20"/>
              </a:cxn>
              <a:cxn ang="0">
                <a:pos x="18" y="19"/>
              </a:cxn>
              <a:cxn ang="0">
                <a:pos x="15" y="28"/>
              </a:cxn>
              <a:cxn ang="0">
                <a:pos x="11" y="35"/>
              </a:cxn>
              <a:cxn ang="0">
                <a:pos x="2" y="39"/>
              </a:cxn>
              <a:cxn ang="0">
                <a:pos x="3" y="46"/>
              </a:cxn>
              <a:cxn ang="0">
                <a:pos x="0" y="55"/>
              </a:cxn>
              <a:cxn ang="0">
                <a:pos x="5" y="58"/>
              </a:cxn>
              <a:cxn ang="0">
                <a:pos x="15" y="63"/>
              </a:cxn>
              <a:cxn ang="0">
                <a:pos x="28" y="61"/>
              </a:cxn>
              <a:cxn ang="0">
                <a:pos x="32" y="60"/>
              </a:cxn>
              <a:cxn ang="0">
                <a:pos x="30" y="49"/>
              </a:cxn>
              <a:cxn ang="0">
                <a:pos x="58" y="50"/>
              </a:cxn>
              <a:cxn ang="0">
                <a:pos x="63" y="47"/>
              </a:cxn>
              <a:cxn ang="0">
                <a:pos x="73" y="48"/>
              </a:cxn>
              <a:cxn ang="0">
                <a:pos x="79" y="44"/>
              </a:cxn>
              <a:cxn ang="0">
                <a:pos x="89" y="42"/>
              </a:cxn>
              <a:cxn ang="0">
                <a:pos x="92" y="37"/>
              </a:cxn>
              <a:cxn ang="0">
                <a:pos x="92" y="37"/>
              </a:cxn>
            </a:cxnLst>
            <a:rect b="b" l="0" r="r" t="0"/>
            <a:pathLst>
              <a:path h="66" w="92">
                <a:moveTo>
                  <a:pt x="92" y="37"/>
                </a:moveTo>
                <a:cubicBezTo>
                  <a:pt x="90" y="35"/>
                  <a:pt x="88" y="35"/>
                  <a:pt x="87" y="35"/>
                </a:cubicBezTo>
                <a:cubicBezTo>
                  <a:pt x="86" y="35"/>
                  <a:pt x="87" y="30"/>
                  <a:pt x="86" y="29"/>
                </a:cubicBezTo>
                <a:cubicBezTo>
                  <a:pt x="86" y="28"/>
                  <a:pt x="83" y="30"/>
                  <a:pt x="81" y="30"/>
                </a:cubicBezTo>
                <a:cubicBezTo>
                  <a:pt x="79" y="29"/>
                  <a:pt x="78" y="26"/>
                  <a:pt x="76" y="26"/>
                </a:cubicBezTo>
                <a:cubicBezTo>
                  <a:pt x="74" y="26"/>
                  <a:pt x="74" y="24"/>
                  <a:pt x="74" y="21"/>
                </a:cubicBezTo>
                <a:cubicBezTo>
                  <a:pt x="74" y="19"/>
                  <a:pt x="71" y="17"/>
                  <a:pt x="69" y="15"/>
                </a:cubicBezTo>
                <a:cubicBezTo>
                  <a:pt x="67" y="14"/>
                  <a:pt x="66" y="10"/>
                  <a:pt x="65" y="9"/>
                </a:cubicBezTo>
                <a:cubicBezTo>
                  <a:pt x="64" y="8"/>
                  <a:pt x="65" y="5"/>
                  <a:pt x="65" y="3"/>
                </a:cubicBezTo>
                <a:cubicBezTo>
                  <a:pt x="62" y="3"/>
                  <a:pt x="59" y="2"/>
                  <a:pt x="58" y="2"/>
                </a:cubicBezTo>
                <a:cubicBezTo>
                  <a:pt x="56" y="0"/>
                  <a:pt x="54" y="2"/>
                  <a:pt x="50" y="5"/>
                </a:cubicBezTo>
                <a:cubicBezTo>
                  <a:pt x="45" y="8"/>
                  <a:pt x="40" y="7"/>
                  <a:pt x="40" y="9"/>
                </a:cubicBezTo>
                <a:cubicBezTo>
                  <a:pt x="40" y="11"/>
                  <a:pt x="38" y="12"/>
                  <a:pt x="36" y="12"/>
                </a:cubicBezTo>
                <a:cubicBezTo>
                  <a:pt x="33" y="11"/>
                  <a:pt x="31" y="11"/>
                  <a:pt x="30" y="14"/>
                </a:cubicBezTo>
                <a:cubicBezTo>
                  <a:pt x="29" y="18"/>
                  <a:pt x="26" y="16"/>
                  <a:pt x="25" y="20"/>
                </a:cubicBezTo>
                <a:cubicBezTo>
                  <a:pt x="25" y="24"/>
                  <a:pt x="21" y="21"/>
                  <a:pt x="18" y="19"/>
                </a:cubicBezTo>
                <a:cubicBezTo>
                  <a:pt x="15" y="18"/>
                  <a:pt x="15" y="28"/>
                  <a:pt x="15" y="28"/>
                </a:cubicBezTo>
                <a:cubicBezTo>
                  <a:pt x="15" y="28"/>
                  <a:pt x="13" y="30"/>
                  <a:pt x="11" y="35"/>
                </a:cubicBezTo>
                <a:cubicBezTo>
                  <a:pt x="9" y="39"/>
                  <a:pt x="4" y="38"/>
                  <a:pt x="2" y="39"/>
                </a:cubicBezTo>
                <a:cubicBezTo>
                  <a:pt x="0" y="39"/>
                  <a:pt x="4" y="44"/>
                  <a:pt x="3" y="46"/>
                </a:cubicBezTo>
                <a:cubicBezTo>
                  <a:pt x="2" y="47"/>
                  <a:pt x="1" y="51"/>
                  <a:pt x="0" y="55"/>
                </a:cubicBezTo>
                <a:cubicBezTo>
                  <a:pt x="2" y="55"/>
                  <a:pt x="4" y="57"/>
                  <a:pt x="5" y="58"/>
                </a:cubicBezTo>
                <a:cubicBezTo>
                  <a:pt x="6" y="60"/>
                  <a:pt x="12" y="66"/>
                  <a:pt x="15" y="63"/>
                </a:cubicBezTo>
                <a:cubicBezTo>
                  <a:pt x="18" y="60"/>
                  <a:pt x="26" y="59"/>
                  <a:pt x="28" y="61"/>
                </a:cubicBezTo>
                <a:cubicBezTo>
                  <a:pt x="30" y="63"/>
                  <a:pt x="32" y="62"/>
                  <a:pt x="32" y="60"/>
                </a:cubicBezTo>
                <a:cubicBezTo>
                  <a:pt x="32" y="58"/>
                  <a:pt x="29" y="51"/>
                  <a:pt x="30" y="49"/>
                </a:cubicBezTo>
                <a:cubicBezTo>
                  <a:pt x="31" y="47"/>
                  <a:pt x="57" y="48"/>
                  <a:pt x="58" y="50"/>
                </a:cubicBezTo>
                <a:cubicBezTo>
                  <a:pt x="59" y="51"/>
                  <a:pt x="59" y="46"/>
                  <a:pt x="63" y="47"/>
                </a:cubicBezTo>
                <a:cubicBezTo>
                  <a:pt x="66" y="47"/>
                  <a:pt x="71" y="49"/>
                  <a:pt x="73" y="48"/>
                </a:cubicBezTo>
                <a:cubicBezTo>
                  <a:pt x="75" y="47"/>
                  <a:pt x="77" y="44"/>
                  <a:pt x="79" y="44"/>
                </a:cubicBezTo>
                <a:cubicBezTo>
                  <a:pt x="81" y="44"/>
                  <a:pt x="87" y="43"/>
                  <a:pt x="89" y="42"/>
                </a:cubicBezTo>
                <a:cubicBezTo>
                  <a:pt x="90" y="40"/>
                  <a:pt x="92" y="40"/>
                  <a:pt x="92" y="37"/>
                </a:cubicBezTo>
                <a:cubicBezTo>
                  <a:pt x="92" y="37"/>
                  <a:pt x="92" y="37"/>
                  <a:pt x="92" y="3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8" name="Freeform 35"/>
          <p:cNvSpPr/>
          <p:nvPr/>
        </p:nvSpPr>
        <p:spPr bwMode="auto">
          <a:xfrm>
            <a:off x="5924821" y="3888068"/>
            <a:ext cx="393108" cy="312733"/>
          </a:xfrm>
          <a:custGeom>
            <a:cxnLst>
              <a:cxn ang="0">
                <a:pos x="168" y="20"/>
              </a:cxn>
              <a:cxn ang="0">
                <a:pos x="167" y="5"/>
              </a:cxn>
              <a:cxn ang="0">
                <a:pos x="158" y="10"/>
              </a:cxn>
              <a:cxn ang="0">
                <a:pos x="151" y="3"/>
              </a:cxn>
              <a:cxn ang="0">
                <a:pos x="134" y="0"/>
              </a:cxn>
              <a:cxn ang="0">
                <a:pos x="86" y="30"/>
              </a:cxn>
              <a:cxn ang="0">
                <a:pos x="65" y="46"/>
              </a:cxn>
              <a:cxn ang="0">
                <a:pos x="48" y="52"/>
              </a:cxn>
              <a:cxn ang="0">
                <a:pos x="46" y="52"/>
              </a:cxn>
              <a:cxn ang="0">
                <a:pos x="46" y="82"/>
              </a:cxn>
              <a:cxn ang="0">
                <a:pos x="42" y="91"/>
              </a:cxn>
              <a:cxn ang="0">
                <a:pos x="35" y="96"/>
              </a:cxn>
              <a:cxn ang="0">
                <a:pos x="17" y="97"/>
              </a:cxn>
              <a:cxn ang="0">
                <a:pos x="8" y="100"/>
              </a:cxn>
              <a:cxn ang="0">
                <a:pos x="1" y="101"/>
              </a:cxn>
              <a:cxn ang="0">
                <a:pos x="1" y="107"/>
              </a:cxn>
              <a:cxn ang="0">
                <a:pos x="5" y="113"/>
              </a:cxn>
              <a:cxn ang="0">
                <a:pos x="10" y="119"/>
              </a:cxn>
              <a:cxn ang="0">
                <a:pos x="12" y="124"/>
              </a:cxn>
              <a:cxn ang="0">
                <a:pos x="17" y="128"/>
              </a:cxn>
              <a:cxn ang="0">
                <a:pos x="22" y="127"/>
              </a:cxn>
              <a:cxn ang="0">
                <a:pos x="23" y="133"/>
              </a:cxn>
              <a:cxn ang="0">
                <a:pos x="28" y="135"/>
              </a:cxn>
              <a:cxn ang="0">
                <a:pos x="32" y="130"/>
              </a:cxn>
              <a:cxn ang="0">
                <a:pos x="35" y="135"/>
              </a:cxn>
              <a:cxn ang="0">
                <a:pos x="40" y="133"/>
              </a:cxn>
              <a:cxn ang="0">
                <a:pos x="45" y="125"/>
              </a:cxn>
              <a:cxn ang="0">
                <a:pos x="48" y="116"/>
              </a:cxn>
              <a:cxn ang="0">
                <a:pos x="58" y="116"/>
              </a:cxn>
              <a:cxn ang="0">
                <a:pos x="65" y="114"/>
              </a:cxn>
              <a:cxn ang="0">
                <a:pos x="74" y="117"/>
              </a:cxn>
              <a:cxn ang="0">
                <a:pos x="80" y="123"/>
              </a:cxn>
              <a:cxn ang="0">
                <a:pos x="89" y="120"/>
              </a:cxn>
              <a:cxn ang="0">
                <a:pos x="98" y="125"/>
              </a:cxn>
              <a:cxn ang="0">
                <a:pos x="109" y="125"/>
              </a:cxn>
              <a:cxn ang="0">
                <a:pos x="117" y="119"/>
              </a:cxn>
              <a:cxn ang="0">
                <a:pos x="132" y="120"/>
              </a:cxn>
              <a:cxn ang="0">
                <a:pos x="141" y="122"/>
              </a:cxn>
              <a:cxn ang="0">
                <a:pos x="149" y="115"/>
              </a:cxn>
              <a:cxn ang="0">
                <a:pos x="151" y="114"/>
              </a:cxn>
              <a:cxn ang="0">
                <a:pos x="151" y="111"/>
              </a:cxn>
              <a:cxn ang="0">
                <a:pos x="153" y="101"/>
              </a:cxn>
              <a:cxn ang="0">
                <a:pos x="171" y="79"/>
              </a:cxn>
              <a:cxn ang="0">
                <a:pos x="172" y="51"/>
              </a:cxn>
              <a:cxn ang="0">
                <a:pos x="174" y="39"/>
              </a:cxn>
              <a:cxn ang="0">
                <a:pos x="172" y="30"/>
              </a:cxn>
              <a:cxn ang="0">
                <a:pos x="168" y="20"/>
              </a:cxn>
            </a:cxnLst>
            <a:rect b="b" l="0" r="r" t="0"/>
            <a:pathLst>
              <a:path h="137" w="176">
                <a:moveTo>
                  <a:pt x="168" y="20"/>
                </a:moveTo>
                <a:cubicBezTo>
                  <a:pt x="168" y="18"/>
                  <a:pt x="167" y="11"/>
                  <a:pt x="167" y="5"/>
                </a:cubicBezTo>
                <a:cubicBezTo>
                  <a:pt x="158" y="10"/>
                  <a:pt x="158" y="10"/>
                  <a:pt x="158" y="10"/>
                </a:cubicBezTo>
                <a:cubicBezTo>
                  <a:pt x="158" y="10"/>
                  <a:pt x="156" y="6"/>
                  <a:pt x="151" y="3"/>
                </a:cubicBezTo>
                <a:cubicBezTo>
                  <a:pt x="146" y="0"/>
                  <a:pt x="134" y="0"/>
                  <a:pt x="134" y="0"/>
                </a:cubicBezTo>
                <a:cubicBezTo>
                  <a:pt x="86" y="30"/>
                  <a:pt x="86" y="30"/>
                  <a:pt x="86" y="30"/>
                </a:cubicBezTo>
                <a:cubicBezTo>
                  <a:pt x="65" y="46"/>
                  <a:pt x="65" y="46"/>
                  <a:pt x="65" y="46"/>
                </a:cubicBezTo>
                <a:cubicBezTo>
                  <a:pt x="65" y="46"/>
                  <a:pt x="52" y="51"/>
                  <a:pt x="48" y="52"/>
                </a:cubicBezTo>
                <a:cubicBezTo>
                  <a:pt x="47" y="52"/>
                  <a:pt x="47" y="52"/>
                  <a:pt x="46" y="52"/>
                </a:cubicBezTo>
                <a:cubicBezTo>
                  <a:pt x="47" y="60"/>
                  <a:pt x="47" y="81"/>
                  <a:pt x="46" y="82"/>
                </a:cubicBezTo>
                <a:cubicBezTo>
                  <a:pt x="44" y="83"/>
                  <a:pt x="43" y="89"/>
                  <a:pt x="42" y="91"/>
                </a:cubicBezTo>
                <a:cubicBezTo>
                  <a:pt x="41" y="92"/>
                  <a:pt x="39" y="96"/>
                  <a:pt x="35" y="96"/>
                </a:cubicBezTo>
                <a:cubicBezTo>
                  <a:pt x="31" y="96"/>
                  <a:pt x="21" y="98"/>
                  <a:pt x="17" y="97"/>
                </a:cubicBezTo>
                <a:cubicBezTo>
                  <a:pt x="13" y="97"/>
                  <a:pt x="10" y="100"/>
                  <a:pt x="8" y="100"/>
                </a:cubicBezTo>
                <a:cubicBezTo>
                  <a:pt x="8" y="101"/>
                  <a:pt x="4" y="101"/>
                  <a:pt x="1" y="101"/>
                </a:cubicBezTo>
                <a:cubicBezTo>
                  <a:pt x="1" y="103"/>
                  <a:pt x="0" y="106"/>
                  <a:pt x="1" y="107"/>
                </a:cubicBezTo>
                <a:cubicBezTo>
                  <a:pt x="2" y="108"/>
                  <a:pt x="3" y="112"/>
                  <a:pt x="5" y="113"/>
                </a:cubicBezTo>
                <a:cubicBezTo>
                  <a:pt x="7" y="115"/>
                  <a:pt x="10" y="117"/>
                  <a:pt x="10" y="119"/>
                </a:cubicBezTo>
                <a:cubicBezTo>
                  <a:pt x="10" y="122"/>
                  <a:pt x="10" y="124"/>
                  <a:pt x="12" y="124"/>
                </a:cubicBezTo>
                <a:cubicBezTo>
                  <a:pt x="14" y="124"/>
                  <a:pt x="15" y="127"/>
                  <a:pt x="17" y="128"/>
                </a:cubicBezTo>
                <a:cubicBezTo>
                  <a:pt x="19" y="128"/>
                  <a:pt x="22" y="126"/>
                  <a:pt x="22" y="127"/>
                </a:cubicBezTo>
                <a:cubicBezTo>
                  <a:pt x="23" y="128"/>
                  <a:pt x="22" y="133"/>
                  <a:pt x="23" y="133"/>
                </a:cubicBezTo>
                <a:cubicBezTo>
                  <a:pt x="24" y="133"/>
                  <a:pt x="26" y="133"/>
                  <a:pt x="28" y="135"/>
                </a:cubicBezTo>
                <a:cubicBezTo>
                  <a:pt x="27" y="132"/>
                  <a:pt x="28" y="129"/>
                  <a:pt x="32" y="130"/>
                </a:cubicBezTo>
                <a:cubicBezTo>
                  <a:pt x="35" y="131"/>
                  <a:pt x="32" y="134"/>
                  <a:pt x="35" y="135"/>
                </a:cubicBezTo>
                <a:cubicBezTo>
                  <a:pt x="38" y="137"/>
                  <a:pt x="40" y="136"/>
                  <a:pt x="40" y="133"/>
                </a:cubicBezTo>
                <a:cubicBezTo>
                  <a:pt x="40" y="131"/>
                  <a:pt x="44" y="126"/>
                  <a:pt x="45" y="125"/>
                </a:cubicBezTo>
                <a:cubicBezTo>
                  <a:pt x="46" y="124"/>
                  <a:pt x="46" y="118"/>
                  <a:pt x="48" y="116"/>
                </a:cubicBezTo>
                <a:cubicBezTo>
                  <a:pt x="50" y="115"/>
                  <a:pt x="56" y="116"/>
                  <a:pt x="58" y="116"/>
                </a:cubicBezTo>
                <a:cubicBezTo>
                  <a:pt x="60" y="117"/>
                  <a:pt x="62" y="112"/>
                  <a:pt x="65" y="114"/>
                </a:cubicBezTo>
                <a:cubicBezTo>
                  <a:pt x="67" y="116"/>
                  <a:pt x="72" y="114"/>
                  <a:pt x="74" y="117"/>
                </a:cubicBezTo>
                <a:cubicBezTo>
                  <a:pt x="76" y="119"/>
                  <a:pt x="77" y="125"/>
                  <a:pt x="80" y="123"/>
                </a:cubicBezTo>
                <a:cubicBezTo>
                  <a:pt x="83" y="121"/>
                  <a:pt x="87" y="120"/>
                  <a:pt x="89" y="120"/>
                </a:cubicBezTo>
                <a:cubicBezTo>
                  <a:pt x="91" y="120"/>
                  <a:pt x="96" y="124"/>
                  <a:pt x="98" y="125"/>
                </a:cubicBezTo>
                <a:cubicBezTo>
                  <a:pt x="100" y="125"/>
                  <a:pt x="107" y="126"/>
                  <a:pt x="109" y="125"/>
                </a:cubicBezTo>
                <a:cubicBezTo>
                  <a:pt x="111" y="123"/>
                  <a:pt x="114" y="119"/>
                  <a:pt x="117" y="119"/>
                </a:cubicBezTo>
                <a:cubicBezTo>
                  <a:pt x="120" y="120"/>
                  <a:pt x="130" y="119"/>
                  <a:pt x="132" y="120"/>
                </a:cubicBezTo>
                <a:cubicBezTo>
                  <a:pt x="134" y="121"/>
                  <a:pt x="138" y="123"/>
                  <a:pt x="141" y="122"/>
                </a:cubicBezTo>
                <a:cubicBezTo>
                  <a:pt x="144" y="121"/>
                  <a:pt x="147" y="115"/>
                  <a:pt x="149" y="115"/>
                </a:cubicBezTo>
                <a:cubicBezTo>
                  <a:pt x="150" y="114"/>
                  <a:pt x="150" y="114"/>
                  <a:pt x="151" y="114"/>
                </a:cubicBezTo>
                <a:cubicBezTo>
                  <a:pt x="151" y="113"/>
                  <a:pt x="151" y="112"/>
                  <a:pt x="151" y="111"/>
                </a:cubicBezTo>
                <a:cubicBezTo>
                  <a:pt x="151" y="105"/>
                  <a:pt x="152" y="107"/>
                  <a:pt x="153" y="101"/>
                </a:cubicBezTo>
                <a:cubicBezTo>
                  <a:pt x="154" y="95"/>
                  <a:pt x="170" y="80"/>
                  <a:pt x="171" y="79"/>
                </a:cubicBezTo>
                <a:cubicBezTo>
                  <a:pt x="172" y="78"/>
                  <a:pt x="172" y="54"/>
                  <a:pt x="172" y="51"/>
                </a:cubicBezTo>
                <a:cubicBezTo>
                  <a:pt x="172" y="47"/>
                  <a:pt x="173" y="43"/>
                  <a:pt x="174" y="39"/>
                </a:cubicBezTo>
                <a:cubicBezTo>
                  <a:pt x="176" y="34"/>
                  <a:pt x="172" y="34"/>
                  <a:pt x="172" y="30"/>
                </a:cubicBezTo>
                <a:cubicBezTo>
                  <a:pt x="173" y="26"/>
                  <a:pt x="168" y="22"/>
                  <a:pt x="168" y="2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39" name="Freeform 36"/>
          <p:cNvSpPr/>
          <p:nvPr/>
        </p:nvSpPr>
        <p:spPr bwMode="auto">
          <a:xfrm>
            <a:off x="6262301" y="3888068"/>
            <a:ext cx="252183" cy="426453"/>
          </a:xfrm>
          <a:custGeom>
            <a:cxnLst>
              <a:cxn ang="0">
                <a:pos x="112" y="46"/>
              </a:cxn>
              <a:cxn ang="0">
                <a:pos x="26" y="0"/>
              </a:cxn>
              <a:cxn ang="0">
                <a:pos x="16" y="5"/>
              </a:cxn>
              <a:cxn ang="0">
                <a:pos x="17" y="20"/>
              </a:cxn>
              <a:cxn ang="0">
                <a:pos x="21" y="30"/>
              </a:cxn>
              <a:cxn ang="0">
                <a:pos x="23" y="39"/>
              </a:cxn>
              <a:cxn ang="0">
                <a:pos x="21" y="51"/>
              </a:cxn>
              <a:cxn ang="0">
                <a:pos x="20" y="79"/>
              </a:cxn>
              <a:cxn ang="0">
                <a:pos x="2" y="101"/>
              </a:cxn>
              <a:cxn ang="0">
                <a:pos x="0" y="111"/>
              </a:cxn>
              <a:cxn ang="0">
                <a:pos x="0" y="114"/>
              </a:cxn>
              <a:cxn ang="0">
                <a:pos x="2" y="117"/>
              </a:cxn>
              <a:cxn ang="0">
                <a:pos x="7" y="122"/>
              </a:cxn>
              <a:cxn ang="0">
                <a:pos x="14" y="132"/>
              </a:cxn>
              <a:cxn ang="0">
                <a:pos x="15" y="142"/>
              </a:cxn>
              <a:cxn ang="0">
                <a:pos x="20" y="156"/>
              </a:cxn>
              <a:cxn ang="0">
                <a:pos x="15" y="158"/>
              </a:cxn>
              <a:cxn ang="0">
                <a:pos x="6" y="159"/>
              </a:cxn>
              <a:cxn ang="0">
                <a:pos x="8" y="167"/>
              </a:cxn>
              <a:cxn ang="0">
                <a:pos x="18" y="177"/>
              </a:cxn>
              <a:cxn ang="0">
                <a:pos x="22" y="186"/>
              </a:cxn>
              <a:cxn ang="0">
                <a:pos x="28" y="184"/>
              </a:cxn>
              <a:cxn ang="0">
                <a:pos x="36" y="184"/>
              </a:cxn>
              <a:cxn ang="0">
                <a:pos x="48" y="180"/>
              </a:cxn>
              <a:cxn ang="0">
                <a:pos x="58" y="175"/>
              </a:cxn>
              <a:cxn ang="0">
                <a:pos x="59" y="169"/>
              </a:cxn>
              <a:cxn ang="0">
                <a:pos x="75" y="165"/>
              </a:cxn>
              <a:cxn ang="0">
                <a:pos x="86" y="154"/>
              </a:cxn>
              <a:cxn ang="0">
                <a:pos x="88" y="149"/>
              </a:cxn>
              <a:cxn ang="0">
                <a:pos x="97" y="145"/>
              </a:cxn>
              <a:cxn ang="0">
                <a:pos x="99" y="145"/>
              </a:cxn>
              <a:cxn ang="0">
                <a:pos x="99" y="145"/>
              </a:cxn>
              <a:cxn ang="0">
                <a:pos x="100" y="140"/>
              </a:cxn>
              <a:cxn ang="0">
                <a:pos x="95" y="133"/>
              </a:cxn>
              <a:cxn ang="0">
                <a:pos x="93" y="125"/>
              </a:cxn>
              <a:cxn ang="0">
                <a:pos x="91" y="118"/>
              </a:cxn>
              <a:cxn ang="0">
                <a:pos x="92" y="110"/>
              </a:cxn>
              <a:cxn ang="0">
                <a:pos x="97" y="102"/>
              </a:cxn>
              <a:cxn ang="0">
                <a:pos x="101" y="95"/>
              </a:cxn>
              <a:cxn ang="0">
                <a:pos x="111" y="89"/>
              </a:cxn>
              <a:cxn ang="0">
                <a:pos x="112" y="77"/>
              </a:cxn>
              <a:cxn ang="0">
                <a:pos x="112" y="46"/>
              </a:cxn>
            </a:cxnLst>
            <a:rect b="b" l="0" r="r" t="0"/>
            <a:pathLst>
              <a:path h="187" w="113">
                <a:moveTo>
                  <a:pt x="112" y="46"/>
                </a:moveTo>
                <a:cubicBezTo>
                  <a:pt x="26" y="0"/>
                  <a:pt x="26" y="0"/>
                  <a:pt x="26" y="0"/>
                </a:cubicBezTo>
                <a:cubicBezTo>
                  <a:pt x="16" y="5"/>
                  <a:pt x="16" y="5"/>
                  <a:pt x="16" y="5"/>
                </a:cubicBezTo>
                <a:cubicBezTo>
                  <a:pt x="16" y="11"/>
                  <a:pt x="17" y="18"/>
                  <a:pt x="17" y="20"/>
                </a:cubicBezTo>
                <a:cubicBezTo>
                  <a:pt x="17" y="22"/>
                  <a:pt x="22" y="26"/>
                  <a:pt x="21" y="30"/>
                </a:cubicBezTo>
                <a:cubicBezTo>
                  <a:pt x="21" y="34"/>
                  <a:pt x="25" y="34"/>
                  <a:pt x="23" y="39"/>
                </a:cubicBezTo>
                <a:cubicBezTo>
                  <a:pt x="22" y="43"/>
                  <a:pt x="21" y="47"/>
                  <a:pt x="21" y="51"/>
                </a:cubicBezTo>
                <a:cubicBezTo>
                  <a:pt x="21" y="54"/>
                  <a:pt x="21" y="78"/>
                  <a:pt x="20" y="79"/>
                </a:cubicBezTo>
                <a:cubicBezTo>
                  <a:pt x="19" y="80"/>
                  <a:pt x="3" y="95"/>
                  <a:pt x="2" y="101"/>
                </a:cubicBezTo>
                <a:cubicBezTo>
                  <a:pt x="1" y="107"/>
                  <a:pt x="0" y="105"/>
                  <a:pt x="0" y="111"/>
                </a:cubicBezTo>
                <a:cubicBezTo>
                  <a:pt x="0" y="112"/>
                  <a:pt x="0" y="113"/>
                  <a:pt x="0" y="114"/>
                </a:cubicBezTo>
                <a:cubicBezTo>
                  <a:pt x="0" y="115"/>
                  <a:pt x="1" y="116"/>
                  <a:pt x="2" y="117"/>
                </a:cubicBezTo>
                <a:cubicBezTo>
                  <a:pt x="4" y="119"/>
                  <a:pt x="4" y="122"/>
                  <a:pt x="7" y="122"/>
                </a:cubicBezTo>
                <a:cubicBezTo>
                  <a:pt x="10" y="122"/>
                  <a:pt x="14" y="129"/>
                  <a:pt x="14" y="132"/>
                </a:cubicBezTo>
                <a:cubicBezTo>
                  <a:pt x="14" y="135"/>
                  <a:pt x="16" y="137"/>
                  <a:pt x="15" y="142"/>
                </a:cubicBezTo>
                <a:cubicBezTo>
                  <a:pt x="15" y="148"/>
                  <a:pt x="18" y="155"/>
                  <a:pt x="20" y="156"/>
                </a:cubicBezTo>
                <a:cubicBezTo>
                  <a:pt x="22" y="157"/>
                  <a:pt x="19" y="158"/>
                  <a:pt x="15" y="158"/>
                </a:cubicBezTo>
                <a:cubicBezTo>
                  <a:pt x="11" y="158"/>
                  <a:pt x="6" y="158"/>
                  <a:pt x="6" y="159"/>
                </a:cubicBezTo>
                <a:cubicBezTo>
                  <a:pt x="6" y="161"/>
                  <a:pt x="4" y="163"/>
                  <a:pt x="8" y="167"/>
                </a:cubicBezTo>
                <a:cubicBezTo>
                  <a:pt x="13" y="171"/>
                  <a:pt x="16" y="173"/>
                  <a:pt x="18" y="177"/>
                </a:cubicBezTo>
                <a:cubicBezTo>
                  <a:pt x="19" y="181"/>
                  <a:pt x="21" y="185"/>
                  <a:pt x="22" y="186"/>
                </a:cubicBezTo>
                <a:cubicBezTo>
                  <a:pt x="23" y="187"/>
                  <a:pt x="26" y="187"/>
                  <a:pt x="28" y="184"/>
                </a:cubicBezTo>
                <a:cubicBezTo>
                  <a:pt x="31" y="180"/>
                  <a:pt x="33" y="187"/>
                  <a:pt x="36" y="184"/>
                </a:cubicBezTo>
                <a:cubicBezTo>
                  <a:pt x="38" y="181"/>
                  <a:pt x="46" y="181"/>
                  <a:pt x="48" y="180"/>
                </a:cubicBezTo>
                <a:cubicBezTo>
                  <a:pt x="50" y="179"/>
                  <a:pt x="56" y="176"/>
                  <a:pt x="58" y="175"/>
                </a:cubicBezTo>
                <a:cubicBezTo>
                  <a:pt x="60" y="173"/>
                  <a:pt x="56" y="170"/>
                  <a:pt x="59" y="169"/>
                </a:cubicBezTo>
                <a:cubicBezTo>
                  <a:pt x="62" y="167"/>
                  <a:pt x="71" y="170"/>
                  <a:pt x="75" y="165"/>
                </a:cubicBezTo>
                <a:cubicBezTo>
                  <a:pt x="78" y="161"/>
                  <a:pt x="84" y="156"/>
                  <a:pt x="86" y="154"/>
                </a:cubicBezTo>
                <a:cubicBezTo>
                  <a:pt x="87" y="152"/>
                  <a:pt x="86" y="151"/>
                  <a:pt x="88" y="149"/>
                </a:cubicBezTo>
                <a:cubicBezTo>
                  <a:pt x="90" y="146"/>
                  <a:pt x="95" y="144"/>
                  <a:pt x="97" y="145"/>
                </a:cubicBezTo>
                <a:cubicBezTo>
                  <a:pt x="98" y="145"/>
                  <a:pt x="99" y="145"/>
                  <a:pt x="99" y="145"/>
                </a:cubicBezTo>
                <a:cubicBezTo>
                  <a:pt x="99" y="145"/>
                  <a:pt x="99" y="145"/>
                  <a:pt x="99" y="145"/>
                </a:cubicBezTo>
                <a:cubicBezTo>
                  <a:pt x="100" y="140"/>
                  <a:pt x="100" y="140"/>
                  <a:pt x="100" y="140"/>
                </a:cubicBezTo>
                <a:cubicBezTo>
                  <a:pt x="100" y="140"/>
                  <a:pt x="95" y="137"/>
                  <a:pt x="95" y="133"/>
                </a:cubicBezTo>
                <a:cubicBezTo>
                  <a:pt x="95" y="129"/>
                  <a:pt x="96" y="125"/>
                  <a:pt x="93" y="125"/>
                </a:cubicBezTo>
                <a:cubicBezTo>
                  <a:pt x="89" y="125"/>
                  <a:pt x="89" y="121"/>
                  <a:pt x="91" y="118"/>
                </a:cubicBezTo>
                <a:cubicBezTo>
                  <a:pt x="94" y="116"/>
                  <a:pt x="87" y="110"/>
                  <a:pt x="92" y="110"/>
                </a:cubicBezTo>
                <a:cubicBezTo>
                  <a:pt x="97" y="110"/>
                  <a:pt x="93" y="102"/>
                  <a:pt x="97" y="102"/>
                </a:cubicBezTo>
                <a:cubicBezTo>
                  <a:pt x="100" y="101"/>
                  <a:pt x="101" y="98"/>
                  <a:pt x="101" y="95"/>
                </a:cubicBezTo>
                <a:cubicBezTo>
                  <a:pt x="101" y="91"/>
                  <a:pt x="109" y="89"/>
                  <a:pt x="111" y="89"/>
                </a:cubicBezTo>
                <a:cubicBezTo>
                  <a:pt x="113" y="88"/>
                  <a:pt x="112" y="77"/>
                  <a:pt x="112" y="77"/>
                </a:cubicBezTo>
                <a:lnTo>
                  <a:pt x="112" y="46"/>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0" name="Freeform 37"/>
          <p:cNvSpPr/>
          <p:nvPr/>
        </p:nvSpPr>
        <p:spPr bwMode="auto">
          <a:xfrm>
            <a:off x="6527464" y="3651149"/>
            <a:ext cx="276289" cy="280511"/>
          </a:xfrm>
          <a:custGeom>
            <a:cxnLst>
              <a:cxn ang="0">
                <a:pos x="115" y="27"/>
              </a:cxn>
              <a:cxn ang="0">
                <a:pos x="107" y="7"/>
              </a:cxn>
              <a:cxn ang="0">
                <a:pos x="106" y="9"/>
              </a:cxn>
              <a:cxn ang="0">
                <a:pos x="94" y="8"/>
              </a:cxn>
              <a:cxn ang="0">
                <a:pos x="80" y="5"/>
              </a:cxn>
              <a:cxn ang="0">
                <a:pos x="56" y="9"/>
              </a:cxn>
              <a:cxn ang="0">
                <a:pos x="44" y="10"/>
              </a:cxn>
              <a:cxn ang="0">
                <a:pos x="23" y="4"/>
              </a:cxn>
              <a:cxn ang="0">
                <a:pos x="6" y="0"/>
              </a:cxn>
              <a:cxn ang="0">
                <a:pos x="5" y="3"/>
              </a:cxn>
              <a:cxn ang="0">
                <a:pos x="4" y="17"/>
              </a:cxn>
              <a:cxn ang="0">
                <a:pos x="4" y="33"/>
              </a:cxn>
              <a:cxn ang="0">
                <a:pos x="4" y="120"/>
              </a:cxn>
              <a:cxn ang="0">
                <a:pos x="72" y="120"/>
              </a:cxn>
              <a:cxn ang="0">
                <a:pos x="76" y="118"/>
              </a:cxn>
              <a:cxn ang="0">
                <a:pos x="82" y="120"/>
              </a:cxn>
              <a:cxn ang="0">
                <a:pos x="96" y="120"/>
              </a:cxn>
              <a:cxn ang="0">
                <a:pos x="102" y="123"/>
              </a:cxn>
              <a:cxn ang="0">
                <a:pos x="109" y="118"/>
              </a:cxn>
              <a:cxn ang="0">
                <a:pos x="116" y="110"/>
              </a:cxn>
              <a:cxn ang="0">
                <a:pos x="122" y="106"/>
              </a:cxn>
              <a:cxn ang="0">
                <a:pos x="123" y="105"/>
              </a:cxn>
              <a:cxn ang="0">
                <a:pos x="123" y="101"/>
              </a:cxn>
              <a:cxn ang="0">
                <a:pos x="118" y="88"/>
              </a:cxn>
              <a:cxn ang="0">
                <a:pos x="106" y="65"/>
              </a:cxn>
              <a:cxn ang="0">
                <a:pos x="100" y="54"/>
              </a:cxn>
              <a:cxn ang="0">
                <a:pos x="93" y="41"/>
              </a:cxn>
              <a:cxn ang="0">
                <a:pos x="87" y="20"/>
              </a:cxn>
              <a:cxn ang="0">
                <a:pos x="95" y="35"/>
              </a:cxn>
              <a:cxn ang="0">
                <a:pos x="106" y="50"/>
              </a:cxn>
              <a:cxn ang="0">
                <a:pos x="113" y="34"/>
              </a:cxn>
              <a:cxn ang="0">
                <a:pos x="113" y="34"/>
              </a:cxn>
              <a:cxn ang="0">
                <a:pos x="114" y="31"/>
              </a:cxn>
              <a:cxn ang="0">
                <a:pos x="115" y="27"/>
              </a:cxn>
            </a:cxnLst>
            <a:rect b="b" l="0" r="r" t="0"/>
            <a:pathLst>
              <a:path h="123" w="124">
                <a:moveTo>
                  <a:pt x="115" y="27"/>
                </a:moveTo>
                <a:cubicBezTo>
                  <a:pt x="107" y="7"/>
                  <a:pt x="107" y="7"/>
                  <a:pt x="107" y="7"/>
                </a:cubicBezTo>
                <a:cubicBezTo>
                  <a:pt x="107" y="8"/>
                  <a:pt x="106" y="8"/>
                  <a:pt x="106" y="9"/>
                </a:cubicBezTo>
                <a:cubicBezTo>
                  <a:pt x="105" y="10"/>
                  <a:pt x="99" y="7"/>
                  <a:pt x="94" y="8"/>
                </a:cubicBezTo>
                <a:cubicBezTo>
                  <a:pt x="89" y="9"/>
                  <a:pt x="85" y="7"/>
                  <a:pt x="80" y="5"/>
                </a:cubicBezTo>
                <a:cubicBezTo>
                  <a:pt x="75" y="2"/>
                  <a:pt x="59" y="6"/>
                  <a:pt x="56" y="9"/>
                </a:cubicBezTo>
                <a:cubicBezTo>
                  <a:pt x="54" y="12"/>
                  <a:pt x="49" y="12"/>
                  <a:pt x="44" y="10"/>
                </a:cubicBezTo>
                <a:cubicBezTo>
                  <a:pt x="39" y="8"/>
                  <a:pt x="32" y="5"/>
                  <a:pt x="23" y="4"/>
                </a:cubicBezTo>
                <a:cubicBezTo>
                  <a:pt x="14" y="3"/>
                  <a:pt x="8" y="2"/>
                  <a:pt x="6" y="0"/>
                </a:cubicBezTo>
                <a:cubicBezTo>
                  <a:pt x="6" y="1"/>
                  <a:pt x="5" y="2"/>
                  <a:pt x="5" y="3"/>
                </a:cubicBezTo>
                <a:cubicBezTo>
                  <a:pt x="2" y="10"/>
                  <a:pt x="7" y="12"/>
                  <a:pt x="4" y="17"/>
                </a:cubicBezTo>
                <a:cubicBezTo>
                  <a:pt x="0" y="21"/>
                  <a:pt x="4" y="26"/>
                  <a:pt x="4" y="33"/>
                </a:cubicBezTo>
                <a:cubicBezTo>
                  <a:pt x="4" y="39"/>
                  <a:pt x="4" y="89"/>
                  <a:pt x="4" y="120"/>
                </a:cubicBezTo>
                <a:cubicBezTo>
                  <a:pt x="72" y="120"/>
                  <a:pt x="72" y="120"/>
                  <a:pt x="72" y="120"/>
                </a:cubicBezTo>
                <a:cubicBezTo>
                  <a:pt x="72" y="120"/>
                  <a:pt x="74" y="119"/>
                  <a:pt x="76" y="118"/>
                </a:cubicBezTo>
                <a:cubicBezTo>
                  <a:pt x="78" y="116"/>
                  <a:pt x="82" y="120"/>
                  <a:pt x="82" y="120"/>
                </a:cubicBezTo>
                <a:cubicBezTo>
                  <a:pt x="96" y="120"/>
                  <a:pt x="96" y="120"/>
                  <a:pt x="96" y="120"/>
                </a:cubicBezTo>
                <a:cubicBezTo>
                  <a:pt x="96" y="120"/>
                  <a:pt x="99" y="123"/>
                  <a:pt x="102" y="123"/>
                </a:cubicBezTo>
                <a:cubicBezTo>
                  <a:pt x="106" y="123"/>
                  <a:pt x="104" y="118"/>
                  <a:pt x="109" y="118"/>
                </a:cubicBezTo>
                <a:cubicBezTo>
                  <a:pt x="114" y="118"/>
                  <a:pt x="113" y="110"/>
                  <a:pt x="116" y="110"/>
                </a:cubicBezTo>
                <a:cubicBezTo>
                  <a:pt x="120" y="110"/>
                  <a:pt x="119" y="110"/>
                  <a:pt x="122" y="106"/>
                </a:cubicBezTo>
                <a:cubicBezTo>
                  <a:pt x="122" y="105"/>
                  <a:pt x="123" y="105"/>
                  <a:pt x="123" y="105"/>
                </a:cubicBezTo>
                <a:cubicBezTo>
                  <a:pt x="122" y="104"/>
                  <a:pt x="122" y="102"/>
                  <a:pt x="123" y="101"/>
                </a:cubicBezTo>
                <a:cubicBezTo>
                  <a:pt x="124" y="95"/>
                  <a:pt x="120" y="96"/>
                  <a:pt x="118" y="88"/>
                </a:cubicBezTo>
                <a:cubicBezTo>
                  <a:pt x="115" y="81"/>
                  <a:pt x="106" y="69"/>
                  <a:pt x="106" y="65"/>
                </a:cubicBezTo>
                <a:cubicBezTo>
                  <a:pt x="105" y="61"/>
                  <a:pt x="100" y="58"/>
                  <a:pt x="100" y="54"/>
                </a:cubicBezTo>
                <a:cubicBezTo>
                  <a:pt x="100" y="49"/>
                  <a:pt x="98" y="48"/>
                  <a:pt x="93" y="41"/>
                </a:cubicBezTo>
                <a:cubicBezTo>
                  <a:pt x="87" y="34"/>
                  <a:pt x="86" y="21"/>
                  <a:pt x="87" y="20"/>
                </a:cubicBezTo>
                <a:cubicBezTo>
                  <a:pt x="89" y="20"/>
                  <a:pt x="93" y="31"/>
                  <a:pt x="95" y="35"/>
                </a:cubicBezTo>
                <a:cubicBezTo>
                  <a:pt x="97" y="39"/>
                  <a:pt x="102" y="50"/>
                  <a:pt x="106" y="50"/>
                </a:cubicBezTo>
                <a:cubicBezTo>
                  <a:pt x="110" y="50"/>
                  <a:pt x="112" y="33"/>
                  <a:pt x="113" y="34"/>
                </a:cubicBezTo>
                <a:cubicBezTo>
                  <a:pt x="113" y="34"/>
                  <a:pt x="113" y="34"/>
                  <a:pt x="113" y="34"/>
                </a:cubicBezTo>
                <a:cubicBezTo>
                  <a:pt x="114" y="31"/>
                  <a:pt x="114" y="31"/>
                  <a:pt x="114" y="31"/>
                </a:cubicBezTo>
                <a:lnTo>
                  <a:pt x="115" y="27"/>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1" name="Freeform 38"/>
          <p:cNvSpPr/>
          <p:nvPr/>
        </p:nvSpPr>
        <p:spPr bwMode="auto">
          <a:xfrm>
            <a:off x="6141773" y="4447194"/>
            <a:ext cx="142780" cy="161105"/>
          </a:xfrm>
          <a:custGeom>
            <a:cxnLst>
              <a:cxn ang="0">
                <a:pos x="32" y="67"/>
              </a:cxn>
              <a:cxn ang="0">
                <a:pos x="34" y="58"/>
              </a:cxn>
              <a:cxn ang="0">
                <a:pos x="41" y="53"/>
              </a:cxn>
              <a:cxn ang="0">
                <a:pos x="45" y="47"/>
              </a:cxn>
              <a:cxn ang="0">
                <a:pos x="52" y="54"/>
              </a:cxn>
              <a:cxn ang="0">
                <a:pos x="60" y="56"/>
              </a:cxn>
              <a:cxn ang="0">
                <a:pos x="64" y="42"/>
              </a:cxn>
              <a:cxn ang="0">
                <a:pos x="61" y="30"/>
              </a:cxn>
              <a:cxn ang="0">
                <a:pos x="59" y="21"/>
              </a:cxn>
              <a:cxn ang="0">
                <a:pos x="60" y="12"/>
              </a:cxn>
              <a:cxn ang="0">
                <a:pos x="49" y="12"/>
              </a:cxn>
              <a:cxn ang="0">
                <a:pos x="50" y="1"/>
              </a:cxn>
              <a:cxn ang="0">
                <a:pos x="33" y="0"/>
              </a:cxn>
              <a:cxn ang="0">
                <a:pos x="31" y="1"/>
              </a:cxn>
              <a:cxn ang="0">
                <a:pos x="31" y="15"/>
              </a:cxn>
              <a:cxn ang="0">
                <a:pos x="15" y="16"/>
              </a:cxn>
              <a:cxn ang="0">
                <a:pos x="10" y="16"/>
              </a:cxn>
              <a:cxn ang="0">
                <a:pos x="8" y="19"/>
              </a:cxn>
              <a:cxn ang="0">
                <a:pos x="13" y="25"/>
              </a:cxn>
              <a:cxn ang="0">
                <a:pos x="7" y="29"/>
              </a:cxn>
              <a:cxn ang="0">
                <a:pos x="2" y="36"/>
              </a:cxn>
              <a:cxn ang="0">
                <a:pos x="8" y="46"/>
              </a:cxn>
              <a:cxn ang="0">
                <a:pos x="16" y="57"/>
              </a:cxn>
              <a:cxn ang="0">
                <a:pos x="27" y="71"/>
              </a:cxn>
              <a:cxn ang="0">
                <a:pos x="32" y="67"/>
              </a:cxn>
            </a:cxnLst>
            <a:rect b="b" l="0" r="r" t="0"/>
            <a:pathLst>
              <a:path h="71" w="64">
                <a:moveTo>
                  <a:pt x="32" y="67"/>
                </a:moveTo>
                <a:cubicBezTo>
                  <a:pt x="38" y="67"/>
                  <a:pt x="36" y="64"/>
                  <a:pt x="34" y="58"/>
                </a:cubicBezTo>
                <a:cubicBezTo>
                  <a:pt x="32" y="53"/>
                  <a:pt x="37" y="53"/>
                  <a:pt x="41" y="53"/>
                </a:cubicBezTo>
                <a:cubicBezTo>
                  <a:pt x="44" y="53"/>
                  <a:pt x="43" y="47"/>
                  <a:pt x="45" y="47"/>
                </a:cubicBezTo>
                <a:cubicBezTo>
                  <a:pt x="48" y="47"/>
                  <a:pt x="49" y="55"/>
                  <a:pt x="52" y="54"/>
                </a:cubicBezTo>
                <a:cubicBezTo>
                  <a:pt x="55" y="53"/>
                  <a:pt x="57" y="56"/>
                  <a:pt x="60" y="56"/>
                </a:cubicBezTo>
                <a:cubicBezTo>
                  <a:pt x="64" y="55"/>
                  <a:pt x="64" y="48"/>
                  <a:pt x="64" y="42"/>
                </a:cubicBezTo>
                <a:cubicBezTo>
                  <a:pt x="64" y="37"/>
                  <a:pt x="64" y="33"/>
                  <a:pt x="61" y="30"/>
                </a:cubicBezTo>
                <a:cubicBezTo>
                  <a:pt x="57" y="28"/>
                  <a:pt x="55" y="23"/>
                  <a:pt x="59" y="21"/>
                </a:cubicBezTo>
                <a:cubicBezTo>
                  <a:pt x="63" y="19"/>
                  <a:pt x="64" y="15"/>
                  <a:pt x="60" y="12"/>
                </a:cubicBezTo>
                <a:cubicBezTo>
                  <a:pt x="57" y="10"/>
                  <a:pt x="49" y="15"/>
                  <a:pt x="49" y="12"/>
                </a:cubicBezTo>
                <a:cubicBezTo>
                  <a:pt x="49" y="11"/>
                  <a:pt x="50" y="5"/>
                  <a:pt x="50" y="1"/>
                </a:cubicBezTo>
                <a:cubicBezTo>
                  <a:pt x="42" y="0"/>
                  <a:pt x="33" y="0"/>
                  <a:pt x="33" y="0"/>
                </a:cubicBezTo>
                <a:cubicBezTo>
                  <a:pt x="31" y="1"/>
                  <a:pt x="31" y="1"/>
                  <a:pt x="31" y="1"/>
                </a:cubicBezTo>
                <a:cubicBezTo>
                  <a:pt x="32" y="9"/>
                  <a:pt x="31" y="15"/>
                  <a:pt x="31" y="15"/>
                </a:cubicBezTo>
                <a:cubicBezTo>
                  <a:pt x="31" y="15"/>
                  <a:pt x="18" y="16"/>
                  <a:pt x="15" y="16"/>
                </a:cubicBezTo>
                <a:cubicBezTo>
                  <a:pt x="15" y="16"/>
                  <a:pt x="13" y="16"/>
                  <a:pt x="10" y="16"/>
                </a:cubicBezTo>
                <a:cubicBezTo>
                  <a:pt x="10" y="17"/>
                  <a:pt x="9" y="18"/>
                  <a:pt x="8" y="19"/>
                </a:cubicBezTo>
                <a:cubicBezTo>
                  <a:pt x="7" y="20"/>
                  <a:pt x="12" y="22"/>
                  <a:pt x="13" y="25"/>
                </a:cubicBezTo>
                <a:cubicBezTo>
                  <a:pt x="14" y="27"/>
                  <a:pt x="6" y="26"/>
                  <a:pt x="7" y="29"/>
                </a:cubicBezTo>
                <a:cubicBezTo>
                  <a:pt x="7" y="32"/>
                  <a:pt x="4" y="35"/>
                  <a:pt x="2" y="36"/>
                </a:cubicBezTo>
                <a:cubicBezTo>
                  <a:pt x="0" y="38"/>
                  <a:pt x="7" y="44"/>
                  <a:pt x="8" y="46"/>
                </a:cubicBezTo>
                <a:cubicBezTo>
                  <a:pt x="8" y="49"/>
                  <a:pt x="9" y="51"/>
                  <a:pt x="16" y="57"/>
                </a:cubicBezTo>
                <a:cubicBezTo>
                  <a:pt x="22" y="63"/>
                  <a:pt x="19" y="64"/>
                  <a:pt x="27" y="71"/>
                </a:cubicBezTo>
                <a:cubicBezTo>
                  <a:pt x="28" y="69"/>
                  <a:pt x="30" y="67"/>
                  <a:pt x="32" y="6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2" name="Freeform 39"/>
          <p:cNvSpPr/>
          <p:nvPr/>
        </p:nvSpPr>
        <p:spPr bwMode="auto">
          <a:xfrm>
            <a:off x="6156607" y="4449090"/>
            <a:ext cx="55628" cy="34116"/>
          </a:xfrm>
          <a:custGeom>
            <a:cxnLst>
              <a:cxn ang="0">
                <a:pos x="24" y="14"/>
              </a:cxn>
              <a:cxn ang="0">
                <a:pos x="24" y="0"/>
              </a:cxn>
              <a:cxn ang="0">
                <a:pos x="22" y="0"/>
              </a:cxn>
              <a:cxn ang="0">
                <a:pos x="6" y="0"/>
              </a:cxn>
              <a:cxn ang="0">
                <a:pos x="6" y="1"/>
              </a:cxn>
              <a:cxn ang="0">
                <a:pos x="3" y="8"/>
              </a:cxn>
              <a:cxn ang="0">
                <a:pos x="3" y="13"/>
              </a:cxn>
              <a:cxn ang="0">
                <a:pos x="3" y="15"/>
              </a:cxn>
              <a:cxn ang="0">
                <a:pos x="8" y="15"/>
              </a:cxn>
              <a:cxn ang="0">
                <a:pos x="24" y="14"/>
              </a:cxn>
            </a:cxnLst>
            <a:rect b="b" l="0" r="r" t="0"/>
            <a:pathLst>
              <a:path h="15" w="25">
                <a:moveTo>
                  <a:pt x="24" y="14"/>
                </a:moveTo>
                <a:cubicBezTo>
                  <a:pt x="24" y="14"/>
                  <a:pt x="25" y="8"/>
                  <a:pt x="24" y="0"/>
                </a:cubicBezTo>
                <a:cubicBezTo>
                  <a:pt x="22" y="0"/>
                  <a:pt x="22" y="0"/>
                  <a:pt x="22" y="0"/>
                </a:cubicBezTo>
                <a:cubicBezTo>
                  <a:pt x="6" y="0"/>
                  <a:pt x="6" y="0"/>
                  <a:pt x="6" y="0"/>
                </a:cubicBezTo>
                <a:cubicBezTo>
                  <a:pt x="6" y="0"/>
                  <a:pt x="6" y="1"/>
                  <a:pt x="6" y="1"/>
                </a:cubicBezTo>
                <a:cubicBezTo>
                  <a:pt x="8" y="3"/>
                  <a:pt x="7" y="7"/>
                  <a:pt x="3" y="8"/>
                </a:cubicBezTo>
                <a:cubicBezTo>
                  <a:pt x="0" y="9"/>
                  <a:pt x="0" y="12"/>
                  <a:pt x="3" y="13"/>
                </a:cubicBezTo>
                <a:cubicBezTo>
                  <a:pt x="5" y="13"/>
                  <a:pt x="4" y="14"/>
                  <a:pt x="3" y="15"/>
                </a:cubicBezTo>
                <a:cubicBezTo>
                  <a:pt x="6" y="15"/>
                  <a:pt x="8" y="15"/>
                  <a:pt x="8" y="15"/>
                </a:cubicBezTo>
                <a:cubicBezTo>
                  <a:pt x="11" y="15"/>
                  <a:pt x="24" y="14"/>
                  <a:pt x="24" y="1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3" name="Freeform 40"/>
          <p:cNvSpPr/>
          <p:nvPr/>
        </p:nvSpPr>
        <p:spPr bwMode="auto">
          <a:xfrm>
            <a:off x="6201110" y="4409287"/>
            <a:ext cx="179866" cy="225547"/>
          </a:xfrm>
          <a:custGeom>
            <a:cxnLst>
              <a:cxn ang="0">
                <a:pos x="21" y="94"/>
              </a:cxn>
              <a:cxn ang="0">
                <a:pos x="29" y="95"/>
              </a:cxn>
              <a:cxn ang="0">
                <a:pos x="38" y="95"/>
              </a:cxn>
              <a:cxn ang="0">
                <a:pos x="43" y="95"/>
              </a:cxn>
              <a:cxn ang="0">
                <a:pos x="50" y="88"/>
              </a:cxn>
              <a:cxn ang="0">
                <a:pos x="54" y="80"/>
              </a:cxn>
              <a:cxn ang="0">
                <a:pos x="55" y="61"/>
              </a:cxn>
              <a:cxn ang="0">
                <a:pos x="64" y="49"/>
              </a:cxn>
              <a:cxn ang="0">
                <a:pos x="73" y="25"/>
              </a:cxn>
              <a:cxn ang="0">
                <a:pos x="77" y="13"/>
              </a:cxn>
              <a:cxn ang="0">
                <a:pos x="79" y="1"/>
              </a:cxn>
              <a:cxn ang="0">
                <a:pos x="79" y="1"/>
              </a:cxn>
              <a:cxn ang="0">
                <a:pos x="69" y="0"/>
              </a:cxn>
              <a:cxn ang="0">
                <a:pos x="64" y="1"/>
              </a:cxn>
              <a:cxn ang="0">
                <a:pos x="58" y="3"/>
              </a:cxn>
              <a:cxn ang="0">
                <a:pos x="56" y="11"/>
              </a:cxn>
              <a:cxn ang="0">
                <a:pos x="52" y="22"/>
              </a:cxn>
              <a:cxn ang="0">
                <a:pos x="36" y="17"/>
              </a:cxn>
              <a:cxn ang="0">
                <a:pos x="23" y="17"/>
              </a:cxn>
              <a:cxn ang="0">
                <a:pos x="22" y="28"/>
              </a:cxn>
              <a:cxn ang="0">
                <a:pos x="33" y="28"/>
              </a:cxn>
              <a:cxn ang="0">
                <a:pos x="32" y="37"/>
              </a:cxn>
              <a:cxn ang="0">
                <a:pos x="34" y="46"/>
              </a:cxn>
              <a:cxn ang="0">
                <a:pos x="37" y="58"/>
              </a:cxn>
              <a:cxn ang="0">
                <a:pos x="33" y="72"/>
              </a:cxn>
              <a:cxn ang="0">
                <a:pos x="25" y="70"/>
              </a:cxn>
              <a:cxn ang="0">
                <a:pos x="18" y="63"/>
              </a:cxn>
              <a:cxn ang="0">
                <a:pos x="14" y="69"/>
              </a:cxn>
              <a:cxn ang="0">
                <a:pos x="7" y="74"/>
              </a:cxn>
              <a:cxn ang="0">
                <a:pos x="5" y="83"/>
              </a:cxn>
              <a:cxn ang="0">
                <a:pos x="0" y="87"/>
              </a:cxn>
              <a:cxn ang="0">
                <a:pos x="1" y="88"/>
              </a:cxn>
              <a:cxn ang="0">
                <a:pos x="11" y="99"/>
              </a:cxn>
              <a:cxn ang="0">
                <a:pos x="21" y="94"/>
              </a:cxn>
            </a:cxnLst>
            <a:rect b="b" l="0" r="r" t="0"/>
            <a:pathLst>
              <a:path h="99" w="80">
                <a:moveTo>
                  <a:pt x="21" y="94"/>
                </a:moveTo>
                <a:cubicBezTo>
                  <a:pt x="23" y="95"/>
                  <a:pt x="25" y="98"/>
                  <a:pt x="29" y="95"/>
                </a:cubicBezTo>
                <a:cubicBezTo>
                  <a:pt x="33" y="91"/>
                  <a:pt x="38" y="92"/>
                  <a:pt x="38" y="95"/>
                </a:cubicBezTo>
                <a:cubicBezTo>
                  <a:pt x="38" y="99"/>
                  <a:pt x="39" y="98"/>
                  <a:pt x="43" y="95"/>
                </a:cubicBezTo>
                <a:cubicBezTo>
                  <a:pt x="46" y="91"/>
                  <a:pt x="50" y="95"/>
                  <a:pt x="50" y="88"/>
                </a:cubicBezTo>
                <a:cubicBezTo>
                  <a:pt x="50" y="81"/>
                  <a:pt x="54" y="88"/>
                  <a:pt x="54" y="80"/>
                </a:cubicBezTo>
                <a:cubicBezTo>
                  <a:pt x="54" y="72"/>
                  <a:pt x="55" y="65"/>
                  <a:pt x="55" y="61"/>
                </a:cubicBezTo>
                <a:cubicBezTo>
                  <a:pt x="55" y="58"/>
                  <a:pt x="64" y="54"/>
                  <a:pt x="64" y="49"/>
                </a:cubicBezTo>
                <a:cubicBezTo>
                  <a:pt x="64" y="43"/>
                  <a:pt x="73" y="32"/>
                  <a:pt x="73" y="25"/>
                </a:cubicBezTo>
                <a:cubicBezTo>
                  <a:pt x="73" y="18"/>
                  <a:pt x="75" y="16"/>
                  <a:pt x="77" y="13"/>
                </a:cubicBezTo>
                <a:cubicBezTo>
                  <a:pt x="78" y="11"/>
                  <a:pt x="80" y="6"/>
                  <a:pt x="79" y="1"/>
                </a:cubicBezTo>
                <a:cubicBezTo>
                  <a:pt x="79" y="1"/>
                  <a:pt x="79" y="1"/>
                  <a:pt x="79" y="1"/>
                </a:cubicBezTo>
                <a:cubicBezTo>
                  <a:pt x="69" y="0"/>
                  <a:pt x="69" y="0"/>
                  <a:pt x="69" y="0"/>
                </a:cubicBezTo>
                <a:cubicBezTo>
                  <a:pt x="64" y="1"/>
                  <a:pt x="64" y="1"/>
                  <a:pt x="64" y="1"/>
                </a:cubicBezTo>
                <a:cubicBezTo>
                  <a:pt x="58" y="3"/>
                  <a:pt x="58" y="3"/>
                  <a:pt x="58" y="3"/>
                </a:cubicBezTo>
                <a:cubicBezTo>
                  <a:pt x="58" y="3"/>
                  <a:pt x="59" y="8"/>
                  <a:pt x="56" y="11"/>
                </a:cubicBezTo>
                <a:cubicBezTo>
                  <a:pt x="53" y="15"/>
                  <a:pt x="52" y="22"/>
                  <a:pt x="52" y="22"/>
                </a:cubicBezTo>
                <a:cubicBezTo>
                  <a:pt x="52" y="22"/>
                  <a:pt x="40" y="16"/>
                  <a:pt x="36" y="17"/>
                </a:cubicBezTo>
                <a:cubicBezTo>
                  <a:pt x="35" y="17"/>
                  <a:pt x="29" y="17"/>
                  <a:pt x="23" y="17"/>
                </a:cubicBezTo>
                <a:cubicBezTo>
                  <a:pt x="23" y="21"/>
                  <a:pt x="22" y="27"/>
                  <a:pt x="22" y="28"/>
                </a:cubicBezTo>
                <a:cubicBezTo>
                  <a:pt x="22" y="31"/>
                  <a:pt x="30" y="26"/>
                  <a:pt x="33" y="28"/>
                </a:cubicBezTo>
                <a:cubicBezTo>
                  <a:pt x="37" y="31"/>
                  <a:pt x="36" y="35"/>
                  <a:pt x="32" y="37"/>
                </a:cubicBezTo>
                <a:cubicBezTo>
                  <a:pt x="28" y="39"/>
                  <a:pt x="30" y="44"/>
                  <a:pt x="34" y="46"/>
                </a:cubicBezTo>
                <a:cubicBezTo>
                  <a:pt x="37" y="49"/>
                  <a:pt x="37" y="53"/>
                  <a:pt x="37" y="58"/>
                </a:cubicBezTo>
                <a:cubicBezTo>
                  <a:pt x="37" y="64"/>
                  <a:pt x="37" y="71"/>
                  <a:pt x="33" y="72"/>
                </a:cubicBezTo>
                <a:cubicBezTo>
                  <a:pt x="30" y="72"/>
                  <a:pt x="28" y="69"/>
                  <a:pt x="25" y="70"/>
                </a:cubicBezTo>
                <a:cubicBezTo>
                  <a:pt x="22" y="71"/>
                  <a:pt x="21" y="63"/>
                  <a:pt x="18" y="63"/>
                </a:cubicBezTo>
                <a:cubicBezTo>
                  <a:pt x="16" y="63"/>
                  <a:pt x="17" y="69"/>
                  <a:pt x="14" y="69"/>
                </a:cubicBezTo>
                <a:cubicBezTo>
                  <a:pt x="10" y="69"/>
                  <a:pt x="5" y="69"/>
                  <a:pt x="7" y="74"/>
                </a:cubicBezTo>
                <a:cubicBezTo>
                  <a:pt x="9" y="80"/>
                  <a:pt x="11" y="83"/>
                  <a:pt x="5" y="83"/>
                </a:cubicBezTo>
                <a:cubicBezTo>
                  <a:pt x="3" y="83"/>
                  <a:pt x="1" y="85"/>
                  <a:pt x="0" y="87"/>
                </a:cubicBezTo>
                <a:cubicBezTo>
                  <a:pt x="0" y="87"/>
                  <a:pt x="1" y="87"/>
                  <a:pt x="1" y="88"/>
                </a:cubicBezTo>
                <a:cubicBezTo>
                  <a:pt x="6" y="91"/>
                  <a:pt x="9" y="95"/>
                  <a:pt x="11" y="99"/>
                </a:cubicBezTo>
                <a:cubicBezTo>
                  <a:pt x="15" y="96"/>
                  <a:pt x="20" y="93"/>
                  <a:pt x="21" y="9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4" name="Freeform 41"/>
          <p:cNvSpPr/>
          <p:nvPr/>
        </p:nvSpPr>
        <p:spPr bwMode="auto">
          <a:xfrm>
            <a:off x="6455146" y="3889962"/>
            <a:ext cx="419068" cy="526906"/>
          </a:xfrm>
          <a:custGeom>
            <a:cxnLst>
              <a:cxn ang="0">
                <a:pos x="141" y="13"/>
              </a:cxn>
              <a:cxn ang="0">
                <a:pos x="128" y="15"/>
              </a:cxn>
              <a:cxn ang="0">
                <a:pos x="108" y="13"/>
              </a:cxn>
              <a:cxn ang="0">
                <a:pos x="36" y="15"/>
              </a:cxn>
              <a:cxn ang="0">
                <a:pos x="25" y="39"/>
              </a:cxn>
              <a:cxn ang="0">
                <a:pos x="24" y="88"/>
              </a:cxn>
              <a:cxn ang="0">
                <a:pos x="10" y="101"/>
              </a:cxn>
              <a:cxn ang="0">
                <a:pos x="4" y="117"/>
              </a:cxn>
              <a:cxn ang="0">
                <a:pos x="8" y="132"/>
              </a:cxn>
              <a:cxn ang="0">
                <a:pos x="12" y="144"/>
              </a:cxn>
              <a:cxn ang="0">
                <a:pos x="21" y="165"/>
              </a:cxn>
              <a:cxn ang="0">
                <a:pos x="24" y="170"/>
              </a:cxn>
              <a:cxn ang="0">
                <a:pos x="35" y="177"/>
              </a:cxn>
              <a:cxn ang="0">
                <a:pos x="47" y="190"/>
              </a:cxn>
              <a:cxn ang="0">
                <a:pos x="59" y="204"/>
              </a:cxn>
              <a:cxn ang="0">
                <a:pos x="64" y="213"/>
              </a:cxn>
              <a:cxn ang="0">
                <a:pos x="76" y="219"/>
              </a:cxn>
              <a:cxn ang="0">
                <a:pos x="88" y="218"/>
              </a:cxn>
              <a:cxn ang="0">
                <a:pos x="109" y="227"/>
              </a:cxn>
              <a:cxn ang="0">
                <a:pos x="124" y="226"/>
              </a:cxn>
              <a:cxn ang="0">
                <a:pos x="135" y="222"/>
              </a:cxn>
              <a:cxn ang="0">
                <a:pos x="146" y="214"/>
              </a:cxn>
              <a:cxn ang="0">
                <a:pos x="155" y="217"/>
              </a:cxn>
              <a:cxn ang="0">
                <a:pos x="145" y="198"/>
              </a:cxn>
              <a:cxn ang="0">
                <a:pos x="125" y="180"/>
              </a:cxn>
              <a:cxn ang="0">
                <a:pos x="136" y="172"/>
              </a:cxn>
              <a:cxn ang="0">
                <a:pos x="141" y="149"/>
              </a:cxn>
              <a:cxn ang="0">
                <a:pos x="149" y="133"/>
              </a:cxn>
              <a:cxn ang="0">
                <a:pos x="161" y="119"/>
              </a:cxn>
              <a:cxn ang="0">
                <a:pos x="166" y="90"/>
              </a:cxn>
              <a:cxn ang="0">
                <a:pos x="176" y="73"/>
              </a:cxn>
              <a:cxn ang="0">
                <a:pos x="180" y="57"/>
              </a:cxn>
              <a:cxn ang="0">
                <a:pos x="171" y="20"/>
              </a:cxn>
              <a:cxn ang="0">
                <a:pos x="155" y="0"/>
              </a:cxn>
              <a:cxn ang="0">
                <a:pos x="148" y="5"/>
              </a:cxn>
            </a:cxnLst>
            <a:rect b="b" l="0" r="r" t="0"/>
            <a:pathLst>
              <a:path h="231" w="187">
                <a:moveTo>
                  <a:pt x="148" y="5"/>
                </a:moveTo>
                <a:cubicBezTo>
                  <a:pt x="145" y="5"/>
                  <a:pt x="146" y="13"/>
                  <a:pt x="141" y="13"/>
                </a:cubicBezTo>
                <a:cubicBezTo>
                  <a:pt x="136" y="13"/>
                  <a:pt x="138" y="18"/>
                  <a:pt x="134" y="18"/>
                </a:cubicBezTo>
                <a:cubicBezTo>
                  <a:pt x="131" y="18"/>
                  <a:pt x="128" y="15"/>
                  <a:pt x="128" y="15"/>
                </a:cubicBezTo>
                <a:cubicBezTo>
                  <a:pt x="114" y="15"/>
                  <a:pt x="114" y="15"/>
                  <a:pt x="114" y="15"/>
                </a:cubicBezTo>
                <a:cubicBezTo>
                  <a:pt x="114" y="15"/>
                  <a:pt x="110" y="11"/>
                  <a:pt x="108" y="13"/>
                </a:cubicBezTo>
                <a:cubicBezTo>
                  <a:pt x="106" y="14"/>
                  <a:pt x="104" y="15"/>
                  <a:pt x="104" y="15"/>
                </a:cubicBezTo>
                <a:cubicBezTo>
                  <a:pt x="36" y="15"/>
                  <a:pt x="36" y="15"/>
                  <a:pt x="36" y="15"/>
                </a:cubicBezTo>
                <a:cubicBezTo>
                  <a:pt x="36" y="29"/>
                  <a:pt x="36" y="39"/>
                  <a:pt x="36" y="39"/>
                </a:cubicBezTo>
                <a:cubicBezTo>
                  <a:pt x="25" y="39"/>
                  <a:pt x="25" y="39"/>
                  <a:pt x="25" y="39"/>
                </a:cubicBezTo>
                <a:cubicBezTo>
                  <a:pt x="25" y="76"/>
                  <a:pt x="25" y="76"/>
                  <a:pt x="25" y="76"/>
                </a:cubicBezTo>
                <a:cubicBezTo>
                  <a:pt x="25" y="76"/>
                  <a:pt x="26" y="87"/>
                  <a:pt x="24" y="88"/>
                </a:cubicBezTo>
                <a:cubicBezTo>
                  <a:pt x="22" y="88"/>
                  <a:pt x="14" y="90"/>
                  <a:pt x="14" y="94"/>
                </a:cubicBezTo>
                <a:cubicBezTo>
                  <a:pt x="14" y="97"/>
                  <a:pt x="13" y="100"/>
                  <a:pt x="10" y="101"/>
                </a:cubicBezTo>
                <a:cubicBezTo>
                  <a:pt x="6" y="101"/>
                  <a:pt x="10" y="109"/>
                  <a:pt x="5" y="109"/>
                </a:cubicBezTo>
                <a:cubicBezTo>
                  <a:pt x="0" y="109"/>
                  <a:pt x="7" y="115"/>
                  <a:pt x="4" y="117"/>
                </a:cubicBezTo>
                <a:cubicBezTo>
                  <a:pt x="2" y="120"/>
                  <a:pt x="2" y="124"/>
                  <a:pt x="6" y="124"/>
                </a:cubicBezTo>
                <a:cubicBezTo>
                  <a:pt x="9" y="124"/>
                  <a:pt x="8" y="128"/>
                  <a:pt x="8" y="132"/>
                </a:cubicBezTo>
                <a:cubicBezTo>
                  <a:pt x="8" y="136"/>
                  <a:pt x="13" y="139"/>
                  <a:pt x="13" y="139"/>
                </a:cubicBezTo>
                <a:cubicBezTo>
                  <a:pt x="12" y="144"/>
                  <a:pt x="12" y="144"/>
                  <a:pt x="12" y="144"/>
                </a:cubicBezTo>
                <a:cubicBezTo>
                  <a:pt x="12" y="144"/>
                  <a:pt x="20" y="153"/>
                  <a:pt x="20" y="155"/>
                </a:cubicBezTo>
                <a:cubicBezTo>
                  <a:pt x="21" y="157"/>
                  <a:pt x="25" y="163"/>
                  <a:pt x="21" y="165"/>
                </a:cubicBezTo>
                <a:cubicBezTo>
                  <a:pt x="17" y="167"/>
                  <a:pt x="20" y="169"/>
                  <a:pt x="20" y="169"/>
                </a:cubicBezTo>
                <a:cubicBezTo>
                  <a:pt x="24" y="170"/>
                  <a:pt x="24" y="170"/>
                  <a:pt x="24" y="170"/>
                </a:cubicBezTo>
                <a:cubicBezTo>
                  <a:pt x="26" y="173"/>
                  <a:pt x="26" y="173"/>
                  <a:pt x="26" y="173"/>
                </a:cubicBezTo>
                <a:cubicBezTo>
                  <a:pt x="26" y="173"/>
                  <a:pt x="31" y="173"/>
                  <a:pt x="35" y="177"/>
                </a:cubicBezTo>
                <a:cubicBezTo>
                  <a:pt x="38" y="181"/>
                  <a:pt x="40" y="182"/>
                  <a:pt x="40" y="184"/>
                </a:cubicBezTo>
                <a:cubicBezTo>
                  <a:pt x="40" y="186"/>
                  <a:pt x="43" y="187"/>
                  <a:pt x="47" y="190"/>
                </a:cubicBezTo>
                <a:cubicBezTo>
                  <a:pt x="51" y="194"/>
                  <a:pt x="51" y="196"/>
                  <a:pt x="51" y="198"/>
                </a:cubicBezTo>
                <a:cubicBezTo>
                  <a:pt x="51" y="200"/>
                  <a:pt x="59" y="204"/>
                  <a:pt x="59" y="204"/>
                </a:cubicBezTo>
                <a:cubicBezTo>
                  <a:pt x="61" y="210"/>
                  <a:pt x="61" y="210"/>
                  <a:pt x="61" y="210"/>
                </a:cubicBezTo>
                <a:cubicBezTo>
                  <a:pt x="62" y="211"/>
                  <a:pt x="63" y="212"/>
                  <a:pt x="64" y="213"/>
                </a:cubicBezTo>
                <a:cubicBezTo>
                  <a:pt x="65" y="217"/>
                  <a:pt x="69" y="219"/>
                  <a:pt x="69" y="219"/>
                </a:cubicBezTo>
                <a:cubicBezTo>
                  <a:pt x="69" y="219"/>
                  <a:pt x="73" y="221"/>
                  <a:pt x="76" y="219"/>
                </a:cubicBezTo>
                <a:cubicBezTo>
                  <a:pt x="79" y="216"/>
                  <a:pt x="82" y="219"/>
                  <a:pt x="82" y="219"/>
                </a:cubicBezTo>
                <a:cubicBezTo>
                  <a:pt x="82" y="219"/>
                  <a:pt x="86" y="217"/>
                  <a:pt x="88" y="218"/>
                </a:cubicBezTo>
                <a:cubicBezTo>
                  <a:pt x="89" y="219"/>
                  <a:pt x="95" y="224"/>
                  <a:pt x="101" y="229"/>
                </a:cubicBezTo>
                <a:cubicBezTo>
                  <a:pt x="102" y="229"/>
                  <a:pt x="107" y="227"/>
                  <a:pt x="109" y="227"/>
                </a:cubicBezTo>
                <a:cubicBezTo>
                  <a:pt x="112" y="226"/>
                  <a:pt x="115" y="231"/>
                  <a:pt x="116" y="229"/>
                </a:cubicBezTo>
                <a:cubicBezTo>
                  <a:pt x="117" y="228"/>
                  <a:pt x="122" y="225"/>
                  <a:pt x="124" y="226"/>
                </a:cubicBezTo>
                <a:cubicBezTo>
                  <a:pt x="126" y="227"/>
                  <a:pt x="131" y="228"/>
                  <a:pt x="131" y="226"/>
                </a:cubicBezTo>
                <a:cubicBezTo>
                  <a:pt x="132" y="225"/>
                  <a:pt x="134" y="223"/>
                  <a:pt x="135" y="222"/>
                </a:cubicBezTo>
                <a:cubicBezTo>
                  <a:pt x="136" y="222"/>
                  <a:pt x="136" y="221"/>
                  <a:pt x="137" y="220"/>
                </a:cubicBezTo>
                <a:cubicBezTo>
                  <a:pt x="137" y="218"/>
                  <a:pt x="143" y="215"/>
                  <a:pt x="146" y="214"/>
                </a:cubicBezTo>
                <a:cubicBezTo>
                  <a:pt x="148" y="214"/>
                  <a:pt x="151" y="214"/>
                  <a:pt x="152" y="215"/>
                </a:cubicBezTo>
                <a:cubicBezTo>
                  <a:pt x="153" y="216"/>
                  <a:pt x="154" y="216"/>
                  <a:pt x="155" y="217"/>
                </a:cubicBezTo>
                <a:cubicBezTo>
                  <a:pt x="156" y="210"/>
                  <a:pt x="157" y="207"/>
                  <a:pt x="155" y="207"/>
                </a:cubicBezTo>
                <a:cubicBezTo>
                  <a:pt x="153" y="207"/>
                  <a:pt x="147" y="204"/>
                  <a:pt x="145" y="198"/>
                </a:cubicBezTo>
                <a:cubicBezTo>
                  <a:pt x="143" y="193"/>
                  <a:pt x="137" y="189"/>
                  <a:pt x="135" y="186"/>
                </a:cubicBezTo>
                <a:cubicBezTo>
                  <a:pt x="134" y="182"/>
                  <a:pt x="126" y="183"/>
                  <a:pt x="125" y="180"/>
                </a:cubicBezTo>
                <a:cubicBezTo>
                  <a:pt x="123" y="178"/>
                  <a:pt x="127" y="178"/>
                  <a:pt x="127" y="174"/>
                </a:cubicBezTo>
                <a:cubicBezTo>
                  <a:pt x="127" y="171"/>
                  <a:pt x="135" y="173"/>
                  <a:pt x="136" y="172"/>
                </a:cubicBezTo>
                <a:cubicBezTo>
                  <a:pt x="137" y="171"/>
                  <a:pt x="137" y="164"/>
                  <a:pt x="137" y="159"/>
                </a:cubicBezTo>
                <a:cubicBezTo>
                  <a:pt x="137" y="155"/>
                  <a:pt x="143" y="151"/>
                  <a:pt x="141" y="149"/>
                </a:cubicBezTo>
                <a:cubicBezTo>
                  <a:pt x="139" y="147"/>
                  <a:pt x="143" y="146"/>
                  <a:pt x="146" y="144"/>
                </a:cubicBezTo>
                <a:cubicBezTo>
                  <a:pt x="148" y="142"/>
                  <a:pt x="146" y="136"/>
                  <a:pt x="149" y="133"/>
                </a:cubicBezTo>
                <a:cubicBezTo>
                  <a:pt x="152" y="130"/>
                  <a:pt x="154" y="125"/>
                  <a:pt x="156" y="125"/>
                </a:cubicBezTo>
                <a:cubicBezTo>
                  <a:pt x="158" y="125"/>
                  <a:pt x="161" y="122"/>
                  <a:pt x="161" y="119"/>
                </a:cubicBezTo>
                <a:cubicBezTo>
                  <a:pt x="161" y="116"/>
                  <a:pt x="166" y="111"/>
                  <a:pt x="165" y="106"/>
                </a:cubicBezTo>
                <a:cubicBezTo>
                  <a:pt x="164" y="101"/>
                  <a:pt x="162" y="95"/>
                  <a:pt x="166" y="90"/>
                </a:cubicBezTo>
                <a:cubicBezTo>
                  <a:pt x="169" y="86"/>
                  <a:pt x="171" y="83"/>
                  <a:pt x="170" y="79"/>
                </a:cubicBezTo>
                <a:cubicBezTo>
                  <a:pt x="169" y="76"/>
                  <a:pt x="174" y="75"/>
                  <a:pt x="176" y="73"/>
                </a:cubicBezTo>
                <a:cubicBezTo>
                  <a:pt x="178" y="72"/>
                  <a:pt x="183" y="69"/>
                  <a:pt x="187" y="63"/>
                </a:cubicBezTo>
                <a:cubicBezTo>
                  <a:pt x="184" y="60"/>
                  <a:pt x="182" y="57"/>
                  <a:pt x="180" y="57"/>
                </a:cubicBezTo>
                <a:cubicBezTo>
                  <a:pt x="176" y="55"/>
                  <a:pt x="173" y="48"/>
                  <a:pt x="173" y="39"/>
                </a:cubicBezTo>
                <a:cubicBezTo>
                  <a:pt x="173" y="30"/>
                  <a:pt x="171" y="23"/>
                  <a:pt x="171" y="20"/>
                </a:cubicBezTo>
                <a:cubicBezTo>
                  <a:pt x="171" y="17"/>
                  <a:pt x="166" y="11"/>
                  <a:pt x="161" y="9"/>
                </a:cubicBezTo>
                <a:cubicBezTo>
                  <a:pt x="157" y="7"/>
                  <a:pt x="155" y="4"/>
                  <a:pt x="155" y="0"/>
                </a:cubicBezTo>
                <a:cubicBezTo>
                  <a:pt x="155" y="0"/>
                  <a:pt x="154" y="0"/>
                  <a:pt x="154" y="1"/>
                </a:cubicBezTo>
                <a:cubicBezTo>
                  <a:pt x="151" y="5"/>
                  <a:pt x="152" y="5"/>
                  <a:pt x="148" y="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5" name="Freeform 42"/>
          <p:cNvSpPr/>
          <p:nvPr/>
        </p:nvSpPr>
        <p:spPr bwMode="auto">
          <a:xfrm>
            <a:off x="6952094" y="4174264"/>
            <a:ext cx="48211" cy="49279"/>
          </a:xfrm>
          <a:custGeom>
            <a:cxnLst>
              <a:cxn ang="0">
                <a:pos x="8" y="3"/>
              </a:cxn>
              <a:cxn ang="0">
                <a:pos x="3" y="10"/>
              </a:cxn>
              <a:cxn ang="0">
                <a:pos x="2" y="20"/>
              </a:cxn>
              <a:cxn ang="0">
                <a:pos x="9" y="19"/>
              </a:cxn>
              <a:cxn ang="0">
                <a:pos x="14" y="21"/>
              </a:cxn>
              <a:cxn ang="0">
                <a:pos x="19" y="16"/>
              </a:cxn>
              <a:cxn ang="0">
                <a:pos x="13" y="13"/>
              </a:cxn>
              <a:cxn ang="0">
                <a:pos x="19" y="8"/>
              </a:cxn>
              <a:cxn ang="0">
                <a:pos x="18" y="1"/>
              </a:cxn>
              <a:cxn ang="0">
                <a:pos x="17" y="0"/>
              </a:cxn>
              <a:cxn ang="0">
                <a:pos x="14" y="2"/>
              </a:cxn>
              <a:cxn ang="0">
                <a:pos x="8" y="3"/>
              </a:cxn>
            </a:cxnLst>
            <a:rect b="b" l="0" r="r" t="0"/>
            <a:pathLst>
              <a:path h="21" w="22">
                <a:moveTo>
                  <a:pt x="8" y="3"/>
                </a:moveTo>
                <a:cubicBezTo>
                  <a:pt x="8" y="4"/>
                  <a:pt x="5" y="8"/>
                  <a:pt x="3" y="10"/>
                </a:cubicBezTo>
                <a:cubicBezTo>
                  <a:pt x="0" y="13"/>
                  <a:pt x="2" y="18"/>
                  <a:pt x="2" y="20"/>
                </a:cubicBezTo>
                <a:cubicBezTo>
                  <a:pt x="3" y="21"/>
                  <a:pt x="7" y="21"/>
                  <a:pt x="9" y="19"/>
                </a:cubicBezTo>
                <a:cubicBezTo>
                  <a:pt x="10" y="18"/>
                  <a:pt x="12" y="19"/>
                  <a:pt x="14" y="21"/>
                </a:cubicBezTo>
                <a:cubicBezTo>
                  <a:pt x="15" y="19"/>
                  <a:pt x="17" y="17"/>
                  <a:pt x="19" y="16"/>
                </a:cubicBezTo>
                <a:cubicBezTo>
                  <a:pt x="16" y="14"/>
                  <a:pt x="13" y="14"/>
                  <a:pt x="13" y="13"/>
                </a:cubicBezTo>
                <a:cubicBezTo>
                  <a:pt x="12" y="12"/>
                  <a:pt x="16" y="9"/>
                  <a:pt x="19" y="8"/>
                </a:cubicBezTo>
                <a:cubicBezTo>
                  <a:pt x="22" y="7"/>
                  <a:pt x="21" y="4"/>
                  <a:pt x="18" y="1"/>
                </a:cubicBezTo>
                <a:cubicBezTo>
                  <a:pt x="18" y="1"/>
                  <a:pt x="17" y="0"/>
                  <a:pt x="17" y="0"/>
                </a:cubicBezTo>
                <a:cubicBezTo>
                  <a:pt x="15" y="1"/>
                  <a:pt x="14" y="2"/>
                  <a:pt x="14" y="2"/>
                </a:cubicBezTo>
                <a:cubicBezTo>
                  <a:pt x="13" y="3"/>
                  <a:pt x="11" y="3"/>
                  <a:pt x="8" y="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6" name="Freeform 43"/>
          <p:cNvSpPr/>
          <p:nvPr/>
        </p:nvSpPr>
        <p:spPr bwMode="auto">
          <a:xfrm>
            <a:off x="6818586" y="4034009"/>
            <a:ext cx="170594" cy="147837"/>
          </a:xfrm>
          <a:custGeom>
            <a:cxnLst>
              <a:cxn ang="0">
                <a:pos x="14" y="10"/>
              </a:cxn>
              <a:cxn ang="0">
                <a:pos x="8" y="16"/>
              </a:cxn>
              <a:cxn ang="0">
                <a:pos x="4" y="27"/>
              </a:cxn>
              <a:cxn ang="0">
                <a:pos x="3" y="43"/>
              </a:cxn>
              <a:cxn ang="0">
                <a:pos x="13" y="43"/>
              </a:cxn>
              <a:cxn ang="0">
                <a:pos x="16" y="40"/>
              </a:cxn>
              <a:cxn ang="0">
                <a:pos x="21" y="38"/>
              </a:cxn>
              <a:cxn ang="0">
                <a:pos x="28" y="41"/>
              </a:cxn>
              <a:cxn ang="0">
                <a:pos x="33" y="41"/>
              </a:cxn>
              <a:cxn ang="0">
                <a:pos x="45" y="41"/>
              </a:cxn>
              <a:cxn ang="0">
                <a:pos x="68" y="64"/>
              </a:cxn>
              <a:cxn ang="0">
                <a:pos x="68" y="65"/>
              </a:cxn>
              <a:cxn ang="0">
                <a:pos x="74" y="64"/>
              </a:cxn>
              <a:cxn ang="0">
                <a:pos x="77" y="62"/>
              </a:cxn>
              <a:cxn ang="0">
                <a:pos x="65" y="49"/>
              </a:cxn>
              <a:cxn ang="0">
                <a:pos x="47" y="36"/>
              </a:cxn>
              <a:cxn ang="0">
                <a:pos x="40" y="29"/>
              </a:cxn>
              <a:cxn ang="0">
                <a:pos x="31" y="13"/>
              </a:cxn>
              <a:cxn ang="0">
                <a:pos x="25" y="0"/>
              </a:cxn>
              <a:cxn ang="0">
                <a:pos x="14" y="10"/>
              </a:cxn>
            </a:cxnLst>
            <a:rect b="b" l="0" r="r" t="0"/>
            <a:pathLst>
              <a:path h="65" w="77">
                <a:moveTo>
                  <a:pt x="14" y="10"/>
                </a:moveTo>
                <a:cubicBezTo>
                  <a:pt x="12" y="12"/>
                  <a:pt x="7" y="13"/>
                  <a:pt x="8" y="16"/>
                </a:cubicBezTo>
                <a:cubicBezTo>
                  <a:pt x="9" y="20"/>
                  <a:pt x="7" y="23"/>
                  <a:pt x="4" y="27"/>
                </a:cubicBezTo>
                <a:cubicBezTo>
                  <a:pt x="0" y="32"/>
                  <a:pt x="2" y="38"/>
                  <a:pt x="3" y="43"/>
                </a:cubicBezTo>
                <a:cubicBezTo>
                  <a:pt x="7" y="42"/>
                  <a:pt x="12" y="42"/>
                  <a:pt x="13" y="43"/>
                </a:cubicBezTo>
                <a:cubicBezTo>
                  <a:pt x="14" y="45"/>
                  <a:pt x="15" y="43"/>
                  <a:pt x="16" y="40"/>
                </a:cubicBezTo>
                <a:cubicBezTo>
                  <a:pt x="17" y="36"/>
                  <a:pt x="19" y="36"/>
                  <a:pt x="21" y="38"/>
                </a:cubicBezTo>
                <a:cubicBezTo>
                  <a:pt x="23" y="40"/>
                  <a:pt x="25" y="43"/>
                  <a:pt x="28" y="41"/>
                </a:cubicBezTo>
                <a:cubicBezTo>
                  <a:pt x="32" y="39"/>
                  <a:pt x="32" y="40"/>
                  <a:pt x="33" y="41"/>
                </a:cubicBezTo>
                <a:cubicBezTo>
                  <a:pt x="35" y="42"/>
                  <a:pt x="42" y="41"/>
                  <a:pt x="45" y="41"/>
                </a:cubicBezTo>
                <a:cubicBezTo>
                  <a:pt x="47" y="41"/>
                  <a:pt x="68" y="64"/>
                  <a:pt x="68" y="64"/>
                </a:cubicBezTo>
                <a:cubicBezTo>
                  <a:pt x="68" y="64"/>
                  <a:pt x="68" y="64"/>
                  <a:pt x="68" y="65"/>
                </a:cubicBezTo>
                <a:cubicBezTo>
                  <a:pt x="71" y="65"/>
                  <a:pt x="73" y="65"/>
                  <a:pt x="74" y="64"/>
                </a:cubicBezTo>
                <a:cubicBezTo>
                  <a:pt x="74" y="64"/>
                  <a:pt x="75" y="63"/>
                  <a:pt x="77" y="62"/>
                </a:cubicBezTo>
                <a:cubicBezTo>
                  <a:pt x="74" y="59"/>
                  <a:pt x="70" y="55"/>
                  <a:pt x="65" y="49"/>
                </a:cubicBezTo>
                <a:cubicBezTo>
                  <a:pt x="58" y="41"/>
                  <a:pt x="51" y="36"/>
                  <a:pt x="47" y="36"/>
                </a:cubicBezTo>
                <a:cubicBezTo>
                  <a:pt x="43" y="36"/>
                  <a:pt x="42" y="29"/>
                  <a:pt x="40" y="29"/>
                </a:cubicBezTo>
                <a:cubicBezTo>
                  <a:pt x="37" y="29"/>
                  <a:pt x="32" y="19"/>
                  <a:pt x="31" y="13"/>
                </a:cubicBezTo>
                <a:cubicBezTo>
                  <a:pt x="31" y="9"/>
                  <a:pt x="28" y="4"/>
                  <a:pt x="25" y="0"/>
                </a:cubicBezTo>
                <a:cubicBezTo>
                  <a:pt x="21" y="6"/>
                  <a:pt x="16" y="9"/>
                  <a:pt x="14" y="1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7" name="Freeform 44"/>
          <p:cNvSpPr/>
          <p:nvPr/>
        </p:nvSpPr>
        <p:spPr bwMode="auto">
          <a:xfrm>
            <a:off x="6731435" y="4115509"/>
            <a:ext cx="378274" cy="301361"/>
          </a:xfrm>
          <a:custGeom>
            <a:cxnLst>
              <a:cxn ang="0">
                <a:pos x="12" y="87"/>
              </a:cxn>
              <a:cxn ang="0">
                <a:pos x="22" y="99"/>
              </a:cxn>
              <a:cxn ang="0">
                <a:pos x="32" y="108"/>
              </a:cxn>
              <a:cxn ang="0">
                <a:pos x="32" y="118"/>
              </a:cxn>
              <a:cxn ang="0">
                <a:pos x="36" y="119"/>
              </a:cxn>
              <a:cxn ang="0">
                <a:pos x="47" y="122"/>
              </a:cxn>
              <a:cxn ang="0">
                <a:pos x="60" y="129"/>
              </a:cxn>
              <a:cxn ang="0">
                <a:pos x="73" y="131"/>
              </a:cxn>
              <a:cxn ang="0">
                <a:pos x="81" y="125"/>
              </a:cxn>
              <a:cxn ang="0">
                <a:pos x="91" y="123"/>
              </a:cxn>
              <a:cxn ang="0">
                <a:pos x="96" y="126"/>
              </a:cxn>
              <a:cxn ang="0">
                <a:pos x="102" y="124"/>
              </a:cxn>
              <a:cxn ang="0">
                <a:pos x="111" y="123"/>
              </a:cxn>
              <a:cxn ang="0">
                <a:pos x="126" y="115"/>
              </a:cxn>
              <a:cxn ang="0">
                <a:pos x="138" y="113"/>
              </a:cxn>
              <a:cxn ang="0">
                <a:pos x="168" y="83"/>
              </a:cxn>
              <a:cxn ang="0">
                <a:pos x="164" y="80"/>
              </a:cxn>
              <a:cxn ang="0">
                <a:pos x="149" y="77"/>
              </a:cxn>
              <a:cxn ang="0">
                <a:pos x="126" y="69"/>
              </a:cxn>
              <a:cxn ang="0">
                <a:pos x="118" y="62"/>
              </a:cxn>
              <a:cxn ang="0">
                <a:pos x="111" y="52"/>
              </a:cxn>
              <a:cxn ang="0">
                <a:pos x="113" y="47"/>
              </a:cxn>
              <a:cxn ang="0">
                <a:pos x="108" y="45"/>
              </a:cxn>
              <a:cxn ang="0">
                <a:pos x="101" y="46"/>
              </a:cxn>
              <a:cxn ang="0">
                <a:pos x="102" y="36"/>
              </a:cxn>
              <a:cxn ang="0">
                <a:pos x="107" y="28"/>
              </a:cxn>
              <a:cxn ang="0">
                <a:pos x="84" y="5"/>
              </a:cxn>
              <a:cxn ang="0">
                <a:pos x="72" y="5"/>
              </a:cxn>
              <a:cxn ang="0">
                <a:pos x="67" y="5"/>
              </a:cxn>
              <a:cxn ang="0">
                <a:pos x="60" y="2"/>
              </a:cxn>
              <a:cxn ang="0">
                <a:pos x="55" y="4"/>
              </a:cxn>
              <a:cxn ang="0">
                <a:pos x="52" y="7"/>
              </a:cxn>
              <a:cxn ang="0">
                <a:pos x="42" y="7"/>
              </a:cxn>
              <a:cxn ang="0">
                <a:pos x="42" y="7"/>
              </a:cxn>
              <a:cxn ang="0">
                <a:pos x="38" y="20"/>
              </a:cxn>
              <a:cxn ang="0">
                <a:pos x="33" y="26"/>
              </a:cxn>
              <a:cxn ang="0">
                <a:pos x="26" y="34"/>
              </a:cxn>
              <a:cxn ang="0">
                <a:pos x="23" y="45"/>
              </a:cxn>
              <a:cxn ang="0">
                <a:pos x="18" y="50"/>
              </a:cxn>
              <a:cxn ang="0">
                <a:pos x="14" y="60"/>
              </a:cxn>
              <a:cxn ang="0">
                <a:pos x="13" y="73"/>
              </a:cxn>
              <a:cxn ang="0">
                <a:pos x="4" y="75"/>
              </a:cxn>
              <a:cxn ang="0">
                <a:pos x="2" y="81"/>
              </a:cxn>
              <a:cxn ang="0">
                <a:pos x="12" y="87"/>
              </a:cxn>
            </a:cxnLst>
            <a:rect b="b" l="0" r="r" t="0"/>
            <a:pathLst>
              <a:path h="132" w="170">
                <a:moveTo>
                  <a:pt x="12" y="87"/>
                </a:moveTo>
                <a:cubicBezTo>
                  <a:pt x="14" y="90"/>
                  <a:pt x="20" y="94"/>
                  <a:pt x="22" y="99"/>
                </a:cubicBezTo>
                <a:cubicBezTo>
                  <a:pt x="24" y="105"/>
                  <a:pt x="30" y="108"/>
                  <a:pt x="32" y="108"/>
                </a:cubicBezTo>
                <a:cubicBezTo>
                  <a:pt x="34" y="108"/>
                  <a:pt x="33" y="111"/>
                  <a:pt x="32" y="118"/>
                </a:cubicBezTo>
                <a:cubicBezTo>
                  <a:pt x="33" y="118"/>
                  <a:pt x="35" y="119"/>
                  <a:pt x="36" y="119"/>
                </a:cubicBezTo>
                <a:cubicBezTo>
                  <a:pt x="38" y="120"/>
                  <a:pt x="45" y="119"/>
                  <a:pt x="47" y="122"/>
                </a:cubicBezTo>
                <a:cubicBezTo>
                  <a:pt x="50" y="124"/>
                  <a:pt x="58" y="129"/>
                  <a:pt x="60" y="129"/>
                </a:cubicBezTo>
                <a:cubicBezTo>
                  <a:pt x="63" y="129"/>
                  <a:pt x="72" y="130"/>
                  <a:pt x="73" y="131"/>
                </a:cubicBezTo>
                <a:cubicBezTo>
                  <a:pt x="75" y="132"/>
                  <a:pt x="77" y="128"/>
                  <a:pt x="81" y="125"/>
                </a:cubicBezTo>
                <a:cubicBezTo>
                  <a:pt x="85" y="123"/>
                  <a:pt x="90" y="122"/>
                  <a:pt x="91" y="123"/>
                </a:cubicBezTo>
                <a:cubicBezTo>
                  <a:pt x="91" y="125"/>
                  <a:pt x="94" y="127"/>
                  <a:pt x="96" y="126"/>
                </a:cubicBezTo>
                <a:cubicBezTo>
                  <a:pt x="97" y="125"/>
                  <a:pt x="99" y="125"/>
                  <a:pt x="102" y="124"/>
                </a:cubicBezTo>
                <a:cubicBezTo>
                  <a:pt x="105" y="123"/>
                  <a:pt x="110" y="122"/>
                  <a:pt x="111" y="123"/>
                </a:cubicBezTo>
                <a:cubicBezTo>
                  <a:pt x="113" y="123"/>
                  <a:pt x="118" y="115"/>
                  <a:pt x="126" y="115"/>
                </a:cubicBezTo>
                <a:cubicBezTo>
                  <a:pt x="133" y="115"/>
                  <a:pt x="135" y="116"/>
                  <a:pt x="138" y="113"/>
                </a:cubicBezTo>
                <a:cubicBezTo>
                  <a:pt x="141" y="109"/>
                  <a:pt x="166" y="84"/>
                  <a:pt x="168" y="83"/>
                </a:cubicBezTo>
                <a:cubicBezTo>
                  <a:pt x="170" y="81"/>
                  <a:pt x="167" y="80"/>
                  <a:pt x="164" y="80"/>
                </a:cubicBezTo>
                <a:cubicBezTo>
                  <a:pt x="162" y="80"/>
                  <a:pt x="157" y="80"/>
                  <a:pt x="149" y="77"/>
                </a:cubicBezTo>
                <a:cubicBezTo>
                  <a:pt x="141" y="73"/>
                  <a:pt x="128" y="69"/>
                  <a:pt x="126" y="69"/>
                </a:cubicBezTo>
                <a:cubicBezTo>
                  <a:pt x="124" y="68"/>
                  <a:pt x="120" y="63"/>
                  <a:pt x="118" y="62"/>
                </a:cubicBezTo>
                <a:cubicBezTo>
                  <a:pt x="116" y="61"/>
                  <a:pt x="112" y="54"/>
                  <a:pt x="111" y="52"/>
                </a:cubicBezTo>
                <a:cubicBezTo>
                  <a:pt x="111" y="51"/>
                  <a:pt x="112" y="49"/>
                  <a:pt x="113" y="47"/>
                </a:cubicBezTo>
                <a:cubicBezTo>
                  <a:pt x="111" y="45"/>
                  <a:pt x="109" y="44"/>
                  <a:pt x="108" y="45"/>
                </a:cubicBezTo>
                <a:cubicBezTo>
                  <a:pt x="106" y="47"/>
                  <a:pt x="102" y="47"/>
                  <a:pt x="101" y="46"/>
                </a:cubicBezTo>
                <a:cubicBezTo>
                  <a:pt x="101" y="44"/>
                  <a:pt x="99" y="39"/>
                  <a:pt x="102" y="36"/>
                </a:cubicBezTo>
                <a:cubicBezTo>
                  <a:pt x="104" y="34"/>
                  <a:pt x="107" y="28"/>
                  <a:pt x="107" y="28"/>
                </a:cubicBezTo>
                <a:cubicBezTo>
                  <a:pt x="107" y="28"/>
                  <a:pt x="86" y="5"/>
                  <a:pt x="84" y="5"/>
                </a:cubicBezTo>
                <a:cubicBezTo>
                  <a:pt x="81" y="5"/>
                  <a:pt x="74" y="6"/>
                  <a:pt x="72" y="5"/>
                </a:cubicBezTo>
                <a:cubicBezTo>
                  <a:pt x="71" y="4"/>
                  <a:pt x="71" y="3"/>
                  <a:pt x="67" y="5"/>
                </a:cubicBezTo>
                <a:cubicBezTo>
                  <a:pt x="64" y="7"/>
                  <a:pt x="62" y="4"/>
                  <a:pt x="60" y="2"/>
                </a:cubicBezTo>
                <a:cubicBezTo>
                  <a:pt x="58" y="0"/>
                  <a:pt x="56" y="0"/>
                  <a:pt x="55" y="4"/>
                </a:cubicBezTo>
                <a:cubicBezTo>
                  <a:pt x="54" y="7"/>
                  <a:pt x="53" y="9"/>
                  <a:pt x="52" y="7"/>
                </a:cubicBezTo>
                <a:cubicBezTo>
                  <a:pt x="51" y="6"/>
                  <a:pt x="46" y="6"/>
                  <a:pt x="42" y="7"/>
                </a:cubicBezTo>
                <a:cubicBezTo>
                  <a:pt x="42" y="7"/>
                  <a:pt x="42" y="7"/>
                  <a:pt x="42" y="7"/>
                </a:cubicBezTo>
                <a:cubicBezTo>
                  <a:pt x="43" y="12"/>
                  <a:pt x="38" y="17"/>
                  <a:pt x="38" y="20"/>
                </a:cubicBezTo>
                <a:cubicBezTo>
                  <a:pt x="38" y="23"/>
                  <a:pt x="35" y="26"/>
                  <a:pt x="33" y="26"/>
                </a:cubicBezTo>
                <a:cubicBezTo>
                  <a:pt x="31" y="26"/>
                  <a:pt x="29" y="31"/>
                  <a:pt x="26" y="34"/>
                </a:cubicBezTo>
                <a:cubicBezTo>
                  <a:pt x="23" y="37"/>
                  <a:pt x="25" y="43"/>
                  <a:pt x="23" y="45"/>
                </a:cubicBezTo>
                <a:cubicBezTo>
                  <a:pt x="20" y="47"/>
                  <a:pt x="16" y="48"/>
                  <a:pt x="18" y="50"/>
                </a:cubicBezTo>
                <a:cubicBezTo>
                  <a:pt x="20" y="52"/>
                  <a:pt x="14" y="56"/>
                  <a:pt x="14" y="60"/>
                </a:cubicBezTo>
                <a:cubicBezTo>
                  <a:pt x="14" y="65"/>
                  <a:pt x="14" y="72"/>
                  <a:pt x="13" y="73"/>
                </a:cubicBezTo>
                <a:cubicBezTo>
                  <a:pt x="12" y="74"/>
                  <a:pt x="4" y="72"/>
                  <a:pt x="4" y="75"/>
                </a:cubicBezTo>
                <a:cubicBezTo>
                  <a:pt x="4" y="79"/>
                  <a:pt x="0" y="79"/>
                  <a:pt x="2" y="81"/>
                </a:cubicBezTo>
                <a:cubicBezTo>
                  <a:pt x="3" y="84"/>
                  <a:pt x="11" y="83"/>
                  <a:pt x="12" y="8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8" name="Freeform 45"/>
          <p:cNvSpPr/>
          <p:nvPr/>
        </p:nvSpPr>
        <p:spPr bwMode="auto">
          <a:xfrm>
            <a:off x="6790772" y="3565859"/>
            <a:ext cx="38941" cy="47384"/>
          </a:xfrm>
          <a:custGeom>
            <a:cxnLst>
              <a:cxn ang="0">
                <a:pos x="14" y="9"/>
              </a:cxn>
              <a:cxn ang="0">
                <a:pos x="8" y="0"/>
              </a:cxn>
              <a:cxn ang="0">
                <a:pos x="8" y="2"/>
              </a:cxn>
              <a:cxn ang="0">
                <a:pos x="0" y="18"/>
              </a:cxn>
              <a:cxn ang="0">
                <a:pos x="5" y="21"/>
              </a:cxn>
              <a:cxn ang="0">
                <a:pos x="14" y="9"/>
              </a:cxn>
            </a:cxnLst>
            <a:rect b="b" l="0" r="r" t="0"/>
            <a:pathLst>
              <a:path h="21" w="17">
                <a:moveTo>
                  <a:pt x="14" y="9"/>
                </a:moveTo>
                <a:cubicBezTo>
                  <a:pt x="16" y="7"/>
                  <a:pt x="17" y="0"/>
                  <a:pt x="8" y="0"/>
                </a:cubicBezTo>
                <a:cubicBezTo>
                  <a:pt x="8" y="1"/>
                  <a:pt x="8" y="1"/>
                  <a:pt x="8" y="2"/>
                </a:cubicBezTo>
                <a:cubicBezTo>
                  <a:pt x="8" y="5"/>
                  <a:pt x="3" y="12"/>
                  <a:pt x="0" y="18"/>
                </a:cubicBezTo>
                <a:cubicBezTo>
                  <a:pt x="5" y="21"/>
                  <a:pt x="5" y="21"/>
                  <a:pt x="5" y="21"/>
                </a:cubicBezTo>
                <a:cubicBezTo>
                  <a:pt x="8" y="16"/>
                  <a:pt x="12" y="10"/>
                  <a:pt x="14" y="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49" name="Freeform 46"/>
          <p:cNvSpPr/>
          <p:nvPr/>
        </p:nvSpPr>
        <p:spPr bwMode="auto">
          <a:xfrm>
            <a:off x="6801898" y="3491940"/>
            <a:ext cx="174303" cy="142152"/>
          </a:xfrm>
          <a:custGeom>
            <a:cxnLst>
              <a:cxn ang="0">
                <a:pos x="9" y="41"/>
              </a:cxn>
              <a:cxn ang="0">
                <a:pos x="0" y="53"/>
              </a:cxn>
              <a:cxn ang="0">
                <a:pos x="1" y="53"/>
              </a:cxn>
              <a:cxn ang="0">
                <a:pos x="2" y="57"/>
              </a:cxn>
              <a:cxn ang="0">
                <a:pos x="12" y="62"/>
              </a:cxn>
              <a:cxn ang="0">
                <a:pos x="23" y="56"/>
              </a:cxn>
              <a:cxn ang="0">
                <a:pos x="61" y="37"/>
              </a:cxn>
              <a:cxn ang="0">
                <a:pos x="64" y="30"/>
              </a:cxn>
              <a:cxn ang="0">
                <a:pos x="65" y="21"/>
              </a:cxn>
              <a:cxn ang="0">
                <a:pos x="64" y="12"/>
              </a:cxn>
              <a:cxn ang="0">
                <a:pos x="71" y="7"/>
              </a:cxn>
              <a:cxn ang="0">
                <a:pos x="78" y="2"/>
              </a:cxn>
              <a:cxn ang="0">
                <a:pos x="73" y="0"/>
              </a:cxn>
              <a:cxn ang="0">
                <a:pos x="61" y="2"/>
              </a:cxn>
              <a:cxn ang="0">
                <a:pos x="46" y="7"/>
              </a:cxn>
              <a:cxn ang="0">
                <a:pos x="33" y="6"/>
              </a:cxn>
              <a:cxn ang="0">
                <a:pos x="26" y="8"/>
              </a:cxn>
              <a:cxn ang="0">
                <a:pos x="16" y="8"/>
              </a:cxn>
              <a:cxn ang="0">
                <a:pos x="11" y="10"/>
              </a:cxn>
              <a:cxn ang="0">
                <a:pos x="4" y="18"/>
              </a:cxn>
              <a:cxn ang="0">
                <a:pos x="4" y="24"/>
              </a:cxn>
              <a:cxn ang="0">
                <a:pos x="3" y="32"/>
              </a:cxn>
              <a:cxn ang="0">
                <a:pos x="9" y="41"/>
              </a:cxn>
            </a:cxnLst>
            <a:rect b="b" l="0" r="r" t="0"/>
            <a:pathLst>
              <a:path h="62" w="78">
                <a:moveTo>
                  <a:pt x="9" y="41"/>
                </a:moveTo>
                <a:cubicBezTo>
                  <a:pt x="7" y="42"/>
                  <a:pt x="3" y="48"/>
                  <a:pt x="0" y="53"/>
                </a:cubicBezTo>
                <a:cubicBezTo>
                  <a:pt x="1" y="53"/>
                  <a:pt x="1" y="53"/>
                  <a:pt x="1" y="53"/>
                </a:cubicBezTo>
                <a:cubicBezTo>
                  <a:pt x="2" y="57"/>
                  <a:pt x="2" y="57"/>
                  <a:pt x="2" y="57"/>
                </a:cubicBezTo>
                <a:cubicBezTo>
                  <a:pt x="12" y="62"/>
                  <a:pt x="12" y="62"/>
                  <a:pt x="12" y="62"/>
                </a:cubicBezTo>
                <a:cubicBezTo>
                  <a:pt x="12" y="62"/>
                  <a:pt x="20" y="57"/>
                  <a:pt x="23" y="56"/>
                </a:cubicBezTo>
                <a:cubicBezTo>
                  <a:pt x="26" y="56"/>
                  <a:pt x="61" y="37"/>
                  <a:pt x="61" y="37"/>
                </a:cubicBezTo>
                <a:cubicBezTo>
                  <a:pt x="61" y="37"/>
                  <a:pt x="65" y="32"/>
                  <a:pt x="64" y="30"/>
                </a:cubicBezTo>
                <a:cubicBezTo>
                  <a:pt x="64" y="28"/>
                  <a:pt x="63" y="24"/>
                  <a:pt x="65" y="21"/>
                </a:cubicBezTo>
                <a:cubicBezTo>
                  <a:pt x="67" y="19"/>
                  <a:pt x="63" y="16"/>
                  <a:pt x="64" y="12"/>
                </a:cubicBezTo>
                <a:cubicBezTo>
                  <a:pt x="65" y="8"/>
                  <a:pt x="71" y="7"/>
                  <a:pt x="71" y="7"/>
                </a:cubicBezTo>
                <a:cubicBezTo>
                  <a:pt x="78" y="2"/>
                  <a:pt x="78" y="2"/>
                  <a:pt x="78" y="2"/>
                </a:cubicBezTo>
                <a:cubicBezTo>
                  <a:pt x="73" y="0"/>
                  <a:pt x="73" y="0"/>
                  <a:pt x="73" y="0"/>
                </a:cubicBezTo>
                <a:cubicBezTo>
                  <a:pt x="73" y="0"/>
                  <a:pt x="68" y="3"/>
                  <a:pt x="61" y="2"/>
                </a:cubicBezTo>
                <a:cubicBezTo>
                  <a:pt x="54" y="2"/>
                  <a:pt x="53" y="7"/>
                  <a:pt x="46" y="7"/>
                </a:cubicBezTo>
                <a:cubicBezTo>
                  <a:pt x="39" y="7"/>
                  <a:pt x="35" y="8"/>
                  <a:pt x="33" y="6"/>
                </a:cubicBezTo>
                <a:cubicBezTo>
                  <a:pt x="31" y="4"/>
                  <a:pt x="31" y="5"/>
                  <a:pt x="26" y="8"/>
                </a:cubicBezTo>
                <a:cubicBezTo>
                  <a:pt x="21" y="10"/>
                  <a:pt x="18" y="9"/>
                  <a:pt x="16" y="8"/>
                </a:cubicBezTo>
                <a:cubicBezTo>
                  <a:pt x="13" y="6"/>
                  <a:pt x="12" y="8"/>
                  <a:pt x="11" y="10"/>
                </a:cubicBezTo>
                <a:cubicBezTo>
                  <a:pt x="11" y="12"/>
                  <a:pt x="11" y="17"/>
                  <a:pt x="4" y="18"/>
                </a:cubicBezTo>
                <a:cubicBezTo>
                  <a:pt x="4" y="20"/>
                  <a:pt x="3" y="22"/>
                  <a:pt x="4" y="24"/>
                </a:cubicBezTo>
                <a:cubicBezTo>
                  <a:pt x="6" y="26"/>
                  <a:pt x="4" y="28"/>
                  <a:pt x="3" y="32"/>
                </a:cubicBezTo>
                <a:cubicBezTo>
                  <a:pt x="12" y="32"/>
                  <a:pt x="11" y="39"/>
                  <a:pt x="9" y="4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0" name="Freeform 47"/>
          <p:cNvSpPr/>
          <p:nvPr/>
        </p:nvSpPr>
        <p:spPr bwMode="auto">
          <a:xfrm>
            <a:off x="9069685" y="3463510"/>
            <a:ext cx="94569" cy="121302"/>
          </a:xfrm>
          <a:custGeom>
            <a:cxnLst>
              <a:cxn ang="0">
                <a:pos x="10" y="4"/>
              </a:cxn>
              <a:cxn ang="0">
                <a:pos x="4" y="9"/>
              </a:cxn>
              <a:cxn ang="0">
                <a:pos x="7" y="15"/>
              </a:cxn>
              <a:cxn ang="0">
                <a:pos x="7" y="20"/>
              </a:cxn>
              <a:cxn ang="0">
                <a:pos x="6" y="30"/>
              </a:cxn>
              <a:cxn ang="0">
                <a:pos x="3" y="44"/>
              </a:cxn>
              <a:cxn ang="0">
                <a:pos x="4" y="51"/>
              </a:cxn>
              <a:cxn ang="0">
                <a:pos x="26" y="44"/>
              </a:cxn>
              <a:cxn ang="0">
                <a:pos x="37" y="40"/>
              </a:cxn>
              <a:cxn ang="0">
                <a:pos x="41" y="35"/>
              </a:cxn>
              <a:cxn ang="0">
                <a:pos x="38" y="19"/>
              </a:cxn>
              <a:cxn ang="0">
                <a:pos x="27" y="0"/>
              </a:cxn>
              <a:cxn ang="0">
                <a:pos x="21" y="2"/>
              </a:cxn>
              <a:cxn ang="0">
                <a:pos x="10" y="4"/>
              </a:cxn>
            </a:cxnLst>
            <a:rect b="b" l="0" r="r" t="0"/>
            <a:pathLst>
              <a:path h="52" w="43">
                <a:moveTo>
                  <a:pt x="10" y="4"/>
                </a:moveTo>
                <a:cubicBezTo>
                  <a:pt x="9" y="5"/>
                  <a:pt x="6" y="7"/>
                  <a:pt x="4" y="9"/>
                </a:cubicBezTo>
                <a:cubicBezTo>
                  <a:pt x="5" y="11"/>
                  <a:pt x="5" y="15"/>
                  <a:pt x="7" y="15"/>
                </a:cubicBezTo>
                <a:cubicBezTo>
                  <a:pt x="11" y="15"/>
                  <a:pt x="11" y="21"/>
                  <a:pt x="7" y="20"/>
                </a:cubicBezTo>
                <a:cubicBezTo>
                  <a:pt x="3" y="19"/>
                  <a:pt x="3" y="25"/>
                  <a:pt x="6" y="30"/>
                </a:cubicBezTo>
                <a:cubicBezTo>
                  <a:pt x="10" y="35"/>
                  <a:pt x="0" y="41"/>
                  <a:pt x="3" y="44"/>
                </a:cubicBezTo>
                <a:cubicBezTo>
                  <a:pt x="5" y="47"/>
                  <a:pt x="3" y="50"/>
                  <a:pt x="4" y="51"/>
                </a:cubicBezTo>
                <a:cubicBezTo>
                  <a:pt x="5" y="53"/>
                  <a:pt x="20" y="51"/>
                  <a:pt x="26" y="44"/>
                </a:cubicBezTo>
                <a:cubicBezTo>
                  <a:pt x="32" y="38"/>
                  <a:pt x="34" y="39"/>
                  <a:pt x="37" y="40"/>
                </a:cubicBezTo>
                <a:cubicBezTo>
                  <a:pt x="40" y="41"/>
                  <a:pt x="43" y="37"/>
                  <a:pt x="41" y="35"/>
                </a:cubicBezTo>
                <a:cubicBezTo>
                  <a:pt x="40" y="32"/>
                  <a:pt x="38" y="26"/>
                  <a:pt x="38" y="19"/>
                </a:cubicBezTo>
                <a:cubicBezTo>
                  <a:pt x="39" y="14"/>
                  <a:pt x="33" y="6"/>
                  <a:pt x="27" y="0"/>
                </a:cubicBezTo>
                <a:cubicBezTo>
                  <a:pt x="25" y="1"/>
                  <a:pt x="23" y="2"/>
                  <a:pt x="21" y="2"/>
                </a:cubicBezTo>
                <a:cubicBezTo>
                  <a:pt x="17" y="2"/>
                  <a:pt x="12" y="2"/>
                  <a:pt x="10" y="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1" name="Freeform 48"/>
          <p:cNvSpPr/>
          <p:nvPr/>
        </p:nvSpPr>
        <p:spPr bwMode="auto">
          <a:xfrm>
            <a:off x="8122147" y="3804672"/>
            <a:ext cx="111257" cy="153524"/>
          </a:xfrm>
          <a:custGeom>
            <a:cxnLst>
              <a:cxn ang="0">
                <a:pos x="50" y="56"/>
              </a:cxn>
              <a:cxn ang="0">
                <a:pos x="46" y="34"/>
              </a:cxn>
              <a:cxn ang="0">
                <a:pos x="37" y="43"/>
              </a:cxn>
              <a:cxn ang="0">
                <a:pos x="38" y="31"/>
              </a:cxn>
              <a:cxn ang="0">
                <a:pos x="47" y="19"/>
              </a:cxn>
              <a:cxn ang="0">
                <a:pos x="39" y="17"/>
              </a:cxn>
              <a:cxn ang="0">
                <a:pos x="26" y="17"/>
              </a:cxn>
              <a:cxn ang="0">
                <a:pos x="21" y="12"/>
              </a:cxn>
              <a:cxn ang="0">
                <a:pos x="13" y="6"/>
              </a:cxn>
              <a:cxn ang="0">
                <a:pos x="4" y="6"/>
              </a:cxn>
              <a:cxn ang="0">
                <a:pos x="11" y="15"/>
              </a:cxn>
              <a:cxn ang="0">
                <a:pos x="5" y="20"/>
              </a:cxn>
              <a:cxn ang="0">
                <a:pos x="8" y="37"/>
              </a:cxn>
              <a:cxn ang="0">
                <a:pos x="12" y="57"/>
              </a:cxn>
              <a:cxn ang="0">
                <a:pos x="19" y="55"/>
              </a:cxn>
              <a:cxn ang="0">
                <a:pos x="28" y="51"/>
              </a:cxn>
              <a:cxn ang="0">
                <a:pos x="35" y="46"/>
              </a:cxn>
              <a:cxn ang="0">
                <a:pos x="41" y="61"/>
              </a:cxn>
              <a:cxn ang="0">
                <a:pos x="43" y="67"/>
              </a:cxn>
              <a:cxn ang="0">
                <a:pos x="47" y="63"/>
              </a:cxn>
              <a:cxn ang="0">
                <a:pos x="50" y="56"/>
              </a:cxn>
            </a:cxnLst>
            <a:rect b="b" l="0" r="r" t="0"/>
            <a:pathLst>
              <a:path h="67" w="50">
                <a:moveTo>
                  <a:pt x="50" y="56"/>
                </a:moveTo>
                <a:cubicBezTo>
                  <a:pt x="48" y="45"/>
                  <a:pt x="47" y="34"/>
                  <a:pt x="46" y="34"/>
                </a:cubicBezTo>
                <a:cubicBezTo>
                  <a:pt x="43" y="34"/>
                  <a:pt x="41" y="44"/>
                  <a:pt x="37" y="43"/>
                </a:cubicBezTo>
                <a:cubicBezTo>
                  <a:pt x="34" y="42"/>
                  <a:pt x="34" y="31"/>
                  <a:pt x="38" y="31"/>
                </a:cubicBezTo>
                <a:cubicBezTo>
                  <a:pt x="42" y="31"/>
                  <a:pt x="47" y="22"/>
                  <a:pt x="47" y="19"/>
                </a:cubicBezTo>
                <a:cubicBezTo>
                  <a:pt x="47" y="17"/>
                  <a:pt x="43" y="17"/>
                  <a:pt x="39" y="17"/>
                </a:cubicBezTo>
                <a:cubicBezTo>
                  <a:pt x="35" y="17"/>
                  <a:pt x="26" y="17"/>
                  <a:pt x="26" y="17"/>
                </a:cubicBezTo>
                <a:cubicBezTo>
                  <a:pt x="26" y="17"/>
                  <a:pt x="21" y="15"/>
                  <a:pt x="21" y="12"/>
                </a:cubicBezTo>
                <a:cubicBezTo>
                  <a:pt x="21" y="8"/>
                  <a:pt x="18" y="6"/>
                  <a:pt x="13" y="6"/>
                </a:cubicBezTo>
                <a:cubicBezTo>
                  <a:pt x="8" y="6"/>
                  <a:pt x="8" y="0"/>
                  <a:pt x="4" y="6"/>
                </a:cubicBezTo>
                <a:cubicBezTo>
                  <a:pt x="0" y="11"/>
                  <a:pt x="12" y="11"/>
                  <a:pt x="11" y="15"/>
                </a:cubicBezTo>
                <a:cubicBezTo>
                  <a:pt x="10" y="19"/>
                  <a:pt x="6" y="17"/>
                  <a:pt x="5" y="20"/>
                </a:cubicBezTo>
                <a:cubicBezTo>
                  <a:pt x="4" y="23"/>
                  <a:pt x="6" y="32"/>
                  <a:pt x="8" y="37"/>
                </a:cubicBezTo>
                <a:cubicBezTo>
                  <a:pt x="9" y="40"/>
                  <a:pt x="12" y="50"/>
                  <a:pt x="12" y="57"/>
                </a:cubicBezTo>
                <a:cubicBezTo>
                  <a:pt x="15" y="57"/>
                  <a:pt x="16" y="55"/>
                  <a:pt x="19" y="55"/>
                </a:cubicBezTo>
                <a:cubicBezTo>
                  <a:pt x="23" y="55"/>
                  <a:pt x="28" y="55"/>
                  <a:pt x="28" y="51"/>
                </a:cubicBezTo>
                <a:cubicBezTo>
                  <a:pt x="29" y="47"/>
                  <a:pt x="33" y="44"/>
                  <a:pt x="35" y="46"/>
                </a:cubicBezTo>
                <a:cubicBezTo>
                  <a:pt x="37" y="47"/>
                  <a:pt x="41" y="56"/>
                  <a:pt x="41" y="61"/>
                </a:cubicBezTo>
                <a:cubicBezTo>
                  <a:pt x="41" y="62"/>
                  <a:pt x="42" y="64"/>
                  <a:pt x="43" y="67"/>
                </a:cubicBezTo>
                <a:cubicBezTo>
                  <a:pt x="45" y="65"/>
                  <a:pt x="47" y="63"/>
                  <a:pt x="47" y="63"/>
                </a:cubicBezTo>
                <a:cubicBezTo>
                  <a:pt x="47" y="63"/>
                  <a:pt x="48" y="58"/>
                  <a:pt x="50" y="5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2" name="Freeform 49"/>
          <p:cNvSpPr/>
          <p:nvPr/>
        </p:nvSpPr>
        <p:spPr bwMode="auto">
          <a:xfrm>
            <a:off x="7638179" y="3546905"/>
            <a:ext cx="702774" cy="758138"/>
          </a:xfrm>
          <a:custGeom>
            <a:cxnLst>
              <a:cxn ang="0">
                <a:pos x="222" y="133"/>
              </a:cxn>
              <a:cxn ang="0">
                <a:pos x="221" y="119"/>
              </a:cxn>
              <a:cxn ang="0">
                <a:pos x="238" y="125"/>
              </a:cxn>
              <a:cxn ang="0">
                <a:pos x="256" y="130"/>
              </a:cxn>
              <a:cxn ang="0">
                <a:pos x="255" y="144"/>
              </a:cxn>
              <a:cxn ang="0">
                <a:pos x="263" y="147"/>
              </a:cxn>
              <a:cxn ang="0">
                <a:pos x="269" y="168"/>
              </a:cxn>
              <a:cxn ang="0">
                <a:pos x="274" y="145"/>
              </a:cxn>
              <a:cxn ang="0">
                <a:pos x="287" y="131"/>
              </a:cxn>
              <a:cxn ang="0">
                <a:pos x="298" y="109"/>
              </a:cxn>
              <a:cxn ang="0">
                <a:pos x="312" y="105"/>
              </a:cxn>
              <a:cxn ang="0">
                <a:pos x="314" y="92"/>
              </a:cxn>
              <a:cxn ang="0">
                <a:pos x="303" y="81"/>
              </a:cxn>
              <a:cxn ang="0">
                <a:pos x="283" y="82"/>
              </a:cxn>
              <a:cxn ang="0">
                <a:pos x="269" y="93"/>
              </a:cxn>
              <a:cxn ang="0">
                <a:pos x="258" y="100"/>
              </a:cxn>
              <a:cxn ang="0">
                <a:pos x="248" y="111"/>
              </a:cxn>
              <a:cxn ang="0">
                <a:pos x="230" y="108"/>
              </a:cxn>
              <a:cxn ang="0">
                <a:pos x="223" y="95"/>
              </a:cxn>
              <a:cxn ang="0">
                <a:pos x="218" y="112"/>
              </a:cxn>
              <a:cxn ang="0">
                <a:pos x="184" y="108"/>
              </a:cxn>
              <a:cxn ang="0">
                <a:pos x="167" y="103"/>
              </a:cxn>
              <a:cxn ang="0">
                <a:pos x="149" y="93"/>
              </a:cxn>
              <a:cxn ang="0">
                <a:pos x="134" y="85"/>
              </a:cxn>
              <a:cxn ang="0">
                <a:pos x="141" y="69"/>
              </a:cxn>
              <a:cxn ang="0">
                <a:pos x="130" y="58"/>
              </a:cxn>
              <a:cxn ang="0">
                <a:pos x="116" y="43"/>
              </a:cxn>
              <a:cxn ang="0">
                <a:pos x="126" y="34"/>
              </a:cxn>
              <a:cxn ang="0">
                <a:pos x="119" y="13"/>
              </a:cxn>
              <a:cxn ang="0">
                <a:pos x="108" y="0"/>
              </a:cxn>
              <a:cxn ang="0">
                <a:pos x="99" y="9"/>
              </a:cxn>
              <a:cxn ang="0">
                <a:pos x="71" y="10"/>
              </a:cxn>
              <a:cxn ang="0">
                <a:pos x="67" y="27"/>
              </a:cxn>
              <a:cxn ang="0">
                <a:pos x="79" y="43"/>
              </a:cxn>
              <a:cxn ang="0">
                <a:pos x="71" y="60"/>
              </a:cxn>
              <a:cxn ang="0">
                <a:pos x="59" y="71"/>
              </a:cxn>
              <a:cxn ang="0">
                <a:pos x="45" y="89"/>
              </a:cxn>
              <a:cxn ang="0">
                <a:pos x="31" y="98"/>
              </a:cxn>
              <a:cxn ang="0">
                <a:pos x="15" y="108"/>
              </a:cxn>
              <a:cxn ang="0">
                <a:pos x="27" y="127"/>
              </a:cxn>
              <a:cxn ang="0">
                <a:pos x="22" y="140"/>
              </a:cxn>
              <a:cxn ang="0">
                <a:pos x="1" y="147"/>
              </a:cxn>
              <a:cxn ang="0">
                <a:pos x="11" y="158"/>
              </a:cxn>
              <a:cxn ang="0">
                <a:pos x="8" y="164"/>
              </a:cxn>
              <a:cxn ang="0">
                <a:pos x="43" y="172"/>
              </a:cxn>
              <a:cxn ang="0">
                <a:pos x="50" y="177"/>
              </a:cxn>
              <a:cxn ang="0">
                <a:pos x="52" y="207"/>
              </a:cxn>
              <a:cxn ang="0">
                <a:pos x="68" y="257"/>
              </a:cxn>
              <a:cxn ang="0">
                <a:pos x="89" y="310"/>
              </a:cxn>
              <a:cxn ang="0">
                <a:pos x="111" y="323"/>
              </a:cxn>
              <a:cxn ang="0">
                <a:pos x="126" y="305"/>
              </a:cxn>
              <a:cxn ang="0">
                <a:pos x="132" y="283"/>
              </a:cxn>
              <a:cxn ang="0">
                <a:pos x="134" y="250"/>
              </a:cxn>
              <a:cxn ang="0">
                <a:pos x="150" y="233"/>
              </a:cxn>
              <a:cxn ang="0">
                <a:pos x="185" y="201"/>
              </a:cxn>
              <a:cxn ang="0">
                <a:pos x="206" y="178"/>
              </a:cxn>
              <a:cxn ang="0">
                <a:pos x="229" y="170"/>
              </a:cxn>
            </a:cxnLst>
            <a:rect b="b" l="0" r="r" t="0"/>
            <a:pathLst>
              <a:path h="332" w="315">
                <a:moveTo>
                  <a:pt x="225" y="150"/>
                </a:moveTo>
                <a:cubicBezTo>
                  <a:pt x="223" y="145"/>
                  <a:pt x="221" y="136"/>
                  <a:pt x="222" y="133"/>
                </a:cubicBezTo>
                <a:cubicBezTo>
                  <a:pt x="223" y="130"/>
                  <a:pt x="227" y="132"/>
                  <a:pt x="228" y="128"/>
                </a:cubicBezTo>
                <a:cubicBezTo>
                  <a:pt x="229" y="124"/>
                  <a:pt x="217" y="124"/>
                  <a:pt x="221" y="119"/>
                </a:cubicBezTo>
                <a:cubicBezTo>
                  <a:pt x="225" y="113"/>
                  <a:pt x="225" y="119"/>
                  <a:pt x="230" y="119"/>
                </a:cubicBezTo>
                <a:cubicBezTo>
                  <a:pt x="235" y="119"/>
                  <a:pt x="238" y="121"/>
                  <a:pt x="238" y="125"/>
                </a:cubicBezTo>
                <a:cubicBezTo>
                  <a:pt x="238" y="128"/>
                  <a:pt x="243" y="130"/>
                  <a:pt x="243" y="130"/>
                </a:cubicBezTo>
                <a:cubicBezTo>
                  <a:pt x="243" y="130"/>
                  <a:pt x="252" y="130"/>
                  <a:pt x="256" y="130"/>
                </a:cubicBezTo>
                <a:cubicBezTo>
                  <a:pt x="260" y="130"/>
                  <a:pt x="264" y="130"/>
                  <a:pt x="264" y="132"/>
                </a:cubicBezTo>
                <a:cubicBezTo>
                  <a:pt x="264" y="135"/>
                  <a:pt x="259" y="144"/>
                  <a:pt x="255" y="144"/>
                </a:cubicBezTo>
                <a:cubicBezTo>
                  <a:pt x="251" y="144"/>
                  <a:pt x="251" y="155"/>
                  <a:pt x="254" y="156"/>
                </a:cubicBezTo>
                <a:cubicBezTo>
                  <a:pt x="258" y="157"/>
                  <a:pt x="260" y="147"/>
                  <a:pt x="263" y="147"/>
                </a:cubicBezTo>
                <a:cubicBezTo>
                  <a:pt x="264" y="147"/>
                  <a:pt x="265" y="158"/>
                  <a:pt x="267" y="169"/>
                </a:cubicBezTo>
                <a:cubicBezTo>
                  <a:pt x="268" y="168"/>
                  <a:pt x="268" y="168"/>
                  <a:pt x="269" y="168"/>
                </a:cubicBezTo>
                <a:cubicBezTo>
                  <a:pt x="271" y="168"/>
                  <a:pt x="270" y="158"/>
                  <a:pt x="272" y="156"/>
                </a:cubicBezTo>
                <a:cubicBezTo>
                  <a:pt x="274" y="153"/>
                  <a:pt x="273" y="145"/>
                  <a:pt x="274" y="145"/>
                </a:cubicBezTo>
                <a:cubicBezTo>
                  <a:pt x="275" y="145"/>
                  <a:pt x="283" y="147"/>
                  <a:pt x="283" y="145"/>
                </a:cubicBezTo>
                <a:cubicBezTo>
                  <a:pt x="283" y="143"/>
                  <a:pt x="288" y="135"/>
                  <a:pt x="287" y="131"/>
                </a:cubicBezTo>
                <a:cubicBezTo>
                  <a:pt x="286" y="127"/>
                  <a:pt x="290" y="122"/>
                  <a:pt x="290" y="117"/>
                </a:cubicBezTo>
                <a:cubicBezTo>
                  <a:pt x="290" y="113"/>
                  <a:pt x="295" y="111"/>
                  <a:pt x="298" y="109"/>
                </a:cubicBezTo>
                <a:cubicBezTo>
                  <a:pt x="301" y="106"/>
                  <a:pt x="306" y="102"/>
                  <a:pt x="307" y="105"/>
                </a:cubicBezTo>
                <a:cubicBezTo>
                  <a:pt x="308" y="107"/>
                  <a:pt x="315" y="109"/>
                  <a:pt x="312" y="105"/>
                </a:cubicBezTo>
                <a:cubicBezTo>
                  <a:pt x="309" y="101"/>
                  <a:pt x="309" y="98"/>
                  <a:pt x="311" y="97"/>
                </a:cubicBezTo>
                <a:cubicBezTo>
                  <a:pt x="313" y="96"/>
                  <a:pt x="314" y="92"/>
                  <a:pt x="314" y="92"/>
                </a:cubicBezTo>
                <a:cubicBezTo>
                  <a:pt x="314" y="92"/>
                  <a:pt x="308" y="91"/>
                  <a:pt x="307" y="88"/>
                </a:cubicBezTo>
                <a:cubicBezTo>
                  <a:pt x="306" y="85"/>
                  <a:pt x="303" y="83"/>
                  <a:pt x="303" y="81"/>
                </a:cubicBezTo>
                <a:cubicBezTo>
                  <a:pt x="303" y="78"/>
                  <a:pt x="299" y="79"/>
                  <a:pt x="297" y="81"/>
                </a:cubicBezTo>
                <a:cubicBezTo>
                  <a:pt x="294" y="84"/>
                  <a:pt x="289" y="79"/>
                  <a:pt x="283" y="82"/>
                </a:cubicBezTo>
                <a:cubicBezTo>
                  <a:pt x="278" y="85"/>
                  <a:pt x="276" y="89"/>
                  <a:pt x="274" y="88"/>
                </a:cubicBezTo>
                <a:cubicBezTo>
                  <a:pt x="271" y="88"/>
                  <a:pt x="271" y="90"/>
                  <a:pt x="269" y="93"/>
                </a:cubicBezTo>
                <a:cubicBezTo>
                  <a:pt x="267" y="95"/>
                  <a:pt x="265" y="97"/>
                  <a:pt x="264" y="97"/>
                </a:cubicBezTo>
                <a:cubicBezTo>
                  <a:pt x="262" y="97"/>
                  <a:pt x="258" y="100"/>
                  <a:pt x="258" y="100"/>
                </a:cubicBezTo>
                <a:cubicBezTo>
                  <a:pt x="258" y="100"/>
                  <a:pt x="261" y="106"/>
                  <a:pt x="259" y="109"/>
                </a:cubicBezTo>
                <a:cubicBezTo>
                  <a:pt x="258" y="113"/>
                  <a:pt x="253" y="109"/>
                  <a:pt x="248" y="111"/>
                </a:cubicBezTo>
                <a:cubicBezTo>
                  <a:pt x="243" y="112"/>
                  <a:pt x="241" y="109"/>
                  <a:pt x="238" y="110"/>
                </a:cubicBezTo>
                <a:cubicBezTo>
                  <a:pt x="234" y="111"/>
                  <a:pt x="232" y="108"/>
                  <a:pt x="230" y="108"/>
                </a:cubicBezTo>
                <a:cubicBezTo>
                  <a:pt x="228" y="109"/>
                  <a:pt x="226" y="104"/>
                  <a:pt x="226" y="101"/>
                </a:cubicBezTo>
                <a:cubicBezTo>
                  <a:pt x="227" y="97"/>
                  <a:pt x="225" y="92"/>
                  <a:pt x="223" y="95"/>
                </a:cubicBezTo>
                <a:cubicBezTo>
                  <a:pt x="221" y="97"/>
                  <a:pt x="218" y="96"/>
                  <a:pt x="218" y="100"/>
                </a:cubicBezTo>
                <a:cubicBezTo>
                  <a:pt x="218" y="104"/>
                  <a:pt x="221" y="109"/>
                  <a:pt x="218" y="112"/>
                </a:cubicBezTo>
                <a:cubicBezTo>
                  <a:pt x="215" y="114"/>
                  <a:pt x="201" y="116"/>
                  <a:pt x="198" y="113"/>
                </a:cubicBezTo>
                <a:cubicBezTo>
                  <a:pt x="196" y="111"/>
                  <a:pt x="184" y="110"/>
                  <a:pt x="184" y="108"/>
                </a:cubicBezTo>
                <a:cubicBezTo>
                  <a:pt x="183" y="105"/>
                  <a:pt x="180" y="101"/>
                  <a:pt x="177" y="101"/>
                </a:cubicBezTo>
                <a:cubicBezTo>
                  <a:pt x="175" y="101"/>
                  <a:pt x="169" y="105"/>
                  <a:pt x="167" y="103"/>
                </a:cubicBezTo>
                <a:cubicBezTo>
                  <a:pt x="165" y="102"/>
                  <a:pt x="161" y="98"/>
                  <a:pt x="157" y="98"/>
                </a:cubicBezTo>
                <a:cubicBezTo>
                  <a:pt x="154" y="97"/>
                  <a:pt x="149" y="95"/>
                  <a:pt x="149" y="93"/>
                </a:cubicBezTo>
                <a:cubicBezTo>
                  <a:pt x="149" y="92"/>
                  <a:pt x="141" y="91"/>
                  <a:pt x="140" y="89"/>
                </a:cubicBezTo>
                <a:cubicBezTo>
                  <a:pt x="139" y="87"/>
                  <a:pt x="134" y="87"/>
                  <a:pt x="134" y="85"/>
                </a:cubicBezTo>
                <a:cubicBezTo>
                  <a:pt x="134" y="82"/>
                  <a:pt x="136" y="79"/>
                  <a:pt x="136" y="76"/>
                </a:cubicBezTo>
                <a:cubicBezTo>
                  <a:pt x="136" y="73"/>
                  <a:pt x="141" y="71"/>
                  <a:pt x="141" y="69"/>
                </a:cubicBezTo>
                <a:cubicBezTo>
                  <a:pt x="141" y="67"/>
                  <a:pt x="137" y="64"/>
                  <a:pt x="137" y="64"/>
                </a:cubicBezTo>
                <a:cubicBezTo>
                  <a:pt x="137" y="64"/>
                  <a:pt x="133" y="58"/>
                  <a:pt x="130" y="58"/>
                </a:cubicBezTo>
                <a:cubicBezTo>
                  <a:pt x="126" y="58"/>
                  <a:pt x="124" y="52"/>
                  <a:pt x="120" y="52"/>
                </a:cubicBezTo>
                <a:cubicBezTo>
                  <a:pt x="117" y="51"/>
                  <a:pt x="118" y="45"/>
                  <a:pt x="116" y="43"/>
                </a:cubicBezTo>
                <a:cubicBezTo>
                  <a:pt x="115" y="40"/>
                  <a:pt x="116" y="35"/>
                  <a:pt x="119" y="38"/>
                </a:cubicBezTo>
                <a:cubicBezTo>
                  <a:pt x="122" y="40"/>
                  <a:pt x="128" y="38"/>
                  <a:pt x="126" y="34"/>
                </a:cubicBezTo>
                <a:cubicBezTo>
                  <a:pt x="124" y="30"/>
                  <a:pt x="120" y="26"/>
                  <a:pt x="120" y="24"/>
                </a:cubicBezTo>
                <a:cubicBezTo>
                  <a:pt x="120" y="22"/>
                  <a:pt x="122" y="15"/>
                  <a:pt x="119" y="13"/>
                </a:cubicBezTo>
                <a:cubicBezTo>
                  <a:pt x="116" y="12"/>
                  <a:pt x="113" y="9"/>
                  <a:pt x="112" y="6"/>
                </a:cubicBezTo>
                <a:cubicBezTo>
                  <a:pt x="112" y="3"/>
                  <a:pt x="108" y="0"/>
                  <a:pt x="108" y="0"/>
                </a:cubicBezTo>
                <a:cubicBezTo>
                  <a:pt x="104" y="1"/>
                  <a:pt x="104" y="1"/>
                  <a:pt x="104" y="1"/>
                </a:cubicBezTo>
                <a:cubicBezTo>
                  <a:pt x="104" y="1"/>
                  <a:pt x="101" y="8"/>
                  <a:pt x="99" y="9"/>
                </a:cubicBezTo>
                <a:cubicBezTo>
                  <a:pt x="97" y="10"/>
                  <a:pt x="91" y="11"/>
                  <a:pt x="88" y="13"/>
                </a:cubicBezTo>
                <a:cubicBezTo>
                  <a:pt x="85" y="16"/>
                  <a:pt x="76" y="10"/>
                  <a:pt x="71" y="10"/>
                </a:cubicBezTo>
                <a:cubicBezTo>
                  <a:pt x="66" y="10"/>
                  <a:pt x="63" y="15"/>
                  <a:pt x="65" y="16"/>
                </a:cubicBezTo>
                <a:cubicBezTo>
                  <a:pt x="68" y="18"/>
                  <a:pt x="67" y="27"/>
                  <a:pt x="67" y="27"/>
                </a:cubicBezTo>
                <a:cubicBezTo>
                  <a:pt x="67" y="27"/>
                  <a:pt x="70" y="39"/>
                  <a:pt x="74" y="38"/>
                </a:cubicBezTo>
                <a:cubicBezTo>
                  <a:pt x="78" y="37"/>
                  <a:pt x="83" y="42"/>
                  <a:pt x="79" y="43"/>
                </a:cubicBezTo>
                <a:cubicBezTo>
                  <a:pt x="76" y="44"/>
                  <a:pt x="74" y="48"/>
                  <a:pt x="73" y="51"/>
                </a:cubicBezTo>
                <a:cubicBezTo>
                  <a:pt x="73" y="55"/>
                  <a:pt x="74" y="59"/>
                  <a:pt x="71" y="60"/>
                </a:cubicBezTo>
                <a:cubicBezTo>
                  <a:pt x="68" y="60"/>
                  <a:pt x="66" y="61"/>
                  <a:pt x="66" y="66"/>
                </a:cubicBezTo>
                <a:cubicBezTo>
                  <a:pt x="66" y="71"/>
                  <a:pt x="60" y="69"/>
                  <a:pt x="59" y="71"/>
                </a:cubicBezTo>
                <a:cubicBezTo>
                  <a:pt x="58" y="73"/>
                  <a:pt x="56" y="82"/>
                  <a:pt x="55" y="83"/>
                </a:cubicBezTo>
                <a:cubicBezTo>
                  <a:pt x="53" y="85"/>
                  <a:pt x="46" y="85"/>
                  <a:pt x="45" y="89"/>
                </a:cubicBezTo>
                <a:cubicBezTo>
                  <a:pt x="45" y="93"/>
                  <a:pt x="41" y="98"/>
                  <a:pt x="39" y="97"/>
                </a:cubicBezTo>
                <a:cubicBezTo>
                  <a:pt x="37" y="97"/>
                  <a:pt x="33" y="95"/>
                  <a:pt x="31" y="98"/>
                </a:cubicBezTo>
                <a:cubicBezTo>
                  <a:pt x="30" y="101"/>
                  <a:pt x="24" y="96"/>
                  <a:pt x="23" y="97"/>
                </a:cubicBezTo>
                <a:cubicBezTo>
                  <a:pt x="22" y="98"/>
                  <a:pt x="15" y="104"/>
                  <a:pt x="15" y="108"/>
                </a:cubicBezTo>
                <a:cubicBezTo>
                  <a:pt x="15" y="111"/>
                  <a:pt x="22" y="111"/>
                  <a:pt x="22" y="116"/>
                </a:cubicBezTo>
                <a:cubicBezTo>
                  <a:pt x="21" y="120"/>
                  <a:pt x="24" y="125"/>
                  <a:pt x="27" y="127"/>
                </a:cubicBezTo>
                <a:cubicBezTo>
                  <a:pt x="29" y="130"/>
                  <a:pt x="32" y="135"/>
                  <a:pt x="31" y="138"/>
                </a:cubicBezTo>
                <a:cubicBezTo>
                  <a:pt x="29" y="140"/>
                  <a:pt x="26" y="141"/>
                  <a:pt x="22" y="140"/>
                </a:cubicBezTo>
                <a:cubicBezTo>
                  <a:pt x="18" y="139"/>
                  <a:pt x="19" y="142"/>
                  <a:pt x="11" y="140"/>
                </a:cubicBezTo>
                <a:cubicBezTo>
                  <a:pt x="4" y="139"/>
                  <a:pt x="4" y="144"/>
                  <a:pt x="1" y="147"/>
                </a:cubicBezTo>
                <a:cubicBezTo>
                  <a:pt x="1" y="148"/>
                  <a:pt x="1" y="148"/>
                  <a:pt x="0" y="148"/>
                </a:cubicBezTo>
                <a:cubicBezTo>
                  <a:pt x="4" y="151"/>
                  <a:pt x="5" y="156"/>
                  <a:pt x="11" y="158"/>
                </a:cubicBezTo>
                <a:cubicBezTo>
                  <a:pt x="17" y="160"/>
                  <a:pt x="23" y="154"/>
                  <a:pt x="23" y="158"/>
                </a:cubicBezTo>
                <a:cubicBezTo>
                  <a:pt x="23" y="163"/>
                  <a:pt x="8" y="162"/>
                  <a:pt x="8" y="164"/>
                </a:cubicBezTo>
                <a:cubicBezTo>
                  <a:pt x="7" y="165"/>
                  <a:pt x="23" y="185"/>
                  <a:pt x="32" y="183"/>
                </a:cubicBezTo>
                <a:cubicBezTo>
                  <a:pt x="40" y="182"/>
                  <a:pt x="46" y="173"/>
                  <a:pt x="43" y="172"/>
                </a:cubicBezTo>
                <a:cubicBezTo>
                  <a:pt x="41" y="170"/>
                  <a:pt x="45" y="165"/>
                  <a:pt x="47" y="166"/>
                </a:cubicBezTo>
                <a:cubicBezTo>
                  <a:pt x="49" y="167"/>
                  <a:pt x="47" y="175"/>
                  <a:pt x="50" y="177"/>
                </a:cubicBezTo>
                <a:cubicBezTo>
                  <a:pt x="52" y="179"/>
                  <a:pt x="51" y="183"/>
                  <a:pt x="50" y="188"/>
                </a:cubicBezTo>
                <a:cubicBezTo>
                  <a:pt x="48" y="192"/>
                  <a:pt x="51" y="202"/>
                  <a:pt x="52" y="207"/>
                </a:cubicBezTo>
                <a:cubicBezTo>
                  <a:pt x="52" y="212"/>
                  <a:pt x="56" y="219"/>
                  <a:pt x="57" y="227"/>
                </a:cubicBezTo>
                <a:cubicBezTo>
                  <a:pt x="58" y="235"/>
                  <a:pt x="63" y="249"/>
                  <a:pt x="68" y="257"/>
                </a:cubicBezTo>
                <a:cubicBezTo>
                  <a:pt x="72" y="266"/>
                  <a:pt x="76" y="282"/>
                  <a:pt x="79" y="286"/>
                </a:cubicBezTo>
                <a:cubicBezTo>
                  <a:pt x="82" y="290"/>
                  <a:pt x="89" y="303"/>
                  <a:pt x="89" y="310"/>
                </a:cubicBezTo>
                <a:cubicBezTo>
                  <a:pt x="89" y="318"/>
                  <a:pt x="97" y="328"/>
                  <a:pt x="100" y="330"/>
                </a:cubicBezTo>
                <a:cubicBezTo>
                  <a:pt x="103" y="332"/>
                  <a:pt x="109" y="328"/>
                  <a:pt x="111" y="323"/>
                </a:cubicBezTo>
                <a:cubicBezTo>
                  <a:pt x="112" y="318"/>
                  <a:pt x="121" y="317"/>
                  <a:pt x="121" y="313"/>
                </a:cubicBezTo>
                <a:cubicBezTo>
                  <a:pt x="122" y="309"/>
                  <a:pt x="123" y="305"/>
                  <a:pt x="126" y="305"/>
                </a:cubicBezTo>
                <a:cubicBezTo>
                  <a:pt x="129" y="304"/>
                  <a:pt x="129" y="301"/>
                  <a:pt x="129" y="297"/>
                </a:cubicBezTo>
                <a:cubicBezTo>
                  <a:pt x="129" y="293"/>
                  <a:pt x="129" y="286"/>
                  <a:pt x="132" y="283"/>
                </a:cubicBezTo>
                <a:cubicBezTo>
                  <a:pt x="135" y="279"/>
                  <a:pt x="135" y="268"/>
                  <a:pt x="134" y="264"/>
                </a:cubicBezTo>
                <a:cubicBezTo>
                  <a:pt x="132" y="260"/>
                  <a:pt x="133" y="254"/>
                  <a:pt x="134" y="250"/>
                </a:cubicBezTo>
                <a:cubicBezTo>
                  <a:pt x="136" y="246"/>
                  <a:pt x="135" y="241"/>
                  <a:pt x="139" y="241"/>
                </a:cubicBezTo>
                <a:cubicBezTo>
                  <a:pt x="142" y="240"/>
                  <a:pt x="146" y="238"/>
                  <a:pt x="150" y="233"/>
                </a:cubicBezTo>
                <a:cubicBezTo>
                  <a:pt x="153" y="229"/>
                  <a:pt x="163" y="222"/>
                  <a:pt x="167" y="219"/>
                </a:cubicBezTo>
                <a:cubicBezTo>
                  <a:pt x="171" y="216"/>
                  <a:pt x="182" y="207"/>
                  <a:pt x="185" y="201"/>
                </a:cubicBezTo>
                <a:cubicBezTo>
                  <a:pt x="188" y="196"/>
                  <a:pt x="198" y="194"/>
                  <a:pt x="202" y="189"/>
                </a:cubicBezTo>
                <a:cubicBezTo>
                  <a:pt x="207" y="185"/>
                  <a:pt x="205" y="182"/>
                  <a:pt x="206" y="178"/>
                </a:cubicBezTo>
                <a:cubicBezTo>
                  <a:pt x="207" y="173"/>
                  <a:pt x="221" y="171"/>
                  <a:pt x="226" y="171"/>
                </a:cubicBezTo>
                <a:cubicBezTo>
                  <a:pt x="227" y="171"/>
                  <a:pt x="228" y="171"/>
                  <a:pt x="229" y="170"/>
                </a:cubicBezTo>
                <a:cubicBezTo>
                  <a:pt x="229" y="163"/>
                  <a:pt x="226" y="153"/>
                  <a:pt x="225" y="15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3" name="Freeform 50"/>
          <p:cNvSpPr/>
          <p:nvPr/>
        </p:nvSpPr>
        <p:spPr bwMode="auto">
          <a:xfrm>
            <a:off x="8122147" y="3019999"/>
            <a:ext cx="791779" cy="350640"/>
          </a:xfrm>
          <a:custGeom>
            <a:cxnLst>
              <a:cxn ang="0">
                <a:pos x="329" y="65"/>
              </a:cxn>
              <a:cxn ang="0">
                <a:pos x="306" y="63"/>
              </a:cxn>
              <a:cxn ang="0">
                <a:pos x="308" y="52"/>
              </a:cxn>
              <a:cxn ang="0">
                <a:pos x="309" y="33"/>
              </a:cxn>
              <a:cxn ang="0">
                <a:pos x="286" y="30"/>
              </a:cxn>
              <a:cxn ang="0">
                <a:pos x="268" y="40"/>
              </a:cxn>
              <a:cxn ang="0">
                <a:pos x="238" y="43"/>
              </a:cxn>
              <a:cxn ang="0">
                <a:pos x="218" y="34"/>
              </a:cxn>
              <a:cxn ang="0">
                <a:pos x="200" y="28"/>
              </a:cxn>
              <a:cxn ang="0">
                <a:pos x="179" y="27"/>
              </a:cxn>
              <a:cxn ang="0">
                <a:pos x="161" y="28"/>
              </a:cxn>
              <a:cxn ang="0">
                <a:pos x="153" y="13"/>
              </a:cxn>
              <a:cxn ang="0">
                <a:pos x="133" y="6"/>
              </a:cxn>
              <a:cxn ang="0">
                <a:pos x="118" y="1"/>
              </a:cxn>
              <a:cxn ang="0">
                <a:pos x="108" y="9"/>
              </a:cxn>
              <a:cxn ang="0">
                <a:pos x="107" y="24"/>
              </a:cxn>
              <a:cxn ang="0">
                <a:pos x="98" y="35"/>
              </a:cxn>
              <a:cxn ang="0">
                <a:pos x="81" y="33"/>
              </a:cxn>
              <a:cxn ang="0">
                <a:pos x="68" y="23"/>
              </a:cxn>
              <a:cxn ang="0">
                <a:pos x="44" y="22"/>
              </a:cxn>
              <a:cxn ang="0">
                <a:pos x="29" y="30"/>
              </a:cxn>
              <a:cxn ang="0">
                <a:pos x="10" y="40"/>
              </a:cxn>
              <a:cxn ang="0">
                <a:pos x="0" y="44"/>
              </a:cxn>
              <a:cxn ang="0">
                <a:pos x="9" y="55"/>
              </a:cxn>
              <a:cxn ang="0">
                <a:pos x="29" y="69"/>
              </a:cxn>
              <a:cxn ang="0">
                <a:pos x="34" y="88"/>
              </a:cxn>
              <a:cxn ang="0">
                <a:pos x="57" y="104"/>
              </a:cxn>
              <a:cxn ang="0">
                <a:pos x="72" y="114"/>
              </a:cxn>
              <a:cxn ang="0">
                <a:pos x="88" y="135"/>
              </a:cxn>
              <a:cxn ang="0">
                <a:pos x="129" y="137"/>
              </a:cxn>
              <a:cxn ang="0">
                <a:pos x="162" y="145"/>
              </a:cxn>
              <a:cxn ang="0">
                <a:pos x="182" y="152"/>
              </a:cxn>
              <a:cxn ang="0">
                <a:pos x="227" y="141"/>
              </a:cxn>
              <a:cxn ang="0">
                <a:pos x="261" y="121"/>
              </a:cxn>
              <a:cxn ang="0">
                <a:pos x="269" y="105"/>
              </a:cxn>
              <a:cxn ang="0">
                <a:pos x="304" y="99"/>
              </a:cxn>
              <a:cxn ang="0">
                <a:pos x="328" y="84"/>
              </a:cxn>
              <a:cxn ang="0">
                <a:pos x="354" y="79"/>
              </a:cxn>
            </a:cxnLst>
            <a:rect b="b" l="0" r="r" t="0"/>
            <a:pathLst>
              <a:path h="153" w="355">
                <a:moveTo>
                  <a:pt x="340" y="64"/>
                </a:moveTo>
                <a:cubicBezTo>
                  <a:pt x="336" y="60"/>
                  <a:pt x="330" y="62"/>
                  <a:pt x="329" y="65"/>
                </a:cubicBezTo>
                <a:cubicBezTo>
                  <a:pt x="327" y="69"/>
                  <a:pt x="324" y="64"/>
                  <a:pt x="318" y="64"/>
                </a:cubicBezTo>
                <a:cubicBezTo>
                  <a:pt x="311" y="64"/>
                  <a:pt x="311" y="68"/>
                  <a:pt x="306" y="63"/>
                </a:cubicBezTo>
                <a:cubicBezTo>
                  <a:pt x="302" y="59"/>
                  <a:pt x="308" y="57"/>
                  <a:pt x="308" y="57"/>
                </a:cubicBezTo>
                <a:cubicBezTo>
                  <a:pt x="308" y="52"/>
                  <a:pt x="308" y="52"/>
                  <a:pt x="308" y="52"/>
                </a:cubicBezTo>
                <a:cubicBezTo>
                  <a:pt x="318" y="34"/>
                  <a:pt x="318" y="34"/>
                  <a:pt x="318" y="34"/>
                </a:cubicBezTo>
                <a:cubicBezTo>
                  <a:pt x="315" y="33"/>
                  <a:pt x="311" y="32"/>
                  <a:pt x="309" y="33"/>
                </a:cubicBezTo>
                <a:cubicBezTo>
                  <a:pt x="307" y="34"/>
                  <a:pt x="300" y="33"/>
                  <a:pt x="300" y="31"/>
                </a:cubicBezTo>
                <a:cubicBezTo>
                  <a:pt x="299" y="29"/>
                  <a:pt x="288" y="28"/>
                  <a:pt x="286" y="30"/>
                </a:cubicBezTo>
                <a:cubicBezTo>
                  <a:pt x="283" y="32"/>
                  <a:pt x="277" y="34"/>
                  <a:pt x="277" y="36"/>
                </a:cubicBezTo>
                <a:cubicBezTo>
                  <a:pt x="276" y="39"/>
                  <a:pt x="270" y="38"/>
                  <a:pt x="268" y="40"/>
                </a:cubicBezTo>
                <a:cubicBezTo>
                  <a:pt x="265" y="41"/>
                  <a:pt x="253" y="42"/>
                  <a:pt x="253" y="43"/>
                </a:cubicBezTo>
                <a:cubicBezTo>
                  <a:pt x="253" y="45"/>
                  <a:pt x="240" y="45"/>
                  <a:pt x="238" y="43"/>
                </a:cubicBezTo>
                <a:cubicBezTo>
                  <a:pt x="236" y="42"/>
                  <a:pt x="225" y="43"/>
                  <a:pt x="224" y="41"/>
                </a:cubicBezTo>
                <a:cubicBezTo>
                  <a:pt x="222" y="38"/>
                  <a:pt x="218" y="37"/>
                  <a:pt x="218" y="34"/>
                </a:cubicBezTo>
                <a:cubicBezTo>
                  <a:pt x="218" y="32"/>
                  <a:pt x="209" y="32"/>
                  <a:pt x="208" y="30"/>
                </a:cubicBezTo>
                <a:cubicBezTo>
                  <a:pt x="207" y="28"/>
                  <a:pt x="201" y="27"/>
                  <a:pt x="200" y="28"/>
                </a:cubicBezTo>
                <a:cubicBezTo>
                  <a:pt x="199" y="28"/>
                  <a:pt x="191" y="26"/>
                  <a:pt x="189" y="25"/>
                </a:cubicBezTo>
                <a:cubicBezTo>
                  <a:pt x="187" y="25"/>
                  <a:pt x="181" y="27"/>
                  <a:pt x="179" y="27"/>
                </a:cubicBezTo>
                <a:cubicBezTo>
                  <a:pt x="177" y="27"/>
                  <a:pt x="173" y="30"/>
                  <a:pt x="171" y="31"/>
                </a:cubicBezTo>
                <a:cubicBezTo>
                  <a:pt x="169" y="31"/>
                  <a:pt x="162" y="27"/>
                  <a:pt x="161" y="28"/>
                </a:cubicBezTo>
                <a:cubicBezTo>
                  <a:pt x="160" y="29"/>
                  <a:pt x="156" y="24"/>
                  <a:pt x="154" y="22"/>
                </a:cubicBezTo>
                <a:cubicBezTo>
                  <a:pt x="152" y="20"/>
                  <a:pt x="154" y="15"/>
                  <a:pt x="153" y="13"/>
                </a:cubicBezTo>
                <a:cubicBezTo>
                  <a:pt x="151" y="11"/>
                  <a:pt x="144" y="11"/>
                  <a:pt x="142" y="9"/>
                </a:cubicBezTo>
                <a:cubicBezTo>
                  <a:pt x="139" y="8"/>
                  <a:pt x="136" y="6"/>
                  <a:pt x="133" y="6"/>
                </a:cubicBezTo>
                <a:cubicBezTo>
                  <a:pt x="131" y="6"/>
                  <a:pt x="127" y="5"/>
                  <a:pt x="126" y="4"/>
                </a:cubicBezTo>
                <a:cubicBezTo>
                  <a:pt x="125" y="3"/>
                  <a:pt x="120" y="2"/>
                  <a:pt x="118" y="1"/>
                </a:cubicBezTo>
                <a:cubicBezTo>
                  <a:pt x="116" y="0"/>
                  <a:pt x="115" y="3"/>
                  <a:pt x="114" y="5"/>
                </a:cubicBezTo>
                <a:cubicBezTo>
                  <a:pt x="113" y="6"/>
                  <a:pt x="109" y="6"/>
                  <a:pt x="108" y="9"/>
                </a:cubicBezTo>
                <a:cubicBezTo>
                  <a:pt x="107" y="11"/>
                  <a:pt x="103" y="12"/>
                  <a:pt x="103" y="14"/>
                </a:cubicBezTo>
                <a:cubicBezTo>
                  <a:pt x="104" y="17"/>
                  <a:pt x="106" y="22"/>
                  <a:pt x="107" y="24"/>
                </a:cubicBezTo>
                <a:cubicBezTo>
                  <a:pt x="109" y="25"/>
                  <a:pt x="108" y="29"/>
                  <a:pt x="107" y="30"/>
                </a:cubicBezTo>
                <a:cubicBezTo>
                  <a:pt x="106" y="32"/>
                  <a:pt x="99" y="33"/>
                  <a:pt x="98" y="35"/>
                </a:cubicBezTo>
                <a:cubicBezTo>
                  <a:pt x="96" y="37"/>
                  <a:pt x="93" y="35"/>
                  <a:pt x="90" y="33"/>
                </a:cubicBezTo>
                <a:cubicBezTo>
                  <a:pt x="86" y="31"/>
                  <a:pt x="82" y="32"/>
                  <a:pt x="81" y="33"/>
                </a:cubicBezTo>
                <a:cubicBezTo>
                  <a:pt x="79" y="35"/>
                  <a:pt x="73" y="30"/>
                  <a:pt x="71" y="30"/>
                </a:cubicBezTo>
                <a:cubicBezTo>
                  <a:pt x="70" y="29"/>
                  <a:pt x="69" y="23"/>
                  <a:pt x="68" y="23"/>
                </a:cubicBezTo>
                <a:cubicBezTo>
                  <a:pt x="66" y="24"/>
                  <a:pt x="54" y="21"/>
                  <a:pt x="52" y="21"/>
                </a:cubicBezTo>
                <a:cubicBezTo>
                  <a:pt x="50" y="20"/>
                  <a:pt x="45" y="20"/>
                  <a:pt x="44" y="22"/>
                </a:cubicBezTo>
                <a:cubicBezTo>
                  <a:pt x="43" y="24"/>
                  <a:pt x="37" y="23"/>
                  <a:pt x="36" y="25"/>
                </a:cubicBezTo>
                <a:cubicBezTo>
                  <a:pt x="35" y="27"/>
                  <a:pt x="31" y="28"/>
                  <a:pt x="29" y="30"/>
                </a:cubicBezTo>
                <a:cubicBezTo>
                  <a:pt x="27" y="32"/>
                  <a:pt x="22" y="32"/>
                  <a:pt x="20" y="35"/>
                </a:cubicBezTo>
                <a:cubicBezTo>
                  <a:pt x="19" y="38"/>
                  <a:pt x="12" y="40"/>
                  <a:pt x="10" y="40"/>
                </a:cubicBezTo>
                <a:cubicBezTo>
                  <a:pt x="8" y="40"/>
                  <a:pt x="3" y="41"/>
                  <a:pt x="2" y="43"/>
                </a:cubicBezTo>
                <a:cubicBezTo>
                  <a:pt x="2" y="44"/>
                  <a:pt x="1" y="44"/>
                  <a:pt x="0" y="44"/>
                </a:cubicBezTo>
                <a:cubicBezTo>
                  <a:pt x="0" y="44"/>
                  <a:pt x="1" y="44"/>
                  <a:pt x="1" y="45"/>
                </a:cubicBezTo>
                <a:cubicBezTo>
                  <a:pt x="2" y="52"/>
                  <a:pt x="5" y="52"/>
                  <a:pt x="9" y="55"/>
                </a:cubicBezTo>
                <a:cubicBezTo>
                  <a:pt x="12" y="58"/>
                  <a:pt x="15" y="61"/>
                  <a:pt x="19" y="61"/>
                </a:cubicBezTo>
                <a:cubicBezTo>
                  <a:pt x="23" y="61"/>
                  <a:pt x="28" y="65"/>
                  <a:pt x="29" y="69"/>
                </a:cubicBezTo>
                <a:cubicBezTo>
                  <a:pt x="29" y="72"/>
                  <a:pt x="33" y="76"/>
                  <a:pt x="35" y="77"/>
                </a:cubicBezTo>
                <a:cubicBezTo>
                  <a:pt x="37" y="79"/>
                  <a:pt x="34" y="84"/>
                  <a:pt x="34" y="88"/>
                </a:cubicBezTo>
                <a:cubicBezTo>
                  <a:pt x="34" y="93"/>
                  <a:pt x="29" y="94"/>
                  <a:pt x="31" y="98"/>
                </a:cubicBezTo>
                <a:cubicBezTo>
                  <a:pt x="34" y="102"/>
                  <a:pt x="52" y="104"/>
                  <a:pt x="57" y="104"/>
                </a:cubicBezTo>
                <a:cubicBezTo>
                  <a:pt x="62" y="104"/>
                  <a:pt x="64" y="109"/>
                  <a:pt x="65" y="109"/>
                </a:cubicBezTo>
                <a:cubicBezTo>
                  <a:pt x="68" y="110"/>
                  <a:pt x="69" y="113"/>
                  <a:pt x="72" y="114"/>
                </a:cubicBezTo>
                <a:cubicBezTo>
                  <a:pt x="76" y="115"/>
                  <a:pt x="80" y="117"/>
                  <a:pt x="81" y="124"/>
                </a:cubicBezTo>
                <a:cubicBezTo>
                  <a:pt x="83" y="130"/>
                  <a:pt x="87" y="132"/>
                  <a:pt x="88" y="135"/>
                </a:cubicBezTo>
                <a:cubicBezTo>
                  <a:pt x="88" y="138"/>
                  <a:pt x="96" y="136"/>
                  <a:pt x="102" y="137"/>
                </a:cubicBezTo>
                <a:cubicBezTo>
                  <a:pt x="108" y="137"/>
                  <a:pt x="125" y="137"/>
                  <a:pt x="129" y="137"/>
                </a:cubicBezTo>
                <a:cubicBezTo>
                  <a:pt x="133" y="138"/>
                  <a:pt x="144" y="137"/>
                  <a:pt x="149" y="142"/>
                </a:cubicBezTo>
                <a:cubicBezTo>
                  <a:pt x="155" y="146"/>
                  <a:pt x="158" y="142"/>
                  <a:pt x="162" y="145"/>
                </a:cubicBezTo>
                <a:cubicBezTo>
                  <a:pt x="165" y="147"/>
                  <a:pt x="168" y="148"/>
                  <a:pt x="173" y="148"/>
                </a:cubicBezTo>
                <a:cubicBezTo>
                  <a:pt x="179" y="147"/>
                  <a:pt x="179" y="151"/>
                  <a:pt x="182" y="152"/>
                </a:cubicBezTo>
                <a:cubicBezTo>
                  <a:pt x="186" y="153"/>
                  <a:pt x="192" y="146"/>
                  <a:pt x="202" y="142"/>
                </a:cubicBezTo>
                <a:cubicBezTo>
                  <a:pt x="211" y="137"/>
                  <a:pt x="222" y="140"/>
                  <a:pt x="227" y="141"/>
                </a:cubicBezTo>
                <a:cubicBezTo>
                  <a:pt x="232" y="142"/>
                  <a:pt x="242" y="139"/>
                  <a:pt x="247" y="132"/>
                </a:cubicBezTo>
                <a:cubicBezTo>
                  <a:pt x="253" y="126"/>
                  <a:pt x="261" y="127"/>
                  <a:pt x="261" y="121"/>
                </a:cubicBezTo>
                <a:cubicBezTo>
                  <a:pt x="262" y="116"/>
                  <a:pt x="255" y="113"/>
                  <a:pt x="258" y="108"/>
                </a:cubicBezTo>
                <a:cubicBezTo>
                  <a:pt x="261" y="103"/>
                  <a:pt x="266" y="104"/>
                  <a:pt x="269" y="105"/>
                </a:cubicBezTo>
                <a:cubicBezTo>
                  <a:pt x="272" y="107"/>
                  <a:pt x="280" y="109"/>
                  <a:pt x="287" y="104"/>
                </a:cubicBezTo>
                <a:cubicBezTo>
                  <a:pt x="295" y="99"/>
                  <a:pt x="298" y="100"/>
                  <a:pt x="304" y="99"/>
                </a:cubicBezTo>
                <a:cubicBezTo>
                  <a:pt x="311" y="98"/>
                  <a:pt x="310" y="94"/>
                  <a:pt x="314" y="89"/>
                </a:cubicBezTo>
                <a:cubicBezTo>
                  <a:pt x="319" y="85"/>
                  <a:pt x="324" y="84"/>
                  <a:pt x="328" y="84"/>
                </a:cubicBezTo>
                <a:cubicBezTo>
                  <a:pt x="332" y="84"/>
                  <a:pt x="338" y="79"/>
                  <a:pt x="343" y="81"/>
                </a:cubicBezTo>
                <a:cubicBezTo>
                  <a:pt x="347" y="82"/>
                  <a:pt x="354" y="83"/>
                  <a:pt x="354" y="79"/>
                </a:cubicBezTo>
                <a:cubicBezTo>
                  <a:pt x="355" y="76"/>
                  <a:pt x="343" y="68"/>
                  <a:pt x="340" y="6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4" name="Freeform 51"/>
          <p:cNvSpPr/>
          <p:nvPr/>
        </p:nvSpPr>
        <p:spPr bwMode="auto">
          <a:xfrm>
            <a:off x="6788917" y="3630301"/>
            <a:ext cx="12981" cy="36012"/>
          </a:xfrm>
          <a:custGeom>
            <a:cxnLst>
              <a:cxn ang="0">
                <a:pos x="2" y="0"/>
              </a:cxn>
              <a:cxn ang="0">
                <a:pos x="0" y="9"/>
              </a:cxn>
              <a:cxn ang="0">
                <a:pos x="4" y="16"/>
              </a:cxn>
              <a:cxn ang="0">
                <a:pos x="5" y="3"/>
              </a:cxn>
              <a:cxn ang="0">
                <a:pos x="6" y="0"/>
              </a:cxn>
              <a:cxn ang="0">
                <a:pos x="2" y="0"/>
              </a:cxn>
            </a:cxnLst>
            <a:rect b="b" l="0" r="r" t="0"/>
            <a:pathLst>
              <a:path h="16" w="6">
                <a:moveTo>
                  <a:pt x="2" y="0"/>
                </a:moveTo>
                <a:cubicBezTo>
                  <a:pt x="1" y="1"/>
                  <a:pt x="0" y="8"/>
                  <a:pt x="0" y="9"/>
                </a:cubicBezTo>
                <a:cubicBezTo>
                  <a:pt x="0" y="9"/>
                  <a:pt x="1" y="13"/>
                  <a:pt x="4" y="16"/>
                </a:cubicBezTo>
                <a:cubicBezTo>
                  <a:pt x="5" y="11"/>
                  <a:pt x="5" y="4"/>
                  <a:pt x="5" y="3"/>
                </a:cubicBezTo>
                <a:cubicBezTo>
                  <a:pt x="5" y="2"/>
                  <a:pt x="6" y="1"/>
                  <a:pt x="6" y="0"/>
                </a:cubicBezTo>
                <a:cubicBezTo>
                  <a:pt x="4" y="0"/>
                  <a:pt x="3" y="0"/>
                  <a:pt x="2" y="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5" name="Freeform 52"/>
          <p:cNvSpPr/>
          <p:nvPr/>
        </p:nvSpPr>
        <p:spPr bwMode="auto">
          <a:xfrm>
            <a:off x="6766666" y="3607556"/>
            <a:ext cx="37086" cy="108035"/>
          </a:xfrm>
          <a:custGeom>
            <a:cxnLst>
              <a:cxn ang="0">
                <a:pos x="8" y="47"/>
              </a:cxn>
              <a:cxn ang="0">
                <a:pos x="9" y="48"/>
              </a:cxn>
              <a:cxn ang="0">
                <a:pos x="13" y="31"/>
              </a:cxn>
              <a:cxn ang="0">
                <a:pos x="14" y="26"/>
              </a:cxn>
              <a:cxn ang="0">
                <a:pos x="10" y="19"/>
              </a:cxn>
              <a:cxn ang="0">
                <a:pos x="12" y="10"/>
              </a:cxn>
              <a:cxn ang="0">
                <a:pos x="16" y="10"/>
              </a:cxn>
              <a:cxn ang="0">
                <a:pos x="17" y="3"/>
              </a:cxn>
              <a:cxn ang="0">
                <a:pos x="11" y="0"/>
              </a:cxn>
              <a:cxn ang="0">
                <a:pos x="9" y="6"/>
              </a:cxn>
              <a:cxn ang="0">
                <a:pos x="0" y="26"/>
              </a:cxn>
              <a:cxn ang="0">
                <a:pos x="8" y="46"/>
              </a:cxn>
              <a:cxn ang="0">
                <a:pos x="8" y="47"/>
              </a:cxn>
            </a:cxnLst>
            <a:rect b="b" l="0" r="r" t="0"/>
            <a:pathLst>
              <a:path h="48" w="17">
                <a:moveTo>
                  <a:pt x="8" y="47"/>
                </a:moveTo>
                <a:cubicBezTo>
                  <a:pt x="8" y="47"/>
                  <a:pt x="9" y="47"/>
                  <a:pt x="9" y="48"/>
                </a:cubicBezTo>
                <a:cubicBezTo>
                  <a:pt x="10" y="41"/>
                  <a:pt x="11" y="33"/>
                  <a:pt x="13" y="31"/>
                </a:cubicBezTo>
                <a:cubicBezTo>
                  <a:pt x="13" y="30"/>
                  <a:pt x="14" y="28"/>
                  <a:pt x="14" y="26"/>
                </a:cubicBezTo>
                <a:cubicBezTo>
                  <a:pt x="11" y="23"/>
                  <a:pt x="10" y="19"/>
                  <a:pt x="10" y="19"/>
                </a:cubicBezTo>
                <a:cubicBezTo>
                  <a:pt x="10" y="18"/>
                  <a:pt x="11" y="11"/>
                  <a:pt x="12" y="10"/>
                </a:cubicBezTo>
                <a:cubicBezTo>
                  <a:pt x="13" y="10"/>
                  <a:pt x="14" y="10"/>
                  <a:pt x="16" y="10"/>
                </a:cubicBezTo>
                <a:cubicBezTo>
                  <a:pt x="16" y="8"/>
                  <a:pt x="16" y="5"/>
                  <a:pt x="17" y="3"/>
                </a:cubicBezTo>
                <a:cubicBezTo>
                  <a:pt x="11" y="0"/>
                  <a:pt x="11" y="0"/>
                  <a:pt x="11" y="0"/>
                </a:cubicBezTo>
                <a:cubicBezTo>
                  <a:pt x="10" y="2"/>
                  <a:pt x="9" y="4"/>
                  <a:pt x="9" y="6"/>
                </a:cubicBezTo>
                <a:cubicBezTo>
                  <a:pt x="8" y="12"/>
                  <a:pt x="3" y="22"/>
                  <a:pt x="0" y="26"/>
                </a:cubicBezTo>
                <a:cubicBezTo>
                  <a:pt x="8" y="46"/>
                  <a:pt x="8" y="46"/>
                  <a:pt x="8" y="46"/>
                </a:cubicBezTo>
                <a:lnTo>
                  <a:pt x="8" y="47"/>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6" name="Freeform 53"/>
          <p:cNvSpPr/>
          <p:nvPr/>
        </p:nvSpPr>
        <p:spPr bwMode="auto">
          <a:xfrm>
            <a:off x="6787063" y="3607556"/>
            <a:ext cx="107548" cy="117511"/>
          </a:xfrm>
          <a:custGeom>
            <a:cxnLst>
              <a:cxn ang="0">
                <a:pos x="44" y="0"/>
              </a:cxn>
              <a:cxn ang="0">
                <a:pos x="30" y="6"/>
              </a:cxn>
              <a:cxn ang="0">
                <a:pos x="19" y="12"/>
              </a:cxn>
              <a:cxn ang="0">
                <a:pos x="9" y="7"/>
              </a:cxn>
              <a:cxn ang="0">
                <a:pos x="8" y="3"/>
              </a:cxn>
              <a:cxn ang="0">
                <a:pos x="8" y="3"/>
              </a:cxn>
              <a:cxn ang="0">
                <a:pos x="6" y="13"/>
              </a:cxn>
              <a:cxn ang="0">
                <a:pos x="4" y="31"/>
              </a:cxn>
              <a:cxn ang="0">
                <a:pos x="0" y="48"/>
              </a:cxn>
              <a:cxn ang="0">
                <a:pos x="10" y="52"/>
              </a:cxn>
              <a:cxn ang="0">
                <a:pos x="19" y="45"/>
              </a:cxn>
              <a:cxn ang="0">
                <a:pos x="26" y="42"/>
              </a:cxn>
              <a:cxn ang="0">
                <a:pos x="33" y="37"/>
              </a:cxn>
              <a:cxn ang="0">
                <a:pos x="24" y="27"/>
              </a:cxn>
              <a:cxn ang="0">
                <a:pos x="35" y="20"/>
              </a:cxn>
              <a:cxn ang="0">
                <a:pos x="47" y="16"/>
              </a:cxn>
              <a:cxn ang="0">
                <a:pos x="48" y="16"/>
              </a:cxn>
              <a:cxn ang="0">
                <a:pos x="45" y="5"/>
              </a:cxn>
              <a:cxn ang="0">
                <a:pos x="44" y="0"/>
              </a:cxn>
            </a:cxnLst>
            <a:rect b="b" l="0" r="r" t="0"/>
            <a:pathLst>
              <a:path h="52" w="48">
                <a:moveTo>
                  <a:pt x="44" y="0"/>
                </a:moveTo>
                <a:cubicBezTo>
                  <a:pt x="37" y="3"/>
                  <a:pt x="31" y="6"/>
                  <a:pt x="30" y="6"/>
                </a:cubicBezTo>
                <a:cubicBezTo>
                  <a:pt x="27" y="7"/>
                  <a:pt x="19" y="12"/>
                  <a:pt x="19" y="12"/>
                </a:cubicBezTo>
                <a:cubicBezTo>
                  <a:pt x="9" y="7"/>
                  <a:pt x="9" y="7"/>
                  <a:pt x="9" y="7"/>
                </a:cubicBezTo>
                <a:cubicBezTo>
                  <a:pt x="8" y="3"/>
                  <a:pt x="8" y="3"/>
                  <a:pt x="8" y="3"/>
                </a:cubicBezTo>
                <a:cubicBezTo>
                  <a:pt x="8" y="3"/>
                  <a:pt x="8" y="3"/>
                  <a:pt x="8" y="3"/>
                </a:cubicBezTo>
                <a:cubicBezTo>
                  <a:pt x="7" y="7"/>
                  <a:pt x="7" y="11"/>
                  <a:pt x="6" y="13"/>
                </a:cubicBezTo>
                <a:cubicBezTo>
                  <a:pt x="6" y="15"/>
                  <a:pt x="6" y="29"/>
                  <a:pt x="4" y="31"/>
                </a:cubicBezTo>
                <a:cubicBezTo>
                  <a:pt x="2" y="33"/>
                  <a:pt x="1" y="41"/>
                  <a:pt x="0" y="48"/>
                </a:cubicBezTo>
                <a:cubicBezTo>
                  <a:pt x="4" y="50"/>
                  <a:pt x="8" y="52"/>
                  <a:pt x="10" y="52"/>
                </a:cubicBezTo>
                <a:cubicBezTo>
                  <a:pt x="14" y="52"/>
                  <a:pt x="19" y="48"/>
                  <a:pt x="19" y="45"/>
                </a:cubicBezTo>
                <a:cubicBezTo>
                  <a:pt x="19" y="43"/>
                  <a:pt x="23" y="42"/>
                  <a:pt x="26" y="42"/>
                </a:cubicBezTo>
                <a:cubicBezTo>
                  <a:pt x="30" y="42"/>
                  <a:pt x="30" y="38"/>
                  <a:pt x="33" y="37"/>
                </a:cubicBezTo>
                <a:cubicBezTo>
                  <a:pt x="35" y="35"/>
                  <a:pt x="27" y="28"/>
                  <a:pt x="24" y="27"/>
                </a:cubicBezTo>
                <a:cubicBezTo>
                  <a:pt x="22" y="26"/>
                  <a:pt x="27" y="20"/>
                  <a:pt x="35" y="20"/>
                </a:cubicBezTo>
                <a:cubicBezTo>
                  <a:pt x="44" y="19"/>
                  <a:pt x="42" y="16"/>
                  <a:pt x="47" y="16"/>
                </a:cubicBezTo>
                <a:cubicBezTo>
                  <a:pt x="47" y="16"/>
                  <a:pt x="47" y="16"/>
                  <a:pt x="48" y="16"/>
                </a:cubicBezTo>
                <a:cubicBezTo>
                  <a:pt x="47" y="12"/>
                  <a:pt x="46" y="8"/>
                  <a:pt x="45" y="5"/>
                </a:cubicBezTo>
                <a:cubicBezTo>
                  <a:pt x="45" y="4"/>
                  <a:pt x="44" y="2"/>
                  <a:pt x="44" y="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7" name="Freeform 54"/>
          <p:cNvSpPr/>
          <p:nvPr/>
        </p:nvSpPr>
        <p:spPr bwMode="auto">
          <a:xfrm>
            <a:off x="7665994" y="3311882"/>
            <a:ext cx="274434" cy="123198"/>
          </a:xfrm>
          <a:custGeom>
            <a:cxnLst>
              <a:cxn ang="0">
                <a:pos x="114" y="10"/>
              </a:cxn>
              <a:cxn ang="0">
                <a:pos x="103" y="7"/>
              </a:cxn>
              <a:cxn ang="0">
                <a:pos x="74" y="6"/>
              </a:cxn>
              <a:cxn ang="0">
                <a:pos x="59" y="1"/>
              </a:cxn>
              <a:cxn ang="0">
                <a:pos x="47" y="6"/>
              </a:cxn>
              <a:cxn ang="0">
                <a:pos x="37" y="8"/>
              </a:cxn>
              <a:cxn ang="0">
                <a:pos x="22" y="8"/>
              </a:cxn>
              <a:cxn ang="0">
                <a:pos x="15" y="16"/>
              </a:cxn>
              <a:cxn ang="0">
                <a:pos x="12" y="22"/>
              </a:cxn>
              <a:cxn ang="0">
                <a:pos x="16" y="26"/>
              </a:cxn>
              <a:cxn ang="0">
                <a:pos x="25" y="25"/>
              </a:cxn>
              <a:cxn ang="0">
                <a:pos x="40" y="32"/>
              </a:cxn>
              <a:cxn ang="0">
                <a:pos x="35" y="38"/>
              </a:cxn>
              <a:cxn ang="0">
                <a:pos x="25" y="40"/>
              </a:cxn>
              <a:cxn ang="0">
                <a:pos x="8" y="42"/>
              </a:cxn>
              <a:cxn ang="0">
                <a:pos x="0" y="49"/>
              </a:cxn>
              <a:cxn ang="0">
                <a:pos x="16" y="50"/>
              </a:cxn>
              <a:cxn ang="0">
                <a:pos x="26" y="50"/>
              </a:cxn>
              <a:cxn ang="0">
                <a:pos x="36" y="52"/>
              </a:cxn>
              <a:cxn ang="0">
                <a:pos x="51" y="51"/>
              </a:cxn>
              <a:cxn ang="0">
                <a:pos x="52" y="46"/>
              </a:cxn>
              <a:cxn ang="0">
                <a:pos x="57" y="43"/>
              </a:cxn>
              <a:cxn ang="0">
                <a:pos x="64" y="39"/>
              </a:cxn>
              <a:cxn ang="0">
                <a:pos x="70" y="37"/>
              </a:cxn>
              <a:cxn ang="0">
                <a:pos x="77" y="39"/>
              </a:cxn>
              <a:cxn ang="0">
                <a:pos x="84" y="34"/>
              </a:cxn>
              <a:cxn ang="0">
                <a:pos x="94" y="31"/>
              </a:cxn>
              <a:cxn ang="0">
                <a:pos x="103" y="26"/>
              </a:cxn>
              <a:cxn ang="0">
                <a:pos x="112" y="21"/>
              </a:cxn>
              <a:cxn ang="0">
                <a:pos x="122" y="16"/>
              </a:cxn>
              <a:cxn ang="0">
                <a:pos x="123" y="14"/>
              </a:cxn>
              <a:cxn ang="0">
                <a:pos x="114" y="10"/>
              </a:cxn>
            </a:cxnLst>
            <a:rect b="b" l="0" r="r" t="0"/>
            <a:pathLst>
              <a:path h="54" w="123">
                <a:moveTo>
                  <a:pt x="114" y="10"/>
                </a:moveTo>
                <a:cubicBezTo>
                  <a:pt x="109" y="5"/>
                  <a:pt x="108" y="9"/>
                  <a:pt x="103" y="7"/>
                </a:cubicBezTo>
                <a:cubicBezTo>
                  <a:pt x="98" y="6"/>
                  <a:pt x="78" y="4"/>
                  <a:pt x="74" y="6"/>
                </a:cubicBezTo>
                <a:cubicBezTo>
                  <a:pt x="70" y="7"/>
                  <a:pt x="62" y="3"/>
                  <a:pt x="59" y="1"/>
                </a:cubicBezTo>
                <a:cubicBezTo>
                  <a:pt x="56" y="0"/>
                  <a:pt x="48" y="1"/>
                  <a:pt x="47" y="6"/>
                </a:cubicBezTo>
                <a:cubicBezTo>
                  <a:pt x="47" y="11"/>
                  <a:pt x="43" y="11"/>
                  <a:pt x="37" y="8"/>
                </a:cubicBezTo>
                <a:cubicBezTo>
                  <a:pt x="31" y="5"/>
                  <a:pt x="22" y="5"/>
                  <a:pt x="22" y="8"/>
                </a:cubicBezTo>
                <a:cubicBezTo>
                  <a:pt x="22" y="11"/>
                  <a:pt x="17" y="15"/>
                  <a:pt x="15" y="16"/>
                </a:cubicBezTo>
                <a:cubicBezTo>
                  <a:pt x="14" y="16"/>
                  <a:pt x="13" y="19"/>
                  <a:pt x="12" y="22"/>
                </a:cubicBezTo>
                <a:cubicBezTo>
                  <a:pt x="13" y="22"/>
                  <a:pt x="15" y="24"/>
                  <a:pt x="16" y="26"/>
                </a:cubicBezTo>
                <a:cubicBezTo>
                  <a:pt x="18" y="28"/>
                  <a:pt x="24" y="28"/>
                  <a:pt x="25" y="25"/>
                </a:cubicBezTo>
                <a:cubicBezTo>
                  <a:pt x="26" y="22"/>
                  <a:pt x="35" y="28"/>
                  <a:pt x="40" y="32"/>
                </a:cubicBezTo>
                <a:cubicBezTo>
                  <a:pt x="46" y="37"/>
                  <a:pt x="38" y="34"/>
                  <a:pt x="35" y="38"/>
                </a:cubicBezTo>
                <a:cubicBezTo>
                  <a:pt x="33" y="42"/>
                  <a:pt x="26" y="38"/>
                  <a:pt x="25" y="40"/>
                </a:cubicBezTo>
                <a:cubicBezTo>
                  <a:pt x="23" y="42"/>
                  <a:pt x="11" y="42"/>
                  <a:pt x="8" y="42"/>
                </a:cubicBezTo>
                <a:cubicBezTo>
                  <a:pt x="5" y="42"/>
                  <a:pt x="0" y="46"/>
                  <a:pt x="0" y="49"/>
                </a:cubicBezTo>
                <a:cubicBezTo>
                  <a:pt x="1" y="51"/>
                  <a:pt x="12" y="47"/>
                  <a:pt x="16" y="50"/>
                </a:cubicBezTo>
                <a:cubicBezTo>
                  <a:pt x="20" y="53"/>
                  <a:pt x="24" y="47"/>
                  <a:pt x="26" y="50"/>
                </a:cubicBezTo>
                <a:cubicBezTo>
                  <a:pt x="29" y="54"/>
                  <a:pt x="34" y="51"/>
                  <a:pt x="36" y="52"/>
                </a:cubicBezTo>
                <a:cubicBezTo>
                  <a:pt x="38" y="53"/>
                  <a:pt x="50" y="51"/>
                  <a:pt x="51" y="51"/>
                </a:cubicBezTo>
                <a:cubicBezTo>
                  <a:pt x="52" y="50"/>
                  <a:pt x="52" y="48"/>
                  <a:pt x="52" y="46"/>
                </a:cubicBezTo>
                <a:cubicBezTo>
                  <a:pt x="52" y="43"/>
                  <a:pt x="55" y="44"/>
                  <a:pt x="57" y="43"/>
                </a:cubicBezTo>
                <a:cubicBezTo>
                  <a:pt x="60" y="42"/>
                  <a:pt x="62" y="39"/>
                  <a:pt x="64" y="39"/>
                </a:cubicBezTo>
                <a:cubicBezTo>
                  <a:pt x="66" y="39"/>
                  <a:pt x="68" y="36"/>
                  <a:pt x="70" y="37"/>
                </a:cubicBezTo>
                <a:cubicBezTo>
                  <a:pt x="72" y="37"/>
                  <a:pt x="75" y="41"/>
                  <a:pt x="77" y="39"/>
                </a:cubicBezTo>
                <a:cubicBezTo>
                  <a:pt x="80" y="37"/>
                  <a:pt x="81" y="39"/>
                  <a:pt x="84" y="34"/>
                </a:cubicBezTo>
                <a:cubicBezTo>
                  <a:pt x="88" y="30"/>
                  <a:pt x="90" y="31"/>
                  <a:pt x="94" y="31"/>
                </a:cubicBezTo>
                <a:cubicBezTo>
                  <a:pt x="100" y="32"/>
                  <a:pt x="102" y="29"/>
                  <a:pt x="103" y="26"/>
                </a:cubicBezTo>
                <a:cubicBezTo>
                  <a:pt x="105" y="23"/>
                  <a:pt x="109" y="23"/>
                  <a:pt x="112" y="21"/>
                </a:cubicBezTo>
                <a:cubicBezTo>
                  <a:pt x="115" y="19"/>
                  <a:pt x="120" y="17"/>
                  <a:pt x="122" y="16"/>
                </a:cubicBezTo>
                <a:cubicBezTo>
                  <a:pt x="123" y="16"/>
                  <a:pt x="123" y="15"/>
                  <a:pt x="123" y="14"/>
                </a:cubicBezTo>
                <a:cubicBezTo>
                  <a:pt x="119" y="11"/>
                  <a:pt x="117" y="14"/>
                  <a:pt x="114" y="1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8" name="Freeform 55"/>
          <p:cNvSpPr/>
          <p:nvPr/>
        </p:nvSpPr>
        <p:spPr bwMode="auto">
          <a:xfrm>
            <a:off x="6911300" y="3298614"/>
            <a:ext cx="174303" cy="79605"/>
          </a:xfrm>
          <a:custGeom>
            <a:cxnLst>
              <a:cxn ang="0">
                <a:pos x="31" y="27"/>
              </a:cxn>
              <a:cxn ang="0">
                <a:pos x="39" y="33"/>
              </a:cxn>
              <a:cxn ang="0">
                <a:pos x="40" y="34"/>
              </a:cxn>
              <a:cxn ang="0">
                <a:pos x="51" y="32"/>
              </a:cxn>
              <a:cxn ang="0">
                <a:pos x="61" y="33"/>
              </a:cxn>
              <a:cxn ang="0">
                <a:pos x="60" y="30"/>
              </a:cxn>
              <a:cxn ang="0">
                <a:pos x="68" y="33"/>
              </a:cxn>
              <a:cxn ang="0">
                <a:pos x="77" y="33"/>
              </a:cxn>
              <a:cxn ang="0">
                <a:pos x="73" y="28"/>
              </a:cxn>
              <a:cxn ang="0">
                <a:pos x="75" y="24"/>
              </a:cxn>
              <a:cxn ang="0">
                <a:pos x="68" y="21"/>
              </a:cxn>
              <a:cxn ang="0">
                <a:pos x="65" y="14"/>
              </a:cxn>
              <a:cxn ang="0">
                <a:pos x="61" y="12"/>
              </a:cxn>
              <a:cxn ang="0">
                <a:pos x="49" y="14"/>
              </a:cxn>
              <a:cxn ang="0">
                <a:pos x="42" y="10"/>
              </a:cxn>
              <a:cxn ang="0">
                <a:pos x="35" y="6"/>
              </a:cxn>
              <a:cxn ang="0">
                <a:pos x="18" y="4"/>
              </a:cxn>
              <a:cxn ang="0">
                <a:pos x="4" y="0"/>
              </a:cxn>
              <a:cxn ang="0">
                <a:pos x="0" y="2"/>
              </a:cxn>
              <a:cxn ang="0">
                <a:pos x="18" y="12"/>
              </a:cxn>
              <a:cxn ang="0">
                <a:pos x="22" y="23"/>
              </a:cxn>
              <a:cxn ang="0">
                <a:pos x="19" y="27"/>
              </a:cxn>
              <a:cxn ang="0">
                <a:pos x="31" y="27"/>
              </a:cxn>
            </a:cxnLst>
            <a:rect b="b" l="0" r="r" t="0"/>
            <a:pathLst>
              <a:path h="35" w="78">
                <a:moveTo>
                  <a:pt x="31" y="27"/>
                </a:moveTo>
                <a:cubicBezTo>
                  <a:pt x="35" y="25"/>
                  <a:pt x="36" y="29"/>
                  <a:pt x="39" y="33"/>
                </a:cubicBezTo>
                <a:cubicBezTo>
                  <a:pt x="39" y="33"/>
                  <a:pt x="39" y="34"/>
                  <a:pt x="40" y="34"/>
                </a:cubicBezTo>
                <a:cubicBezTo>
                  <a:pt x="44" y="33"/>
                  <a:pt x="47" y="32"/>
                  <a:pt x="51" y="32"/>
                </a:cubicBezTo>
                <a:cubicBezTo>
                  <a:pt x="54" y="31"/>
                  <a:pt x="58" y="32"/>
                  <a:pt x="61" y="33"/>
                </a:cubicBezTo>
                <a:cubicBezTo>
                  <a:pt x="60" y="32"/>
                  <a:pt x="60" y="31"/>
                  <a:pt x="60" y="30"/>
                </a:cubicBezTo>
                <a:cubicBezTo>
                  <a:pt x="61" y="28"/>
                  <a:pt x="66" y="31"/>
                  <a:pt x="68" y="33"/>
                </a:cubicBezTo>
                <a:cubicBezTo>
                  <a:pt x="70" y="34"/>
                  <a:pt x="75" y="35"/>
                  <a:pt x="77" y="33"/>
                </a:cubicBezTo>
                <a:cubicBezTo>
                  <a:pt x="78" y="32"/>
                  <a:pt x="74" y="30"/>
                  <a:pt x="73" y="28"/>
                </a:cubicBezTo>
                <a:cubicBezTo>
                  <a:pt x="73" y="27"/>
                  <a:pt x="74" y="26"/>
                  <a:pt x="75" y="24"/>
                </a:cubicBezTo>
                <a:cubicBezTo>
                  <a:pt x="72" y="22"/>
                  <a:pt x="69" y="20"/>
                  <a:pt x="68" y="21"/>
                </a:cubicBezTo>
                <a:cubicBezTo>
                  <a:pt x="67" y="21"/>
                  <a:pt x="67" y="14"/>
                  <a:pt x="65" y="14"/>
                </a:cubicBezTo>
                <a:cubicBezTo>
                  <a:pt x="63" y="14"/>
                  <a:pt x="63" y="12"/>
                  <a:pt x="61" y="12"/>
                </a:cubicBezTo>
                <a:cubicBezTo>
                  <a:pt x="59" y="12"/>
                  <a:pt x="51" y="12"/>
                  <a:pt x="49" y="14"/>
                </a:cubicBezTo>
                <a:cubicBezTo>
                  <a:pt x="47" y="15"/>
                  <a:pt x="45" y="10"/>
                  <a:pt x="42" y="10"/>
                </a:cubicBezTo>
                <a:cubicBezTo>
                  <a:pt x="40" y="10"/>
                  <a:pt x="37" y="8"/>
                  <a:pt x="35" y="6"/>
                </a:cubicBezTo>
                <a:cubicBezTo>
                  <a:pt x="34" y="4"/>
                  <a:pt x="21" y="7"/>
                  <a:pt x="18" y="4"/>
                </a:cubicBezTo>
                <a:cubicBezTo>
                  <a:pt x="14" y="2"/>
                  <a:pt x="8" y="0"/>
                  <a:pt x="4" y="0"/>
                </a:cubicBezTo>
                <a:cubicBezTo>
                  <a:pt x="3" y="0"/>
                  <a:pt x="2" y="1"/>
                  <a:pt x="0" y="2"/>
                </a:cubicBezTo>
                <a:cubicBezTo>
                  <a:pt x="7" y="6"/>
                  <a:pt x="16" y="5"/>
                  <a:pt x="18" y="12"/>
                </a:cubicBezTo>
                <a:cubicBezTo>
                  <a:pt x="19" y="20"/>
                  <a:pt x="24" y="17"/>
                  <a:pt x="22" y="23"/>
                </a:cubicBezTo>
                <a:cubicBezTo>
                  <a:pt x="22" y="25"/>
                  <a:pt x="21" y="26"/>
                  <a:pt x="19" y="27"/>
                </a:cubicBezTo>
                <a:cubicBezTo>
                  <a:pt x="24" y="28"/>
                  <a:pt x="29" y="28"/>
                  <a:pt x="31" y="2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59" name="Freeform 56"/>
          <p:cNvSpPr>
            <a:spLocks noEditPoints="1"/>
          </p:cNvSpPr>
          <p:nvPr/>
        </p:nvSpPr>
        <p:spPr bwMode="auto">
          <a:xfrm>
            <a:off x="6562695" y="3342208"/>
            <a:ext cx="474696" cy="191431"/>
          </a:xfrm>
          <a:custGeom>
            <a:cxnLst>
              <a:cxn ang="0">
                <a:pos x="206" y="59"/>
              </a:cxn>
              <a:cxn ang="0">
                <a:pos x="206" y="47"/>
              </a:cxn>
              <a:cxn ang="0">
                <a:pos x="206" y="37"/>
              </a:cxn>
              <a:cxn ang="0">
                <a:pos x="209" y="32"/>
              </a:cxn>
              <a:cxn ang="0">
                <a:pos x="207" y="28"/>
              </a:cxn>
              <a:cxn ang="0">
                <a:pos x="198" y="24"/>
              </a:cxn>
              <a:cxn ang="0">
                <a:pos x="195" y="14"/>
              </a:cxn>
              <a:cxn ang="0">
                <a:pos x="187" y="8"/>
              </a:cxn>
              <a:cxn ang="0">
                <a:pos x="175" y="8"/>
              </a:cxn>
              <a:cxn ang="0">
                <a:pos x="154" y="15"/>
              </a:cxn>
              <a:cxn ang="0">
                <a:pos x="135" y="16"/>
              </a:cxn>
              <a:cxn ang="0">
                <a:pos x="121" y="11"/>
              </a:cxn>
              <a:cxn ang="0">
                <a:pos x="111" y="7"/>
              </a:cxn>
              <a:cxn ang="0">
                <a:pos x="95" y="2"/>
              </a:cxn>
              <a:cxn ang="0">
                <a:pos x="60" y="13"/>
              </a:cxn>
              <a:cxn ang="0">
                <a:pos x="36" y="14"/>
              </a:cxn>
              <a:cxn ang="0">
                <a:pos x="30" y="23"/>
              </a:cxn>
              <a:cxn ang="0">
                <a:pos x="6" y="25"/>
              </a:cxn>
              <a:cxn ang="0">
                <a:pos x="4" y="33"/>
              </a:cxn>
              <a:cxn ang="0">
                <a:pos x="9" y="36"/>
              </a:cxn>
              <a:cxn ang="0">
                <a:pos x="10" y="45"/>
              </a:cxn>
              <a:cxn ang="0">
                <a:pos x="10" y="53"/>
              </a:cxn>
              <a:cxn ang="0">
                <a:pos x="10" y="59"/>
              </a:cxn>
              <a:cxn ang="0">
                <a:pos x="16" y="65"/>
              </a:cxn>
              <a:cxn ang="0">
                <a:pos x="23" y="69"/>
              </a:cxn>
              <a:cxn ang="0">
                <a:pos x="29" y="71"/>
              </a:cxn>
              <a:cxn ang="0">
                <a:pos x="36" y="78"/>
              </a:cxn>
              <a:cxn ang="0">
                <a:pos x="50" y="75"/>
              </a:cxn>
              <a:cxn ang="0">
                <a:pos x="59" y="71"/>
              </a:cxn>
              <a:cxn ang="0">
                <a:pos x="75" y="80"/>
              </a:cxn>
              <a:cxn ang="0">
                <a:pos x="86" y="78"/>
              </a:cxn>
              <a:cxn ang="0">
                <a:pos x="97" y="71"/>
              </a:cxn>
              <a:cxn ang="0">
                <a:pos x="106" y="74"/>
              </a:cxn>
              <a:cxn ang="0">
                <a:pos x="114" y="71"/>
              </a:cxn>
              <a:cxn ang="0">
                <a:pos x="111" y="80"/>
              </a:cxn>
              <a:cxn ang="0">
                <a:pos x="111" y="84"/>
              </a:cxn>
              <a:cxn ang="0">
                <a:pos x="118" y="76"/>
              </a:cxn>
              <a:cxn ang="0">
                <a:pos x="123" y="74"/>
              </a:cxn>
              <a:cxn ang="0">
                <a:pos x="133" y="74"/>
              </a:cxn>
              <a:cxn ang="0">
                <a:pos x="140" y="72"/>
              </a:cxn>
              <a:cxn ang="0">
                <a:pos x="153" y="73"/>
              </a:cxn>
              <a:cxn ang="0">
                <a:pos x="168" y="68"/>
              </a:cxn>
              <a:cxn ang="0">
                <a:pos x="180" y="66"/>
              </a:cxn>
              <a:cxn ang="0">
                <a:pos x="185" y="68"/>
              </a:cxn>
              <a:cxn ang="0">
                <a:pos x="190" y="64"/>
              </a:cxn>
              <a:cxn ang="0">
                <a:pos x="200" y="66"/>
              </a:cxn>
              <a:cxn ang="0">
                <a:pos x="212" y="68"/>
              </a:cxn>
              <a:cxn ang="0">
                <a:pos x="206" y="59"/>
              </a:cxn>
              <a:cxn ang="0">
                <a:pos x="19" y="16"/>
              </a:cxn>
              <a:cxn ang="0">
                <a:pos x="34" y="14"/>
              </a:cxn>
              <a:cxn ang="0">
                <a:pos x="25" y="8"/>
              </a:cxn>
              <a:cxn ang="0">
                <a:pos x="22" y="2"/>
              </a:cxn>
              <a:cxn ang="0">
                <a:pos x="18" y="3"/>
              </a:cxn>
              <a:cxn ang="0">
                <a:pos x="6" y="3"/>
              </a:cxn>
              <a:cxn ang="0">
                <a:pos x="7" y="10"/>
              </a:cxn>
              <a:cxn ang="0">
                <a:pos x="4" y="15"/>
              </a:cxn>
              <a:cxn ang="0">
                <a:pos x="1" y="19"/>
              </a:cxn>
              <a:cxn ang="0">
                <a:pos x="8" y="22"/>
              </a:cxn>
              <a:cxn ang="0">
                <a:pos x="19" y="16"/>
              </a:cxn>
            </a:cxnLst>
            <a:rect b="b" l="0" r="r" t="0"/>
            <a:pathLst>
              <a:path h="84" w="211">
                <a:moveTo>
                  <a:pt x="206" y="59"/>
                </a:moveTo>
                <a:cubicBezTo>
                  <a:pt x="204" y="58"/>
                  <a:pt x="207" y="49"/>
                  <a:pt x="206" y="47"/>
                </a:cubicBezTo>
                <a:cubicBezTo>
                  <a:pt x="205" y="45"/>
                  <a:pt x="203" y="37"/>
                  <a:pt x="206" y="37"/>
                </a:cubicBezTo>
                <a:cubicBezTo>
                  <a:pt x="208" y="37"/>
                  <a:pt x="206" y="32"/>
                  <a:pt x="209" y="32"/>
                </a:cubicBezTo>
                <a:cubicBezTo>
                  <a:pt x="208" y="30"/>
                  <a:pt x="207" y="28"/>
                  <a:pt x="207" y="28"/>
                </a:cubicBezTo>
                <a:cubicBezTo>
                  <a:pt x="205" y="26"/>
                  <a:pt x="200" y="29"/>
                  <a:pt x="198" y="24"/>
                </a:cubicBezTo>
                <a:cubicBezTo>
                  <a:pt x="196" y="19"/>
                  <a:pt x="198" y="18"/>
                  <a:pt x="195" y="14"/>
                </a:cubicBezTo>
                <a:cubicBezTo>
                  <a:pt x="192" y="10"/>
                  <a:pt x="191" y="6"/>
                  <a:pt x="187" y="8"/>
                </a:cubicBezTo>
                <a:cubicBezTo>
                  <a:pt x="185" y="9"/>
                  <a:pt x="180" y="9"/>
                  <a:pt x="175" y="8"/>
                </a:cubicBezTo>
                <a:cubicBezTo>
                  <a:pt x="170" y="13"/>
                  <a:pt x="158" y="17"/>
                  <a:pt x="154" y="15"/>
                </a:cubicBezTo>
                <a:cubicBezTo>
                  <a:pt x="150" y="14"/>
                  <a:pt x="141" y="16"/>
                  <a:pt x="135" y="16"/>
                </a:cubicBezTo>
                <a:cubicBezTo>
                  <a:pt x="128" y="16"/>
                  <a:pt x="126" y="11"/>
                  <a:pt x="121" y="11"/>
                </a:cubicBezTo>
                <a:cubicBezTo>
                  <a:pt x="116" y="12"/>
                  <a:pt x="116" y="7"/>
                  <a:pt x="111" y="7"/>
                </a:cubicBezTo>
                <a:cubicBezTo>
                  <a:pt x="106" y="7"/>
                  <a:pt x="110" y="4"/>
                  <a:pt x="95" y="2"/>
                </a:cubicBezTo>
                <a:cubicBezTo>
                  <a:pt x="79" y="0"/>
                  <a:pt x="65" y="9"/>
                  <a:pt x="60" y="13"/>
                </a:cubicBezTo>
                <a:cubicBezTo>
                  <a:pt x="55" y="17"/>
                  <a:pt x="37" y="13"/>
                  <a:pt x="36" y="14"/>
                </a:cubicBezTo>
                <a:cubicBezTo>
                  <a:pt x="34" y="15"/>
                  <a:pt x="36" y="21"/>
                  <a:pt x="30" y="23"/>
                </a:cubicBezTo>
                <a:cubicBezTo>
                  <a:pt x="24" y="25"/>
                  <a:pt x="11" y="23"/>
                  <a:pt x="6" y="25"/>
                </a:cubicBezTo>
                <a:cubicBezTo>
                  <a:pt x="2" y="27"/>
                  <a:pt x="0" y="34"/>
                  <a:pt x="4" y="33"/>
                </a:cubicBezTo>
                <a:cubicBezTo>
                  <a:pt x="8" y="33"/>
                  <a:pt x="10" y="35"/>
                  <a:pt x="9" y="36"/>
                </a:cubicBezTo>
                <a:cubicBezTo>
                  <a:pt x="8" y="38"/>
                  <a:pt x="12" y="43"/>
                  <a:pt x="10" y="45"/>
                </a:cubicBezTo>
                <a:cubicBezTo>
                  <a:pt x="8" y="47"/>
                  <a:pt x="7" y="51"/>
                  <a:pt x="10" y="53"/>
                </a:cubicBezTo>
                <a:cubicBezTo>
                  <a:pt x="13" y="55"/>
                  <a:pt x="13" y="58"/>
                  <a:pt x="10" y="59"/>
                </a:cubicBezTo>
                <a:cubicBezTo>
                  <a:pt x="7" y="59"/>
                  <a:pt x="16" y="63"/>
                  <a:pt x="16" y="65"/>
                </a:cubicBezTo>
                <a:cubicBezTo>
                  <a:pt x="16" y="66"/>
                  <a:pt x="23" y="67"/>
                  <a:pt x="23" y="69"/>
                </a:cubicBezTo>
                <a:cubicBezTo>
                  <a:pt x="23" y="71"/>
                  <a:pt x="25" y="72"/>
                  <a:pt x="29" y="71"/>
                </a:cubicBezTo>
                <a:cubicBezTo>
                  <a:pt x="32" y="70"/>
                  <a:pt x="34" y="75"/>
                  <a:pt x="36" y="78"/>
                </a:cubicBezTo>
                <a:cubicBezTo>
                  <a:pt x="38" y="81"/>
                  <a:pt x="50" y="79"/>
                  <a:pt x="50" y="75"/>
                </a:cubicBezTo>
                <a:cubicBezTo>
                  <a:pt x="50" y="72"/>
                  <a:pt x="54" y="71"/>
                  <a:pt x="59" y="71"/>
                </a:cubicBezTo>
                <a:cubicBezTo>
                  <a:pt x="65" y="72"/>
                  <a:pt x="72" y="79"/>
                  <a:pt x="75" y="80"/>
                </a:cubicBezTo>
                <a:cubicBezTo>
                  <a:pt x="77" y="81"/>
                  <a:pt x="83" y="78"/>
                  <a:pt x="86" y="78"/>
                </a:cubicBezTo>
                <a:cubicBezTo>
                  <a:pt x="90" y="78"/>
                  <a:pt x="95" y="73"/>
                  <a:pt x="97" y="71"/>
                </a:cubicBezTo>
                <a:cubicBezTo>
                  <a:pt x="99" y="70"/>
                  <a:pt x="102" y="75"/>
                  <a:pt x="106" y="74"/>
                </a:cubicBezTo>
                <a:cubicBezTo>
                  <a:pt x="109" y="72"/>
                  <a:pt x="112" y="70"/>
                  <a:pt x="114" y="71"/>
                </a:cubicBezTo>
                <a:cubicBezTo>
                  <a:pt x="116" y="72"/>
                  <a:pt x="109" y="78"/>
                  <a:pt x="111" y="80"/>
                </a:cubicBezTo>
                <a:cubicBezTo>
                  <a:pt x="112" y="81"/>
                  <a:pt x="112" y="83"/>
                  <a:pt x="111" y="84"/>
                </a:cubicBezTo>
                <a:cubicBezTo>
                  <a:pt x="118" y="83"/>
                  <a:pt x="118" y="78"/>
                  <a:pt x="118" y="76"/>
                </a:cubicBezTo>
                <a:cubicBezTo>
                  <a:pt x="119" y="74"/>
                  <a:pt x="120" y="72"/>
                  <a:pt x="123" y="74"/>
                </a:cubicBezTo>
                <a:cubicBezTo>
                  <a:pt x="125" y="75"/>
                  <a:pt x="128" y="76"/>
                  <a:pt x="133" y="74"/>
                </a:cubicBezTo>
                <a:cubicBezTo>
                  <a:pt x="138" y="71"/>
                  <a:pt x="138" y="70"/>
                  <a:pt x="140" y="72"/>
                </a:cubicBezTo>
                <a:cubicBezTo>
                  <a:pt x="142" y="74"/>
                  <a:pt x="146" y="73"/>
                  <a:pt x="153" y="73"/>
                </a:cubicBezTo>
                <a:cubicBezTo>
                  <a:pt x="160" y="73"/>
                  <a:pt x="161" y="68"/>
                  <a:pt x="168" y="68"/>
                </a:cubicBezTo>
                <a:cubicBezTo>
                  <a:pt x="175" y="69"/>
                  <a:pt x="180" y="66"/>
                  <a:pt x="180" y="66"/>
                </a:cubicBezTo>
                <a:cubicBezTo>
                  <a:pt x="185" y="68"/>
                  <a:pt x="185" y="68"/>
                  <a:pt x="185" y="68"/>
                </a:cubicBezTo>
                <a:cubicBezTo>
                  <a:pt x="186" y="66"/>
                  <a:pt x="186" y="64"/>
                  <a:pt x="190" y="64"/>
                </a:cubicBezTo>
                <a:cubicBezTo>
                  <a:pt x="195" y="63"/>
                  <a:pt x="197" y="67"/>
                  <a:pt x="200" y="66"/>
                </a:cubicBezTo>
                <a:cubicBezTo>
                  <a:pt x="202" y="65"/>
                  <a:pt x="211" y="74"/>
                  <a:pt x="212" y="68"/>
                </a:cubicBezTo>
                <a:cubicBezTo>
                  <a:pt x="212" y="66"/>
                  <a:pt x="208" y="59"/>
                  <a:pt x="206" y="59"/>
                </a:cubicBezTo>
                <a:close/>
                <a:moveTo>
                  <a:pt x="19" y="16"/>
                </a:moveTo>
                <a:cubicBezTo>
                  <a:pt x="23" y="14"/>
                  <a:pt x="32" y="16"/>
                  <a:pt x="34" y="14"/>
                </a:cubicBezTo>
                <a:cubicBezTo>
                  <a:pt x="36" y="12"/>
                  <a:pt x="28" y="10"/>
                  <a:pt x="25" y="8"/>
                </a:cubicBezTo>
                <a:cubicBezTo>
                  <a:pt x="24" y="6"/>
                  <a:pt x="23" y="4"/>
                  <a:pt x="22" y="2"/>
                </a:cubicBezTo>
                <a:cubicBezTo>
                  <a:pt x="21" y="3"/>
                  <a:pt x="19" y="3"/>
                  <a:pt x="18" y="3"/>
                </a:cubicBezTo>
                <a:cubicBezTo>
                  <a:pt x="15" y="1"/>
                  <a:pt x="8" y="2"/>
                  <a:pt x="6" y="3"/>
                </a:cubicBezTo>
                <a:cubicBezTo>
                  <a:pt x="5" y="3"/>
                  <a:pt x="7" y="7"/>
                  <a:pt x="7" y="10"/>
                </a:cubicBezTo>
                <a:cubicBezTo>
                  <a:pt x="7" y="13"/>
                  <a:pt x="4" y="14"/>
                  <a:pt x="4" y="15"/>
                </a:cubicBezTo>
                <a:cubicBezTo>
                  <a:pt x="4" y="17"/>
                  <a:pt x="3" y="18"/>
                  <a:pt x="1" y="19"/>
                </a:cubicBezTo>
                <a:cubicBezTo>
                  <a:pt x="4" y="21"/>
                  <a:pt x="6" y="22"/>
                  <a:pt x="8" y="22"/>
                </a:cubicBezTo>
                <a:cubicBezTo>
                  <a:pt x="13" y="22"/>
                  <a:pt x="15" y="17"/>
                  <a:pt x="19" y="1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0" name="Freeform 57"/>
          <p:cNvSpPr/>
          <p:nvPr/>
        </p:nvSpPr>
        <p:spPr bwMode="auto">
          <a:xfrm>
            <a:off x="7884799" y="3535533"/>
            <a:ext cx="59337" cy="56860"/>
          </a:xfrm>
          <a:custGeom>
            <a:cxnLst>
              <a:cxn ang="0">
                <a:pos x="12" y="0"/>
              </a:cxn>
              <a:cxn ang="0">
                <a:pos x="0" y="8"/>
              </a:cxn>
              <a:cxn ang="0">
                <a:pos x="1" y="11"/>
              </a:cxn>
              <a:cxn ang="0">
                <a:pos x="8" y="18"/>
              </a:cxn>
              <a:cxn ang="0">
                <a:pos x="9" y="25"/>
              </a:cxn>
              <a:cxn ang="0">
                <a:pos x="14" y="25"/>
              </a:cxn>
              <a:cxn ang="0">
                <a:pos x="25" y="11"/>
              </a:cxn>
              <a:cxn ang="0">
                <a:pos x="12" y="0"/>
              </a:cxn>
            </a:cxnLst>
            <a:rect b="b" l="0" r="r" t="0"/>
            <a:pathLst>
              <a:path h="25" w="26">
                <a:moveTo>
                  <a:pt x="12" y="0"/>
                </a:moveTo>
                <a:cubicBezTo>
                  <a:pt x="8" y="0"/>
                  <a:pt x="1" y="4"/>
                  <a:pt x="0" y="8"/>
                </a:cubicBezTo>
                <a:cubicBezTo>
                  <a:pt x="0" y="8"/>
                  <a:pt x="1" y="10"/>
                  <a:pt x="1" y="11"/>
                </a:cubicBezTo>
                <a:cubicBezTo>
                  <a:pt x="2" y="14"/>
                  <a:pt x="5" y="17"/>
                  <a:pt x="8" y="18"/>
                </a:cubicBezTo>
                <a:cubicBezTo>
                  <a:pt x="10" y="19"/>
                  <a:pt x="10" y="22"/>
                  <a:pt x="9" y="25"/>
                </a:cubicBezTo>
                <a:cubicBezTo>
                  <a:pt x="11" y="25"/>
                  <a:pt x="13" y="25"/>
                  <a:pt x="14" y="25"/>
                </a:cubicBezTo>
                <a:cubicBezTo>
                  <a:pt x="17" y="24"/>
                  <a:pt x="24" y="14"/>
                  <a:pt x="25" y="11"/>
                </a:cubicBezTo>
                <a:cubicBezTo>
                  <a:pt x="26" y="8"/>
                  <a:pt x="17" y="1"/>
                  <a:pt x="12" y="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1" name="Freeform 58"/>
          <p:cNvSpPr/>
          <p:nvPr/>
        </p:nvSpPr>
        <p:spPr bwMode="auto">
          <a:xfrm>
            <a:off x="9021474" y="3321359"/>
            <a:ext cx="172449" cy="168686"/>
          </a:xfrm>
          <a:custGeom>
            <a:cxnLst>
              <a:cxn ang="0">
                <a:pos x="74" y="4"/>
              </a:cxn>
              <a:cxn ang="0">
                <a:pos x="65" y="0"/>
              </a:cxn>
              <a:cxn ang="0">
                <a:pos x="58" y="9"/>
              </a:cxn>
              <a:cxn ang="0">
                <a:pos x="50" y="15"/>
              </a:cxn>
              <a:cxn ang="0">
                <a:pos x="46" y="19"/>
              </a:cxn>
              <a:cxn ang="0">
                <a:pos x="38" y="21"/>
              </a:cxn>
              <a:cxn ang="0">
                <a:pos x="31" y="18"/>
              </a:cxn>
              <a:cxn ang="0">
                <a:pos x="24" y="26"/>
              </a:cxn>
              <a:cxn ang="0">
                <a:pos x="3" y="38"/>
              </a:cxn>
              <a:cxn ang="0">
                <a:pos x="0" y="43"/>
              </a:cxn>
              <a:cxn ang="0">
                <a:pos x="13" y="49"/>
              </a:cxn>
              <a:cxn ang="0">
                <a:pos x="6" y="62"/>
              </a:cxn>
              <a:cxn ang="0">
                <a:pos x="8" y="68"/>
              </a:cxn>
              <a:cxn ang="0">
                <a:pos x="14" y="71"/>
              </a:cxn>
              <a:cxn ang="0">
                <a:pos x="22" y="70"/>
              </a:cxn>
              <a:cxn ang="0">
                <a:pos x="25" y="71"/>
              </a:cxn>
              <a:cxn ang="0">
                <a:pos x="31" y="66"/>
              </a:cxn>
              <a:cxn ang="0">
                <a:pos x="42" y="64"/>
              </a:cxn>
              <a:cxn ang="0">
                <a:pos x="48" y="62"/>
              </a:cxn>
              <a:cxn ang="0">
                <a:pos x="38" y="52"/>
              </a:cxn>
              <a:cxn ang="0">
                <a:pos x="41" y="42"/>
              </a:cxn>
              <a:cxn ang="0">
                <a:pos x="61" y="30"/>
              </a:cxn>
              <a:cxn ang="0">
                <a:pos x="65" y="17"/>
              </a:cxn>
              <a:cxn ang="0">
                <a:pos x="77" y="4"/>
              </a:cxn>
              <a:cxn ang="0">
                <a:pos x="74" y="4"/>
              </a:cxn>
            </a:cxnLst>
            <a:rect b="b" l="0" r="r" t="0"/>
            <a:pathLst>
              <a:path h="74" w="77">
                <a:moveTo>
                  <a:pt x="74" y="4"/>
                </a:moveTo>
                <a:cubicBezTo>
                  <a:pt x="70" y="5"/>
                  <a:pt x="68" y="0"/>
                  <a:pt x="65" y="0"/>
                </a:cubicBezTo>
                <a:cubicBezTo>
                  <a:pt x="61" y="0"/>
                  <a:pt x="62" y="9"/>
                  <a:pt x="58" y="9"/>
                </a:cubicBezTo>
                <a:cubicBezTo>
                  <a:pt x="54" y="9"/>
                  <a:pt x="55" y="14"/>
                  <a:pt x="50" y="15"/>
                </a:cubicBezTo>
                <a:cubicBezTo>
                  <a:pt x="45" y="16"/>
                  <a:pt x="43" y="16"/>
                  <a:pt x="46" y="19"/>
                </a:cubicBezTo>
                <a:cubicBezTo>
                  <a:pt x="48" y="23"/>
                  <a:pt x="43" y="21"/>
                  <a:pt x="38" y="21"/>
                </a:cubicBezTo>
                <a:cubicBezTo>
                  <a:pt x="34" y="21"/>
                  <a:pt x="34" y="18"/>
                  <a:pt x="31" y="18"/>
                </a:cubicBezTo>
                <a:cubicBezTo>
                  <a:pt x="28" y="18"/>
                  <a:pt x="26" y="24"/>
                  <a:pt x="24" y="26"/>
                </a:cubicBezTo>
                <a:cubicBezTo>
                  <a:pt x="22" y="29"/>
                  <a:pt x="7" y="36"/>
                  <a:pt x="3" y="38"/>
                </a:cubicBezTo>
                <a:cubicBezTo>
                  <a:pt x="2" y="39"/>
                  <a:pt x="1" y="41"/>
                  <a:pt x="0" y="43"/>
                </a:cubicBezTo>
                <a:cubicBezTo>
                  <a:pt x="5" y="43"/>
                  <a:pt x="10" y="46"/>
                  <a:pt x="13" y="49"/>
                </a:cubicBezTo>
                <a:cubicBezTo>
                  <a:pt x="16" y="53"/>
                  <a:pt x="9" y="58"/>
                  <a:pt x="6" y="62"/>
                </a:cubicBezTo>
                <a:cubicBezTo>
                  <a:pt x="3" y="65"/>
                  <a:pt x="8" y="65"/>
                  <a:pt x="8" y="68"/>
                </a:cubicBezTo>
                <a:cubicBezTo>
                  <a:pt x="8" y="71"/>
                  <a:pt x="12" y="74"/>
                  <a:pt x="14" y="71"/>
                </a:cubicBezTo>
                <a:cubicBezTo>
                  <a:pt x="15" y="69"/>
                  <a:pt x="18" y="70"/>
                  <a:pt x="22" y="70"/>
                </a:cubicBezTo>
                <a:cubicBezTo>
                  <a:pt x="24" y="70"/>
                  <a:pt x="24" y="70"/>
                  <a:pt x="25" y="71"/>
                </a:cubicBezTo>
                <a:cubicBezTo>
                  <a:pt x="27" y="69"/>
                  <a:pt x="30" y="67"/>
                  <a:pt x="31" y="66"/>
                </a:cubicBezTo>
                <a:cubicBezTo>
                  <a:pt x="33" y="64"/>
                  <a:pt x="38" y="64"/>
                  <a:pt x="42" y="64"/>
                </a:cubicBezTo>
                <a:cubicBezTo>
                  <a:pt x="44" y="64"/>
                  <a:pt x="46" y="63"/>
                  <a:pt x="48" y="62"/>
                </a:cubicBezTo>
                <a:cubicBezTo>
                  <a:pt x="43" y="57"/>
                  <a:pt x="39" y="53"/>
                  <a:pt x="38" y="52"/>
                </a:cubicBezTo>
                <a:cubicBezTo>
                  <a:pt x="34" y="50"/>
                  <a:pt x="36" y="43"/>
                  <a:pt x="41" y="42"/>
                </a:cubicBezTo>
                <a:cubicBezTo>
                  <a:pt x="46" y="41"/>
                  <a:pt x="57" y="32"/>
                  <a:pt x="61" y="30"/>
                </a:cubicBezTo>
                <a:cubicBezTo>
                  <a:pt x="64" y="28"/>
                  <a:pt x="62" y="22"/>
                  <a:pt x="65" y="17"/>
                </a:cubicBezTo>
                <a:cubicBezTo>
                  <a:pt x="66" y="14"/>
                  <a:pt x="72" y="9"/>
                  <a:pt x="77" y="4"/>
                </a:cubicBezTo>
                <a:cubicBezTo>
                  <a:pt x="76" y="4"/>
                  <a:pt x="75" y="4"/>
                  <a:pt x="74" y="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2" name="Freeform 59"/>
          <p:cNvSpPr/>
          <p:nvPr/>
        </p:nvSpPr>
        <p:spPr bwMode="auto">
          <a:xfrm>
            <a:off x="7936719" y="3698533"/>
            <a:ext cx="194700" cy="113721"/>
          </a:xfrm>
          <a:custGeom>
            <a:cxnLst>
              <a:cxn ang="0">
                <a:pos x="85" y="32"/>
              </a:cxn>
              <a:cxn ang="0">
                <a:pos x="83" y="32"/>
              </a:cxn>
              <a:cxn ang="0">
                <a:pos x="68" y="29"/>
              </a:cxn>
              <a:cxn ang="0">
                <a:pos x="46" y="20"/>
              </a:cxn>
              <a:cxn ang="0">
                <a:pos x="23" y="3"/>
              </a:cxn>
              <a:cxn ang="0">
                <a:pos x="14" y="2"/>
              </a:cxn>
              <a:cxn ang="0">
                <a:pos x="7" y="4"/>
              </a:cxn>
              <a:cxn ang="0">
                <a:pos x="2" y="10"/>
              </a:cxn>
              <a:cxn ang="0">
                <a:pos x="0" y="19"/>
              </a:cxn>
              <a:cxn ang="0">
                <a:pos x="6" y="23"/>
              </a:cxn>
              <a:cxn ang="0">
                <a:pos x="15" y="27"/>
              </a:cxn>
              <a:cxn ang="0">
                <a:pos x="23" y="32"/>
              </a:cxn>
              <a:cxn ang="0">
                <a:pos x="33" y="37"/>
              </a:cxn>
              <a:cxn ang="0">
                <a:pos x="43" y="35"/>
              </a:cxn>
              <a:cxn ang="0">
                <a:pos x="50" y="42"/>
              </a:cxn>
              <a:cxn ang="0">
                <a:pos x="64" y="47"/>
              </a:cxn>
              <a:cxn ang="0">
                <a:pos x="84" y="46"/>
              </a:cxn>
              <a:cxn ang="0">
                <a:pos x="84" y="34"/>
              </a:cxn>
              <a:cxn ang="0">
                <a:pos x="85" y="32"/>
              </a:cxn>
            </a:cxnLst>
            <a:rect b="b" l="0" r="r" t="0"/>
            <a:pathLst>
              <a:path h="50" w="87">
                <a:moveTo>
                  <a:pt x="85" y="32"/>
                </a:moveTo>
                <a:cubicBezTo>
                  <a:pt x="84" y="32"/>
                  <a:pt x="84" y="31"/>
                  <a:pt x="83" y="32"/>
                </a:cubicBezTo>
                <a:cubicBezTo>
                  <a:pt x="76" y="32"/>
                  <a:pt x="72" y="29"/>
                  <a:pt x="68" y="29"/>
                </a:cubicBezTo>
                <a:cubicBezTo>
                  <a:pt x="64" y="29"/>
                  <a:pt x="51" y="24"/>
                  <a:pt x="46" y="20"/>
                </a:cubicBezTo>
                <a:cubicBezTo>
                  <a:pt x="41" y="16"/>
                  <a:pt x="27" y="7"/>
                  <a:pt x="23" y="3"/>
                </a:cubicBezTo>
                <a:cubicBezTo>
                  <a:pt x="20" y="0"/>
                  <a:pt x="15" y="0"/>
                  <a:pt x="14" y="2"/>
                </a:cubicBezTo>
                <a:cubicBezTo>
                  <a:pt x="14" y="3"/>
                  <a:pt x="11" y="3"/>
                  <a:pt x="7" y="4"/>
                </a:cubicBezTo>
                <a:cubicBezTo>
                  <a:pt x="6" y="5"/>
                  <a:pt x="2" y="8"/>
                  <a:pt x="2" y="10"/>
                </a:cubicBezTo>
                <a:cubicBezTo>
                  <a:pt x="2" y="13"/>
                  <a:pt x="0" y="16"/>
                  <a:pt x="0" y="19"/>
                </a:cubicBezTo>
                <a:cubicBezTo>
                  <a:pt x="0" y="21"/>
                  <a:pt x="5" y="21"/>
                  <a:pt x="6" y="23"/>
                </a:cubicBezTo>
                <a:cubicBezTo>
                  <a:pt x="7" y="25"/>
                  <a:pt x="15" y="26"/>
                  <a:pt x="15" y="27"/>
                </a:cubicBezTo>
                <a:cubicBezTo>
                  <a:pt x="15" y="29"/>
                  <a:pt x="20" y="31"/>
                  <a:pt x="23" y="32"/>
                </a:cubicBezTo>
                <a:cubicBezTo>
                  <a:pt x="27" y="32"/>
                  <a:pt x="31" y="36"/>
                  <a:pt x="33" y="37"/>
                </a:cubicBezTo>
                <a:cubicBezTo>
                  <a:pt x="35" y="39"/>
                  <a:pt x="41" y="35"/>
                  <a:pt x="43" y="35"/>
                </a:cubicBezTo>
                <a:cubicBezTo>
                  <a:pt x="46" y="35"/>
                  <a:pt x="49" y="39"/>
                  <a:pt x="50" y="42"/>
                </a:cubicBezTo>
                <a:cubicBezTo>
                  <a:pt x="50" y="44"/>
                  <a:pt x="62" y="45"/>
                  <a:pt x="64" y="47"/>
                </a:cubicBezTo>
                <a:cubicBezTo>
                  <a:pt x="67" y="50"/>
                  <a:pt x="81" y="48"/>
                  <a:pt x="84" y="46"/>
                </a:cubicBezTo>
                <a:cubicBezTo>
                  <a:pt x="87" y="43"/>
                  <a:pt x="84" y="38"/>
                  <a:pt x="84" y="34"/>
                </a:cubicBezTo>
                <a:cubicBezTo>
                  <a:pt x="84" y="33"/>
                  <a:pt x="85" y="32"/>
                  <a:pt x="85" y="3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3" name="Freeform 60"/>
          <p:cNvSpPr/>
          <p:nvPr/>
        </p:nvSpPr>
        <p:spPr bwMode="auto">
          <a:xfrm>
            <a:off x="8218570" y="3749707"/>
            <a:ext cx="213243" cy="487105"/>
          </a:xfrm>
          <a:custGeom>
            <a:cxnLst>
              <a:cxn ang="0">
                <a:pos x="78" y="193"/>
              </a:cxn>
              <a:cxn ang="0">
                <a:pos x="74" y="185"/>
              </a:cxn>
              <a:cxn ang="0">
                <a:pos x="70" y="171"/>
              </a:cxn>
              <a:cxn ang="0">
                <a:pos x="66" y="159"/>
              </a:cxn>
              <a:cxn ang="0">
                <a:pos x="67" y="151"/>
              </a:cxn>
              <a:cxn ang="0">
                <a:pos x="68" y="146"/>
              </a:cxn>
              <a:cxn ang="0">
                <a:pos x="66" y="138"/>
              </a:cxn>
              <a:cxn ang="0">
                <a:pos x="57" y="128"/>
              </a:cxn>
              <a:cxn ang="0">
                <a:pos x="59" y="110"/>
              </a:cxn>
              <a:cxn ang="0">
                <a:pos x="66" y="106"/>
              </a:cxn>
              <a:cxn ang="0">
                <a:pos x="74" y="104"/>
              </a:cxn>
              <a:cxn ang="0">
                <a:pos x="84" y="98"/>
              </a:cxn>
              <a:cxn ang="0">
                <a:pos x="90" y="93"/>
              </a:cxn>
              <a:cxn ang="0">
                <a:pos x="96" y="84"/>
              </a:cxn>
              <a:cxn ang="0">
                <a:pos x="96" y="84"/>
              </a:cxn>
              <a:cxn ang="0">
                <a:pos x="91" y="85"/>
              </a:cxn>
              <a:cxn ang="0">
                <a:pos x="84" y="81"/>
              </a:cxn>
              <a:cxn ang="0">
                <a:pos x="78" y="78"/>
              </a:cxn>
              <a:cxn ang="0">
                <a:pos x="78" y="71"/>
              </a:cxn>
              <a:cxn ang="0">
                <a:pos x="74" y="66"/>
              </a:cxn>
              <a:cxn ang="0">
                <a:pos x="70" y="56"/>
              </a:cxn>
              <a:cxn ang="0">
                <a:pos x="60" y="54"/>
              </a:cxn>
              <a:cxn ang="0">
                <a:pos x="58" y="49"/>
              </a:cxn>
              <a:cxn ang="0">
                <a:pos x="67" y="33"/>
              </a:cxn>
              <a:cxn ang="0">
                <a:pos x="70" y="17"/>
              </a:cxn>
              <a:cxn ang="0">
                <a:pos x="65" y="11"/>
              </a:cxn>
              <a:cxn ang="0">
                <a:pos x="63" y="5"/>
              </a:cxn>
              <a:cxn ang="0">
                <a:pos x="55" y="2"/>
              </a:cxn>
              <a:cxn ang="0">
                <a:pos x="53" y="3"/>
              </a:cxn>
              <a:cxn ang="0">
                <a:pos x="54" y="3"/>
              </a:cxn>
              <a:cxn ang="0">
                <a:pos x="51" y="8"/>
              </a:cxn>
              <a:cxn ang="0">
                <a:pos x="52" y="16"/>
              </a:cxn>
              <a:cxn ang="0">
                <a:pos x="47" y="16"/>
              </a:cxn>
              <a:cxn ang="0">
                <a:pos x="38" y="20"/>
              </a:cxn>
              <a:cxn ang="0">
                <a:pos x="30" y="28"/>
              </a:cxn>
              <a:cxn ang="0">
                <a:pos x="27" y="42"/>
              </a:cxn>
              <a:cxn ang="0">
                <a:pos x="23" y="56"/>
              </a:cxn>
              <a:cxn ang="0">
                <a:pos x="14" y="56"/>
              </a:cxn>
              <a:cxn ang="0">
                <a:pos x="12" y="67"/>
              </a:cxn>
              <a:cxn ang="0">
                <a:pos x="9" y="79"/>
              </a:cxn>
              <a:cxn ang="0">
                <a:pos x="4" y="87"/>
              </a:cxn>
              <a:cxn ang="0">
                <a:pos x="0" y="91"/>
              </a:cxn>
              <a:cxn ang="0">
                <a:pos x="10" y="102"/>
              </a:cxn>
              <a:cxn ang="0">
                <a:pos x="23" y="125"/>
              </a:cxn>
              <a:cxn ang="0">
                <a:pos x="22" y="143"/>
              </a:cxn>
              <a:cxn ang="0">
                <a:pos x="26" y="149"/>
              </a:cxn>
              <a:cxn ang="0">
                <a:pos x="37" y="148"/>
              </a:cxn>
              <a:cxn ang="0">
                <a:pos x="47" y="136"/>
              </a:cxn>
              <a:cxn ang="0">
                <a:pos x="53" y="141"/>
              </a:cxn>
              <a:cxn ang="0">
                <a:pos x="57" y="153"/>
              </a:cxn>
              <a:cxn ang="0">
                <a:pos x="63" y="178"/>
              </a:cxn>
              <a:cxn ang="0">
                <a:pos x="67" y="195"/>
              </a:cxn>
              <a:cxn ang="0">
                <a:pos x="69" y="209"/>
              </a:cxn>
              <a:cxn ang="0">
                <a:pos x="68" y="212"/>
              </a:cxn>
              <a:cxn ang="0">
                <a:pos x="78" y="193"/>
              </a:cxn>
            </a:cxnLst>
            <a:rect b="b" l="0" r="r" t="0"/>
            <a:pathLst>
              <a:path h="213" w="96">
                <a:moveTo>
                  <a:pt x="78" y="193"/>
                </a:moveTo>
                <a:cubicBezTo>
                  <a:pt x="78" y="189"/>
                  <a:pt x="74" y="188"/>
                  <a:pt x="74" y="185"/>
                </a:cubicBezTo>
                <a:cubicBezTo>
                  <a:pt x="74" y="181"/>
                  <a:pt x="74" y="175"/>
                  <a:pt x="70" y="171"/>
                </a:cubicBezTo>
                <a:cubicBezTo>
                  <a:pt x="65" y="167"/>
                  <a:pt x="63" y="161"/>
                  <a:pt x="66" y="159"/>
                </a:cubicBezTo>
                <a:cubicBezTo>
                  <a:pt x="68" y="157"/>
                  <a:pt x="66" y="150"/>
                  <a:pt x="67" y="151"/>
                </a:cubicBezTo>
                <a:cubicBezTo>
                  <a:pt x="69" y="151"/>
                  <a:pt x="71" y="147"/>
                  <a:pt x="68" y="146"/>
                </a:cubicBezTo>
                <a:cubicBezTo>
                  <a:pt x="65" y="144"/>
                  <a:pt x="68" y="139"/>
                  <a:pt x="66" y="138"/>
                </a:cubicBezTo>
                <a:cubicBezTo>
                  <a:pt x="63" y="137"/>
                  <a:pt x="57" y="130"/>
                  <a:pt x="57" y="128"/>
                </a:cubicBezTo>
                <a:cubicBezTo>
                  <a:pt x="57" y="126"/>
                  <a:pt x="59" y="113"/>
                  <a:pt x="59" y="110"/>
                </a:cubicBezTo>
                <a:cubicBezTo>
                  <a:pt x="60" y="107"/>
                  <a:pt x="64" y="106"/>
                  <a:pt x="66" y="106"/>
                </a:cubicBezTo>
                <a:cubicBezTo>
                  <a:pt x="67" y="106"/>
                  <a:pt x="72" y="107"/>
                  <a:pt x="74" y="104"/>
                </a:cubicBezTo>
                <a:cubicBezTo>
                  <a:pt x="76" y="101"/>
                  <a:pt x="83" y="100"/>
                  <a:pt x="84" y="98"/>
                </a:cubicBezTo>
                <a:cubicBezTo>
                  <a:pt x="85" y="96"/>
                  <a:pt x="90" y="96"/>
                  <a:pt x="90" y="93"/>
                </a:cubicBezTo>
                <a:cubicBezTo>
                  <a:pt x="90" y="90"/>
                  <a:pt x="96" y="84"/>
                  <a:pt x="96" y="84"/>
                </a:cubicBezTo>
                <a:cubicBezTo>
                  <a:pt x="96" y="84"/>
                  <a:pt x="96" y="84"/>
                  <a:pt x="96" y="84"/>
                </a:cubicBezTo>
                <a:cubicBezTo>
                  <a:pt x="96" y="83"/>
                  <a:pt x="94" y="84"/>
                  <a:pt x="91" y="85"/>
                </a:cubicBezTo>
                <a:cubicBezTo>
                  <a:pt x="86" y="87"/>
                  <a:pt x="84" y="84"/>
                  <a:pt x="84" y="81"/>
                </a:cubicBezTo>
                <a:cubicBezTo>
                  <a:pt x="85" y="78"/>
                  <a:pt x="81" y="78"/>
                  <a:pt x="78" y="78"/>
                </a:cubicBezTo>
                <a:cubicBezTo>
                  <a:pt x="75" y="78"/>
                  <a:pt x="77" y="74"/>
                  <a:pt x="78" y="71"/>
                </a:cubicBezTo>
                <a:cubicBezTo>
                  <a:pt x="79" y="68"/>
                  <a:pt x="77" y="66"/>
                  <a:pt x="74" y="66"/>
                </a:cubicBezTo>
                <a:cubicBezTo>
                  <a:pt x="70" y="65"/>
                  <a:pt x="69" y="58"/>
                  <a:pt x="70" y="56"/>
                </a:cubicBezTo>
                <a:cubicBezTo>
                  <a:pt x="71" y="54"/>
                  <a:pt x="63" y="53"/>
                  <a:pt x="60" y="54"/>
                </a:cubicBezTo>
                <a:cubicBezTo>
                  <a:pt x="56" y="56"/>
                  <a:pt x="59" y="51"/>
                  <a:pt x="58" y="49"/>
                </a:cubicBezTo>
                <a:cubicBezTo>
                  <a:pt x="57" y="46"/>
                  <a:pt x="62" y="38"/>
                  <a:pt x="67" y="33"/>
                </a:cubicBezTo>
                <a:cubicBezTo>
                  <a:pt x="72" y="28"/>
                  <a:pt x="70" y="22"/>
                  <a:pt x="70" y="17"/>
                </a:cubicBezTo>
                <a:cubicBezTo>
                  <a:pt x="70" y="11"/>
                  <a:pt x="68" y="11"/>
                  <a:pt x="65" y="11"/>
                </a:cubicBezTo>
                <a:cubicBezTo>
                  <a:pt x="63" y="11"/>
                  <a:pt x="63" y="8"/>
                  <a:pt x="63" y="5"/>
                </a:cubicBezTo>
                <a:cubicBezTo>
                  <a:pt x="63" y="2"/>
                  <a:pt x="58" y="0"/>
                  <a:pt x="55" y="2"/>
                </a:cubicBezTo>
                <a:cubicBezTo>
                  <a:pt x="55" y="2"/>
                  <a:pt x="54" y="2"/>
                  <a:pt x="53" y="3"/>
                </a:cubicBezTo>
                <a:cubicBezTo>
                  <a:pt x="54" y="3"/>
                  <a:pt x="54" y="3"/>
                  <a:pt x="54" y="3"/>
                </a:cubicBezTo>
                <a:cubicBezTo>
                  <a:pt x="54" y="3"/>
                  <a:pt x="53" y="7"/>
                  <a:pt x="51" y="8"/>
                </a:cubicBezTo>
                <a:cubicBezTo>
                  <a:pt x="49" y="9"/>
                  <a:pt x="49" y="12"/>
                  <a:pt x="52" y="16"/>
                </a:cubicBezTo>
                <a:cubicBezTo>
                  <a:pt x="55" y="20"/>
                  <a:pt x="48" y="18"/>
                  <a:pt x="47" y="16"/>
                </a:cubicBezTo>
                <a:cubicBezTo>
                  <a:pt x="46" y="13"/>
                  <a:pt x="41" y="17"/>
                  <a:pt x="38" y="20"/>
                </a:cubicBezTo>
                <a:cubicBezTo>
                  <a:pt x="35" y="22"/>
                  <a:pt x="30" y="24"/>
                  <a:pt x="30" y="28"/>
                </a:cubicBezTo>
                <a:cubicBezTo>
                  <a:pt x="30" y="33"/>
                  <a:pt x="26" y="38"/>
                  <a:pt x="27" y="42"/>
                </a:cubicBezTo>
                <a:cubicBezTo>
                  <a:pt x="28" y="46"/>
                  <a:pt x="23" y="54"/>
                  <a:pt x="23" y="56"/>
                </a:cubicBezTo>
                <a:cubicBezTo>
                  <a:pt x="23" y="58"/>
                  <a:pt x="15" y="56"/>
                  <a:pt x="14" y="56"/>
                </a:cubicBezTo>
                <a:cubicBezTo>
                  <a:pt x="13" y="56"/>
                  <a:pt x="14" y="64"/>
                  <a:pt x="12" y="67"/>
                </a:cubicBezTo>
                <a:cubicBezTo>
                  <a:pt x="10" y="69"/>
                  <a:pt x="11" y="79"/>
                  <a:pt x="9" y="79"/>
                </a:cubicBezTo>
                <a:cubicBezTo>
                  <a:pt x="6" y="79"/>
                  <a:pt x="4" y="87"/>
                  <a:pt x="4" y="87"/>
                </a:cubicBezTo>
                <a:cubicBezTo>
                  <a:pt x="4" y="87"/>
                  <a:pt x="2" y="89"/>
                  <a:pt x="0" y="91"/>
                </a:cubicBezTo>
                <a:cubicBezTo>
                  <a:pt x="2" y="95"/>
                  <a:pt x="6" y="100"/>
                  <a:pt x="10" y="102"/>
                </a:cubicBezTo>
                <a:cubicBezTo>
                  <a:pt x="17" y="104"/>
                  <a:pt x="21" y="118"/>
                  <a:pt x="23" y="125"/>
                </a:cubicBezTo>
                <a:cubicBezTo>
                  <a:pt x="25" y="132"/>
                  <a:pt x="24" y="139"/>
                  <a:pt x="22" y="143"/>
                </a:cubicBezTo>
                <a:cubicBezTo>
                  <a:pt x="19" y="147"/>
                  <a:pt x="22" y="147"/>
                  <a:pt x="26" y="149"/>
                </a:cubicBezTo>
                <a:cubicBezTo>
                  <a:pt x="30" y="151"/>
                  <a:pt x="34" y="152"/>
                  <a:pt x="37" y="148"/>
                </a:cubicBezTo>
                <a:cubicBezTo>
                  <a:pt x="40" y="144"/>
                  <a:pt x="46" y="141"/>
                  <a:pt x="47" y="136"/>
                </a:cubicBezTo>
                <a:cubicBezTo>
                  <a:pt x="48" y="132"/>
                  <a:pt x="50" y="138"/>
                  <a:pt x="53" y="141"/>
                </a:cubicBezTo>
                <a:cubicBezTo>
                  <a:pt x="55" y="143"/>
                  <a:pt x="57" y="148"/>
                  <a:pt x="57" y="153"/>
                </a:cubicBezTo>
                <a:cubicBezTo>
                  <a:pt x="58" y="159"/>
                  <a:pt x="58" y="173"/>
                  <a:pt x="63" y="178"/>
                </a:cubicBezTo>
                <a:cubicBezTo>
                  <a:pt x="68" y="182"/>
                  <a:pt x="69" y="192"/>
                  <a:pt x="67" y="195"/>
                </a:cubicBezTo>
                <a:cubicBezTo>
                  <a:pt x="66" y="199"/>
                  <a:pt x="70" y="205"/>
                  <a:pt x="69" y="209"/>
                </a:cubicBezTo>
                <a:cubicBezTo>
                  <a:pt x="68" y="209"/>
                  <a:pt x="68" y="211"/>
                  <a:pt x="68" y="212"/>
                </a:cubicBezTo>
                <a:cubicBezTo>
                  <a:pt x="72" y="213"/>
                  <a:pt x="78" y="193"/>
                  <a:pt x="78" y="19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4" name="Freeform 61"/>
          <p:cNvSpPr/>
          <p:nvPr/>
        </p:nvSpPr>
        <p:spPr bwMode="auto">
          <a:xfrm>
            <a:off x="8144399" y="3757288"/>
            <a:ext cx="76026" cy="47384"/>
          </a:xfrm>
          <a:custGeom>
            <a:cxnLst>
              <a:cxn ang="0">
                <a:pos x="33" y="7"/>
              </a:cxn>
              <a:cxn ang="0">
                <a:pos x="20" y="3"/>
              </a:cxn>
              <a:cxn ang="0">
                <a:pos x="11" y="2"/>
              </a:cxn>
              <a:cxn ang="0">
                <a:pos x="3" y="9"/>
              </a:cxn>
              <a:cxn ang="0">
                <a:pos x="0" y="14"/>
              </a:cxn>
              <a:cxn ang="0">
                <a:pos x="3" y="16"/>
              </a:cxn>
              <a:cxn ang="0">
                <a:pos x="11" y="18"/>
              </a:cxn>
              <a:cxn ang="0">
                <a:pos x="21" y="19"/>
              </a:cxn>
              <a:cxn ang="0">
                <a:pos x="32" y="17"/>
              </a:cxn>
              <a:cxn ang="0">
                <a:pos x="31" y="8"/>
              </a:cxn>
              <a:cxn ang="0">
                <a:pos x="33" y="7"/>
              </a:cxn>
            </a:cxnLst>
            <a:rect b="b" l="0" r="r" t="0"/>
            <a:pathLst>
              <a:path h="21" w="34">
                <a:moveTo>
                  <a:pt x="33" y="7"/>
                </a:moveTo>
                <a:cubicBezTo>
                  <a:pt x="26" y="1"/>
                  <a:pt x="24" y="6"/>
                  <a:pt x="20" y="3"/>
                </a:cubicBezTo>
                <a:cubicBezTo>
                  <a:pt x="15" y="1"/>
                  <a:pt x="13" y="0"/>
                  <a:pt x="11" y="2"/>
                </a:cubicBezTo>
                <a:cubicBezTo>
                  <a:pt x="8" y="4"/>
                  <a:pt x="5" y="3"/>
                  <a:pt x="3" y="9"/>
                </a:cubicBezTo>
                <a:cubicBezTo>
                  <a:pt x="2" y="11"/>
                  <a:pt x="1" y="12"/>
                  <a:pt x="0" y="14"/>
                </a:cubicBezTo>
                <a:cubicBezTo>
                  <a:pt x="1" y="15"/>
                  <a:pt x="2" y="16"/>
                  <a:pt x="3" y="16"/>
                </a:cubicBezTo>
                <a:cubicBezTo>
                  <a:pt x="5" y="16"/>
                  <a:pt x="7" y="19"/>
                  <a:pt x="11" y="18"/>
                </a:cubicBezTo>
                <a:cubicBezTo>
                  <a:pt x="14" y="17"/>
                  <a:pt x="16" y="20"/>
                  <a:pt x="21" y="19"/>
                </a:cubicBezTo>
                <a:cubicBezTo>
                  <a:pt x="26" y="17"/>
                  <a:pt x="31" y="21"/>
                  <a:pt x="32" y="17"/>
                </a:cubicBezTo>
                <a:cubicBezTo>
                  <a:pt x="34" y="14"/>
                  <a:pt x="31" y="8"/>
                  <a:pt x="31" y="8"/>
                </a:cubicBezTo>
                <a:cubicBezTo>
                  <a:pt x="31" y="8"/>
                  <a:pt x="32" y="7"/>
                  <a:pt x="33" y="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5" name="Freeform 62"/>
          <p:cNvSpPr/>
          <p:nvPr/>
        </p:nvSpPr>
        <p:spPr bwMode="auto">
          <a:xfrm>
            <a:off x="8459627" y="3891858"/>
            <a:ext cx="187283" cy="396128"/>
          </a:xfrm>
          <a:custGeom>
            <a:cxnLst>
              <a:cxn ang="0">
                <a:pos x="62" y="22"/>
              </a:cxn>
              <a:cxn ang="0">
                <a:pos x="51" y="13"/>
              </a:cxn>
              <a:cxn ang="0">
                <a:pos x="48" y="7"/>
              </a:cxn>
              <a:cxn ang="0">
                <a:pos x="38" y="2"/>
              </a:cxn>
              <a:cxn ang="0">
                <a:pos x="29" y="7"/>
              </a:cxn>
              <a:cxn ang="0">
                <a:pos x="22" y="9"/>
              </a:cxn>
              <a:cxn ang="0">
                <a:pos x="12" y="9"/>
              </a:cxn>
              <a:cxn ang="0">
                <a:pos x="4" y="10"/>
              </a:cxn>
              <a:cxn ang="0">
                <a:pos x="0" y="12"/>
              </a:cxn>
              <a:cxn ang="0">
                <a:pos x="5" y="18"/>
              </a:cxn>
              <a:cxn ang="0">
                <a:pos x="10" y="27"/>
              </a:cxn>
              <a:cxn ang="0">
                <a:pos x="20" y="32"/>
              </a:cxn>
              <a:cxn ang="0">
                <a:pos x="27" y="34"/>
              </a:cxn>
              <a:cxn ang="0">
                <a:pos x="31" y="42"/>
              </a:cxn>
              <a:cxn ang="0">
                <a:pos x="22" y="47"/>
              </a:cxn>
              <a:cxn ang="0">
                <a:pos x="35" y="58"/>
              </a:cxn>
              <a:cxn ang="0">
                <a:pos x="40" y="68"/>
              </a:cxn>
              <a:cxn ang="0">
                <a:pos x="50" y="80"/>
              </a:cxn>
              <a:cxn ang="0">
                <a:pos x="59" y="89"/>
              </a:cxn>
              <a:cxn ang="0">
                <a:pos x="61" y="100"/>
              </a:cxn>
              <a:cxn ang="0">
                <a:pos x="65" y="119"/>
              </a:cxn>
              <a:cxn ang="0">
                <a:pos x="57" y="132"/>
              </a:cxn>
              <a:cxn ang="0">
                <a:pos x="47" y="138"/>
              </a:cxn>
              <a:cxn ang="0">
                <a:pos x="47" y="148"/>
              </a:cxn>
              <a:cxn ang="0">
                <a:pos x="34" y="148"/>
              </a:cxn>
              <a:cxn ang="0">
                <a:pos x="27" y="153"/>
              </a:cxn>
              <a:cxn ang="0">
                <a:pos x="32" y="157"/>
              </a:cxn>
              <a:cxn ang="0">
                <a:pos x="29" y="167"/>
              </a:cxn>
              <a:cxn ang="0">
                <a:pos x="34" y="172"/>
              </a:cxn>
              <a:cxn ang="0">
                <a:pos x="45" y="164"/>
              </a:cxn>
              <a:cxn ang="0">
                <a:pos x="47" y="159"/>
              </a:cxn>
              <a:cxn ang="0">
                <a:pos x="50" y="153"/>
              </a:cxn>
              <a:cxn ang="0">
                <a:pos x="57" y="152"/>
              </a:cxn>
              <a:cxn ang="0">
                <a:pos x="73" y="145"/>
              </a:cxn>
              <a:cxn ang="0">
                <a:pos x="81" y="130"/>
              </a:cxn>
              <a:cxn ang="0">
                <a:pos x="79" y="104"/>
              </a:cxn>
              <a:cxn ang="0">
                <a:pos x="68" y="86"/>
              </a:cxn>
              <a:cxn ang="0">
                <a:pos x="50" y="71"/>
              </a:cxn>
              <a:cxn ang="0">
                <a:pos x="45" y="62"/>
              </a:cxn>
              <a:cxn ang="0">
                <a:pos x="42" y="47"/>
              </a:cxn>
              <a:cxn ang="0">
                <a:pos x="50" y="37"/>
              </a:cxn>
              <a:cxn ang="0">
                <a:pos x="54" y="30"/>
              </a:cxn>
              <a:cxn ang="0">
                <a:pos x="63" y="24"/>
              </a:cxn>
              <a:cxn ang="0">
                <a:pos x="64" y="24"/>
              </a:cxn>
              <a:cxn ang="0">
                <a:pos x="62" y="22"/>
              </a:cxn>
            </a:cxnLst>
            <a:rect b="b" l="0" r="r" t="0"/>
            <a:pathLst>
              <a:path h="174" w="84">
                <a:moveTo>
                  <a:pt x="62" y="22"/>
                </a:moveTo>
                <a:cubicBezTo>
                  <a:pt x="59" y="21"/>
                  <a:pt x="51" y="15"/>
                  <a:pt x="51" y="13"/>
                </a:cubicBezTo>
                <a:cubicBezTo>
                  <a:pt x="51" y="11"/>
                  <a:pt x="55" y="7"/>
                  <a:pt x="48" y="7"/>
                </a:cubicBezTo>
                <a:cubicBezTo>
                  <a:pt x="40" y="6"/>
                  <a:pt x="40" y="3"/>
                  <a:pt x="38" y="2"/>
                </a:cubicBezTo>
                <a:cubicBezTo>
                  <a:pt x="37" y="0"/>
                  <a:pt x="31" y="4"/>
                  <a:pt x="29" y="7"/>
                </a:cubicBezTo>
                <a:cubicBezTo>
                  <a:pt x="28" y="11"/>
                  <a:pt x="26" y="7"/>
                  <a:pt x="22" y="9"/>
                </a:cubicBezTo>
                <a:cubicBezTo>
                  <a:pt x="18" y="11"/>
                  <a:pt x="14" y="6"/>
                  <a:pt x="12" y="9"/>
                </a:cubicBezTo>
                <a:cubicBezTo>
                  <a:pt x="10" y="12"/>
                  <a:pt x="6" y="7"/>
                  <a:pt x="4" y="10"/>
                </a:cubicBezTo>
                <a:cubicBezTo>
                  <a:pt x="3" y="11"/>
                  <a:pt x="2" y="11"/>
                  <a:pt x="0" y="12"/>
                </a:cubicBezTo>
                <a:cubicBezTo>
                  <a:pt x="2" y="14"/>
                  <a:pt x="5" y="16"/>
                  <a:pt x="5" y="18"/>
                </a:cubicBezTo>
                <a:cubicBezTo>
                  <a:pt x="5" y="21"/>
                  <a:pt x="10" y="23"/>
                  <a:pt x="10" y="27"/>
                </a:cubicBezTo>
                <a:cubicBezTo>
                  <a:pt x="10" y="30"/>
                  <a:pt x="17" y="33"/>
                  <a:pt x="20" y="32"/>
                </a:cubicBezTo>
                <a:cubicBezTo>
                  <a:pt x="22" y="30"/>
                  <a:pt x="27" y="29"/>
                  <a:pt x="27" y="34"/>
                </a:cubicBezTo>
                <a:cubicBezTo>
                  <a:pt x="28" y="39"/>
                  <a:pt x="31" y="39"/>
                  <a:pt x="31" y="42"/>
                </a:cubicBezTo>
                <a:cubicBezTo>
                  <a:pt x="31" y="46"/>
                  <a:pt x="24" y="44"/>
                  <a:pt x="22" y="47"/>
                </a:cubicBezTo>
                <a:cubicBezTo>
                  <a:pt x="21" y="51"/>
                  <a:pt x="35" y="55"/>
                  <a:pt x="35" y="58"/>
                </a:cubicBezTo>
                <a:cubicBezTo>
                  <a:pt x="35" y="61"/>
                  <a:pt x="39" y="64"/>
                  <a:pt x="40" y="68"/>
                </a:cubicBezTo>
                <a:cubicBezTo>
                  <a:pt x="42" y="72"/>
                  <a:pt x="48" y="76"/>
                  <a:pt x="50" y="80"/>
                </a:cubicBezTo>
                <a:cubicBezTo>
                  <a:pt x="51" y="84"/>
                  <a:pt x="57" y="87"/>
                  <a:pt x="59" y="89"/>
                </a:cubicBezTo>
                <a:cubicBezTo>
                  <a:pt x="61" y="91"/>
                  <a:pt x="62" y="96"/>
                  <a:pt x="61" y="100"/>
                </a:cubicBezTo>
                <a:cubicBezTo>
                  <a:pt x="60" y="104"/>
                  <a:pt x="60" y="112"/>
                  <a:pt x="65" y="119"/>
                </a:cubicBezTo>
                <a:cubicBezTo>
                  <a:pt x="69" y="125"/>
                  <a:pt x="60" y="128"/>
                  <a:pt x="57" y="132"/>
                </a:cubicBezTo>
                <a:cubicBezTo>
                  <a:pt x="54" y="135"/>
                  <a:pt x="55" y="140"/>
                  <a:pt x="47" y="138"/>
                </a:cubicBezTo>
                <a:cubicBezTo>
                  <a:pt x="38" y="136"/>
                  <a:pt x="48" y="145"/>
                  <a:pt x="47" y="148"/>
                </a:cubicBezTo>
                <a:cubicBezTo>
                  <a:pt x="45" y="151"/>
                  <a:pt x="34" y="145"/>
                  <a:pt x="34" y="148"/>
                </a:cubicBezTo>
                <a:cubicBezTo>
                  <a:pt x="34" y="150"/>
                  <a:pt x="30" y="152"/>
                  <a:pt x="27" y="153"/>
                </a:cubicBezTo>
                <a:cubicBezTo>
                  <a:pt x="28" y="155"/>
                  <a:pt x="30" y="156"/>
                  <a:pt x="32" y="157"/>
                </a:cubicBezTo>
                <a:cubicBezTo>
                  <a:pt x="35" y="159"/>
                  <a:pt x="29" y="162"/>
                  <a:pt x="29" y="167"/>
                </a:cubicBezTo>
                <a:cubicBezTo>
                  <a:pt x="29" y="172"/>
                  <a:pt x="33" y="174"/>
                  <a:pt x="34" y="172"/>
                </a:cubicBezTo>
                <a:cubicBezTo>
                  <a:pt x="36" y="169"/>
                  <a:pt x="42" y="165"/>
                  <a:pt x="45" y="164"/>
                </a:cubicBezTo>
                <a:cubicBezTo>
                  <a:pt x="47" y="163"/>
                  <a:pt x="45" y="159"/>
                  <a:pt x="47" y="159"/>
                </a:cubicBezTo>
                <a:cubicBezTo>
                  <a:pt x="50" y="160"/>
                  <a:pt x="49" y="156"/>
                  <a:pt x="50" y="153"/>
                </a:cubicBezTo>
                <a:cubicBezTo>
                  <a:pt x="51" y="151"/>
                  <a:pt x="53" y="152"/>
                  <a:pt x="57" y="152"/>
                </a:cubicBezTo>
                <a:cubicBezTo>
                  <a:pt x="61" y="152"/>
                  <a:pt x="67" y="149"/>
                  <a:pt x="73" y="145"/>
                </a:cubicBezTo>
                <a:cubicBezTo>
                  <a:pt x="78" y="141"/>
                  <a:pt x="79" y="140"/>
                  <a:pt x="81" y="130"/>
                </a:cubicBezTo>
                <a:cubicBezTo>
                  <a:pt x="84" y="119"/>
                  <a:pt x="79" y="107"/>
                  <a:pt x="79" y="104"/>
                </a:cubicBezTo>
                <a:cubicBezTo>
                  <a:pt x="79" y="101"/>
                  <a:pt x="71" y="86"/>
                  <a:pt x="68" y="86"/>
                </a:cubicBezTo>
                <a:cubicBezTo>
                  <a:pt x="65" y="86"/>
                  <a:pt x="52" y="73"/>
                  <a:pt x="50" y="71"/>
                </a:cubicBezTo>
                <a:cubicBezTo>
                  <a:pt x="48" y="69"/>
                  <a:pt x="48" y="65"/>
                  <a:pt x="45" y="62"/>
                </a:cubicBezTo>
                <a:cubicBezTo>
                  <a:pt x="42" y="59"/>
                  <a:pt x="41" y="52"/>
                  <a:pt x="42" y="47"/>
                </a:cubicBezTo>
                <a:cubicBezTo>
                  <a:pt x="43" y="42"/>
                  <a:pt x="50" y="40"/>
                  <a:pt x="50" y="37"/>
                </a:cubicBezTo>
                <a:cubicBezTo>
                  <a:pt x="50" y="33"/>
                  <a:pt x="51" y="30"/>
                  <a:pt x="54" y="30"/>
                </a:cubicBezTo>
                <a:cubicBezTo>
                  <a:pt x="58" y="30"/>
                  <a:pt x="62" y="27"/>
                  <a:pt x="63" y="24"/>
                </a:cubicBezTo>
                <a:cubicBezTo>
                  <a:pt x="63" y="24"/>
                  <a:pt x="64" y="24"/>
                  <a:pt x="64" y="24"/>
                </a:cubicBezTo>
                <a:cubicBezTo>
                  <a:pt x="63" y="22"/>
                  <a:pt x="62" y="22"/>
                  <a:pt x="62" y="2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6" name="Freeform 63"/>
          <p:cNvSpPr/>
          <p:nvPr/>
        </p:nvSpPr>
        <p:spPr bwMode="auto">
          <a:xfrm>
            <a:off x="8459627" y="4128776"/>
            <a:ext cx="153906" cy="111826"/>
          </a:xfrm>
          <a:custGeom>
            <a:cxnLst>
              <a:cxn ang="0">
                <a:pos x="34" y="44"/>
              </a:cxn>
              <a:cxn ang="0">
                <a:pos x="47" y="44"/>
              </a:cxn>
              <a:cxn ang="0">
                <a:pos x="47" y="34"/>
              </a:cxn>
              <a:cxn ang="0">
                <a:pos x="57" y="28"/>
              </a:cxn>
              <a:cxn ang="0">
                <a:pos x="65" y="15"/>
              </a:cxn>
              <a:cxn ang="0">
                <a:pos x="61" y="1"/>
              </a:cxn>
              <a:cxn ang="0">
                <a:pos x="53" y="2"/>
              </a:cxn>
              <a:cxn ang="0">
                <a:pos x="45" y="5"/>
              </a:cxn>
              <a:cxn ang="0">
                <a:pos x="42" y="8"/>
              </a:cxn>
              <a:cxn ang="0">
                <a:pos x="35" y="3"/>
              </a:cxn>
              <a:cxn ang="0">
                <a:pos x="20" y="3"/>
              </a:cxn>
              <a:cxn ang="0">
                <a:pos x="4" y="10"/>
              </a:cxn>
              <a:cxn ang="0">
                <a:pos x="5" y="21"/>
              </a:cxn>
              <a:cxn ang="0">
                <a:pos x="6" y="29"/>
              </a:cxn>
              <a:cxn ang="0">
                <a:pos x="6" y="30"/>
              </a:cxn>
              <a:cxn ang="0">
                <a:pos x="9" y="40"/>
              </a:cxn>
              <a:cxn ang="0">
                <a:pos x="16" y="41"/>
              </a:cxn>
              <a:cxn ang="0">
                <a:pos x="17" y="47"/>
              </a:cxn>
              <a:cxn ang="0">
                <a:pos x="26" y="48"/>
              </a:cxn>
              <a:cxn ang="0">
                <a:pos x="27" y="49"/>
              </a:cxn>
              <a:cxn ang="0">
                <a:pos x="34" y="44"/>
              </a:cxn>
            </a:cxnLst>
            <a:rect b="b" l="0" r="r" t="0"/>
            <a:pathLst>
              <a:path h="49" w="69">
                <a:moveTo>
                  <a:pt x="34" y="44"/>
                </a:moveTo>
                <a:cubicBezTo>
                  <a:pt x="34" y="41"/>
                  <a:pt x="45" y="47"/>
                  <a:pt x="47" y="44"/>
                </a:cubicBezTo>
                <a:cubicBezTo>
                  <a:pt x="48" y="41"/>
                  <a:pt x="38" y="32"/>
                  <a:pt x="47" y="34"/>
                </a:cubicBezTo>
                <a:cubicBezTo>
                  <a:pt x="55" y="36"/>
                  <a:pt x="54" y="31"/>
                  <a:pt x="57" y="28"/>
                </a:cubicBezTo>
                <a:cubicBezTo>
                  <a:pt x="60" y="24"/>
                  <a:pt x="69" y="21"/>
                  <a:pt x="65" y="15"/>
                </a:cubicBezTo>
                <a:cubicBezTo>
                  <a:pt x="61" y="10"/>
                  <a:pt x="61" y="5"/>
                  <a:pt x="61" y="1"/>
                </a:cubicBezTo>
                <a:cubicBezTo>
                  <a:pt x="58" y="3"/>
                  <a:pt x="54" y="3"/>
                  <a:pt x="53" y="2"/>
                </a:cubicBezTo>
                <a:cubicBezTo>
                  <a:pt x="50" y="1"/>
                  <a:pt x="45" y="1"/>
                  <a:pt x="45" y="5"/>
                </a:cubicBezTo>
                <a:cubicBezTo>
                  <a:pt x="45" y="9"/>
                  <a:pt x="41" y="9"/>
                  <a:pt x="42" y="8"/>
                </a:cubicBezTo>
                <a:cubicBezTo>
                  <a:pt x="42" y="6"/>
                  <a:pt x="38" y="6"/>
                  <a:pt x="35" y="3"/>
                </a:cubicBezTo>
                <a:cubicBezTo>
                  <a:pt x="33" y="0"/>
                  <a:pt x="24" y="4"/>
                  <a:pt x="20" y="3"/>
                </a:cubicBezTo>
                <a:cubicBezTo>
                  <a:pt x="16" y="1"/>
                  <a:pt x="9" y="5"/>
                  <a:pt x="4" y="10"/>
                </a:cubicBezTo>
                <a:cubicBezTo>
                  <a:pt x="0" y="16"/>
                  <a:pt x="5" y="16"/>
                  <a:pt x="5" y="21"/>
                </a:cubicBezTo>
                <a:cubicBezTo>
                  <a:pt x="5" y="25"/>
                  <a:pt x="8" y="25"/>
                  <a:pt x="6" y="29"/>
                </a:cubicBezTo>
                <a:cubicBezTo>
                  <a:pt x="6" y="29"/>
                  <a:pt x="6" y="29"/>
                  <a:pt x="6" y="30"/>
                </a:cubicBezTo>
                <a:cubicBezTo>
                  <a:pt x="11" y="31"/>
                  <a:pt x="9" y="37"/>
                  <a:pt x="9" y="40"/>
                </a:cubicBezTo>
                <a:cubicBezTo>
                  <a:pt x="10" y="43"/>
                  <a:pt x="14" y="41"/>
                  <a:pt x="16" y="41"/>
                </a:cubicBezTo>
                <a:cubicBezTo>
                  <a:pt x="19" y="41"/>
                  <a:pt x="15" y="45"/>
                  <a:pt x="17" y="47"/>
                </a:cubicBezTo>
                <a:cubicBezTo>
                  <a:pt x="19" y="49"/>
                  <a:pt x="25" y="45"/>
                  <a:pt x="26" y="48"/>
                </a:cubicBezTo>
                <a:cubicBezTo>
                  <a:pt x="26" y="48"/>
                  <a:pt x="26" y="49"/>
                  <a:pt x="27" y="49"/>
                </a:cubicBezTo>
                <a:cubicBezTo>
                  <a:pt x="30" y="48"/>
                  <a:pt x="34" y="46"/>
                  <a:pt x="34" y="4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7" name="Freeform 64"/>
          <p:cNvSpPr/>
          <p:nvPr/>
        </p:nvSpPr>
        <p:spPr bwMode="auto">
          <a:xfrm>
            <a:off x="8409561" y="3916497"/>
            <a:ext cx="187283" cy="233128"/>
          </a:xfrm>
          <a:custGeom>
            <a:cxnLst>
              <a:cxn ang="0">
                <a:pos x="57" y="47"/>
              </a:cxn>
              <a:cxn ang="0">
                <a:pos x="44" y="36"/>
              </a:cxn>
              <a:cxn ang="0">
                <a:pos x="53" y="31"/>
              </a:cxn>
              <a:cxn ang="0">
                <a:pos x="49" y="23"/>
              </a:cxn>
              <a:cxn ang="0">
                <a:pos x="42" y="21"/>
              </a:cxn>
              <a:cxn ang="0">
                <a:pos x="32" y="16"/>
              </a:cxn>
              <a:cxn ang="0">
                <a:pos x="27" y="7"/>
              </a:cxn>
              <a:cxn ang="0">
                <a:pos x="22" y="1"/>
              </a:cxn>
              <a:cxn ang="0">
                <a:pos x="18" y="1"/>
              </a:cxn>
              <a:cxn ang="0">
                <a:pos x="16" y="7"/>
              </a:cxn>
              <a:cxn ang="0">
                <a:pos x="16" y="16"/>
              </a:cxn>
              <a:cxn ang="0">
                <a:pos x="10" y="11"/>
              </a:cxn>
              <a:cxn ang="0">
                <a:pos x="4" y="20"/>
              </a:cxn>
              <a:cxn ang="0">
                <a:pos x="0" y="23"/>
              </a:cxn>
              <a:cxn ang="0">
                <a:pos x="2" y="25"/>
              </a:cxn>
              <a:cxn ang="0">
                <a:pos x="3" y="34"/>
              </a:cxn>
              <a:cxn ang="0">
                <a:pos x="11" y="37"/>
              </a:cxn>
              <a:cxn ang="0">
                <a:pos x="10" y="49"/>
              </a:cxn>
              <a:cxn ang="0">
                <a:pos x="7" y="58"/>
              </a:cxn>
              <a:cxn ang="0">
                <a:pos x="17" y="54"/>
              </a:cxn>
              <a:cxn ang="0">
                <a:pos x="26" y="53"/>
              </a:cxn>
              <a:cxn ang="0">
                <a:pos x="33" y="51"/>
              </a:cxn>
              <a:cxn ang="0">
                <a:pos x="43" y="51"/>
              </a:cxn>
              <a:cxn ang="0">
                <a:pos x="52" y="59"/>
              </a:cxn>
              <a:cxn ang="0">
                <a:pos x="52" y="73"/>
              </a:cxn>
              <a:cxn ang="0">
                <a:pos x="60" y="85"/>
              </a:cxn>
              <a:cxn ang="0">
                <a:pos x="59" y="97"/>
              </a:cxn>
              <a:cxn ang="0">
                <a:pos x="64" y="101"/>
              </a:cxn>
              <a:cxn ang="0">
                <a:pos x="67" y="98"/>
              </a:cxn>
              <a:cxn ang="0">
                <a:pos x="75" y="95"/>
              </a:cxn>
              <a:cxn ang="0">
                <a:pos x="83" y="94"/>
              </a:cxn>
              <a:cxn ang="0">
                <a:pos x="83" y="89"/>
              </a:cxn>
              <a:cxn ang="0">
                <a:pos x="81" y="78"/>
              </a:cxn>
              <a:cxn ang="0">
                <a:pos x="72" y="69"/>
              </a:cxn>
              <a:cxn ang="0">
                <a:pos x="62" y="57"/>
              </a:cxn>
              <a:cxn ang="0">
                <a:pos x="57" y="47"/>
              </a:cxn>
            </a:cxnLst>
            <a:rect b="b" l="0" r="r" t="0"/>
            <a:pathLst>
              <a:path h="102" w="84">
                <a:moveTo>
                  <a:pt x="57" y="47"/>
                </a:moveTo>
                <a:cubicBezTo>
                  <a:pt x="57" y="44"/>
                  <a:pt x="43" y="40"/>
                  <a:pt x="44" y="36"/>
                </a:cubicBezTo>
                <a:cubicBezTo>
                  <a:pt x="46" y="33"/>
                  <a:pt x="53" y="35"/>
                  <a:pt x="53" y="31"/>
                </a:cubicBezTo>
                <a:cubicBezTo>
                  <a:pt x="53" y="28"/>
                  <a:pt x="50" y="28"/>
                  <a:pt x="49" y="23"/>
                </a:cubicBezTo>
                <a:cubicBezTo>
                  <a:pt x="49" y="18"/>
                  <a:pt x="44" y="19"/>
                  <a:pt x="42" y="21"/>
                </a:cubicBezTo>
                <a:cubicBezTo>
                  <a:pt x="39" y="22"/>
                  <a:pt x="32" y="19"/>
                  <a:pt x="32" y="16"/>
                </a:cubicBezTo>
                <a:cubicBezTo>
                  <a:pt x="32" y="12"/>
                  <a:pt x="27" y="10"/>
                  <a:pt x="27" y="7"/>
                </a:cubicBezTo>
                <a:cubicBezTo>
                  <a:pt x="27" y="5"/>
                  <a:pt x="24" y="3"/>
                  <a:pt x="22" y="1"/>
                </a:cubicBezTo>
                <a:cubicBezTo>
                  <a:pt x="21" y="2"/>
                  <a:pt x="19" y="2"/>
                  <a:pt x="18" y="1"/>
                </a:cubicBezTo>
                <a:cubicBezTo>
                  <a:pt x="17" y="0"/>
                  <a:pt x="15" y="6"/>
                  <a:pt x="16" y="7"/>
                </a:cubicBezTo>
                <a:cubicBezTo>
                  <a:pt x="18" y="8"/>
                  <a:pt x="19" y="17"/>
                  <a:pt x="16" y="16"/>
                </a:cubicBezTo>
                <a:cubicBezTo>
                  <a:pt x="12" y="15"/>
                  <a:pt x="12" y="10"/>
                  <a:pt x="10" y="11"/>
                </a:cubicBezTo>
                <a:cubicBezTo>
                  <a:pt x="10" y="11"/>
                  <a:pt x="4" y="17"/>
                  <a:pt x="4" y="20"/>
                </a:cubicBezTo>
                <a:cubicBezTo>
                  <a:pt x="4" y="22"/>
                  <a:pt x="2" y="22"/>
                  <a:pt x="0" y="23"/>
                </a:cubicBezTo>
                <a:cubicBezTo>
                  <a:pt x="1" y="24"/>
                  <a:pt x="2" y="25"/>
                  <a:pt x="2" y="25"/>
                </a:cubicBezTo>
                <a:cubicBezTo>
                  <a:pt x="3" y="27"/>
                  <a:pt x="2" y="31"/>
                  <a:pt x="3" y="34"/>
                </a:cubicBezTo>
                <a:cubicBezTo>
                  <a:pt x="5" y="38"/>
                  <a:pt x="10" y="32"/>
                  <a:pt x="11" y="37"/>
                </a:cubicBezTo>
                <a:cubicBezTo>
                  <a:pt x="13" y="42"/>
                  <a:pt x="10" y="44"/>
                  <a:pt x="10" y="49"/>
                </a:cubicBezTo>
                <a:cubicBezTo>
                  <a:pt x="10" y="54"/>
                  <a:pt x="6" y="53"/>
                  <a:pt x="7" y="58"/>
                </a:cubicBezTo>
                <a:cubicBezTo>
                  <a:pt x="8" y="62"/>
                  <a:pt x="14" y="57"/>
                  <a:pt x="17" y="54"/>
                </a:cubicBezTo>
                <a:cubicBezTo>
                  <a:pt x="21" y="51"/>
                  <a:pt x="24" y="51"/>
                  <a:pt x="26" y="53"/>
                </a:cubicBezTo>
                <a:cubicBezTo>
                  <a:pt x="27" y="55"/>
                  <a:pt x="32" y="54"/>
                  <a:pt x="33" y="51"/>
                </a:cubicBezTo>
                <a:cubicBezTo>
                  <a:pt x="34" y="49"/>
                  <a:pt x="41" y="48"/>
                  <a:pt x="43" y="51"/>
                </a:cubicBezTo>
                <a:cubicBezTo>
                  <a:pt x="46" y="54"/>
                  <a:pt x="48" y="57"/>
                  <a:pt x="52" y="59"/>
                </a:cubicBezTo>
                <a:cubicBezTo>
                  <a:pt x="55" y="61"/>
                  <a:pt x="49" y="72"/>
                  <a:pt x="52" y="73"/>
                </a:cubicBezTo>
                <a:cubicBezTo>
                  <a:pt x="56" y="74"/>
                  <a:pt x="61" y="79"/>
                  <a:pt x="60" y="85"/>
                </a:cubicBezTo>
                <a:cubicBezTo>
                  <a:pt x="60" y="90"/>
                  <a:pt x="63" y="93"/>
                  <a:pt x="59" y="97"/>
                </a:cubicBezTo>
                <a:cubicBezTo>
                  <a:pt x="61" y="99"/>
                  <a:pt x="64" y="99"/>
                  <a:pt x="64" y="101"/>
                </a:cubicBezTo>
                <a:cubicBezTo>
                  <a:pt x="63" y="102"/>
                  <a:pt x="67" y="102"/>
                  <a:pt x="67" y="98"/>
                </a:cubicBezTo>
                <a:cubicBezTo>
                  <a:pt x="67" y="94"/>
                  <a:pt x="72" y="94"/>
                  <a:pt x="75" y="95"/>
                </a:cubicBezTo>
                <a:cubicBezTo>
                  <a:pt x="76" y="96"/>
                  <a:pt x="80" y="96"/>
                  <a:pt x="83" y="94"/>
                </a:cubicBezTo>
                <a:cubicBezTo>
                  <a:pt x="83" y="92"/>
                  <a:pt x="83" y="90"/>
                  <a:pt x="83" y="89"/>
                </a:cubicBezTo>
                <a:cubicBezTo>
                  <a:pt x="84" y="85"/>
                  <a:pt x="83" y="80"/>
                  <a:pt x="81" y="78"/>
                </a:cubicBezTo>
                <a:cubicBezTo>
                  <a:pt x="79" y="76"/>
                  <a:pt x="73" y="73"/>
                  <a:pt x="72" y="69"/>
                </a:cubicBezTo>
                <a:cubicBezTo>
                  <a:pt x="70" y="65"/>
                  <a:pt x="64" y="61"/>
                  <a:pt x="62" y="57"/>
                </a:cubicBezTo>
                <a:cubicBezTo>
                  <a:pt x="61" y="53"/>
                  <a:pt x="57" y="50"/>
                  <a:pt x="57" y="4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8" name="Freeform 65"/>
          <p:cNvSpPr/>
          <p:nvPr/>
        </p:nvSpPr>
        <p:spPr bwMode="auto">
          <a:xfrm>
            <a:off x="8344661" y="3969567"/>
            <a:ext cx="205826" cy="392337"/>
          </a:xfrm>
          <a:custGeom>
            <a:cxnLst>
              <a:cxn ang="0">
                <a:pos x="56" y="91"/>
              </a:cxn>
              <a:cxn ang="0">
                <a:pos x="55" y="80"/>
              </a:cxn>
              <a:cxn ang="0">
                <a:pos x="71" y="73"/>
              </a:cxn>
              <a:cxn ang="0">
                <a:pos x="86" y="73"/>
              </a:cxn>
              <a:cxn ang="0">
                <a:pos x="88" y="74"/>
              </a:cxn>
              <a:cxn ang="0">
                <a:pos x="89" y="62"/>
              </a:cxn>
              <a:cxn ang="0">
                <a:pos x="81" y="50"/>
              </a:cxn>
              <a:cxn ang="0">
                <a:pos x="81" y="36"/>
              </a:cxn>
              <a:cxn ang="0">
                <a:pos x="72" y="28"/>
              </a:cxn>
              <a:cxn ang="0">
                <a:pos x="62" y="28"/>
              </a:cxn>
              <a:cxn ang="0">
                <a:pos x="55" y="30"/>
              </a:cxn>
              <a:cxn ang="0">
                <a:pos x="46" y="31"/>
              </a:cxn>
              <a:cxn ang="0">
                <a:pos x="36" y="35"/>
              </a:cxn>
              <a:cxn ang="0">
                <a:pos x="39" y="26"/>
              </a:cxn>
              <a:cxn ang="0">
                <a:pos x="40" y="14"/>
              </a:cxn>
              <a:cxn ang="0">
                <a:pos x="32" y="11"/>
              </a:cxn>
              <a:cxn ang="0">
                <a:pos x="31" y="2"/>
              </a:cxn>
              <a:cxn ang="0">
                <a:pos x="29" y="0"/>
              </a:cxn>
              <a:cxn ang="0">
                <a:pos x="27" y="2"/>
              </a:cxn>
              <a:cxn ang="0">
                <a:pos x="17" y="8"/>
              </a:cxn>
              <a:cxn ang="0">
                <a:pos x="9" y="10"/>
              </a:cxn>
              <a:cxn ang="0">
                <a:pos x="2" y="14"/>
              </a:cxn>
              <a:cxn ang="0">
                <a:pos x="0" y="32"/>
              </a:cxn>
              <a:cxn ang="0">
                <a:pos x="9" y="42"/>
              </a:cxn>
              <a:cxn ang="0">
                <a:pos x="11" y="50"/>
              </a:cxn>
              <a:cxn ang="0">
                <a:pos x="10" y="55"/>
              </a:cxn>
              <a:cxn ang="0">
                <a:pos x="9" y="63"/>
              </a:cxn>
              <a:cxn ang="0">
                <a:pos x="13" y="75"/>
              </a:cxn>
              <a:cxn ang="0">
                <a:pos x="17" y="89"/>
              </a:cxn>
              <a:cxn ang="0">
                <a:pos x="21" y="97"/>
              </a:cxn>
              <a:cxn ang="0">
                <a:pos x="11" y="116"/>
              </a:cxn>
              <a:cxn ang="0">
                <a:pos x="8" y="132"/>
              </a:cxn>
              <a:cxn ang="0">
                <a:pos x="9" y="142"/>
              </a:cxn>
              <a:cxn ang="0">
                <a:pos x="23" y="157"/>
              </a:cxn>
              <a:cxn ang="0">
                <a:pos x="27" y="162"/>
              </a:cxn>
              <a:cxn ang="0">
                <a:pos x="33" y="163"/>
              </a:cxn>
              <a:cxn ang="0">
                <a:pos x="39" y="170"/>
              </a:cxn>
              <a:cxn ang="0">
                <a:pos x="48" y="171"/>
              </a:cxn>
              <a:cxn ang="0">
                <a:pos x="51" y="166"/>
              </a:cxn>
              <a:cxn ang="0">
                <a:pos x="38" y="159"/>
              </a:cxn>
              <a:cxn ang="0">
                <a:pos x="30" y="146"/>
              </a:cxn>
              <a:cxn ang="0">
                <a:pos x="26" y="135"/>
              </a:cxn>
              <a:cxn ang="0">
                <a:pos x="19" y="130"/>
              </a:cxn>
              <a:cxn ang="0">
                <a:pos x="20" y="112"/>
              </a:cxn>
              <a:cxn ang="0">
                <a:pos x="27" y="89"/>
              </a:cxn>
              <a:cxn ang="0">
                <a:pos x="36" y="86"/>
              </a:cxn>
              <a:cxn ang="0">
                <a:pos x="45" y="93"/>
              </a:cxn>
              <a:cxn ang="0">
                <a:pos x="57" y="99"/>
              </a:cxn>
              <a:cxn ang="0">
                <a:pos x="57" y="100"/>
              </a:cxn>
              <a:cxn ang="0">
                <a:pos x="57" y="99"/>
              </a:cxn>
              <a:cxn ang="0">
                <a:pos x="56" y="91"/>
              </a:cxn>
            </a:cxnLst>
            <a:rect b="b" l="0" r="r" t="0"/>
            <a:pathLst>
              <a:path h="172" w="92">
                <a:moveTo>
                  <a:pt x="56" y="91"/>
                </a:moveTo>
                <a:cubicBezTo>
                  <a:pt x="56" y="86"/>
                  <a:pt x="51" y="86"/>
                  <a:pt x="55" y="80"/>
                </a:cubicBezTo>
                <a:cubicBezTo>
                  <a:pt x="60" y="75"/>
                  <a:pt x="67" y="71"/>
                  <a:pt x="71" y="73"/>
                </a:cubicBezTo>
                <a:cubicBezTo>
                  <a:pt x="75" y="74"/>
                  <a:pt x="84" y="70"/>
                  <a:pt x="86" y="73"/>
                </a:cubicBezTo>
                <a:cubicBezTo>
                  <a:pt x="87" y="74"/>
                  <a:pt x="87" y="74"/>
                  <a:pt x="88" y="74"/>
                </a:cubicBezTo>
                <a:cubicBezTo>
                  <a:pt x="92" y="70"/>
                  <a:pt x="89" y="67"/>
                  <a:pt x="89" y="62"/>
                </a:cubicBezTo>
                <a:cubicBezTo>
                  <a:pt x="90" y="56"/>
                  <a:pt x="85" y="51"/>
                  <a:pt x="81" y="50"/>
                </a:cubicBezTo>
                <a:cubicBezTo>
                  <a:pt x="78" y="49"/>
                  <a:pt x="84" y="38"/>
                  <a:pt x="81" y="36"/>
                </a:cubicBezTo>
                <a:cubicBezTo>
                  <a:pt x="77" y="34"/>
                  <a:pt x="75" y="31"/>
                  <a:pt x="72" y="28"/>
                </a:cubicBezTo>
                <a:cubicBezTo>
                  <a:pt x="70" y="25"/>
                  <a:pt x="63" y="26"/>
                  <a:pt x="62" y="28"/>
                </a:cubicBezTo>
                <a:cubicBezTo>
                  <a:pt x="61" y="31"/>
                  <a:pt x="56" y="32"/>
                  <a:pt x="55" y="30"/>
                </a:cubicBezTo>
                <a:cubicBezTo>
                  <a:pt x="53" y="28"/>
                  <a:pt x="50" y="28"/>
                  <a:pt x="46" y="31"/>
                </a:cubicBezTo>
                <a:cubicBezTo>
                  <a:pt x="43" y="34"/>
                  <a:pt x="37" y="39"/>
                  <a:pt x="36" y="35"/>
                </a:cubicBezTo>
                <a:cubicBezTo>
                  <a:pt x="35" y="30"/>
                  <a:pt x="39" y="31"/>
                  <a:pt x="39" y="26"/>
                </a:cubicBezTo>
                <a:cubicBezTo>
                  <a:pt x="39" y="21"/>
                  <a:pt x="42" y="19"/>
                  <a:pt x="40" y="14"/>
                </a:cubicBezTo>
                <a:cubicBezTo>
                  <a:pt x="39" y="9"/>
                  <a:pt x="34" y="15"/>
                  <a:pt x="32" y="11"/>
                </a:cubicBezTo>
                <a:cubicBezTo>
                  <a:pt x="31" y="8"/>
                  <a:pt x="32" y="4"/>
                  <a:pt x="31" y="2"/>
                </a:cubicBezTo>
                <a:cubicBezTo>
                  <a:pt x="31" y="2"/>
                  <a:pt x="30" y="1"/>
                  <a:pt x="29" y="0"/>
                </a:cubicBezTo>
                <a:cubicBezTo>
                  <a:pt x="28" y="1"/>
                  <a:pt x="28" y="1"/>
                  <a:pt x="27" y="2"/>
                </a:cubicBezTo>
                <a:cubicBezTo>
                  <a:pt x="26" y="4"/>
                  <a:pt x="19" y="5"/>
                  <a:pt x="17" y="8"/>
                </a:cubicBezTo>
                <a:cubicBezTo>
                  <a:pt x="15" y="11"/>
                  <a:pt x="10" y="10"/>
                  <a:pt x="9" y="10"/>
                </a:cubicBezTo>
                <a:cubicBezTo>
                  <a:pt x="7" y="10"/>
                  <a:pt x="3" y="11"/>
                  <a:pt x="2" y="14"/>
                </a:cubicBezTo>
                <a:cubicBezTo>
                  <a:pt x="2" y="17"/>
                  <a:pt x="0" y="30"/>
                  <a:pt x="0" y="32"/>
                </a:cubicBezTo>
                <a:cubicBezTo>
                  <a:pt x="0" y="34"/>
                  <a:pt x="6" y="41"/>
                  <a:pt x="9" y="42"/>
                </a:cubicBezTo>
                <a:cubicBezTo>
                  <a:pt x="11" y="43"/>
                  <a:pt x="8" y="48"/>
                  <a:pt x="11" y="50"/>
                </a:cubicBezTo>
                <a:cubicBezTo>
                  <a:pt x="14" y="51"/>
                  <a:pt x="12" y="55"/>
                  <a:pt x="10" y="55"/>
                </a:cubicBezTo>
                <a:cubicBezTo>
                  <a:pt x="9" y="54"/>
                  <a:pt x="11" y="61"/>
                  <a:pt x="9" y="63"/>
                </a:cubicBezTo>
                <a:cubicBezTo>
                  <a:pt x="6" y="65"/>
                  <a:pt x="8" y="71"/>
                  <a:pt x="13" y="75"/>
                </a:cubicBezTo>
                <a:cubicBezTo>
                  <a:pt x="17" y="79"/>
                  <a:pt x="17" y="85"/>
                  <a:pt x="17" y="89"/>
                </a:cubicBezTo>
                <a:cubicBezTo>
                  <a:pt x="17" y="92"/>
                  <a:pt x="21" y="93"/>
                  <a:pt x="21" y="97"/>
                </a:cubicBezTo>
                <a:cubicBezTo>
                  <a:pt x="21" y="97"/>
                  <a:pt x="15" y="117"/>
                  <a:pt x="11" y="116"/>
                </a:cubicBezTo>
                <a:cubicBezTo>
                  <a:pt x="10" y="121"/>
                  <a:pt x="9" y="128"/>
                  <a:pt x="8" y="132"/>
                </a:cubicBezTo>
                <a:cubicBezTo>
                  <a:pt x="7" y="138"/>
                  <a:pt x="6" y="142"/>
                  <a:pt x="9" y="142"/>
                </a:cubicBezTo>
                <a:cubicBezTo>
                  <a:pt x="12" y="143"/>
                  <a:pt x="18" y="150"/>
                  <a:pt x="23" y="157"/>
                </a:cubicBezTo>
                <a:cubicBezTo>
                  <a:pt x="25" y="159"/>
                  <a:pt x="26" y="161"/>
                  <a:pt x="27" y="162"/>
                </a:cubicBezTo>
                <a:cubicBezTo>
                  <a:pt x="29" y="162"/>
                  <a:pt x="31" y="162"/>
                  <a:pt x="33" y="163"/>
                </a:cubicBezTo>
                <a:cubicBezTo>
                  <a:pt x="38" y="164"/>
                  <a:pt x="39" y="167"/>
                  <a:pt x="39" y="170"/>
                </a:cubicBezTo>
                <a:cubicBezTo>
                  <a:pt x="39" y="172"/>
                  <a:pt x="46" y="171"/>
                  <a:pt x="48" y="171"/>
                </a:cubicBezTo>
                <a:cubicBezTo>
                  <a:pt x="49" y="170"/>
                  <a:pt x="47" y="167"/>
                  <a:pt x="51" y="166"/>
                </a:cubicBezTo>
                <a:cubicBezTo>
                  <a:pt x="49" y="163"/>
                  <a:pt x="43" y="159"/>
                  <a:pt x="38" y="159"/>
                </a:cubicBezTo>
                <a:cubicBezTo>
                  <a:pt x="33" y="158"/>
                  <a:pt x="30" y="150"/>
                  <a:pt x="30" y="146"/>
                </a:cubicBezTo>
                <a:cubicBezTo>
                  <a:pt x="31" y="142"/>
                  <a:pt x="26" y="139"/>
                  <a:pt x="26" y="135"/>
                </a:cubicBezTo>
                <a:cubicBezTo>
                  <a:pt x="26" y="132"/>
                  <a:pt x="23" y="132"/>
                  <a:pt x="19" y="130"/>
                </a:cubicBezTo>
                <a:cubicBezTo>
                  <a:pt x="15" y="128"/>
                  <a:pt x="20" y="117"/>
                  <a:pt x="20" y="112"/>
                </a:cubicBezTo>
                <a:cubicBezTo>
                  <a:pt x="21" y="107"/>
                  <a:pt x="29" y="93"/>
                  <a:pt x="27" y="89"/>
                </a:cubicBezTo>
                <a:cubicBezTo>
                  <a:pt x="24" y="85"/>
                  <a:pt x="35" y="81"/>
                  <a:pt x="36" y="86"/>
                </a:cubicBezTo>
                <a:cubicBezTo>
                  <a:pt x="37" y="91"/>
                  <a:pt x="38" y="93"/>
                  <a:pt x="45" y="93"/>
                </a:cubicBezTo>
                <a:cubicBezTo>
                  <a:pt x="51" y="93"/>
                  <a:pt x="51" y="98"/>
                  <a:pt x="57" y="99"/>
                </a:cubicBezTo>
                <a:cubicBezTo>
                  <a:pt x="57" y="99"/>
                  <a:pt x="57" y="99"/>
                  <a:pt x="57" y="100"/>
                </a:cubicBezTo>
                <a:cubicBezTo>
                  <a:pt x="57" y="99"/>
                  <a:pt x="57" y="99"/>
                  <a:pt x="57" y="99"/>
                </a:cubicBezTo>
                <a:cubicBezTo>
                  <a:pt x="59" y="95"/>
                  <a:pt x="56" y="95"/>
                  <a:pt x="56" y="9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69" name="Freeform 66"/>
          <p:cNvSpPr/>
          <p:nvPr/>
        </p:nvSpPr>
        <p:spPr bwMode="auto">
          <a:xfrm>
            <a:off x="6275281" y="2913860"/>
            <a:ext cx="242912" cy="202803"/>
          </a:xfrm>
          <a:custGeom>
            <a:cxnLst>
              <a:cxn ang="0">
                <a:pos x="2" y="19"/>
              </a:cxn>
              <a:cxn ang="0">
                <a:pos x="2" y="31"/>
              </a:cxn>
              <a:cxn ang="0">
                <a:pos x="3" y="36"/>
              </a:cxn>
              <a:cxn ang="0">
                <a:pos x="5" y="41"/>
              </a:cxn>
              <a:cxn ang="0">
                <a:pos x="7" y="47"/>
              </a:cxn>
              <a:cxn ang="0">
                <a:pos x="10" y="56"/>
              </a:cxn>
              <a:cxn ang="0">
                <a:pos x="10" y="61"/>
              </a:cxn>
              <a:cxn ang="0">
                <a:pos x="16" y="65"/>
              </a:cxn>
              <a:cxn ang="0">
                <a:pos x="24" y="70"/>
              </a:cxn>
              <a:cxn ang="0">
                <a:pos x="30" y="73"/>
              </a:cxn>
              <a:cxn ang="0">
                <a:pos x="36" y="72"/>
              </a:cxn>
              <a:cxn ang="0">
                <a:pos x="39" y="76"/>
              </a:cxn>
              <a:cxn ang="0">
                <a:pos x="47" y="78"/>
              </a:cxn>
              <a:cxn ang="0">
                <a:pos x="52" y="84"/>
              </a:cxn>
              <a:cxn ang="0">
                <a:pos x="59" y="83"/>
              </a:cxn>
              <a:cxn ang="0">
                <a:pos x="68" y="85"/>
              </a:cxn>
              <a:cxn ang="0">
                <a:pos x="77" y="85"/>
              </a:cxn>
              <a:cxn ang="0">
                <a:pos x="86" y="88"/>
              </a:cxn>
              <a:cxn ang="0">
                <a:pos x="93" y="89"/>
              </a:cxn>
              <a:cxn ang="0">
                <a:pos x="93" y="82"/>
              </a:cxn>
              <a:cxn ang="0">
                <a:pos x="103" y="71"/>
              </a:cxn>
              <a:cxn ang="0">
                <a:pos x="108" y="67"/>
              </a:cxn>
              <a:cxn ang="0">
                <a:pos x="104" y="56"/>
              </a:cxn>
              <a:cxn ang="0">
                <a:pos x="103" y="46"/>
              </a:cxn>
              <a:cxn ang="0">
                <a:pos x="99" y="40"/>
              </a:cxn>
              <a:cxn ang="0">
                <a:pos x="106" y="35"/>
              </a:cxn>
              <a:cxn ang="0">
                <a:pos x="105" y="25"/>
              </a:cxn>
              <a:cxn ang="0">
                <a:pos x="103" y="16"/>
              </a:cxn>
              <a:cxn ang="0">
                <a:pos x="95" y="10"/>
              </a:cxn>
              <a:cxn ang="0">
                <a:pos x="94" y="9"/>
              </a:cxn>
              <a:cxn ang="0">
                <a:pos x="65" y="8"/>
              </a:cxn>
              <a:cxn ang="0">
                <a:pos x="59" y="6"/>
              </a:cxn>
              <a:cxn ang="0">
                <a:pos x="53" y="9"/>
              </a:cxn>
              <a:cxn ang="0">
                <a:pos x="48" y="2"/>
              </a:cxn>
              <a:cxn ang="0">
                <a:pos x="23" y="9"/>
              </a:cxn>
              <a:cxn ang="0">
                <a:pos x="6" y="15"/>
              </a:cxn>
              <a:cxn ang="0">
                <a:pos x="2" y="18"/>
              </a:cxn>
              <a:cxn ang="0">
                <a:pos x="2" y="19"/>
              </a:cxn>
            </a:cxnLst>
            <a:rect b="b" l="0" r="r" t="0"/>
            <a:pathLst>
              <a:path h="89" w="109">
                <a:moveTo>
                  <a:pt x="2" y="19"/>
                </a:moveTo>
                <a:cubicBezTo>
                  <a:pt x="3" y="21"/>
                  <a:pt x="4" y="28"/>
                  <a:pt x="2" y="31"/>
                </a:cubicBezTo>
                <a:cubicBezTo>
                  <a:pt x="0" y="34"/>
                  <a:pt x="1" y="35"/>
                  <a:pt x="3" y="36"/>
                </a:cubicBezTo>
                <a:cubicBezTo>
                  <a:pt x="5" y="37"/>
                  <a:pt x="5" y="39"/>
                  <a:pt x="5" y="41"/>
                </a:cubicBezTo>
                <a:cubicBezTo>
                  <a:pt x="5" y="43"/>
                  <a:pt x="7" y="43"/>
                  <a:pt x="7" y="47"/>
                </a:cubicBezTo>
                <a:cubicBezTo>
                  <a:pt x="7" y="51"/>
                  <a:pt x="8" y="54"/>
                  <a:pt x="10" y="56"/>
                </a:cubicBezTo>
                <a:cubicBezTo>
                  <a:pt x="11" y="57"/>
                  <a:pt x="11" y="59"/>
                  <a:pt x="10" y="61"/>
                </a:cubicBezTo>
                <a:cubicBezTo>
                  <a:pt x="12" y="63"/>
                  <a:pt x="14" y="64"/>
                  <a:pt x="16" y="65"/>
                </a:cubicBezTo>
                <a:cubicBezTo>
                  <a:pt x="22" y="67"/>
                  <a:pt x="24" y="68"/>
                  <a:pt x="24" y="70"/>
                </a:cubicBezTo>
                <a:cubicBezTo>
                  <a:pt x="24" y="72"/>
                  <a:pt x="29" y="75"/>
                  <a:pt x="30" y="73"/>
                </a:cubicBezTo>
                <a:cubicBezTo>
                  <a:pt x="31" y="70"/>
                  <a:pt x="34" y="72"/>
                  <a:pt x="36" y="72"/>
                </a:cubicBezTo>
                <a:cubicBezTo>
                  <a:pt x="38" y="72"/>
                  <a:pt x="39" y="74"/>
                  <a:pt x="39" y="76"/>
                </a:cubicBezTo>
                <a:cubicBezTo>
                  <a:pt x="40" y="77"/>
                  <a:pt x="45" y="76"/>
                  <a:pt x="47" y="78"/>
                </a:cubicBezTo>
                <a:cubicBezTo>
                  <a:pt x="48" y="79"/>
                  <a:pt x="49" y="83"/>
                  <a:pt x="52" y="84"/>
                </a:cubicBezTo>
                <a:cubicBezTo>
                  <a:pt x="54" y="86"/>
                  <a:pt x="57" y="82"/>
                  <a:pt x="59" y="83"/>
                </a:cubicBezTo>
                <a:cubicBezTo>
                  <a:pt x="60" y="85"/>
                  <a:pt x="65" y="86"/>
                  <a:pt x="68" y="85"/>
                </a:cubicBezTo>
                <a:cubicBezTo>
                  <a:pt x="71" y="83"/>
                  <a:pt x="73" y="86"/>
                  <a:pt x="77" y="85"/>
                </a:cubicBezTo>
                <a:cubicBezTo>
                  <a:pt x="81" y="85"/>
                  <a:pt x="85" y="86"/>
                  <a:pt x="86" y="88"/>
                </a:cubicBezTo>
                <a:cubicBezTo>
                  <a:pt x="87" y="88"/>
                  <a:pt x="90" y="89"/>
                  <a:pt x="93" y="89"/>
                </a:cubicBezTo>
                <a:cubicBezTo>
                  <a:pt x="94" y="88"/>
                  <a:pt x="92" y="83"/>
                  <a:pt x="93" y="82"/>
                </a:cubicBezTo>
                <a:cubicBezTo>
                  <a:pt x="93" y="81"/>
                  <a:pt x="102" y="73"/>
                  <a:pt x="103" y="71"/>
                </a:cubicBezTo>
                <a:cubicBezTo>
                  <a:pt x="105" y="69"/>
                  <a:pt x="107" y="69"/>
                  <a:pt x="108" y="67"/>
                </a:cubicBezTo>
                <a:cubicBezTo>
                  <a:pt x="109" y="65"/>
                  <a:pt x="105" y="58"/>
                  <a:pt x="104" y="56"/>
                </a:cubicBezTo>
                <a:cubicBezTo>
                  <a:pt x="103" y="55"/>
                  <a:pt x="102" y="49"/>
                  <a:pt x="103" y="46"/>
                </a:cubicBezTo>
                <a:cubicBezTo>
                  <a:pt x="104" y="44"/>
                  <a:pt x="99" y="42"/>
                  <a:pt x="99" y="40"/>
                </a:cubicBezTo>
                <a:cubicBezTo>
                  <a:pt x="99" y="39"/>
                  <a:pt x="103" y="36"/>
                  <a:pt x="106" y="35"/>
                </a:cubicBezTo>
                <a:cubicBezTo>
                  <a:pt x="108" y="34"/>
                  <a:pt x="107" y="27"/>
                  <a:pt x="105" y="25"/>
                </a:cubicBezTo>
                <a:cubicBezTo>
                  <a:pt x="103" y="23"/>
                  <a:pt x="102" y="20"/>
                  <a:pt x="103" y="16"/>
                </a:cubicBezTo>
                <a:cubicBezTo>
                  <a:pt x="105" y="13"/>
                  <a:pt x="96" y="10"/>
                  <a:pt x="95" y="10"/>
                </a:cubicBezTo>
                <a:cubicBezTo>
                  <a:pt x="94" y="10"/>
                  <a:pt x="94" y="10"/>
                  <a:pt x="94" y="9"/>
                </a:cubicBezTo>
                <a:cubicBezTo>
                  <a:pt x="86" y="11"/>
                  <a:pt x="66" y="9"/>
                  <a:pt x="65" y="8"/>
                </a:cubicBezTo>
                <a:cubicBezTo>
                  <a:pt x="64" y="8"/>
                  <a:pt x="61" y="7"/>
                  <a:pt x="59" y="6"/>
                </a:cubicBezTo>
                <a:cubicBezTo>
                  <a:pt x="58" y="8"/>
                  <a:pt x="56" y="9"/>
                  <a:pt x="53" y="9"/>
                </a:cubicBezTo>
                <a:cubicBezTo>
                  <a:pt x="48" y="9"/>
                  <a:pt x="48" y="5"/>
                  <a:pt x="48" y="2"/>
                </a:cubicBezTo>
                <a:cubicBezTo>
                  <a:pt x="48" y="0"/>
                  <a:pt x="28" y="4"/>
                  <a:pt x="23" y="9"/>
                </a:cubicBezTo>
                <a:cubicBezTo>
                  <a:pt x="18" y="15"/>
                  <a:pt x="6" y="13"/>
                  <a:pt x="6" y="15"/>
                </a:cubicBezTo>
                <a:cubicBezTo>
                  <a:pt x="5" y="17"/>
                  <a:pt x="3" y="18"/>
                  <a:pt x="2" y="18"/>
                </a:cubicBezTo>
                <a:cubicBezTo>
                  <a:pt x="2" y="18"/>
                  <a:pt x="2" y="19"/>
                  <a:pt x="2" y="1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0" name="Freeform 67"/>
          <p:cNvSpPr/>
          <p:nvPr/>
        </p:nvSpPr>
        <p:spPr bwMode="auto">
          <a:xfrm>
            <a:off x="6310512" y="3243650"/>
            <a:ext cx="92714" cy="89082"/>
          </a:xfrm>
          <a:custGeom>
            <a:cxnLst>
              <a:cxn ang="0">
                <a:pos x="31" y="35"/>
              </a:cxn>
              <a:cxn ang="0">
                <a:pos x="39" y="23"/>
              </a:cxn>
              <a:cxn ang="0">
                <a:pos x="40" y="8"/>
              </a:cxn>
              <a:cxn ang="0">
                <a:pos x="30" y="2"/>
              </a:cxn>
              <a:cxn ang="0">
                <a:pos x="13" y="1"/>
              </a:cxn>
              <a:cxn ang="0">
                <a:pos x="6" y="2"/>
              </a:cxn>
              <a:cxn ang="0">
                <a:pos x="1" y="5"/>
              </a:cxn>
              <a:cxn ang="0">
                <a:pos x="6" y="13"/>
              </a:cxn>
              <a:cxn ang="0">
                <a:pos x="15" y="24"/>
              </a:cxn>
              <a:cxn ang="0">
                <a:pos x="24" y="34"/>
              </a:cxn>
              <a:cxn ang="0">
                <a:pos x="30" y="39"/>
              </a:cxn>
              <a:cxn ang="0">
                <a:pos x="31" y="35"/>
              </a:cxn>
            </a:cxnLst>
            <a:rect b="b" l="0" r="r" t="0"/>
            <a:pathLst>
              <a:path h="39" w="41">
                <a:moveTo>
                  <a:pt x="31" y="35"/>
                </a:moveTo>
                <a:cubicBezTo>
                  <a:pt x="30" y="33"/>
                  <a:pt x="37" y="23"/>
                  <a:pt x="39" y="23"/>
                </a:cubicBezTo>
                <a:cubicBezTo>
                  <a:pt x="41" y="23"/>
                  <a:pt x="41" y="13"/>
                  <a:pt x="40" y="8"/>
                </a:cubicBezTo>
                <a:cubicBezTo>
                  <a:pt x="35" y="4"/>
                  <a:pt x="30" y="2"/>
                  <a:pt x="30" y="2"/>
                </a:cubicBezTo>
                <a:cubicBezTo>
                  <a:pt x="30" y="2"/>
                  <a:pt x="15" y="2"/>
                  <a:pt x="13" y="1"/>
                </a:cubicBezTo>
                <a:cubicBezTo>
                  <a:pt x="10" y="0"/>
                  <a:pt x="8" y="4"/>
                  <a:pt x="6" y="2"/>
                </a:cubicBezTo>
                <a:cubicBezTo>
                  <a:pt x="3" y="0"/>
                  <a:pt x="0" y="3"/>
                  <a:pt x="1" y="5"/>
                </a:cubicBezTo>
                <a:cubicBezTo>
                  <a:pt x="1" y="8"/>
                  <a:pt x="6" y="9"/>
                  <a:pt x="6" y="13"/>
                </a:cubicBezTo>
                <a:cubicBezTo>
                  <a:pt x="6" y="17"/>
                  <a:pt x="15" y="22"/>
                  <a:pt x="15" y="24"/>
                </a:cubicBezTo>
                <a:cubicBezTo>
                  <a:pt x="15" y="25"/>
                  <a:pt x="21" y="29"/>
                  <a:pt x="24" y="34"/>
                </a:cubicBezTo>
                <a:cubicBezTo>
                  <a:pt x="26" y="35"/>
                  <a:pt x="28" y="37"/>
                  <a:pt x="30" y="39"/>
                </a:cubicBezTo>
                <a:cubicBezTo>
                  <a:pt x="30" y="37"/>
                  <a:pt x="31" y="36"/>
                  <a:pt x="31" y="3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1" name="Freeform 68"/>
          <p:cNvSpPr/>
          <p:nvPr/>
        </p:nvSpPr>
        <p:spPr bwMode="auto">
          <a:xfrm>
            <a:off x="6266009" y="3203847"/>
            <a:ext cx="133508" cy="117511"/>
          </a:xfrm>
          <a:custGeom>
            <a:cxnLst>
              <a:cxn ang="0">
                <a:pos x="35" y="42"/>
              </a:cxn>
              <a:cxn ang="0">
                <a:pos x="26" y="31"/>
              </a:cxn>
              <a:cxn ang="0">
                <a:pos x="21" y="23"/>
              </a:cxn>
              <a:cxn ang="0">
                <a:pos x="26" y="20"/>
              </a:cxn>
              <a:cxn ang="0">
                <a:pos x="33" y="19"/>
              </a:cxn>
              <a:cxn ang="0">
                <a:pos x="50" y="20"/>
              </a:cxn>
              <a:cxn ang="0">
                <a:pos x="60" y="26"/>
              </a:cxn>
              <a:cxn ang="0">
                <a:pos x="60" y="23"/>
              </a:cxn>
              <a:cxn ang="0">
                <a:pos x="56" y="15"/>
              </a:cxn>
              <a:cxn ang="0">
                <a:pos x="53" y="8"/>
              </a:cxn>
              <a:cxn ang="0">
                <a:pos x="50" y="9"/>
              </a:cxn>
              <a:cxn ang="0">
                <a:pos x="38" y="7"/>
              </a:cxn>
              <a:cxn ang="0">
                <a:pos x="29" y="0"/>
              </a:cxn>
              <a:cxn ang="0">
                <a:pos x="22" y="4"/>
              </a:cxn>
              <a:cxn ang="0">
                <a:pos x="19" y="10"/>
              </a:cxn>
              <a:cxn ang="0">
                <a:pos x="15" y="15"/>
              </a:cxn>
              <a:cxn ang="0">
                <a:pos x="8" y="15"/>
              </a:cxn>
              <a:cxn ang="0">
                <a:pos x="0" y="16"/>
              </a:cxn>
              <a:cxn ang="0">
                <a:pos x="2" y="21"/>
              </a:cxn>
              <a:cxn ang="0">
                <a:pos x="11" y="25"/>
              </a:cxn>
              <a:cxn ang="0">
                <a:pos x="21" y="40"/>
              </a:cxn>
              <a:cxn ang="0">
                <a:pos x="30" y="45"/>
              </a:cxn>
              <a:cxn ang="0">
                <a:pos x="40" y="50"/>
              </a:cxn>
              <a:cxn ang="0">
                <a:pos x="44" y="52"/>
              </a:cxn>
              <a:cxn ang="0">
                <a:pos x="35" y="42"/>
              </a:cxn>
            </a:cxnLst>
            <a:rect b="b" l="0" r="r" t="0"/>
            <a:pathLst>
              <a:path h="52" w="60">
                <a:moveTo>
                  <a:pt x="35" y="42"/>
                </a:moveTo>
                <a:cubicBezTo>
                  <a:pt x="35" y="40"/>
                  <a:pt x="26" y="35"/>
                  <a:pt x="26" y="31"/>
                </a:cubicBezTo>
                <a:cubicBezTo>
                  <a:pt x="26" y="27"/>
                  <a:pt x="21" y="26"/>
                  <a:pt x="21" y="23"/>
                </a:cubicBezTo>
                <a:cubicBezTo>
                  <a:pt x="20" y="21"/>
                  <a:pt x="23" y="18"/>
                  <a:pt x="26" y="20"/>
                </a:cubicBezTo>
                <a:cubicBezTo>
                  <a:pt x="28" y="22"/>
                  <a:pt x="30" y="18"/>
                  <a:pt x="33" y="19"/>
                </a:cubicBezTo>
                <a:cubicBezTo>
                  <a:pt x="35" y="20"/>
                  <a:pt x="50" y="20"/>
                  <a:pt x="50" y="20"/>
                </a:cubicBezTo>
                <a:cubicBezTo>
                  <a:pt x="50" y="20"/>
                  <a:pt x="55" y="22"/>
                  <a:pt x="60" y="26"/>
                </a:cubicBezTo>
                <a:cubicBezTo>
                  <a:pt x="60" y="24"/>
                  <a:pt x="60" y="24"/>
                  <a:pt x="60" y="23"/>
                </a:cubicBezTo>
                <a:cubicBezTo>
                  <a:pt x="59" y="20"/>
                  <a:pt x="60" y="16"/>
                  <a:pt x="56" y="15"/>
                </a:cubicBezTo>
                <a:cubicBezTo>
                  <a:pt x="55" y="14"/>
                  <a:pt x="54" y="11"/>
                  <a:pt x="53" y="8"/>
                </a:cubicBezTo>
                <a:cubicBezTo>
                  <a:pt x="52" y="9"/>
                  <a:pt x="50" y="9"/>
                  <a:pt x="50" y="9"/>
                </a:cubicBezTo>
                <a:cubicBezTo>
                  <a:pt x="47" y="10"/>
                  <a:pt x="40" y="10"/>
                  <a:pt x="38" y="7"/>
                </a:cubicBezTo>
                <a:cubicBezTo>
                  <a:pt x="36" y="5"/>
                  <a:pt x="31" y="1"/>
                  <a:pt x="29" y="0"/>
                </a:cubicBezTo>
                <a:cubicBezTo>
                  <a:pt x="28" y="1"/>
                  <a:pt x="24" y="4"/>
                  <a:pt x="22" y="4"/>
                </a:cubicBezTo>
                <a:cubicBezTo>
                  <a:pt x="20" y="5"/>
                  <a:pt x="21" y="10"/>
                  <a:pt x="19" y="10"/>
                </a:cubicBezTo>
                <a:cubicBezTo>
                  <a:pt x="17" y="10"/>
                  <a:pt x="16" y="13"/>
                  <a:pt x="15" y="15"/>
                </a:cubicBezTo>
                <a:cubicBezTo>
                  <a:pt x="15" y="16"/>
                  <a:pt x="10" y="14"/>
                  <a:pt x="8" y="15"/>
                </a:cubicBezTo>
                <a:cubicBezTo>
                  <a:pt x="7" y="15"/>
                  <a:pt x="2" y="16"/>
                  <a:pt x="0" y="16"/>
                </a:cubicBezTo>
                <a:cubicBezTo>
                  <a:pt x="1" y="18"/>
                  <a:pt x="0" y="21"/>
                  <a:pt x="2" y="21"/>
                </a:cubicBezTo>
                <a:cubicBezTo>
                  <a:pt x="5" y="21"/>
                  <a:pt x="11" y="21"/>
                  <a:pt x="11" y="25"/>
                </a:cubicBezTo>
                <a:cubicBezTo>
                  <a:pt x="11" y="29"/>
                  <a:pt x="18" y="37"/>
                  <a:pt x="21" y="40"/>
                </a:cubicBezTo>
                <a:cubicBezTo>
                  <a:pt x="24" y="43"/>
                  <a:pt x="30" y="43"/>
                  <a:pt x="30" y="45"/>
                </a:cubicBezTo>
                <a:cubicBezTo>
                  <a:pt x="30" y="48"/>
                  <a:pt x="35" y="50"/>
                  <a:pt x="40" y="50"/>
                </a:cubicBezTo>
                <a:cubicBezTo>
                  <a:pt x="41" y="50"/>
                  <a:pt x="43" y="51"/>
                  <a:pt x="44" y="52"/>
                </a:cubicBezTo>
                <a:cubicBezTo>
                  <a:pt x="41" y="47"/>
                  <a:pt x="35" y="43"/>
                  <a:pt x="35" y="4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2" name="Freeform 69"/>
          <p:cNvSpPr/>
          <p:nvPr/>
        </p:nvSpPr>
        <p:spPr bwMode="auto">
          <a:xfrm>
            <a:off x="6395809" y="3328940"/>
            <a:ext cx="46358" cy="92873"/>
          </a:xfrm>
          <a:custGeom>
            <a:cxnLst>
              <a:cxn ang="0">
                <a:pos x="14" y="35"/>
              </a:cxn>
              <a:cxn ang="0">
                <a:pos x="17" y="31"/>
              </a:cxn>
              <a:cxn ang="0">
                <a:pos x="21" y="24"/>
              </a:cxn>
              <a:cxn ang="0">
                <a:pos x="21" y="24"/>
              </a:cxn>
              <a:cxn ang="0">
                <a:pos x="15" y="17"/>
              </a:cxn>
              <a:cxn ang="0">
                <a:pos x="16" y="5"/>
              </a:cxn>
              <a:cxn ang="0">
                <a:pos x="6" y="0"/>
              </a:cxn>
              <a:cxn ang="0">
                <a:pos x="1" y="8"/>
              </a:cxn>
              <a:cxn ang="0">
                <a:pos x="4" y="15"/>
              </a:cxn>
              <a:cxn ang="0">
                <a:pos x="3" y="32"/>
              </a:cxn>
              <a:cxn ang="0">
                <a:pos x="11" y="41"/>
              </a:cxn>
              <a:cxn ang="0">
                <a:pos x="14" y="35"/>
              </a:cxn>
            </a:cxnLst>
            <a:rect b="b" l="0" r="r" t="0"/>
            <a:pathLst>
              <a:path h="41" w="21">
                <a:moveTo>
                  <a:pt x="14" y="35"/>
                </a:moveTo>
                <a:cubicBezTo>
                  <a:pt x="17" y="35"/>
                  <a:pt x="15" y="33"/>
                  <a:pt x="17" y="31"/>
                </a:cubicBezTo>
                <a:cubicBezTo>
                  <a:pt x="19" y="29"/>
                  <a:pt x="21" y="26"/>
                  <a:pt x="21" y="24"/>
                </a:cubicBezTo>
                <a:cubicBezTo>
                  <a:pt x="21" y="24"/>
                  <a:pt x="21" y="24"/>
                  <a:pt x="21" y="24"/>
                </a:cubicBezTo>
                <a:cubicBezTo>
                  <a:pt x="18" y="21"/>
                  <a:pt x="15" y="20"/>
                  <a:pt x="15" y="17"/>
                </a:cubicBezTo>
                <a:cubicBezTo>
                  <a:pt x="14" y="14"/>
                  <a:pt x="15" y="9"/>
                  <a:pt x="16" y="5"/>
                </a:cubicBezTo>
                <a:cubicBezTo>
                  <a:pt x="14" y="4"/>
                  <a:pt x="8" y="0"/>
                  <a:pt x="6" y="0"/>
                </a:cubicBezTo>
                <a:cubicBezTo>
                  <a:pt x="4" y="0"/>
                  <a:pt x="1" y="4"/>
                  <a:pt x="1" y="8"/>
                </a:cubicBezTo>
                <a:cubicBezTo>
                  <a:pt x="5" y="10"/>
                  <a:pt x="7" y="12"/>
                  <a:pt x="4" y="15"/>
                </a:cubicBezTo>
                <a:cubicBezTo>
                  <a:pt x="1" y="18"/>
                  <a:pt x="0" y="29"/>
                  <a:pt x="3" y="32"/>
                </a:cubicBezTo>
                <a:cubicBezTo>
                  <a:pt x="7" y="34"/>
                  <a:pt x="8" y="40"/>
                  <a:pt x="11" y="41"/>
                </a:cubicBezTo>
                <a:cubicBezTo>
                  <a:pt x="12" y="38"/>
                  <a:pt x="12" y="35"/>
                  <a:pt x="14" y="3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3" name="Freeform 70"/>
          <p:cNvSpPr/>
          <p:nvPr/>
        </p:nvSpPr>
        <p:spPr bwMode="auto">
          <a:xfrm>
            <a:off x="6164024" y="3120452"/>
            <a:ext cx="187283" cy="85291"/>
          </a:xfrm>
          <a:custGeom>
            <a:cxnLst>
              <a:cxn ang="0">
                <a:pos x="71" y="3"/>
              </a:cxn>
              <a:cxn ang="0">
                <a:pos x="60" y="0"/>
              </a:cxn>
              <a:cxn ang="0">
                <a:pos x="58" y="5"/>
              </a:cxn>
              <a:cxn ang="0">
                <a:pos x="48" y="5"/>
              </a:cxn>
              <a:cxn ang="0">
                <a:pos x="42" y="10"/>
              </a:cxn>
              <a:cxn ang="0">
                <a:pos x="38" y="17"/>
              </a:cxn>
              <a:cxn ang="0">
                <a:pos x="33" y="20"/>
              </a:cxn>
              <a:cxn ang="0">
                <a:pos x="22" y="22"/>
              </a:cxn>
              <a:cxn ang="0">
                <a:pos x="15" y="23"/>
              </a:cxn>
              <a:cxn ang="0">
                <a:pos x="9" y="24"/>
              </a:cxn>
              <a:cxn ang="0">
                <a:pos x="2" y="22"/>
              </a:cxn>
              <a:cxn ang="0">
                <a:pos x="1" y="28"/>
              </a:cxn>
              <a:cxn ang="0">
                <a:pos x="7" y="31"/>
              </a:cxn>
              <a:cxn ang="0">
                <a:pos x="14" y="32"/>
              </a:cxn>
              <a:cxn ang="0">
                <a:pos x="21" y="30"/>
              </a:cxn>
              <a:cxn ang="0">
                <a:pos x="30" y="29"/>
              </a:cxn>
              <a:cxn ang="0">
                <a:pos x="32" y="34"/>
              </a:cxn>
              <a:cxn ang="0">
                <a:pos x="42" y="35"/>
              </a:cxn>
              <a:cxn ang="0">
                <a:pos x="55" y="37"/>
              </a:cxn>
              <a:cxn ang="0">
                <a:pos x="64" y="34"/>
              </a:cxn>
              <a:cxn ang="0">
                <a:pos x="72" y="31"/>
              </a:cxn>
              <a:cxn ang="0">
                <a:pos x="72" y="31"/>
              </a:cxn>
              <a:cxn ang="0">
                <a:pos x="74" y="29"/>
              </a:cxn>
              <a:cxn ang="0">
                <a:pos x="76" y="24"/>
              </a:cxn>
              <a:cxn ang="0">
                <a:pos x="77" y="19"/>
              </a:cxn>
              <a:cxn ang="0">
                <a:pos x="82" y="16"/>
              </a:cxn>
              <a:cxn ang="0">
                <a:pos x="84" y="13"/>
              </a:cxn>
              <a:cxn ang="0">
                <a:pos x="79" y="4"/>
              </a:cxn>
              <a:cxn ang="0">
                <a:pos x="71" y="3"/>
              </a:cxn>
            </a:cxnLst>
            <a:rect b="b" l="0" r="r" t="0"/>
            <a:pathLst>
              <a:path h="37" w="84">
                <a:moveTo>
                  <a:pt x="71" y="3"/>
                </a:moveTo>
                <a:cubicBezTo>
                  <a:pt x="68" y="0"/>
                  <a:pt x="60" y="0"/>
                  <a:pt x="60" y="0"/>
                </a:cubicBezTo>
                <a:cubicBezTo>
                  <a:pt x="60" y="0"/>
                  <a:pt x="59" y="3"/>
                  <a:pt x="58" y="5"/>
                </a:cubicBezTo>
                <a:cubicBezTo>
                  <a:pt x="57" y="6"/>
                  <a:pt x="52" y="6"/>
                  <a:pt x="48" y="5"/>
                </a:cubicBezTo>
                <a:cubicBezTo>
                  <a:pt x="47" y="7"/>
                  <a:pt x="43" y="8"/>
                  <a:pt x="42" y="10"/>
                </a:cubicBezTo>
                <a:cubicBezTo>
                  <a:pt x="42" y="12"/>
                  <a:pt x="36" y="11"/>
                  <a:pt x="38" y="17"/>
                </a:cubicBezTo>
                <a:cubicBezTo>
                  <a:pt x="40" y="23"/>
                  <a:pt x="35" y="21"/>
                  <a:pt x="33" y="20"/>
                </a:cubicBezTo>
                <a:cubicBezTo>
                  <a:pt x="32" y="19"/>
                  <a:pt x="24" y="20"/>
                  <a:pt x="22" y="22"/>
                </a:cubicBezTo>
                <a:cubicBezTo>
                  <a:pt x="20" y="24"/>
                  <a:pt x="17" y="24"/>
                  <a:pt x="15" y="23"/>
                </a:cubicBezTo>
                <a:cubicBezTo>
                  <a:pt x="14" y="22"/>
                  <a:pt x="10" y="21"/>
                  <a:pt x="9" y="24"/>
                </a:cubicBezTo>
                <a:cubicBezTo>
                  <a:pt x="7" y="26"/>
                  <a:pt x="4" y="22"/>
                  <a:pt x="2" y="22"/>
                </a:cubicBezTo>
                <a:cubicBezTo>
                  <a:pt x="0" y="22"/>
                  <a:pt x="1" y="27"/>
                  <a:pt x="1" y="28"/>
                </a:cubicBezTo>
                <a:cubicBezTo>
                  <a:pt x="1" y="29"/>
                  <a:pt x="4" y="32"/>
                  <a:pt x="7" y="31"/>
                </a:cubicBezTo>
                <a:cubicBezTo>
                  <a:pt x="9" y="30"/>
                  <a:pt x="12" y="31"/>
                  <a:pt x="14" y="32"/>
                </a:cubicBezTo>
                <a:cubicBezTo>
                  <a:pt x="16" y="34"/>
                  <a:pt x="19" y="31"/>
                  <a:pt x="21" y="30"/>
                </a:cubicBezTo>
                <a:cubicBezTo>
                  <a:pt x="22" y="29"/>
                  <a:pt x="29" y="29"/>
                  <a:pt x="30" y="29"/>
                </a:cubicBezTo>
                <a:cubicBezTo>
                  <a:pt x="30" y="29"/>
                  <a:pt x="31" y="33"/>
                  <a:pt x="32" y="34"/>
                </a:cubicBezTo>
                <a:cubicBezTo>
                  <a:pt x="33" y="34"/>
                  <a:pt x="38" y="35"/>
                  <a:pt x="42" y="35"/>
                </a:cubicBezTo>
                <a:cubicBezTo>
                  <a:pt x="46" y="35"/>
                  <a:pt x="53" y="37"/>
                  <a:pt x="55" y="37"/>
                </a:cubicBezTo>
                <a:cubicBezTo>
                  <a:pt x="57" y="37"/>
                  <a:pt x="60" y="34"/>
                  <a:pt x="64" y="34"/>
                </a:cubicBezTo>
                <a:cubicBezTo>
                  <a:pt x="69" y="34"/>
                  <a:pt x="71" y="31"/>
                  <a:pt x="72" y="31"/>
                </a:cubicBezTo>
                <a:cubicBezTo>
                  <a:pt x="72" y="31"/>
                  <a:pt x="72" y="31"/>
                  <a:pt x="72" y="31"/>
                </a:cubicBezTo>
                <a:cubicBezTo>
                  <a:pt x="72" y="30"/>
                  <a:pt x="73" y="29"/>
                  <a:pt x="74" y="29"/>
                </a:cubicBezTo>
                <a:cubicBezTo>
                  <a:pt x="76" y="28"/>
                  <a:pt x="74" y="25"/>
                  <a:pt x="76" y="24"/>
                </a:cubicBezTo>
                <a:cubicBezTo>
                  <a:pt x="77" y="22"/>
                  <a:pt x="75" y="19"/>
                  <a:pt x="77" y="19"/>
                </a:cubicBezTo>
                <a:cubicBezTo>
                  <a:pt x="79" y="20"/>
                  <a:pt x="82" y="20"/>
                  <a:pt x="82" y="16"/>
                </a:cubicBezTo>
                <a:cubicBezTo>
                  <a:pt x="82" y="15"/>
                  <a:pt x="83" y="14"/>
                  <a:pt x="84" y="13"/>
                </a:cubicBezTo>
                <a:cubicBezTo>
                  <a:pt x="81" y="10"/>
                  <a:pt x="79" y="4"/>
                  <a:pt x="79" y="4"/>
                </a:cubicBezTo>
                <a:cubicBezTo>
                  <a:pt x="79" y="4"/>
                  <a:pt x="74" y="6"/>
                  <a:pt x="71" y="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4" name="Freeform 71"/>
          <p:cNvSpPr/>
          <p:nvPr/>
        </p:nvSpPr>
        <p:spPr bwMode="auto">
          <a:xfrm>
            <a:off x="6323493" y="3129929"/>
            <a:ext cx="166885" cy="96663"/>
          </a:xfrm>
          <a:custGeom>
            <a:cxnLst>
              <a:cxn ang="0">
                <a:pos x="71" y="8"/>
              </a:cxn>
              <a:cxn ang="0">
                <a:pos x="68" y="7"/>
              </a:cxn>
              <a:cxn ang="0">
                <a:pos x="61" y="4"/>
              </a:cxn>
              <a:cxn ang="0">
                <a:pos x="51" y="1"/>
              </a:cxn>
              <a:cxn ang="0">
                <a:pos x="40" y="7"/>
              </a:cxn>
              <a:cxn ang="0">
                <a:pos x="28" y="11"/>
              </a:cxn>
              <a:cxn ang="0">
                <a:pos x="13" y="11"/>
              </a:cxn>
              <a:cxn ang="0">
                <a:pos x="12" y="9"/>
              </a:cxn>
              <a:cxn ang="0">
                <a:pos x="10" y="12"/>
              </a:cxn>
              <a:cxn ang="0">
                <a:pos x="5" y="15"/>
              </a:cxn>
              <a:cxn ang="0">
                <a:pos x="4" y="20"/>
              </a:cxn>
              <a:cxn ang="0">
                <a:pos x="2" y="25"/>
              </a:cxn>
              <a:cxn ang="0">
                <a:pos x="0" y="27"/>
              </a:cxn>
              <a:cxn ang="0">
                <a:pos x="3" y="32"/>
              </a:cxn>
              <a:cxn ang="0">
                <a:pos x="3" y="32"/>
              </a:cxn>
              <a:cxn ang="0">
                <a:pos x="12" y="39"/>
              </a:cxn>
              <a:cxn ang="0">
                <a:pos x="24" y="41"/>
              </a:cxn>
              <a:cxn ang="0">
                <a:pos x="39" y="37"/>
              </a:cxn>
              <a:cxn ang="0">
                <a:pos x="44" y="38"/>
              </a:cxn>
              <a:cxn ang="0">
                <a:pos x="47" y="39"/>
              </a:cxn>
              <a:cxn ang="0">
                <a:pos x="54" y="34"/>
              </a:cxn>
              <a:cxn ang="0">
                <a:pos x="64" y="17"/>
              </a:cxn>
              <a:cxn ang="0">
                <a:pos x="72" y="12"/>
              </a:cxn>
              <a:cxn ang="0">
                <a:pos x="71" y="8"/>
              </a:cxn>
            </a:cxnLst>
            <a:rect b="b" l="0" r="r" t="0"/>
            <a:pathLst>
              <a:path h="42" w="74">
                <a:moveTo>
                  <a:pt x="71" y="8"/>
                </a:moveTo>
                <a:cubicBezTo>
                  <a:pt x="70" y="8"/>
                  <a:pt x="69" y="7"/>
                  <a:pt x="68" y="7"/>
                </a:cubicBezTo>
                <a:cubicBezTo>
                  <a:pt x="65" y="6"/>
                  <a:pt x="62" y="5"/>
                  <a:pt x="61" y="4"/>
                </a:cubicBezTo>
                <a:cubicBezTo>
                  <a:pt x="59" y="2"/>
                  <a:pt x="52" y="1"/>
                  <a:pt x="51" y="1"/>
                </a:cubicBezTo>
                <a:cubicBezTo>
                  <a:pt x="50" y="0"/>
                  <a:pt x="43" y="7"/>
                  <a:pt x="40" y="7"/>
                </a:cubicBezTo>
                <a:cubicBezTo>
                  <a:pt x="38" y="7"/>
                  <a:pt x="28" y="9"/>
                  <a:pt x="28" y="11"/>
                </a:cubicBezTo>
                <a:cubicBezTo>
                  <a:pt x="28" y="14"/>
                  <a:pt x="16" y="14"/>
                  <a:pt x="13" y="11"/>
                </a:cubicBezTo>
                <a:cubicBezTo>
                  <a:pt x="13" y="11"/>
                  <a:pt x="12" y="10"/>
                  <a:pt x="12" y="9"/>
                </a:cubicBezTo>
                <a:cubicBezTo>
                  <a:pt x="11" y="10"/>
                  <a:pt x="10" y="11"/>
                  <a:pt x="10" y="12"/>
                </a:cubicBezTo>
                <a:cubicBezTo>
                  <a:pt x="10" y="16"/>
                  <a:pt x="7" y="16"/>
                  <a:pt x="5" y="15"/>
                </a:cubicBezTo>
                <a:cubicBezTo>
                  <a:pt x="3" y="15"/>
                  <a:pt x="5" y="18"/>
                  <a:pt x="4" y="20"/>
                </a:cubicBezTo>
                <a:cubicBezTo>
                  <a:pt x="2" y="21"/>
                  <a:pt x="4" y="24"/>
                  <a:pt x="2" y="25"/>
                </a:cubicBezTo>
                <a:cubicBezTo>
                  <a:pt x="1" y="25"/>
                  <a:pt x="0" y="26"/>
                  <a:pt x="0" y="27"/>
                </a:cubicBezTo>
                <a:cubicBezTo>
                  <a:pt x="1" y="28"/>
                  <a:pt x="3" y="32"/>
                  <a:pt x="3" y="32"/>
                </a:cubicBezTo>
                <a:cubicBezTo>
                  <a:pt x="3" y="32"/>
                  <a:pt x="3" y="32"/>
                  <a:pt x="3" y="32"/>
                </a:cubicBezTo>
                <a:cubicBezTo>
                  <a:pt x="5" y="33"/>
                  <a:pt x="10" y="37"/>
                  <a:pt x="12" y="39"/>
                </a:cubicBezTo>
                <a:cubicBezTo>
                  <a:pt x="14" y="42"/>
                  <a:pt x="21" y="42"/>
                  <a:pt x="24" y="41"/>
                </a:cubicBezTo>
                <a:cubicBezTo>
                  <a:pt x="26" y="41"/>
                  <a:pt x="39" y="37"/>
                  <a:pt x="39" y="37"/>
                </a:cubicBezTo>
                <a:cubicBezTo>
                  <a:pt x="39" y="37"/>
                  <a:pt x="42" y="38"/>
                  <a:pt x="44" y="38"/>
                </a:cubicBezTo>
                <a:cubicBezTo>
                  <a:pt x="44" y="38"/>
                  <a:pt x="46" y="38"/>
                  <a:pt x="47" y="39"/>
                </a:cubicBezTo>
                <a:cubicBezTo>
                  <a:pt x="48" y="38"/>
                  <a:pt x="51" y="37"/>
                  <a:pt x="54" y="34"/>
                </a:cubicBezTo>
                <a:cubicBezTo>
                  <a:pt x="57" y="30"/>
                  <a:pt x="63" y="18"/>
                  <a:pt x="64" y="17"/>
                </a:cubicBezTo>
                <a:cubicBezTo>
                  <a:pt x="66" y="16"/>
                  <a:pt x="70" y="14"/>
                  <a:pt x="72" y="12"/>
                </a:cubicBezTo>
                <a:cubicBezTo>
                  <a:pt x="74" y="11"/>
                  <a:pt x="73" y="9"/>
                  <a:pt x="71" y="8"/>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5" name="Freeform 72"/>
          <p:cNvSpPr/>
          <p:nvPr/>
        </p:nvSpPr>
        <p:spPr bwMode="auto">
          <a:xfrm>
            <a:off x="6228924" y="3052219"/>
            <a:ext cx="157615" cy="83395"/>
          </a:xfrm>
          <a:custGeom>
            <a:cxnLst>
              <a:cxn ang="0">
                <a:pos x="68" y="17"/>
              </a:cxn>
              <a:cxn ang="0">
                <a:pos x="60" y="15"/>
              </a:cxn>
              <a:cxn ang="0">
                <a:pos x="57" y="11"/>
              </a:cxn>
              <a:cxn ang="0">
                <a:pos x="51" y="12"/>
              </a:cxn>
              <a:cxn ang="0">
                <a:pos x="45" y="9"/>
              </a:cxn>
              <a:cxn ang="0">
                <a:pos x="37" y="4"/>
              </a:cxn>
              <a:cxn ang="0">
                <a:pos x="31" y="0"/>
              </a:cxn>
              <a:cxn ang="0">
                <a:pos x="30" y="1"/>
              </a:cxn>
              <a:cxn ang="0">
                <a:pos x="24" y="2"/>
              </a:cxn>
              <a:cxn ang="0">
                <a:pos x="15" y="6"/>
              </a:cxn>
              <a:cxn ang="0">
                <a:pos x="3" y="10"/>
              </a:cxn>
              <a:cxn ang="0">
                <a:pos x="4" y="16"/>
              </a:cxn>
              <a:cxn ang="0">
                <a:pos x="8" y="26"/>
              </a:cxn>
              <a:cxn ang="0">
                <a:pos x="20" y="35"/>
              </a:cxn>
              <a:cxn ang="0">
                <a:pos x="19" y="35"/>
              </a:cxn>
              <a:cxn ang="0">
                <a:pos x="29" y="35"/>
              </a:cxn>
              <a:cxn ang="0">
                <a:pos x="31" y="30"/>
              </a:cxn>
              <a:cxn ang="0">
                <a:pos x="42" y="33"/>
              </a:cxn>
              <a:cxn ang="0">
                <a:pos x="50" y="34"/>
              </a:cxn>
              <a:cxn ang="0">
                <a:pos x="51" y="36"/>
              </a:cxn>
              <a:cxn ang="0">
                <a:pos x="54" y="33"/>
              </a:cxn>
              <a:cxn ang="0">
                <a:pos x="65" y="27"/>
              </a:cxn>
              <a:cxn ang="0">
                <a:pos x="71" y="22"/>
              </a:cxn>
              <a:cxn ang="0">
                <a:pos x="68" y="17"/>
              </a:cxn>
            </a:cxnLst>
            <a:rect b="b" l="0" r="r" t="0"/>
            <a:pathLst>
              <a:path h="36" w="71">
                <a:moveTo>
                  <a:pt x="68" y="17"/>
                </a:moveTo>
                <a:cubicBezTo>
                  <a:pt x="66" y="15"/>
                  <a:pt x="61" y="16"/>
                  <a:pt x="60" y="15"/>
                </a:cubicBezTo>
                <a:cubicBezTo>
                  <a:pt x="60" y="13"/>
                  <a:pt x="59" y="11"/>
                  <a:pt x="57" y="11"/>
                </a:cubicBezTo>
                <a:cubicBezTo>
                  <a:pt x="55" y="11"/>
                  <a:pt x="52" y="9"/>
                  <a:pt x="51" y="12"/>
                </a:cubicBezTo>
                <a:cubicBezTo>
                  <a:pt x="50" y="14"/>
                  <a:pt x="45" y="11"/>
                  <a:pt x="45" y="9"/>
                </a:cubicBezTo>
                <a:cubicBezTo>
                  <a:pt x="45" y="7"/>
                  <a:pt x="43" y="6"/>
                  <a:pt x="37" y="4"/>
                </a:cubicBezTo>
                <a:cubicBezTo>
                  <a:pt x="35" y="3"/>
                  <a:pt x="33" y="2"/>
                  <a:pt x="31" y="0"/>
                </a:cubicBezTo>
                <a:cubicBezTo>
                  <a:pt x="31" y="1"/>
                  <a:pt x="31" y="1"/>
                  <a:pt x="30" y="1"/>
                </a:cubicBezTo>
                <a:cubicBezTo>
                  <a:pt x="29" y="3"/>
                  <a:pt x="26" y="0"/>
                  <a:pt x="24" y="2"/>
                </a:cubicBezTo>
                <a:cubicBezTo>
                  <a:pt x="23" y="3"/>
                  <a:pt x="18" y="3"/>
                  <a:pt x="15" y="6"/>
                </a:cubicBezTo>
                <a:cubicBezTo>
                  <a:pt x="12" y="8"/>
                  <a:pt x="7" y="10"/>
                  <a:pt x="3" y="10"/>
                </a:cubicBezTo>
                <a:cubicBezTo>
                  <a:pt x="0" y="11"/>
                  <a:pt x="3" y="14"/>
                  <a:pt x="4" y="16"/>
                </a:cubicBezTo>
                <a:cubicBezTo>
                  <a:pt x="5" y="19"/>
                  <a:pt x="5" y="24"/>
                  <a:pt x="8" y="26"/>
                </a:cubicBezTo>
                <a:cubicBezTo>
                  <a:pt x="10" y="28"/>
                  <a:pt x="19" y="33"/>
                  <a:pt x="20" y="35"/>
                </a:cubicBezTo>
                <a:cubicBezTo>
                  <a:pt x="20" y="35"/>
                  <a:pt x="20" y="35"/>
                  <a:pt x="19" y="35"/>
                </a:cubicBezTo>
                <a:cubicBezTo>
                  <a:pt x="23" y="36"/>
                  <a:pt x="28" y="36"/>
                  <a:pt x="29" y="35"/>
                </a:cubicBezTo>
                <a:cubicBezTo>
                  <a:pt x="30" y="33"/>
                  <a:pt x="31" y="30"/>
                  <a:pt x="31" y="30"/>
                </a:cubicBezTo>
                <a:cubicBezTo>
                  <a:pt x="31" y="30"/>
                  <a:pt x="39" y="30"/>
                  <a:pt x="42" y="33"/>
                </a:cubicBezTo>
                <a:cubicBezTo>
                  <a:pt x="45" y="36"/>
                  <a:pt x="50" y="34"/>
                  <a:pt x="50" y="34"/>
                </a:cubicBezTo>
                <a:cubicBezTo>
                  <a:pt x="50" y="34"/>
                  <a:pt x="50" y="35"/>
                  <a:pt x="51" y="36"/>
                </a:cubicBezTo>
                <a:cubicBezTo>
                  <a:pt x="52" y="34"/>
                  <a:pt x="53" y="33"/>
                  <a:pt x="54" y="33"/>
                </a:cubicBezTo>
                <a:cubicBezTo>
                  <a:pt x="57" y="32"/>
                  <a:pt x="62" y="32"/>
                  <a:pt x="65" y="27"/>
                </a:cubicBezTo>
                <a:cubicBezTo>
                  <a:pt x="66" y="25"/>
                  <a:pt x="69" y="23"/>
                  <a:pt x="71" y="22"/>
                </a:cubicBezTo>
                <a:cubicBezTo>
                  <a:pt x="70" y="20"/>
                  <a:pt x="69" y="17"/>
                  <a:pt x="68" y="1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6" name="Freeform 73"/>
          <p:cNvSpPr/>
          <p:nvPr/>
        </p:nvSpPr>
        <p:spPr bwMode="auto">
          <a:xfrm>
            <a:off x="6342036" y="3101498"/>
            <a:ext cx="140926" cy="60651"/>
          </a:xfrm>
          <a:custGeom>
            <a:cxnLst>
              <a:cxn ang="0">
                <a:pos x="47" y="3"/>
              </a:cxn>
              <a:cxn ang="0">
                <a:pos x="38" y="3"/>
              </a:cxn>
              <a:cxn ang="0">
                <a:pos x="29" y="1"/>
              </a:cxn>
              <a:cxn ang="0">
                <a:pos x="22" y="2"/>
              </a:cxn>
              <a:cxn ang="0">
                <a:pos x="20" y="1"/>
              </a:cxn>
              <a:cxn ang="0">
                <a:pos x="14" y="6"/>
              </a:cxn>
              <a:cxn ang="0">
                <a:pos x="3" y="12"/>
              </a:cxn>
              <a:cxn ang="0">
                <a:pos x="0" y="15"/>
              </a:cxn>
              <a:cxn ang="0">
                <a:pos x="5" y="24"/>
              </a:cxn>
              <a:cxn ang="0">
                <a:pos x="20" y="24"/>
              </a:cxn>
              <a:cxn ang="0">
                <a:pos x="32" y="20"/>
              </a:cxn>
              <a:cxn ang="0">
                <a:pos x="43" y="14"/>
              </a:cxn>
              <a:cxn ang="0">
                <a:pos x="53" y="17"/>
              </a:cxn>
              <a:cxn ang="0">
                <a:pos x="60" y="20"/>
              </a:cxn>
              <a:cxn ang="0">
                <a:pos x="58" y="16"/>
              </a:cxn>
              <a:cxn ang="0">
                <a:pos x="63" y="8"/>
              </a:cxn>
              <a:cxn ang="0">
                <a:pos x="63" y="7"/>
              </a:cxn>
              <a:cxn ang="0">
                <a:pos x="56" y="6"/>
              </a:cxn>
              <a:cxn ang="0">
                <a:pos x="47" y="3"/>
              </a:cxn>
            </a:cxnLst>
            <a:rect b="b" l="0" r="r" t="0"/>
            <a:pathLst>
              <a:path h="27" w="62">
                <a:moveTo>
                  <a:pt x="47" y="3"/>
                </a:moveTo>
                <a:cubicBezTo>
                  <a:pt x="43" y="4"/>
                  <a:pt x="41" y="1"/>
                  <a:pt x="38" y="3"/>
                </a:cubicBezTo>
                <a:cubicBezTo>
                  <a:pt x="35" y="4"/>
                  <a:pt x="30" y="3"/>
                  <a:pt x="29" y="1"/>
                </a:cubicBezTo>
                <a:cubicBezTo>
                  <a:pt x="27" y="0"/>
                  <a:pt x="24" y="4"/>
                  <a:pt x="22" y="2"/>
                </a:cubicBezTo>
                <a:cubicBezTo>
                  <a:pt x="21" y="2"/>
                  <a:pt x="21" y="1"/>
                  <a:pt x="20" y="1"/>
                </a:cubicBezTo>
                <a:cubicBezTo>
                  <a:pt x="18" y="2"/>
                  <a:pt x="15" y="4"/>
                  <a:pt x="14" y="6"/>
                </a:cubicBezTo>
                <a:cubicBezTo>
                  <a:pt x="11" y="11"/>
                  <a:pt x="6" y="11"/>
                  <a:pt x="3" y="12"/>
                </a:cubicBezTo>
                <a:cubicBezTo>
                  <a:pt x="2" y="12"/>
                  <a:pt x="1" y="13"/>
                  <a:pt x="0" y="15"/>
                </a:cubicBezTo>
                <a:cubicBezTo>
                  <a:pt x="1" y="18"/>
                  <a:pt x="3" y="22"/>
                  <a:pt x="5" y="24"/>
                </a:cubicBezTo>
                <a:cubicBezTo>
                  <a:pt x="8" y="27"/>
                  <a:pt x="20" y="27"/>
                  <a:pt x="20" y="24"/>
                </a:cubicBezTo>
                <a:cubicBezTo>
                  <a:pt x="20" y="22"/>
                  <a:pt x="30" y="20"/>
                  <a:pt x="32" y="20"/>
                </a:cubicBezTo>
                <a:cubicBezTo>
                  <a:pt x="35" y="20"/>
                  <a:pt x="42" y="13"/>
                  <a:pt x="43" y="14"/>
                </a:cubicBezTo>
                <a:cubicBezTo>
                  <a:pt x="44" y="14"/>
                  <a:pt x="51" y="15"/>
                  <a:pt x="53" y="17"/>
                </a:cubicBezTo>
                <a:cubicBezTo>
                  <a:pt x="54" y="18"/>
                  <a:pt x="57" y="19"/>
                  <a:pt x="60" y="20"/>
                </a:cubicBezTo>
                <a:cubicBezTo>
                  <a:pt x="59" y="18"/>
                  <a:pt x="58" y="17"/>
                  <a:pt x="58" y="16"/>
                </a:cubicBezTo>
                <a:cubicBezTo>
                  <a:pt x="58" y="14"/>
                  <a:pt x="62" y="9"/>
                  <a:pt x="63" y="8"/>
                </a:cubicBezTo>
                <a:cubicBezTo>
                  <a:pt x="63" y="7"/>
                  <a:pt x="63" y="7"/>
                  <a:pt x="63" y="7"/>
                </a:cubicBezTo>
                <a:cubicBezTo>
                  <a:pt x="60" y="7"/>
                  <a:pt x="57" y="6"/>
                  <a:pt x="56" y="6"/>
                </a:cubicBezTo>
                <a:cubicBezTo>
                  <a:pt x="55" y="4"/>
                  <a:pt x="51" y="3"/>
                  <a:pt x="47" y="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7" name="Freeform 74"/>
          <p:cNvSpPr/>
          <p:nvPr/>
        </p:nvSpPr>
        <p:spPr bwMode="auto">
          <a:xfrm>
            <a:off x="5674494" y="3342208"/>
            <a:ext cx="94569" cy="159209"/>
          </a:xfrm>
          <a:custGeom>
            <a:cxnLst>
              <a:cxn ang="0">
                <a:pos x="30" y="57"/>
              </a:cxn>
              <a:cxn ang="0">
                <a:pos x="28" y="52"/>
              </a:cxn>
              <a:cxn ang="0">
                <a:pos x="31" y="45"/>
              </a:cxn>
              <a:cxn ang="0">
                <a:pos x="27" y="39"/>
              </a:cxn>
              <a:cxn ang="0">
                <a:pos x="30" y="35"/>
              </a:cxn>
              <a:cxn ang="0">
                <a:pos x="32" y="27"/>
              </a:cxn>
              <a:cxn ang="0">
                <a:pos x="31" y="17"/>
              </a:cxn>
              <a:cxn ang="0">
                <a:pos x="39" y="10"/>
              </a:cxn>
              <a:cxn ang="0">
                <a:pos x="36" y="6"/>
              </a:cxn>
              <a:cxn ang="0">
                <a:pos x="29" y="4"/>
              </a:cxn>
              <a:cxn ang="0">
                <a:pos x="25" y="4"/>
              </a:cxn>
              <a:cxn ang="0">
                <a:pos x="18" y="3"/>
              </a:cxn>
              <a:cxn ang="0">
                <a:pos x="14" y="2"/>
              </a:cxn>
              <a:cxn ang="0">
                <a:pos x="11" y="4"/>
              </a:cxn>
              <a:cxn ang="0">
                <a:pos x="11" y="11"/>
              </a:cxn>
              <a:cxn ang="0">
                <a:pos x="4" y="38"/>
              </a:cxn>
              <a:cxn ang="0">
                <a:pos x="8" y="48"/>
              </a:cxn>
              <a:cxn ang="0">
                <a:pos x="10" y="67"/>
              </a:cxn>
              <a:cxn ang="0">
                <a:pos x="18" y="70"/>
              </a:cxn>
              <a:cxn ang="0">
                <a:pos x="27" y="68"/>
              </a:cxn>
              <a:cxn ang="0">
                <a:pos x="26" y="64"/>
              </a:cxn>
              <a:cxn ang="0">
                <a:pos x="30" y="57"/>
              </a:cxn>
            </a:cxnLst>
            <a:rect b="b" l="0" r="r" t="0"/>
            <a:pathLst>
              <a:path h="70" w="42">
                <a:moveTo>
                  <a:pt x="30" y="57"/>
                </a:moveTo>
                <a:cubicBezTo>
                  <a:pt x="35" y="56"/>
                  <a:pt x="29" y="53"/>
                  <a:pt x="28" y="52"/>
                </a:cubicBezTo>
                <a:cubicBezTo>
                  <a:pt x="27" y="50"/>
                  <a:pt x="28" y="45"/>
                  <a:pt x="31" y="45"/>
                </a:cubicBezTo>
                <a:cubicBezTo>
                  <a:pt x="33" y="45"/>
                  <a:pt x="31" y="43"/>
                  <a:pt x="27" y="39"/>
                </a:cubicBezTo>
                <a:cubicBezTo>
                  <a:pt x="24" y="36"/>
                  <a:pt x="27" y="35"/>
                  <a:pt x="30" y="35"/>
                </a:cubicBezTo>
                <a:cubicBezTo>
                  <a:pt x="33" y="35"/>
                  <a:pt x="29" y="30"/>
                  <a:pt x="32" y="27"/>
                </a:cubicBezTo>
                <a:cubicBezTo>
                  <a:pt x="35" y="24"/>
                  <a:pt x="31" y="19"/>
                  <a:pt x="31" y="17"/>
                </a:cubicBezTo>
                <a:cubicBezTo>
                  <a:pt x="31" y="14"/>
                  <a:pt x="35" y="13"/>
                  <a:pt x="39" y="10"/>
                </a:cubicBezTo>
                <a:cubicBezTo>
                  <a:pt x="42" y="7"/>
                  <a:pt x="36" y="8"/>
                  <a:pt x="36" y="6"/>
                </a:cubicBezTo>
                <a:cubicBezTo>
                  <a:pt x="36" y="3"/>
                  <a:pt x="32" y="2"/>
                  <a:pt x="29" y="4"/>
                </a:cubicBezTo>
                <a:cubicBezTo>
                  <a:pt x="26" y="6"/>
                  <a:pt x="27" y="4"/>
                  <a:pt x="25" y="4"/>
                </a:cubicBezTo>
                <a:cubicBezTo>
                  <a:pt x="22" y="4"/>
                  <a:pt x="18" y="5"/>
                  <a:pt x="18" y="3"/>
                </a:cubicBezTo>
                <a:cubicBezTo>
                  <a:pt x="18" y="0"/>
                  <a:pt x="16" y="0"/>
                  <a:pt x="14" y="2"/>
                </a:cubicBezTo>
                <a:cubicBezTo>
                  <a:pt x="13" y="3"/>
                  <a:pt x="12" y="4"/>
                  <a:pt x="11" y="4"/>
                </a:cubicBezTo>
                <a:cubicBezTo>
                  <a:pt x="10" y="7"/>
                  <a:pt x="10" y="10"/>
                  <a:pt x="11" y="11"/>
                </a:cubicBezTo>
                <a:cubicBezTo>
                  <a:pt x="13" y="15"/>
                  <a:pt x="8" y="33"/>
                  <a:pt x="4" y="38"/>
                </a:cubicBezTo>
                <a:cubicBezTo>
                  <a:pt x="0" y="43"/>
                  <a:pt x="4" y="45"/>
                  <a:pt x="8" y="48"/>
                </a:cubicBezTo>
                <a:cubicBezTo>
                  <a:pt x="13" y="52"/>
                  <a:pt x="10" y="64"/>
                  <a:pt x="10" y="67"/>
                </a:cubicBezTo>
                <a:cubicBezTo>
                  <a:pt x="10" y="70"/>
                  <a:pt x="14" y="70"/>
                  <a:pt x="18" y="70"/>
                </a:cubicBezTo>
                <a:cubicBezTo>
                  <a:pt x="21" y="70"/>
                  <a:pt x="24" y="68"/>
                  <a:pt x="27" y="68"/>
                </a:cubicBezTo>
                <a:cubicBezTo>
                  <a:pt x="26" y="66"/>
                  <a:pt x="26" y="65"/>
                  <a:pt x="26" y="64"/>
                </a:cubicBezTo>
                <a:cubicBezTo>
                  <a:pt x="26" y="62"/>
                  <a:pt x="26" y="58"/>
                  <a:pt x="30" y="5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8" name="Freeform 75"/>
          <p:cNvSpPr/>
          <p:nvPr/>
        </p:nvSpPr>
        <p:spPr bwMode="auto">
          <a:xfrm>
            <a:off x="6000847" y="2968824"/>
            <a:ext cx="103840" cy="90977"/>
          </a:xfrm>
          <a:custGeom>
            <a:cxnLst>
              <a:cxn ang="0">
                <a:pos x="15" y="31"/>
              </a:cxn>
              <a:cxn ang="0">
                <a:pos x="23" y="32"/>
              </a:cxn>
              <a:cxn ang="0">
                <a:pos x="31" y="38"/>
              </a:cxn>
              <a:cxn ang="0">
                <a:pos x="33" y="40"/>
              </a:cxn>
              <a:cxn ang="0">
                <a:pos x="35" y="32"/>
              </a:cxn>
              <a:cxn ang="0">
                <a:pos x="35" y="26"/>
              </a:cxn>
              <a:cxn ang="0">
                <a:pos x="42" y="23"/>
              </a:cxn>
              <a:cxn ang="0">
                <a:pos x="44" y="20"/>
              </a:cxn>
              <a:cxn ang="0">
                <a:pos x="40" y="14"/>
              </a:cxn>
              <a:cxn ang="0">
                <a:pos x="46" y="8"/>
              </a:cxn>
              <a:cxn ang="0">
                <a:pos x="46" y="1"/>
              </a:cxn>
              <a:cxn ang="0">
                <a:pos x="43" y="2"/>
              </a:cxn>
              <a:cxn ang="0">
                <a:pos x="32" y="2"/>
              </a:cxn>
              <a:cxn ang="0">
                <a:pos x="27" y="10"/>
              </a:cxn>
              <a:cxn ang="0">
                <a:pos x="22" y="10"/>
              </a:cxn>
              <a:cxn ang="0">
                <a:pos x="16" y="13"/>
              </a:cxn>
              <a:cxn ang="0">
                <a:pos x="11" y="22"/>
              </a:cxn>
              <a:cxn ang="0">
                <a:pos x="2" y="33"/>
              </a:cxn>
              <a:cxn ang="0">
                <a:pos x="0" y="34"/>
              </a:cxn>
              <a:cxn ang="0">
                <a:pos x="4" y="35"/>
              </a:cxn>
              <a:cxn ang="0">
                <a:pos x="15" y="31"/>
              </a:cxn>
            </a:cxnLst>
            <a:rect b="b" l="0" r="r" t="0"/>
            <a:pathLst>
              <a:path h="40" w="47">
                <a:moveTo>
                  <a:pt x="15" y="31"/>
                </a:moveTo>
                <a:cubicBezTo>
                  <a:pt x="17" y="29"/>
                  <a:pt x="21" y="30"/>
                  <a:pt x="23" y="32"/>
                </a:cubicBezTo>
                <a:cubicBezTo>
                  <a:pt x="25" y="34"/>
                  <a:pt x="28" y="35"/>
                  <a:pt x="31" y="38"/>
                </a:cubicBezTo>
                <a:cubicBezTo>
                  <a:pt x="32" y="39"/>
                  <a:pt x="33" y="40"/>
                  <a:pt x="33" y="40"/>
                </a:cubicBezTo>
                <a:cubicBezTo>
                  <a:pt x="34" y="38"/>
                  <a:pt x="34" y="34"/>
                  <a:pt x="35" y="32"/>
                </a:cubicBezTo>
                <a:cubicBezTo>
                  <a:pt x="36" y="29"/>
                  <a:pt x="34" y="26"/>
                  <a:pt x="35" y="26"/>
                </a:cubicBezTo>
                <a:cubicBezTo>
                  <a:pt x="37" y="26"/>
                  <a:pt x="42" y="26"/>
                  <a:pt x="42" y="23"/>
                </a:cubicBezTo>
                <a:cubicBezTo>
                  <a:pt x="42" y="20"/>
                  <a:pt x="43" y="21"/>
                  <a:pt x="44" y="20"/>
                </a:cubicBezTo>
                <a:cubicBezTo>
                  <a:pt x="45" y="18"/>
                  <a:pt x="41" y="15"/>
                  <a:pt x="40" y="14"/>
                </a:cubicBezTo>
                <a:cubicBezTo>
                  <a:pt x="40" y="13"/>
                  <a:pt x="43" y="12"/>
                  <a:pt x="46" y="8"/>
                </a:cubicBezTo>
                <a:cubicBezTo>
                  <a:pt x="47" y="7"/>
                  <a:pt x="47" y="4"/>
                  <a:pt x="46" y="1"/>
                </a:cubicBezTo>
                <a:cubicBezTo>
                  <a:pt x="45" y="2"/>
                  <a:pt x="44" y="3"/>
                  <a:pt x="43" y="2"/>
                </a:cubicBezTo>
                <a:cubicBezTo>
                  <a:pt x="40" y="0"/>
                  <a:pt x="37" y="1"/>
                  <a:pt x="32" y="2"/>
                </a:cubicBezTo>
                <a:cubicBezTo>
                  <a:pt x="27" y="3"/>
                  <a:pt x="25" y="8"/>
                  <a:pt x="27" y="10"/>
                </a:cubicBezTo>
                <a:cubicBezTo>
                  <a:pt x="29" y="12"/>
                  <a:pt x="22" y="13"/>
                  <a:pt x="22" y="10"/>
                </a:cubicBezTo>
                <a:cubicBezTo>
                  <a:pt x="21" y="8"/>
                  <a:pt x="16" y="9"/>
                  <a:pt x="16" y="13"/>
                </a:cubicBezTo>
                <a:cubicBezTo>
                  <a:pt x="17" y="16"/>
                  <a:pt x="11" y="18"/>
                  <a:pt x="11" y="22"/>
                </a:cubicBezTo>
                <a:cubicBezTo>
                  <a:pt x="12" y="26"/>
                  <a:pt x="6" y="30"/>
                  <a:pt x="2" y="33"/>
                </a:cubicBezTo>
                <a:cubicBezTo>
                  <a:pt x="2" y="33"/>
                  <a:pt x="1" y="33"/>
                  <a:pt x="0" y="34"/>
                </a:cubicBezTo>
                <a:cubicBezTo>
                  <a:pt x="2" y="34"/>
                  <a:pt x="4" y="35"/>
                  <a:pt x="4" y="35"/>
                </a:cubicBezTo>
                <a:cubicBezTo>
                  <a:pt x="8" y="35"/>
                  <a:pt x="13" y="33"/>
                  <a:pt x="15" y="3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79" name="Freeform 76"/>
          <p:cNvSpPr/>
          <p:nvPr/>
        </p:nvSpPr>
        <p:spPr bwMode="auto">
          <a:xfrm>
            <a:off x="6067602" y="3084441"/>
            <a:ext cx="18543" cy="22744"/>
          </a:xfrm>
          <a:custGeom>
            <a:cxnLst>
              <a:cxn ang="0">
                <a:pos x="4" y="0"/>
              </a:cxn>
              <a:cxn ang="0">
                <a:pos x="0" y="9"/>
              </a:cxn>
              <a:cxn ang="0">
                <a:pos x="8" y="10"/>
              </a:cxn>
              <a:cxn ang="0">
                <a:pos x="4" y="1"/>
              </a:cxn>
              <a:cxn ang="0">
                <a:pos x="4" y="0"/>
              </a:cxn>
            </a:cxnLst>
            <a:rect b="b" l="0" r="r" t="0"/>
            <a:pathLst>
              <a:path h="10" w="8">
                <a:moveTo>
                  <a:pt x="4" y="0"/>
                </a:moveTo>
                <a:cubicBezTo>
                  <a:pt x="2" y="1"/>
                  <a:pt x="0" y="4"/>
                  <a:pt x="0" y="9"/>
                </a:cubicBezTo>
                <a:cubicBezTo>
                  <a:pt x="2" y="9"/>
                  <a:pt x="5" y="10"/>
                  <a:pt x="8" y="10"/>
                </a:cubicBezTo>
                <a:cubicBezTo>
                  <a:pt x="7" y="4"/>
                  <a:pt x="5" y="2"/>
                  <a:pt x="4" y="1"/>
                </a:cubicBezTo>
                <a:cubicBezTo>
                  <a:pt x="4" y="0"/>
                  <a:pt x="4" y="0"/>
                  <a:pt x="4" y="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0" name="Freeform 77"/>
          <p:cNvSpPr/>
          <p:nvPr/>
        </p:nvSpPr>
        <p:spPr bwMode="auto">
          <a:xfrm>
            <a:off x="5984158" y="3035162"/>
            <a:ext cx="98278" cy="72023"/>
          </a:xfrm>
          <a:custGeom>
            <a:cxnLst>
              <a:cxn ang="0">
                <a:pos x="1" y="9"/>
              </a:cxn>
              <a:cxn ang="0">
                <a:pos x="5" y="14"/>
              </a:cxn>
              <a:cxn ang="0">
                <a:pos x="11" y="17"/>
              </a:cxn>
              <a:cxn ang="0">
                <a:pos x="18" y="21"/>
              </a:cxn>
              <a:cxn ang="0">
                <a:pos x="21" y="25"/>
              </a:cxn>
              <a:cxn ang="0">
                <a:pos x="26" y="23"/>
              </a:cxn>
              <a:cxn ang="0">
                <a:pos x="30" y="28"/>
              </a:cxn>
              <a:cxn ang="0">
                <a:pos x="35" y="32"/>
              </a:cxn>
              <a:cxn ang="0">
                <a:pos x="37" y="31"/>
              </a:cxn>
              <a:cxn ang="0">
                <a:pos x="41" y="22"/>
              </a:cxn>
              <a:cxn ang="0">
                <a:pos x="43" y="19"/>
              </a:cxn>
              <a:cxn ang="0">
                <a:pos x="40" y="12"/>
              </a:cxn>
              <a:cxn ang="0">
                <a:pos x="40" y="11"/>
              </a:cxn>
              <a:cxn ang="0">
                <a:pos x="38" y="9"/>
              </a:cxn>
              <a:cxn ang="0">
                <a:pos x="30" y="3"/>
              </a:cxn>
              <a:cxn ang="0">
                <a:pos x="22" y="2"/>
              </a:cxn>
              <a:cxn ang="0">
                <a:pos x="11" y="6"/>
              </a:cxn>
              <a:cxn ang="0">
                <a:pos x="7" y="5"/>
              </a:cxn>
              <a:cxn ang="0">
                <a:pos x="0" y="8"/>
              </a:cxn>
              <a:cxn ang="0">
                <a:pos x="1" y="9"/>
              </a:cxn>
            </a:cxnLst>
            <a:rect b="b" l="0" r="r" t="0"/>
            <a:pathLst>
              <a:path h="32" w="44">
                <a:moveTo>
                  <a:pt x="1" y="9"/>
                </a:moveTo>
                <a:cubicBezTo>
                  <a:pt x="2" y="11"/>
                  <a:pt x="4" y="15"/>
                  <a:pt x="5" y="14"/>
                </a:cubicBezTo>
                <a:cubicBezTo>
                  <a:pt x="6" y="12"/>
                  <a:pt x="9" y="16"/>
                  <a:pt x="11" y="17"/>
                </a:cubicBezTo>
                <a:cubicBezTo>
                  <a:pt x="13" y="18"/>
                  <a:pt x="18" y="20"/>
                  <a:pt x="18" y="21"/>
                </a:cubicBezTo>
                <a:cubicBezTo>
                  <a:pt x="18" y="23"/>
                  <a:pt x="19" y="26"/>
                  <a:pt x="21" y="25"/>
                </a:cubicBezTo>
                <a:cubicBezTo>
                  <a:pt x="24" y="24"/>
                  <a:pt x="26" y="21"/>
                  <a:pt x="26" y="23"/>
                </a:cubicBezTo>
                <a:cubicBezTo>
                  <a:pt x="26" y="25"/>
                  <a:pt x="27" y="28"/>
                  <a:pt x="30" y="28"/>
                </a:cubicBezTo>
                <a:cubicBezTo>
                  <a:pt x="32" y="27"/>
                  <a:pt x="33" y="32"/>
                  <a:pt x="35" y="32"/>
                </a:cubicBezTo>
                <a:cubicBezTo>
                  <a:pt x="36" y="31"/>
                  <a:pt x="36" y="31"/>
                  <a:pt x="37" y="31"/>
                </a:cubicBezTo>
                <a:cubicBezTo>
                  <a:pt x="37" y="26"/>
                  <a:pt x="39" y="23"/>
                  <a:pt x="41" y="22"/>
                </a:cubicBezTo>
                <a:cubicBezTo>
                  <a:pt x="42" y="21"/>
                  <a:pt x="43" y="20"/>
                  <a:pt x="43" y="19"/>
                </a:cubicBezTo>
                <a:cubicBezTo>
                  <a:pt x="44" y="17"/>
                  <a:pt x="40" y="14"/>
                  <a:pt x="40" y="12"/>
                </a:cubicBezTo>
                <a:cubicBezTo>
                  <a:pt x="40" y="11"/>
                  <a:pt x="40" y="11"/>
                  <a:pt x="40" y="11"/>
                </a:cubicBezTo>
                <a:cubicBezTo>
                  <a:pt x="40" y="11"/>
                  <a:pt x="39" y="10"/>
                  <a:pt x="38" y="9"/>
                </a:cubicBezTo>
                <a:cubicBezTo>
                  <a:pt x="35" y="6"/>
                  <a:pt x="32" y="5"/>
                  <a:pt x="30" y="3"/>
                </a:cubicBezTo>
                <a:cubicBezTo>
                  <a:pt x="28" y="1"/>
                  <a:pt x="24" y="0"/>
                  <a:pt x="22" y="2"/>
                </a:cubicBezTo>
                <a:cubicBezTo>
                  <a:pt x="20" y="4"/>
                  <a:pt x="15" y="6"/>
                  <a:pt x="11" y="6"/>
                </a:cubicBezTo>
                <a:cubicBezTo>
                  <a:pt x="11" y="6"/>
                  <a:pt x="9" y="5"/>
                  <a:pt x="7" y="5"/>
                </a:cubicBezTo>
                <a:cubicBezTo>
                  <a:pt x="5" y="6"/>
                  <a:pt x="2" y="7"/>
                  <a:pt x="0" y="8"/>
                </a:cubicBezTo>
                <a:cubicBezTo>
                  <a:pt x="0" y="8"/>
                  <a:pt x="1" y="8"/>
                  <a:pt x="1" y="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1" name="Freeform 78"/>
          <p:cNvSpPr/>
          <p:nvPr/>
        </p:nvSpPr>
        <p:spPr bwMode="auto">
          <a:xfrm>
            <a:off x="6429186" y="3141301"/>
            <a:ext cx="228077" cy="153524"/>
          </a:xfrm>
          <a:custGeom>
            <a:cxnLst>
              <a:cxn ang="0">
                <a:pos x="91" y="45"/>
              </a:cxn>
              <a:cxn ang="0">
                <a:pos x="87" y="42"/>
              </a:cxn>
              <a:cxn ang="0">
                <a:pos x="87" y="41"/>
              </a:cxn>
              <a:cxn ang="0">
                <a:pos x="85" y="29"/>
              </a:cxn>
              <a:cxn ang="0">
                <a:pos x="78" y="13"/>
              </a:cxn>
              <a:cxn ang="0">
                <a:pos x="70" y="0"/>
              </a:cxn>
              <a:cxn ang="0">
                <a:pos x="65" y="3"/>
              </a:cxn>
              <a:cxn ang="0">
                <a:pos x="59" y="6"/>
              </a:cxn>
              <a:cxn ang="0">
                <a:pos x="53" y="7"/>
              </a:cxn>
              <a:cxn ang="0">
                <a:pos x="48" y="8"/>
              </a:cxn>
              <a:cxn ang="0">
                <a:pos x="41" y="6"/>
              </a:cxn>
              <a:cxn ang="0">
                <a:pos x="30" y="4"/>
              </a:cxn>
              <a:cxn ang="0">
                <a:pos x="26" y="5"/>
              </a:cxn>
              <a:cxn ang="0">
                <a:pos x="25" y="7"/>
              </a:cxn>
              <a:cxn ang="0">
                <a:pos x="17" y="12"/>
              </a:cxn>
              <a:cxn ang="0">
                <a:pos x="7" y="29"/>
              </a:cxn>
              <a:cxn ang="0">
                <a:pos x="0" y="34"/>
              </a:cxn>
              <a:cxn ang="0">
                <a:pos x="4" y="41"/>
              </a:cxn>
              <a:cxn ang="0">
                <a:pos x="8" y="45"/>
              </a:cxn>
              <a:cxn ang="0">
                <a:pos x="9" y="52"/>
              </a:cxn>
              <a:cxn ang="0">
                <a:pos x="22" y="55"/>
              </a:cxn>
              <a:cxn ang="0">
                <a:pos x="22" y="60"/>
              </a:cxn>
              <a:cxn ang="0">
                <a:pos x="29" y="65"/>
              </a:cxn>
              <a:cxn ang="0">
                <a:pos x="41" y="66"/>
              </a:cxn>
              <a:cxn ang="0">
                <a:pos x="53" y="66"/>
              </a:cxn>
              <a:cxn ang="0">
                <a:pos x="61" y="63"/>
              </a:cxn>
              <a:cxn ang="0">
                <a:pos x="74" y="61"/>
              </a:cxn>
              <a:cxn ang="0">
                <a:pos x="83" y="63"/>
              </a:cxn>
              <a:cxn ang="0">
                <a:pos x="90" y="66"/>
              </a:cxn>
              <a:cxn ang="0">
                <a:pos x="90" y="61"/>
              </a:cxn>
              <a:cxn ang="0">
                <a:pos x="96" y="51"/>
              </a:cxn>
              <a:cxn ang="0">
                <a:pos x="101" y="45"/>
              </a:cxn>
              <a:cxn ang="0">
                <a:pos x="101" y="45"/>
              </a:cxn>
              <a:cxn ang="0">
                <a:pos x="97" y="42"/>
              </a:cxn>
              <a:cxn ang="0">
                <a:pos x="91" y="45"/>
              </a:cxn>
            </a:cxnLst>
            <a:rect b="b" l="0" r="r" t="0"/>
            <a:pathLst>
              <a:path h="67" w="102">
                <a:moveTo>
                  <a:pt x="91" y="45"/>
                </a:moveTo>
                <a:cubicBezTo>
                  <a:pt x="89" y="44"/>
                  <a:pt x="86" y="43"/>
                  <a:pt x="87" y="42"/>
                </a:cubicBezTo>
                <a:cubicBezTo>
                  <a:pt x="87" y="42"/>
                  <a:pt x="87" y="42"/>
                  <a:pt x="87" y="41"/>
                </a:cubicBezTo>
                <a:cubicBezTo>
                  <a:pt x="84" y="39"/>
                  <a:pt x="83" y="31"/>
                  <a:pt x="85" y="29"/>
                </a:cubicBezTo>
                <a:cubicBezTo>
                  <a:pt x="88" y="26"/>
                  <a:pt x="81" y="17"/>
                  <a:pt x="78" y="13"/>
                </a:cubicBezTo>
                <a:cubicBezTo>
                  <a:pt x="76" y="11"/>
                  <a:pt x="73" y="6"/>
                  <a:pt x="70" y="0"/>
                </a:cubicBezTo>
                <a:cubicBezTo>
                  <a:pt x="68" y="1"/>
                  <a:pt x="65" y="2"/>
                  <a:pt x="65" y="3"/>
                </a:cubicBezTo>
                <a:cubicBezTo>
                  <a:pt x="64" y="5"/>
                  <a:pt x="61" y="6"/>
                  <a:pt x="59" y="6"/>
                </a:cubicBezTo>
                <a:cubicBezTo>
                  <a:pt x="57" y="6"/>
                  <a:pt x="55" y="5"/>
                  <a:pt x="53" y="7"/>
                </a:cubicBezTo>
                <a:cubicBezTo>
                  <a:pt x="51" y="9"/>
                  <a:pt x="49" y="9"/>
                  <a:pt x="48" y="8"/>
                </a:cubicBezTo>
                <a:cubicBezTo>
                  <a:pt x="47" y="7"/>
                  <a:pt x="44" y="6"/>
                  <a:pt x="41" y="6"/>
                </a:cubicBezTo>
                <a:cubicBezTo>
                  <a:pt x="39" y="6"/>
                  <a:pt x="32" y="4"/>
                  <a:pt x="30" y="4"/>
                </a:cubicBezTo>
                <a:cubicBezTo>
                  <a:pt x="29" y="4"/>
                  <a:pt x="27" y="4"/>
                  <a:pt x="26" y="5"/>
                </a:cubicBezTo>
                <a:cubicBezTo>
                  <a:pt x="26" y="5"/>
                  <a:pt x="26" y="6"/>
                  <a:pt x="25" y="7"/>
                </a:cubicBezTo>
                <a:cubicBezTo>
                  <a:pt x="23" y="9"/>
                  <a:pt x="19" y="11"/>
                  <a:pt x="17" y="12"/>
                </a:cubicBezTo>
                <a:cubicBezTo>
                  <a:pt x="16" y="13"/>
                  <a:pt x="10" y="25"/>
                  <a:pt x="7" y="29"/>
                </a:cubicBezTo>
                <a:cubicBezTo>
                  <a:pt x="3" y="32"/>
                  <a:pt x="0" y="33"/>
                  <a:pt x="0" y="34"/>
                </a:cubicBezTo>
                <a:cubicBezTo>
                  <a:pt x="0" y="35"/>
                  <a:pt x="4" y="39"/>
                  <a:pt x="4" y="41"/>
                </a:cubicBezTo>
                <a:cubicBezTo>
                  <a:pt x="4" y="43"/>
                  <a:pt x="5" y="45"/>
                  <a:pt x="8" y="45"/>
                </a:cubicBezTo>
                <a:cubicBezTo>
                  <a:pt x="10" y="45"/>
                  <a:pt x="7" y="51"/>
                  <a:pt x="9" y="52"/>
                </a:cubicBezTo>
                <a:cubicBezTo>
                  <a:pt x="11" y="52"/>
                  <a:pt x="22" y="53"/>
                  <a:pt x="22" y="55"/>
                </a:cubicBezTo>
                <a:cubicBezTo>
                  <a:pt x="22" y="57"/>
                  <a:pt x="23" y="59"/>
                  <a:pt x="22" y="60"/>
                </a:cubicBezTo>
                <a:cubicBezTo>
                  <a:pt x="25" y="61"/>
                  <a:pt x="28" y="65"/>
                  <a:pt x="29" y="65"/>
                </a:cubicBezTo>
                <a:cubicBezTo>
                  <a:pt x="30" y="64"/>
                  <a:pt x="39" y="66"/>
                  <a:pt x="41" y="66"/>
                </a:cubicBezTo>
                <a:cubicBezTo>
                  <a:pt x="42" y="66"/>
                  <a:pt x="50" y="66"/>
                  <a:pt x="53" y="66"/>
                </a:cubicBezTo>
                <a:cubicBezTo>
                  <a:pt x="55" y="67"/>
                  <a:pt x="58" y="65"/>
                  <a:pt x="61" y="63"/>
                </a:cubicBezTo>
                <a:cubicBezTo>
                  <a:pt x="63" y="61"/>
                  <a:pt x="71" y="60"/>
                  <a:pt x="74" y="61"/>
                </a:cubicBezTo>
                <a:cubicBezTo>
                  <a:pt x="77" y="61"/>
                  <a:pt x="82" y="62"/>
                  <a:pt x="83" y="63"/>
                </a:cubicBezTo>
                <a:cubicBezTo>
                  <a:pt x="84" y="64"/>
                  <a:pt x="87" y="65"/>
                  <a:pt x="90" y="66"/>
                </a:cubicBezTo>
                <a:cubicBezTo>
                  <a:pt x="90" y="65"/>
                  <a:pt x="90" y="63"/>
                  <a:pt x="90" y="61"/>
                </a:cubicBezTo>
                <a:cubicBezTo>
                  <a:pt x="90" y="57"/>
                  <a:pt x="92" y="52"/>
                  <a:pt x="96" y="51"/>
                </a:cubicBezTo>
                <a:cubicBezTo>
                  <a:pt x="99" y="51"/>
                  <a:pt x="102" y="51"/>
                  <a:pt x="101" y="45"/>
                </a:cubicBezTo>
                <a:cubicBezTo>
                  <a:pt x="101" y="45"/>
                  <a:pt x="101" y="45"/>
                  <a:pt x="101" y="45"/>
                </a:cubicBezTo>
                <a:cubicBezTo>
                  <a:pt x="100" y="43"/>
                  <a:pt x="98" y="42"/>
                  <a:pt x="97" y="42"/>
                </a:cubicBezTo>
                <a:cubicBezTo>
                  <a:pt x="96" y="42"/>
                  <a:pt x="92" y="45"/>
                  <a:pt x="91" y="4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2" name="Freeform 79"/>
          <p:cNvSpPr/>
          <p:nvPr/>
        </p:nvSpPr>
        <p:spPr bwMode="auto">
          <a:xfrm>
            <a:off x="6584946" y="3137511"/>
            <a:ext cx="77880" cy="98558"/>
          </a:xfrm>
          <a:custGeom>
            <a:cxnLst>
              <a:cxn ang="0">
                <a:pos x="26" y="11"/>
              </a:cxn>
              <a:cxn ang="0">
                <a:pos x="18" y="5"/>
              </a:cxn>
              <a:cxn ang="0">
                <a:pos x="9" y="0"/>
              </a:cxn>
              <a:cxn ang="0">
                <a:pos x="0" y="2"/>
              </a:cxn>
              <a:cxn ang="0">
                <a:pos x="8" y="15"/>
              </a:cxn>
              <a:cxn ang="0">
                <a:pos x="15" y="31"/>
              </a:cxn>
              <a:cxn ang="0">
                <a:pos x="17" y="43"/>
              </a:cxn>
              <a:cxn ang="0">
                <a:pos x="23" y="34"/>
              </a:cxn>
              <a:cxn ang="0">
                <a:pos x="28" y="29"/>
              </a:cxn>
              <a:cxn ang="0">
                <a:pos x="35" y="30"/>
              </a:cxn>
              <a:cxn ang="0">
                <a:pos x="33" y="23"/>
              </a:cxn>
              <a:cxn ang="0">
                <a:pos x="26" y="11"/>
              </a:cxn>
            </a:cxnLst>
            <a:rect b="b" l="0" r="r" t="0"/>
            <a:pathLst>
              <a:path h="43" w="35">
                <a:moveTo>
                  <a:pt x="26" y="11"/>
                </a:moveTo>
                <a:cubicBezTo>
                  <a:pt x="24" y="7"/>
                  <a:pt x="20" y="5"/>
                  <a:pt x="18" y="5"/>
                </a:cubicBezTo>
                <a:cubicBezTo>
                  <a:pt x="15" y="5"/>
                  <a:pt x="11" y="0"/>
                  <a:pt x="9" y="0"/>
                </a:cubicBezTo>
                <a:cubicBezTo>
                  <a:pt x="7" y="0"/>
                  <a:pt x="4" y="1"/>
                  <a:pt x="0" y="2"/>
                </a:cubicBezTo>
                <a:cubicBezTo>
                  <a:pt x="3" y="8"/>
                  <a:pt x="6" y="13"/>
                  <a:pt x="8" y="15"/>
                </a:cubicBezTo>
                <a:cubicBezTo>
                  <a:pt x="11" y="19"/>
                  <a:pt x="18" y="28"/>
                  <a:pt x="15" y="31"/>
                </a:cubicBezTo>
                <a:cubicBezTo>
                  <a:pt x="13" y="33"/>
                  <a:pt x="14" y="41"/>
                  <a:pt x="17" y="43"/>
                </a:cubicBezTo>
                <a:cubicBezTo>
                  <a:pt x="18" y="42"/>
                  <a:pt x="23" y="35"/>
                  <a:pt x="23" y="34"/>
                </a:cubicBezTo>
                <a:cubicBezTo>
                  <a:pt x="23" y="32"/>
                  <a:pt x="24" y="28"/>
                  <a:pt x="28" y="29"/>
                </a:cubicBezTo>
                <a:cubicBezTo>
                  <a:pt x="32" y="30"/>
                  <a:pt x="35" y="31"/>
                  <a:pt x="35" y="30"/>
                </a:cubicBezTo>
                <a:cubicBezTo>
                  <a:pt x="35" y="29"/>
                  <a:pt x="34" y="24"/>
                  <a:pt x="33" y="23"/>
                </a:cubicBezTo>
                <a:cubicBezTo>
                  <a:pt x="31" y="21"/>
                  <a:pt x="27" y="16"/>
                  <a:pt x="26" y="1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3" name="Freeform 80"/>
          <p:cNvSpPr/>
          <p:nvPr/>
        </p:nvSpPr>
        <p:spPr bwMode="auto">
          <a:xfrm>
            <a:off x="6471835" y="3277766"/>
            <a:ext cx="157615" cy="89082"/>
          </a:xfrm>
          <a:custGeom>
            <a:cxnLst>
              <a:cxn ang="0">
                <a:pos x="55" y="1"/>
              </a:cxn>
              <a:cxn ang="0">
                <a:pos x="42" y="3"/>
              </a:cxn>
              <a:cxn ang="0">
                <a:pos x="34" y="6"/>
              </a:cxn>
              <a:cxn ang="0">
                <a:pos x="22" y="6"/>
              </a:cxn>
              <a:cxn ang="0">
                <a:pos x="10" y="5"/>
              </a:cxn>
              <a:cxn ang="0">
                <a:pos x="3" y="0"/>
              </a:cxn>
              <a:cxn ang="0">
                <a:pos x="2" y="1"/>
              </a:cxn>
              <a:cxn ang="0">
                <a:pos x="2" y="9"/>
              </a:cxn>
              <a:cxn ang="0">
                <a:pos x="6" y="16"/>
              </a:cxn>
              <a:cxn ang="0">
                <a:pos x="2" y="21"/>
              </a:cxn>
              <a:cxn ang="0">
                <a:pos x="2" y="26"/>
              </a:cxn>
              <a:cxn ang="0">
                <a:pos x="8" y="34"/>
              </a:cxn>
              <a:cxn ang="0">
                <a:pos x="11" y="37"/>
              </a:cxn>
              <a:cxn ang="0">
                <a:pos x="26" y="37"/>
              </a:cxn>
              <a:cxn ang="0">
                <a:pos x="38" y="39"/>
              </a:cxn>
              <a:cxn ang="0">
                <a:pos x="42" y="36"/>
              </a:cxn>
              <a:cxn ang="0">
                <a:pos x="47" y="34"/>
              </a:cxn>
              <a:cxn ang="0">
                <a:pos x="47" y="31"/>
              </a:cxn>
              <a:cxn ang="0">
                <a:pos x="59" y="31"/>
              </a:cxn>
              <a:cxn ang="0">
                <a:pos x="63" y="30"/>
              </a:cxn>
              <a:cxn ang="0">
                <a:pos x="62" y="27"/>
              </a:cxn>
              <a:cxn ang="0">
                <a:pos x="60" y="19"/>
              </a:cxn>
              <a:cxn ang="0">
                <a:pos x="69" y="9"/>
              </a:cxn>
              <a:cxn ang="0">
                <a:pos x="71" y="6"/>
              </a:cxn>
              <a:cxn ang="0">
                <a:pos x="64" y="3"/>
              </a:cxn>
              <a:cxn ang="0">
                <a:pos x="55" y="1"/>
              </a:cxn>
            </a:cxnLst>
            <a:rect b="b" l="0" r="r" t="0"/>
            <a:pathLst>
              <a:path h="39" w="71">
                <a:moveTo>
                  <a:pt x="55" y="1"/>
                </a:moveTo>
                <a:cubicBezTo>
                  <a:pt x="52" y="0"/>
                  <a:pt x="44" y="1"/>
                  <a:pt x="42" y="3"/>
                </a:cubicBezTo>
                <a:cubicBezTo>
                  <a:pt x="39" y="5"/>
                  <a:pt x="36" y="7"/>
                  <a:pt x="34" y="6"/>
                </a:cubicBezTo>
                <a:cubicBezTo>
                  <a:pt x="31" y="6"/>
                  <a:pt x="23" y="6"/>
                  <a:pt x="22" y="6"/>
                </a:cubicBezTo>
                <a:cubicBezTo>
                  <a:pt x="20" y="6"/>
                  <a:pt x="11" y="4"/>
                  <a:pt x="10" y="5"/>
                </a:cubicBezTo>
                <a:cubicBezTo>
                  <a:pt x="9" y="5"/>
                  <a:pt x="6" y="1"/>
                  <a:pt x="3" y="0"/>
                </a:cubicBezTo>
                <a:cubicBezTo>
                  <a:pt x="3" y="1"/>
                  <a:pt x="3" y="1"/>
                  <a:pt x="2" y="1"/>
                </a:cubicBezTo>
                <a:cubicBezTo>
                  <a:pt x="0" y="3"/>
                  <a:pt x="0" y="7"/>
                  <a:pt x="2" y="9"/>
                </a:cubicBezTo>
                <a:cubicBezTo>
                  <a:pt x="5" y="11"/>
                  <a:pt x="8" y="16"/>
                  <a:pt x="6" y="16"/>
                </a:cubicBezTo>
                <a:cubicBezTo>
                  <a:pt x="4" y="16"/>
                  <a:pt x="2" y="19"/>
                  <a:pt x="2" y="21"/>
                </a:cubicBezTo>
                <a:cubicBezTo>
                  <a:pt x="2" y="22"/>
                  <a:pt x="1" y="26"/>
                  <a:pt x="2" y="26"/>
                </a:cubicBezTo>
                <a:cubicBezTo>
                  <a:pt x="3" y="27"/>
                  <a:pt x="8" y="32"/>
                  <a:pt x="8" y="34"/>
                </a:cubicBezTo>
                <a:cubicBezTo>
                  <a:pt x="9" y="35"/>
                  <a:pt x="11" y="36"/>
                  <a:pt x="11" y="37"/>
                </a:cubicBezTo>
                <a:cubicBezTo>
                  <a:pt x="15" y="36"/>
                  <a:pt x="24" y="36"/>
                  <a:pt x="26" y="37"/>
                </a:cubicBezTo>
                <a:cubicBezTo>
                  <a:pt x="28" y="38"/>
                  <a:pt x="38" y="39"/>
                  <a:pt x="38" y="39"/>
                </a:cubicBezTo>
                <a:cubicBezTo>
                  <a:pt x="40" y="39"/>
                  <a:pt x="43" y="38"/>
                  <a:pt x="42" y="36"/>
                </a:cubicBezTo>
                <a:cubicBezTo>
                  <a:pt x="41" y="35"/>
                  <a:pt x="45" y="34"/>
                  <a:pt x="47" y="34"/>
                </a:cubicBezTo>
                <a:cubicBezTo>
                  <a:pt x="47" y="32"/>
                  <a:pt x="47" y="31"/>
                  <a:pt x="47" y="31"/>
                </a:cubicBezTo>
                <a:cubicBezTo>
                  <a:pt x="49" y="30"/>
                  <a:pt x="56" y="29"/>
                  <a:pt x="59" y="31"/>
                </a:cubicBezTo>
                <a:cubicBezTo>
                  <a:pt x="60" y="31"/>
                  <a:pt x="62" y="31"/>
                  <a:pt x="63" y="30"/>
                </a:cubicBezTo>
                <a:cubicBezTo>
                  <a:pt x="63" y="28"/>
                  <a:pt x="63" y="27"/>
                  <a:pt x="62" y="27"/>
                </a:cubicBezTo>
                <a:cubicBezTo>
                  <a:pt x="60" y="27"/>
                  <a:pt x="57" y="19"/>
                  <a:pt x="60" y="19"/>
                </a:cubicBezTo>
                <a:cubicBezTo>
                  <a:pt x="62" y="18"/>
                  <a:pt x="65" y="10"/>
                  <a:pt x="69" y="9"/>
                </a:cubicBezTo>
                <a:cubicBezTo>
                  <a:pt x="70" y="8"/>
                  <a:pt x="71" y="8"/>
                  <a:pt x="71" y="6"/>
                </a:cubicBezTo>
                <a:cubicBezTo>
                  <a:pt x="68" y="5"/>
                  <a:pt x="65" y="4"/>
                  <a:pt x="64" y="3"/>
                </a:cubicBezTo>
                <a:cubicBezTo>
                  <a:pt x="63" y="2"/>
                  <a:pt x="58" y="1"/>
                  <a:pt x="55" y="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4" name="Freeform 81"/>
          <p:cNvSpPr/>
          <p:nvPr/>
        </p:nvSpPr>
        <p:spPr bwMode="auto">
          <a:xfrm>
            <a:off x="6427333" y="3332731"/>
            <a:ext cx="68609" cy="51175"/>
          </a:xfrm>
          <a:custGeom>
            <a:cxnLst>
              <a:cxn ang="0">
                <a:pos x="7" y="22"/>
              </a:cxn>
              <a:cxn ang="0">
                <a:pos x="7" y="22"/>
              </a:cxn>
              <a:cxn ang="0">
                <a:pos x="8" y="22"/>
              </a:cxn>
              <a:cxn ang="0">
                <a:pos x="8" y="22"/>
              </a:cxn>
              <a:cxn ang="0">
                <a:pos x="8" y="22"/>
              </a:cxn>
              <a:cxn ang="0">
                <a:pos x="8" y="22"/>
              </a:cxn>
              <a:cxn ang="0">
                <a:pos x="12" y="22"/>
              </a:cxn>
              <a:cxn ang="0">
                <a:pos x="12" y="22"/>
              </a:cxn>
              <a:cxn ang="0">
                <a:pos x="13" y="21"/>
              </a:cxn>
              <a:cxn ang="0">
                <a:pos x="13" y="21"/>
              </a:cxn>
              <a:cxn ang="0">
                <a:pos x="15" y="21"/>
              </a:cxn>
              <a:cxn ang="0">
                <a:pos x="20" y="18"/>
              </a:cxn>
              <a:cxn ang="0">
                <a:pos x="30" y="13"/>
              </a:cxn>
              <a:cxn ang="0">
                <a:pos x="31" y="13"/>
              </a:cxn>
              <a:cxn ang="0">
                <a:pos x="28" y="10"/>
              </a:cxn>
              <a:cxn ang="0">
                <a:pos x="22" y="2"/>
              </a:cxn>
              <a:cxn ang="0">
                <a:pos x="22" y="1"/>
              </a:cxn>
              <a:cxn ang="0">
                <a:pos x="22" y="1"/>
              </a:cxn>
              <a:cxn ang="0">
                <a:pos x="22" y="0"/>
              </a:cxn>
              <a:cxn ang="0">
                <a:pos x="2" y="4"/>
              </a:cxn>
              <a:cxn ang="0">
                <a:pos x="2" y="3"/>
              </a:cxn>
              <a:cxn ang="0">
                <a:pos x="1" y="15"/>
              </a:cxn>
              <a:cxn ang="0">
                <a:pos x="7" y="22"/>
              </a:cxn>
            </a:cxnLst>
            <a:rect b="b" l="0" r="r" t="0"/>
            <a:pathLst>
              <a:path h="22" w="31">
                <a:moveTo>
                  <a:pt x="7" y="22"/>
                </a:moveTo>
                <a:cubicBezTo>
                  <a:pt x="7" y="22"/>
                  <a:pt x="7" y="22"/>
                  <a:pt x="7" y="22"/>
                </a:cubicBezTo>
                <a:cubicBezTo>
                  <a:pt x="7" y="22"/>
                  <a:pt x="7" y="22"/>
                  <a:pt x="8" y="22"/>
                </a:cubicBezTo>
                <a:cubicBezTo>
                  <a:pt x="8" y="22"/>
                  <a:pt x="8" y="22"/>
                  <a:pt x="8" y="22"/>
                </a:cubicBezTo>
                <a:cubicBezTo>
                  <a:pt x="8" y="22"/>
                  <a:pt x="8" y="22"/>
                  <a:pt x="8" y="22"/>
                </a:cubicBezTo>
                <a:cubicBezTo>
                  <a:pt x="8" y="22"/>
                  <a:pt x="8" y="22"/>
                  <a:pt x="8" y="22"/>
                </a:cubicBezTo>
                <a:cubicBezTo>
                  <a:pt x="9" y="22"/>
                  <a:pt x="11" y="22"/>
                  <a:pt x="12" y="22"/>
                </a:cubicBezTo>
                <a:cubicBezTo>
                  <a:pt x="12" y="22"/>
                  <a:pt x="12" y="22"/>
                  <a:pt x="12" y="22"/>
                </a:cubicBezTo>
                <a:cubicBezTo>
                  <a:pt x="13" y="22"/>
                  <a:pt x="13" y="22"/>
                  <a:pt x="13" y="21"/>
                </a:cubicBezTo>
                <a:cubicBezTo>
                  <a:pt x="13" y="21"/>
                  <a:pt x="13" y="21"/>
                  <a:pt x="13" y="21"/>
                </a:cubicBezTo>
                <a:cubicBezTo>
                  <a:pt x="14" y="21"/>
                  <a:pt x="14" y="21"/>
                  <a:pt x="15" y="21"/>
                </a:cubicBezTo>
                <a:cubicBezTo>
                  <a:pt x="18" y="21"/>
                  <a:pt x="18" y="17"/>
                  <a:pt x="20" y="18"/>
                </a:cubicBezTo>
                <a:cubicBezTo>
                  <a:pt x="21" y="19"/>
                  <a:pt x="29" y="15"/>
                  <a:pt x="30" y="13"/>
                </a:cubicBezTo>
                <a:cubicBezTo>
                  <a:pt x="30" y="13"/>
                  <a:pt x="31" y="13"/>
                  <a:pt x="31" y="13"/>
                </a:cubicBezTo>
                <a:cubicBezTo>
                  <a:pt x="31" y="12"/>
                  <a:pt x="29" y="11"/>
                  <a:pt x="28" y="10"/>
                </a:cubicBezTo>
                <a:cubicBezTo>
                  <a:pt x="28" y="8"/>
                  <a:pt x="23" y="3"/>
                  <a:pt x="22" y="2"/>
                </a:cubicBezTo>
                <a:cubicBezTo>
                  <a:pt x="22" y="2"/>
                  <a:pt x="22" y="2"/>
                  <a:pt x="22" y="1"/>
                </a:cubicBezTo>
                <a:cubicBezTo>
                  <a:pt x="22" y="1"/>
                  <a:pt x="22" y="1"/>
                  <a:pt x="22" y="1"/>
                </a:cubicBezTo>
                <a:cubicBezTo>
                  <a:pt x="22" y="1"/>
                  <a:pt x="22" y="1"/>
                  <a:pt x="22" y="0"/>
                </a:cubicBezTo>
                <a:cubicBezTo>
                  <a:pt x="14" y="1"/>
                  <a:pt x="2" y="4"/>
                  <a:pt x="2" y="4"/>
                </a:cubicBezTo>
                <a:cubicBezTo>
                  <a:pt x="2" y="4"/>
                  <a:pt x="2" y="4"/>
                  <a:pt x="2" y="3"/>
                </a:cubicBezTo>
                <a:cubicBezTo>
                  <a:pt x="1" y="7"/>
                  <a:pt x="0" y="12"/>
                  <a:pt x="1" y="15"/>
                </a:cubicBezTo>
                <a:cubicBezTo>
                  <a:pt x="1" y="18"/>
                  <a:pt x="4" y="19"/>
                  <a:pt x="7" y="2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5" name="Freeform 82"/>
          <p:cNvSpPr/>
          <p:nvPr/>
        </p:nvSpPr>
        <p:spPr bwMode="auto">
          <a:xfrm>
            <a:off x="6471835" y="3004836"/>
            <a:ext cx="448737" cy="267244"/>
          </a:xfrm>
          <a:custGeom>
            <a:cxnLst>
              <a:cxn ang="0">
                <a:pos x="187" y="67"/>
              </a:cxn>
              <a:cxn ang="0">
                <a:pos x="199" y="60"/>
              </a:cxn>
              <a:cxn ang="0">
                <a:pos x="200" y="53"/>
              </a:cxn>
              <a:cxn ang="0">
                <a:pos x="201" y="45"/>
              </a:cxn>
              <a:cxn ang="0">
                <a:pos x="185" y="39"/>
              </a:cxn>
              <a:cxn ang="0">
                <a:pos x="170" y="31"/>
              </a:cxn>
              <a:cxn ang="0">
                <a:pos x="158" y="32"/>
              </a:cxn>
              <a:cxn ang="0">
                <a:pos x="149" y="28"/>
              </a:cxn>
              <a:cxn ang="0">
                <a:pos x="135" y="17"/>
              </a:cxn>
              <a:cxn ang="0">
                <a:pos x="131" y="2"/>
              </a:cxn>
              <a:cxn ang="0">
                <a:pos x="115" y="1"/>
              </a:cxn>
              <a:cxn ang="0">
                <a:pos x="106" y="3"/>
              </a:cxn>
              <a:cxn ang="0">
                <a:pos x="92" y="12"/>
              </a:cxn>
              <a:cxn ang="0">
                <a:pos x="80" y="15"/>
              </a:cxn>
              <a:cxn ang="0">
                <a:pos x="65" y="12"/>
              </a:cxn>
              <a:cxn ang="0">
                <a:pos x="47" y="9"/>
              </a:cxn>
              <a:cxn ang="0">
                <a:pos x="21" y="11"/>
              </a:cxn>
              <a:cxn ang="0">
                <a:pos x="16" y="16"/>
              </a:cxn>
              <a:cxn ang="0">
                <a:pos x="15" y="31"/>
              </a:cxn>
              <a:cxn ang="0">
                <a:pos x="5" y="50"/>
              </a:cxn>
              <a:cxn ang="0">
                <a:pos x="5" y="63"/>
              </a:cxn>
              <a:cxn ang="0">
                <a:pos x="11" y="64"/>
              </a:cxn>
              <a:cxn ang="0">
                <a:pos x="29" y="68"/>
              </a:cxn>
              <a:cxn ang="0">
                <a:pos x="40" y="66"/>
              </a:cxn>
              <a:cxn ang="0">
                <a:pos x="60" y="58"/>
              </a:cxn>
              <a:cxn ang="0">
                <a:pos x="77" y="69"/>
              </a:cxn>
              <a:cxn ang="0">
                <a:pos x="86" y="88"/>
              </a:cxn>
              <a:cxn ang="0">
                <a:pos x="74" y="92"/>
              </a:cxn>
              <a:cxn ang="0">
                <a:pos x="72" y="105"/>
              </a:cxn>
              <a:cxn ang="0">
                <a:pos x="82" y="105"/>
              </a:cxn>
              <a:cxn ang="0">
                <a:pos x="97" y="85"/>
              </a:cxn>
              <a:cxn ang="0">
                <a:pos x="111" y="90"/>
              </a:cxn>
              <a:cxn ang="0">
                <a:pos x="114" y="101"/>
              </a:cxn>
              <a:cxn ang="0">
                <a:pos x="126" y="115"/>
              </a:cxn>
              <a:cxn ang="0">
                <a:pos x="146" y="108"/>
              </a:cxn>
              <a:cxn ang="0">
                <a:pos x="150" y="103"/>
              </a:cxn>
              <a:cxn ang="0">
                <a:pos x="155" y="85"/>
              </a:cxn>
              <a:cxn ang="0">
                <a:pos x="178" y="78"/>
              </a:cxn>
            </a:cxnLst>
            <a:rect b="b" l="0" r="r" t="0"/>
            <a:pathLst>
              <a:path h="117" w="201">
                <a:moveTo>
                  <a:pt x="179" y="73"/>
                </a:moveTo>
                <a:cubicBezTo>
                  <a:pt x="180" y="73"/>
                  <a:pt x="186" y="67"/>
                  <a:pt x="187" y="67"/>
                </a:cubicBezTo>
                <a:cubicBezTo>
                  <a:pt x="189" y="67"/>
                  <a:pt x="197" y="68"/>
                  <a:pt x="197" y="67"/>
                </a:cubicBezTo>
                <a:cubicBezTo>
                  <a:pt x="197" y="66"/>
                  <a:pt x="199" y="62"/>
                  <a:pt x="199" y="60"/>
                </a:cubicBezTo>
                <a:cubicBezTo>
                  <a:pt x="198" y="59"/>
                  <a:pt x="196" y="57"/>
                  <a:pt x="196" y="56"/>
                </a:cubicBezTo>
                <a:cubicBezTo>
                  <a:pt x="197" y="55"/>
                  <a:pt x="200" y="55"/>
                  <a:pt x="200" y="53"/>
                </a:cubicBezTo>
                <a:cubicBezTo>
                  <a:pt x="200" y="52"/>
                  <a:pt x="197" y="51"/>
                  <a:pt x="197" y="50"/>
                </a:cubicBezTo>
                <a:cubicBezTo>
                  <a:pt x="197" y="49"/>
                  <a:pt x="201" y="47"/>
                  <a:pt x="201" y="45"/>
                </a:cubicBezTo>
                <a:cubicBezTo>
                  <a:pt x="200" y="43"/>
                  <a:pt x="197" y="43"/>
                  <a:pt x="194" y="41"/>
                </a:cubicBezTo>
                <a:cubicBezTo>
                  <a:pt x="191" y="40"/>
                  <a:pt x="188" y="40"/>
                  <a:pt x="185" y="39"/>
                </a:cubicBezTo>
                <a:cubicBezTo>
                  <a:pt x="182" y="37"/>
                  <a:pt x="175" y="38"/>
                  <a:pt x="175" y="37"/>
                </a:cubicBezTo>
                <a:cubicBezTo>
                  <a:pt x="175" y="36"/>
                  <a:pt x="171" y="33"/>
                  <a:pt x="170" y="31"/>
                </a:cubicBezTo>
                <a:cubicBezTo>
                  <a:pt x="169" y="30"/>
                  <a:pt x="166" y="31"/>
                  <a:pt x="164" y="32"/>
                </a:cubicBezTo>
                <a:cubicBezTo>
                  <a:pt x="162" y="33"/>
                  <a:pt x="160" y="34"/>
                  <a:pt x="158" y="32"/>
                </a:cubicBezTo>
                <a:cubicBezTo>
                  <a:pt x="156" y="31"/>
                  <a:pt x="155" y="29"/>
                  <a:pt x="153" y="30"/>
                </a:cubicBezTo>
                <a:cubicBezTo>
                  <a:pt x="151" y="31"/>
                  <a:pt x="148" y="30"/>
                  <a:pt x="149" y="28"/>
                </a:cubicBezTo>
                <a:cubicBezTo>
                  <a:pt x="149" y="25"/>
                  <a:pt x="145" y="20"/>
                  <a:pt x="144" y="19"/>
                </a:cubicBezTo>
                <a:cubicBezTo>
                  <a:pt x="142" y="18"/>
                  <a:pt x="137" y="19"/>
                  <a:pt x="135" y="17"/>
                </a:cubicBezTo>
                <a:cubicBezTo>
                  <a:pt x="134" y="14"/>
                  <a:pt x="132" y="12"/>
                  <a:pt x="133" y="11"/>
                </a:cubicBezTo>
                <a:cubicBezTo>
                  <a:pt x="134" y="9"/>
                  <a:pt x="133" y="4"/>
                  <a:pt x="131" y="2"/>
                </a:cubicBezTo>
                <a:cubicBezTo>
                  <a:pt x="130" y="0"/>
                  <a:pt x="124" y="0"/>
                  <a:pt x="122" y="1"/>
                </a:cubicBezTo>
                <a:cubicBezTo>
                  <a:pt x="120" y="2"/>
                  <a:pt x="116" y="0"/>
                  <a:pt x="115" y="1"/>
                </a:cubicBezTo>
                <a:cubicBezTo>
                  <a:pt x="113" y="2"/>
                  <a:pt x="112" y="4"/>
                  <a:pt x="109" y="4"/>
                </a:cubicBezTo>
                <a:cubicBezTo>
                  <a:pt x="108" y="4"/>
                  <a:pt x="107" y="4"/>
                  <a:pt x="106" y="3"/>
                </a:cubicBezTo>
                <a:cubicBezTo>
                  <a:pt x="104" y="4"/>
                  <a:pt x="99" y="4"/>
                  <a:pt x="99" y="4"/>
                </a:cubicBezTo>
                <a:cubicBezTo>
                  <a:pt x="99" y="4"/>
                  <a:pt x="92" y="10"/>
                  <a:pt x="92" y="12"/>
                </a:cubicBezTo>
                <a:cubicBezTo>
                  <a:pt x="92" y="14"/>
                  <a:pt x="92" y="17"/>
                  <a:pt x="90" y="15"/>
                </a:cubicBezTo>
                <a:cubicBezTo>
                  <a:pt x="89" y="14"/>
                  <a:pt x="82" y="14"/>
                  <a:pt x="80" y="15"/>
                </a:cubicBezTo>
                <a:cubicBezTo>
                  <a:pt x="78" y="16"/>
                  <a:pt x="76" y="11"/>
                  <a:pt x="73" y="12"/>
                </a:cubicBezTo>
                <a:cubicBezTo>
                  <a:pt x="70" y="14"/>
                  <a:pt x="66" y="10"/>
                  <a:pt x="65" y="12"/>
                </a:cubicBezTo>
                <a:cubicBezTo>
                  <a:pt x="65" y="13"/>
                  <a:pt x="61" y="12"/>
                  <a:pt x="58" y="11"/>
                </a:cubicBezTo>
                <a:cubicBezTo>
                  <a:pt x="55" y="9"/>
                  <a:pt x="49" y="11"/>
                  <a:pt x="47" y="9"/>
                </a:cubicBezTo>
                <a:cubicBezTo>
                  <a:pt x="45" y="7"/>
                  <a:pt x="32" y="7"/>
                  <a:pt x="28" y="7"/>
                </a:cubicBezTo>
                <a:cubicBezTo>
                  <a:pt x="24" y="7"/>
                  <a:pt x="23" y="9"/>
                  <a:pt x="21" y="11"/>
                </a:cubicBezTo>
                <a:cubicBezTo>
                  <a:pt x="19" y="13"/>
                  <a:pt x="17" y="12"/>
                  <a:pt x="15" y="12"/>
                </a:cubicBezTo>
                <a:cubicBezTo>
                  <a:pt x="15" y="14"/>
                  <a:pt x="15" y="15"/>
                  <a:pt x="16" y="16"/>
                </a:cubicBezTo>
                <a:cubicBezTo>
                  <a:pt x="17" y="18"/>
                  <a:pt x="21" y="25"/>
                  <a:pt x="20" y="27"/>
                </a:cubicBezTo>
                <a:cubicBezTo>
                  <a:pt x="19" y="29"/>
                  <a:pt x="17" y="29"/>
                  <a:pt x="15" y="31"/>
                </a:cubicBezTo>
                <a:cubicBezTo>
                  <a:pt x="14" y="33"/>
                  <a:pt x="5" y="41"/>
                  <a:pt x="5" y="42"/>
                </a:cubicBezTo>
                <a:cubicBezTo>
                  <a:pt x="4" y="43"/>
                  <a:pt x="6" y="49"/>
                  <a:pt x="5" y="50"/>
                </a:cubicBezTo>
                <a:cubicBezTo>
                  <a:pt x="4" y="51"/>
                  <a:pt x="0" y="56"/>
                  <a:pt x="0" y="58"/>
                </a:cubicBezTo>
                <a:cubicBezTo>
                  <a:pt x="0" y="60"/>
                  <a:pt x="3" y="63"/>
                  <a:pt x="5" y="63"/>
                </a:cubicBezTo>
                <a:cubicBezTo>
                  <a:pt x="6" y="64"/>
                  <a:pt x="6" y="64"/>
                  <a:pt x="7" y="65"/>
                </a:cubicBezTo>
                <a:cubicBezTo>
                  <a:pt x="8" y="64"/>
                  <a:pt x="10" y="64"/>
                  <a:pt x="11" y="64"/>
                </a:cubicBezTo>
                <a:cubicBezTo>
                  <a:pt x="13" y="64"/>
                  <a:pt x="20" y="66"/>
                  <a:pt x="22" y="66"/>
                </a:cubicBezTo>
                <a:cubicBezTo>
                  <a:pt x="25" y="66"/>
                  <a:pt x="28" y="67"/>
                  <a:pt x="29" y="68"/>
                </a:cubicBezTo>
                <a:cubicBezTo>
                  <a:pt x="30" y="69"/>
                  <a:pt x="32" y="69"/>
                  <a:pt x="34" y="67"/>
                </a:cubicBezTo>
                <a:cubicBezTo>
                  <a:pt x="36" y="65"/>
                  <a:pt x="38" y="66"/>
                  <a:pt x="40" y="66"/>
                </a:cubicBezTo>
                <a:cubicBezTo>
                  <a:pt x="42" y="66"/>
                  <a:pt x="45" y="65"/>
                  <a:pt x="46" y="63"/>
                </a:cubicBezTo>
                <a:cubicBezTo>
                  <a:pt x="47" y="61"/>
                  <a:pt x="57" y="59"/>
                  <a:pt x="60" y="58"/>
                </a:cubicBezTo>
                <a:cubicBezTo>
                  <a:pt x="62" y="58"/>
                  <a:pt x="66" y="63"/>
                  <a:pt x="69" y="63"/>
                </a:cubicBezTo>
                <a:cubicBezTo>
                  <a:pt x="71" y="63"/>
                  <a:pt x="75" y="65"/>
                  <a:pt x="77" y="69"/>
                </a:cubicBezTo>
                <a:cubicBezTo>
                  <a:pt x="78" y="74"/>
                  <a:pt x="82" y="79"/>
                  <a:pt x="84" y="81"/>
                </a:cubicBezTo>
                <a:cubicBezTo>
                  <a:pt x="85" y="82"/>
                  <a:pt x="86" y="87"/>
                  <a:pt x="86" y="88"/>
                </a:cubicBezTo>
                <a:cubicBezTo>
                  <a:pt x="86" y="89"/>
                  <a:pt x="83" y="88"/>
                  <a:pt x="79" y="87"/>
                </a:cubicBezTo>
                <a:cubicBezTo>
                  <a:pt x="75" y="86"/>
                  <a:pt x="74" y="90"/>
                  <a:pt x="74" y="92"/>
                </a:cubicBezTo>
                <a:cubicBezTo>
                  <a:pt x="74" y="94"/>
                  <a:pt x="69" y="101"/>
                  <a:pt x="68" y="102"/>
                </a:cubicBezTo>
                <a:cubicBezTo>
                  <a:pt x="67" y="103"/>
                  <a:pt x="70" y="104"/>
                  <a:pt x="72" y="105"/>
                </a:cubicBezTo>
                <a:cubicBezTo>
                  <a:pt x="73" y="105"/>
                  <a:pt x="77" y="102"/>
                  <a:pt x="78" y="102"/>
                </a:cubicBezTo>
                <a:cubicBezTo>
                  <a:pt x="79" y="102"/>
                  <a:pt x="81" y="103"/>
                  <a:pt x="82" y="105"/>
                </a:cubicBezTo>
                <a:cubicBezTo>
                  <a:pt x="82" y="99"/>
                  <a:pt x="83" y="100"/>
                  <a:pt x="88" y="96"/>
                </a:cubicBezTo>
                <a:cubicBezTo>
                  <a:pt x="93" y="93"/>
                  <a:pt x="93" y="86"/>
                  <a:pt x="97" y="85"/>
                </a:cubicBezTo>
                <a:cubicBezTo>
                  <a:pt x="102" y="84"/>
                  <a:pt x="104" y="82"/>
                  <a:pt x="110" y="83"/>
                </a:cubicBezTo>
                <a:cubicBezTo>
                  <a:pt x="116" y="84"/>
                  <a:pt x="107" y="88"/>
                  <a:pt x="111" y="90"/>
                </a:cubicBezTo>
                <a:cubicBezTo>
                  <a:pt x="115" y="93"/>
                  <a:pt x="129" y="90"/>
                  <a:pt x="129" y="93"/>
                </a:cubicBezTo>
                <a:cubicBezTo>
                  <a:pt x="130" y="96"/>
                  <a:pt x="114" y="100"/>
                  <a:pt x="114" y="101"/>
                </a:cubicBezTo>
                <a:cubicBezTo>
                  <a:pt x="115" y="103"/>
                  <a:pt x="123" y="105"/>
                  <a:pt x="126" y="107"/>
                </a:cubicBezTo>
                <a:cubicBezTo>
                  <a:pt x="129" y="108"/>
                  <a:pt x="125" y="114"/>
                  <a:pt x="126" y="115"/>
                </a:cubicBezTo>
                <a:cubicBezTo>
                  <a:pt x="128" y="117"/>
                  <a:pt x="132" y="116"/>
                  <a:pt x="135" y="113"/>
                </a:cubicBezTo>
                <a:cubicBezTo>
                  <a:pt x="139" y="111"/>
                  <a:pt x="142" y="111"/>
                  <a:pt x="146" y="108"/>
                </a:cubicBezTo>
                <a:cubicBezTo>
                  <a:pt x="151" y="105"/>
                  <a:pt x="160" y="108"/>
                  <a:pt x="161" y="106"/>
                </a:cubicBezTo>
                <a:cubicBezTo>
                  <a:pt x="162" y="104"/>
                  <a:pt x="159" y="103"/>
                  <a:pt x="150" y="103"/>
                </a:cubicBezTo>
                <a:cubicBezTo>
                  <a:pt x="141" y="104"/>
                  <a:pt x="141" y="96"/>
                  <a:pt x="141" y="94"/>
                </a:cubicBezTo>
                <a:cubicBezTo>
                  <a:pt x="141" y="92"/>
                  <a:pt x="150" y="86"/>
                  <a:pt x="155" y="85"/>
                </a:cubicBezTo>
                <a:cubicBezTo>
                  <a:pt x="160" y="85"/>
                  <a:pt x="164" y="83"/>
                  <a:pt x="169" y="81"/>
                </a:cubicBezTo>
                <a:cubicBezTo>
                  <a:pt x="171" y="80"/>
                  <a:pt x="175" y="79"/>
                  <a:pt x="178" y="78"/>
                </a:cubicBezTo>
                <a:cubicBezTo>
                  <a:pt x="178" y="76"/>
                  <a:pt x="177" y="73"/>
                  <a:pt x="179" y="7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6" name="Freeform 83"/>
          <p:cNvSpPr/>
          <p:nvPr/>
        </p:nvSpPr>
        <p:spPr bwMode="auto">
          <a:xfrm>
            <a:off x="6495940" y="2868371"/>
            <a:ext cx="237348" cy="174372"/>
          </a:xfrm>
          <a:custGeom>
            <a:cxnLst>
              <a:cxn ang="0">
                <a:pos x="99" y="38"/>
              </a:cxn>
              <a:cxn ang="0">
                <a:pos x="93" y="32"/>
              </a:cxn>
              <a:cxn ang="0">
                <a:pos x="88" y="25"/>
              </a:cxn>
              <a:cxn ang="0">
                <a:pos x="86" y="17"/>
              </a:cxn>
              <a:cxn ang="0">
                <a:pos x="85" y="9"/>
              </a:cxn>
              <a:cxn ang="0">
                <a:pos x="75" y="6"/>
              </a:cxn>
              <a:cxn ang="0">
                <a:pos x="69" y="6"/>
              </a:cxn>
              <a:cxn ang="0">
                <a:pos x="63" y="3"/>
              </a:cxn>
              <a:cxn ang="0">
                <a:pos x="57" y="1"/>
              </a:cxn>
              <a:cxn ang="0">
                <a:pos x="57" y="0"/>
              </a:cxn>
              <a:cxn ang="0">
                <a:pos x="53" y="2"/>
              </a:cxn>
              <a:cxn ang="0">
                <a:pos x="49" y="6"/>
              </a:cxn>
              <a:cxn ang="0">
                <a:pos x="41" y="7"/>
              </a:cxn>
              <a:cxn ang="0">
                <a:pos x="38" y="13"/>
              </a:cxn>
              <a:cxn ang="0">
                <a:pos x="37" y="17"/>
              </a:cxn>
              <a:cxn ang="0">
                <a:pos x="33" y="20"/>
              </a:cxn>
              <a:cxn ang="0">
                <a:pos x="27" y="26"/>
              </a:cxn>
              <a:cxn ang="0">
                <a:pos x="26" y="31"/>
              </a:cxn>
              <a:cxn ang="0">
                <a:pos x="18" y="33"/>
              </a:cxn>
              <a:cxn ang="0">
                <a:pos x="13" y="36"/>
              </a:cxn>
              <a:cxn ang="0">
                <a:pos x="4" y="35"/>
              </a:cxn>
              <a:cxn ang="0">
                <a:pos x="4" y="36"/>
              </a:cxn>
              <a:cxn ang="0">
                <a:pos x="6" y="45"/>
              </a:cxn>
              <a:cxn ang="0">
                <a:pos x="7" y="55"/>
              </a:cxn>
              <a:cxn ang="0">
                <a:pos x="0" y="60"/>
              </a:cxn>
              <a:cxn ang="0">
                <a:pos x="4" y="66"/>
              </a:cxn>
              <a:cxn ang="0">
                <a:pos x="4" y="72"/>
              </a:cxn>
              <a:cxn ang="0">
                <a:pos x="10" y="71"/>
              </a:cxn>
              <a:cxn ang="0">
                <a:pos x="17" y="67"/>
              </a:cxn>
              <a:cxn ang="0">
                <a:pos x="36" y="69"/>
              </a:cxn>
              <a:cxn ang="0">
                <a:pos x="47" y="71"/>
              </a:cxn>
              <a:cxn ang="0">
                <a:pos x="54" y="72"/>
              </a:cxn>
              <a:cxn ang="0">
                <a:pos x="62" y="72"/>
              </a:cxn>
              <a:cxn ang="0">
                <a:pos x="69" y="75"/>
              </a:cxn>
              <a:cxn ang="0">
                <a:pos x="79" y="75"/>
              </a:cxn>
              <a:cxn ang="0">
                <a:pos x="81" y="72"/>
              </a:cxn>
              <a:cxn ang="0">
                <a:pos x="88" y="64"/>
              </a:cxn>
              <a:cxn ang="0">
                <a:pos x="95" y="63"/>
              </a:cxn>
              <a:cxn ang="0">
                <a:pos x="94" y="58"/>
              </a:cxn>
              <a:cxn ang="0">
                <a:pos x="92" y="48"/>
              </a:cxn>
              <a:cxn ang="0">
                <a:pos x="100" y="49"/>
              </a:cxn>
              <a:cxn ang="0">
                <a:pos x="106" y="44"/>
              </a:cxn>
              <a:cxn ang="0">
                <a:pos x="99" y="38"/>
              </a:cxn>
            </a:cxnLst>
            <a:rect b="b" l="0" r="r" t="0"/>
            <a:pathLst>
              <a:path h="77" w="105">
                <a:moveTo>
                  <a:pt x="99" y="38"/>
                </a:moveTo>
                <a:cubicBezTo>
                  <a:pt x="97" y="37"/>
                  <a:pt x="96" y="33"/>
                  <a:pt x="93" y="32"/>
                </a:cubicBezTo>
                <a:cubicBezTo>
                  <a:pt x="90" y="30"/>
                  <a:pt x="90" y="26"/>
                  <a:pt x="88" y="25"/>
                </a:cubicBezTo>
                <a:cubicBezTo>
                  <a:pt x="85" y="23"/>
                  <a:pt x="87" y="19"/>
                  <a:pt x="86" y="17"/>
                </a:cubicBezTo>
                <a:cubicBezTo>
                  <a:pt x="86" y="14"/>
                  <a:pt x="87" y="10"/>
                  <a:pt x="85" y="9"/>
                </a:cubicBezTo>
                <a:cubicBezTo>
                  <a:pt x="84" y="8"/>
                  <a:pt x="78" y="5"/>
                  <a:pt x="75" y="6"/>
                </a:cubicBezTo>
                <a:cubicBezTo>
                  <a:pt x="72" y="7"/>
                  <a:pt x="70" y="8"/>
                  <a:pt x="69" y="6"/>
                </a:cubicBezTo>
                <a:cubicBezTo>
                  <a:pt x="68" y="4"/>
                  <a:pt x="66" y="2"/>
                  <a:pt x="63" y="3"/>
                </a:cubicBezTo>
                <a:cubicBezTo>
                  <a:pt x="60" y="4"/>
                  <a:pt x="59" y="3"/>
                  <a:pt x="57" y="1"/>
                </a:cubicBezTo>
                <a:cubicBezTo>
                  <a:pt x="57" y="1"/>
                  <a:pt x="57" y="1"/>
                  <a:pt x="57" y="0"/>
                </a:cubicBezTo>
                <a:cubicBezTo>
                  <a:pt x="55" y="1"/>
                  <a:pt x="54" y="1"/>
                  <a:pt x="53" y="2"/>
                </a:cubicBezTo>
                <a:cubicBezTo>
                  <a:pt x="51" y="3"/>
                  <a:pt x="51" y="6"/>
                  <a:pt x="49" y="6"/>
                </a:cubicBezTo>
                <a:cubicBezTo>
                  <a:pt x="46" y="6"/>
                  <a:pt x="44" y="5"/>
                  <a:pt x="41" y="7"/>
                </a:cubicBezTo>
                <a:cubicBezTo>
                  <a:pt x="38" y="9"/>
                  <a:pt x="38" y="11"/>
                  <a:pt x="38" y="13"/>
                </a:cubicBezTo>
                <a:cubicBezTo>
                  <a:pt x="38" y="15"/>
                  <a:pt x="39" y="17"/>
                  <a:pt x="37" y="17"/>
                </a:cubicBezTo>
                <a:cubicBezTo>
                  <a:pt x="35" y="17"/>
                  <a:pt x="35" y="20"/>
                  <a:pt x="33" y="20"/>
                </a:cubicBezTo>
                <a:cubicBezTo>
                  <a:pt x="31" y="21"/>
                  <a:pt x="28" y="24"/>
                  <a:pt x="27" y="26"/>
                </a:cubicBezTo>
                <a:cubicBezTo>
                  <a:pt x="27" y="27"/>
                  <a:pt x="27" y="31"/>
                  <a:pt x="26" y="31"/>
                </a:cubicBezTo>
                <a:cubicBezTo>
                  <a:pt x="24" y="31"/>
                  <a:pt x="20" y="32"/>
                  <a:pt x="18" y="33"/>
                </a:cubicBezTo>
                <a:cubicBezTo>
                  <a:pt x="17" y="35"/>
                  <a:pt x="15" y="37"/>
                  <a:pt x="13" y="36"/>
                </a:cubicBezTo>
                <a:cubicBezTo>
                  <a:pt x="11" y="36"/>
                  <a:pt x="8" y="35"/>
                  <a:pt x="4" y="35"/>
                </a:cubicBezTo>
                <a:cubicBezTo>
                  <a:pt x="4" y="36"/>
                  <a:pt x="4" y="36"/>
                  <a:pt x="4" y="36"/>
                </a:cubicBezTo>
                <a:cubicBezTo>
                  <a:pt x="3" y="40"/>
                  <a:pt x="4" y="43"/>
                  <a:pt x="6" y="45"/>
                </a:cubicBezTo>
                <a:cubicBezTo>
                  <a:pt x="8" y="47"/>
                  <a:pt x="9" y="54"/>
                  <a:pt x="7" y="55"/>
                </a:cubicBezTo>
                <a:cubicBezTo>
                  <a:pt x="4" y="56"/>
                  <a:pt x="0" y="59"/>
                  <a:pt x="0" y="60"/>
                </a:cubicBezTo>
                <a:cubicBezTo>
                  <a:pt x="0" y="62"/>
                  <a:pt x="5" y="64"/>
                  <a:pt x="4" y="66"/>
                </a:cubicBezTo>
                <a:cubicBezTo>
                  <a:pt x="3" y="67"/>
                  <a:pt x="3" y="70"/>
                  <a:pt x="4" y="72"/>
                </a:cubicBezTo>
                <a:cubicBezTo>
                  <a:pt x="6" y="72"/>
                  <a:pt x="8" y="73"/>
                  <a:pt x="10" y="71"/>
                </a:cubicBezTo>
                <a:cubicBezTo>
                  <a:pt x="12" y="69"/>
                  <a:pt x="13" y="67"/>
                  <a:pt x="17" y="67"/>
                </a:cubicBezTo>
                <a:cubicBezTo>
                  <a:pt x="21" y="67"/>
                  <a:pt x="34" y="67"/>
                  <a:pt x="36" y="69"/>
                </a:cubicBezTo>
                <a:cubicBezTo>
                  <a:pt x="38" y="71"/>
                  <a:pt x="44" y="69"/>
                  <a:pt x="47" y="71"/>
                </a:cubicBezTo>
                <a:cubicBezTo>
                  <a:pt x="50" y="72"/>
                  <a:pt x="54" y="73"/>
                  <a:pt x="54" y="72"/>
                </a:cubicBezTo>
                <a:cubicBezTo>
                  <a:pt x="55" y="70"/>
                  <a:pt x="59" y="74"/>
                  <a:pt x="62" y="72"/>
                </a:cubicBezTo>
                <a:cubicBezTo>
                  <a:pt x="65" y="71"/>
                  <a:pt x="67" y="76"/>
                  <a:pt x="69" y="75"/>
                </a:cubicBezTo>
                <a:cubicBezTo>
                  <a:pt x="71" y="74"/>
                  <a:pt x="78" y="74"/>
                  <a:pt x="79" y="75"/>
                </a:cubicBezTo>
                <a:cubicBezTo>
                  <a:pt x="81" y="77"/>
                  <a:pt x="81" y="74"/>
                  <a:pt x="81" y="72"/>
                </a:cubicBezTo>
                <a:cubicBezTo>
                  <a:pt x="81" y="70"/>
                  <a:pt x="88" y="64"/>
                  <a:pt x="88" y="64"/>
                </a:cubicBezTo>
                <a:cubicBezTo>
                  <a:pt x="88" y="64"/>
                  <a:pt x="93" y="64"/>
                  <a:pt x="95" y="63"/>
                </a:cubicBezTo>
                <a:cubicBezTo>
                  <a:pt x="95" y="62"/>
                  <a:pt x="94" y="60"/>
                  <a:pt x="94" y="58"/>
                </a:cubicBezTo>
                <a:cubicBezTo>
                  <a:pt x="92" y="53"/>
                  <a:pt x="90" y="49"/>
                  <a:pt x="92" y="48"/>
                </a:cubicBezTo>
                <a:cubicBezTo>
                  <a:pt x="93" y="46"/>
                  <a:pt x="98" y="50"/>
                  <a:pt x="100" y="49"/>
                </a:cubicBezTo>
                <a:cubicBezTo>
                  <a:pt x="102" y="48"/>
                  <a:pt x="106" y="46"/>
                  <a:pt x="106" y="44"/>
                </a:cubicBezTo>
                <a:cubicBezTo>
                  <a:pt x="105" y="41"/>
                  <a:pt x="101" y="38"/>
                  <a:pt x="99" y="38"/>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7" name="Freeform 84"/>
          <p:cNvSpPr/>
          <p:nvPr/>
        </p:nvSpPr>
        <p:spPr bwMode="auto">
          <a:xfrm>
            <a:off x="6436603" y="2800139"/>
            <a:ext cx="187283" cy="89082"/>
          </a:xfrm>
          <a:custGeom>
            <a:cxnLst>
              <a:cxn ang="0">
                <a:pos x="29" y="27"/>
              </a:cxn>
              <a:cxn ang="0">
                <a:pos x="43" y="27"/>
              </a:cxn>
              <a:cxn ang="0">
                <a:pos x="49" y="30"/>
              </a:cxn>
              <a:cxn ang="0">
                <a:pos x="60" y="36"/>
              </a:cxn>
              <a:cxn ang="0">
                <a:pos x="66" y="39"/>
              </a:cxn>
              <a:cxn ang="0">
                <a:pos x="68" y="37"/>
              </a:cxn>
              <a:cxn ang="0">
                <a:pos x="76" y="36"/>
              </a:cxn>
              <a:cxn ang="0">
                <a:pos x="80" y="32"/>
              </a:cxn>
              <a:cxn ang="0">
                <a:pos x="84" y="30"/>
              </a:cxn>
              <a:cxn ang="0">
                <a:pos x="81" y="24"/>
              </a:cxn>
              <a:cxn ang="0">
                <a:pos x="78" y="17"/>
              </a:cxn>
              <a:cxn ang="0">
                <a:pos x="76" y="11"/>
              </a:cxn>
              <a:cxn ang="0">
                <a:pos x="74" y="8"/>
              </a:cxn>
              <a:cxn ang="0">
                <a:pos x="64" y="7"/>
              </a:cxn>
              <a:cxn ang="0">
                <a:pos x="52" y="1"/>
              </a:cxn>
              <a:cxn ang="0">
                <a:pos x="40" y="1"/>
              </a:cxn>
              <a:cxn ang="0">
                <a:pos x="39" y="12"/>
              </a:cxn>
              <a:cxn ang="0">
                <a:pos x="30" y="16"/>
              </a:cxn>
              <a:cxn ang="0">
                <a:pos x="20" y="5"/>
              </a:cxn>
              <a:cxn ang="0">
                <a:pos x="9" y="10"/>
              </a:cxn>
              <a:cxn ang="0">
                <a:pos x="5" y="19"/>
              </a:cxn>
              <a:cxn ang="0">
                <a:pos x="3" y="29"/>
              </a:cxn>
              <a:cxn ang="0">
                <a:pos x="3" y="30"/>
              </a:cxn>
              <a:cxn ang="0">
                <a:pos x="12" y="27"/>
              </a:cxn>
              <a:cxn ang="0">
                <a:pos x="29" y="27"/>
              </a:cxn>
            </a:cxnLst>
            <a:rect b="b" l="0" r="r" t="0"/>
            <a:pathLst>
              <a:path h="39" w="84">
                <a:moveTo>
                  <a:pt x="29" y="27"/>
                </a:moveTo>
                <a:cubicBezTo>
                  <a:pt x="32" y="27"/>
                  <a:pt x="39" y="29"/>
                  <a:pt x="43" y="27"/>
                </a:cubicBezTo>
                <a:cubicBezTo>
                  <a:pt x="47" y="26"/>
                  <a:pt x="47" y="31"/>
                  <a:pt x="49" y="30"/>
                </a:cubicBezTo>
                <a:cubicBezTo>
                  <a:pt x="52" y="29"/>
                  <a:pt x="57" y="33"/>
                  <a:pt x="60" y="36"/>
                </a:cubicBezTo>
                <a:cubicBezTo>
                  <a:pt x="62" y="37"/>
                  <a:pt x="64" y="38"/>
                  <a:pt x="66" y="39"/>
                </a:cubicBezTo>
                <a:cubicBezTo>
                  <a:pt x="66" y="38"/>
                  <a:pt x="67" y="38"/>
                  <a:pt x="68" y="37"/>
                </a:cubicBezTo>
                <a:cubicBezTo>
                  <a:pt x="71" y="35"/>
                  <a:pt x="73" y="36"/>
                  <a:pt x="76" y="36"/>
                </a:cubicBezTo>
                <a:cubicBezTo>
                  <a:pt x="78" y="36"/>
                  <a:pt x="78" y="33"/>
                  <a:pt x="80" y="32"/>
                </a:cubicBezTo>
                <a:cubicBezTo>
                  <a:pt x="81" y="31"/>
                  <a:pt x="82" y="31"/>
                  <a:pt x="84" y="30"/>
                </a:cubicBezTo>
                <a:cubicBezTo>
                  <a:pt x="83" y="29"/>
                  <a:pt x="83" y="25"/>
                  <a:pt x="81" y="24"/>
                </a:cubicBezTo>
                <a:cubicBezTo>
                  <a:pt x="79" y="22"/>
                  <a:pt x="77" y="19"/>
                  <a:pt x="78" y="17"/>
                </a:cubicBezTo>
                <a:cubicBezTo>
                  <a:pt x="78" y="15"/>
                  <a:pt x="78" y="13"/>
                  <a:pt x="76" y="11"/>
                </a:cubicBezTo>
                <a:cubicBezTo>
                  <a:pt x="75" y="10"/>
                  <a:pt x="75" y="9"/>
                  <a:pt x="74" y="8"/>
                </a:cubicBezTo>
                <a:cubicBezTo>
                  <a:pt x="70" y="7"/>
                  <a:pt x="65" y="7"/>
                  <a:pt x="64" y="7"/>
                </a:cubicBezTo>
                <a:cubicBezTo>
                  <a:pt x="62" y="8"/>
                  <a:pt x="54" y="2"/>
                  <a:pt x="52" y="1"/>
                </a:cubicBezTo>
                <a:cubicBezTo>
                  <a:pt x="51" y="0"/>
                  <a:pt x="46" y="0"/>
                  <a:pt x="40" y="1"/>
                </a:cubicBezTo>
                <a:cubicBezTo>
                  <a:pt x="37" y="4"/>
                  <a:pt x="39" y="7"/>
                  <a:pt x="39" y="12"/>
                </a:cubicBezTo>
                <a:cubicBezTo>
                  <a:pt x="39" y="17"/>
                  <a:pt x="33" y="16"/>
                  <a:pt x="30" y="16"/>
                </a:cubicBezTo>
                <a:cubicBezTo>
                  <a:pt x="27" y="16"/>
                  <a:pt x="22" y="7"/>
                  <a:pt x="20" y="5"/>
                </a:cubicBezTo>
                <a:cubicBezTo>
                  <a:pt x="18" y="2"/>
                  <a:pt x="13" y="7"/>
                  <a:pt x="9" y="10"/>
                </a:cubicBezTo>
                <a:cubicBezTo>
                  <a:pt x="5" y="12"/>
                  <a:pt x="7" y="16"/>
                  <a:pt x="5" y="19"/>
                </a:cubicBezTo>
                <a:cubicBezTo>
                  <a:pt x="2" y="21"/>
                  <a:pt x="0" y="24"/>
                  <a:pt x="3" y="29"/>
                </a:cubicBezTo>
                <a:cubicBezTo>
                  <a:pt x="3" y="29"/>
                  <a:pt x="3" y="30"/>
                  <a:pt x="3" y="30"/>
                </a:cubicBezTo>
                <a:cubicBezTo>
                  <a:pt x="7" y="30"/>
                  <a:pt x="10" y="29"/>
                  <a:pt x="12" y="27"/>
                </a:cubicBezTo>
                <a:cubicBezTo>
                  <a:pt x="16" y="25"/>
                  <a:pt x="25" y="27"/>
                  <a:pt x="29" y="2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8" name="Freeform 85"/>
          <p:cNvSpPr/>
          <p:nvPr/>
        </p:nvSpPr>
        <p:spPr bwMode="auto">
          <a:xfrm>
            <a:off x="6436603" y="2856999"/>
            <a:ext cx="146489" cy="94767"/>
          </a:xfrm>
          <a:custGeom>
            <a:cxnLst>
              <a:cxn ang="0">
                <a:pos x="10" y="21"/>
              </a:cxn>
              <a:cxn ang="0">
                <a:pos x="16" y="23"/>
              </a:cxn>
              <a:cxn ang="0">
                <a:pos x="23" y="27"/>
              </a:cxn>
              <a:cxn ang="0">
                <a:pos x="23" y="35"/>
              </a:cxn>
              <a:cxn ang="0">
                <a:pos x="31" y="40"/>
              </a:cxn>
              <a:cxn ang="0">
                <a:pos x="40" y="41"/>
              </a:cxn>
              <a:cxn ang="0">
                <a:pos x="45" y="38"/>
              </a:cxn>
              <a:cxn ang="0">
                <a:pos x="53" y="36"/>
              </a:cxn>
              <a:cxn ang="0">
                <a:pos x="54" y="31"/>
              </a:cxn>
              <a:cxn ang="0">
                <a:pos x="60" y="25"/>
              </a:cxn>
              <a:cxn ang="0">
                <a:pos x="64" y="22"/>
              </a:cxn>
              <a:cxn ang="0">
                <a:pos x="65" y="18"/>
              </a:cxn>
              <a:cxn ang="0">
                <a:pos x="66" y="14"/>
              </a:cxn>
              <a:cxn ang="0">
                <a:pos x="60" y="11"/>
              </a:cxn>
              <a:cxn ang="0">
                <a:pos x="49" y="5"/>
              </a:cxn>
              <a:cxn ang="0">
                <a:pos x="43" y="2"/>
              </a:cxn>
              <a:cxn ang="0">
                <a:pos x="29" y="2"/>
              </a:cxn>
              <a:cxn ang="0">
                <a:pos x="12" y="2"/>
              </a:cxn>
              <a:cxn ang="0">
                <a:pos x="3" y="5"/>
              </a:cxn>
              <a:cxn ang="0">
                <a:pos x="2" y="17"/>
              </a:cxn>
              <a:cxn ang="0">
                <a:pos x="3" y="20"/>
              </a:cxn>
              <a:cxn ang="0">
                <a:pos x="10" y="21"/>
              </a:cxn>
            </a:cxnLst>
            <a:rect b="b" l="0" r="r" t="0"/>
            <a:pathLst>
              <a:path h="42" w="66">
                <a:moveTo>
                  <a:pt x="10" y="21"/>
                </a:moveTo>
                <a:cubicBezTo>
                  <a:pt x="11" y="23"/>
                  <a:pt x="15" y="24"/>
                  <a:pt x="16" y="23"/>
                </a:cubicBezTo>
                <a:cubicBezTo>
                  <a:pt x="18" y="23"/>
                  <a:pt x="23" y="25"/>
                  <a:pt x="23" y="27"/>
                </a:cubicBezTo>
                <a:cubicBezTo>
                  <a:pt x="23" y="29"/>
                  <a:pt x="21" y="35"/>
                  <a:pt x="23" y="35"/>
                </a:cubicBezTo>
                <a:cubicBezTo>
                  <a:pt x="24" y="35"/>
                  <a:pt x="31" y="37"/>
                  <a:pt x="31" y="40"/>
                </a:cubicBezTo>
                <a:cubicBezTo>
                  <a:pt x="35" y="40"/>
                  <a:pt x="38" y="41"/>
                  <a:pt x="40" y="41"/>
                </a:cubicBezTo>
                <a:cubicBezTo>
                  <a:pt x="42" y="42"/>
                  <a:pt x="44" y="40"/>
                  <a:pt x="45" y="38"/>
                </a:cubicBezTo>
                <a:cubicBezTo>
                  <a:pt x="47" y="37"/>
                  <a:pt x="51" y="36"/>
                  <a:pt x="53" y="36"/>
                </a:cubicBezTo>
                <a:cubicBezTo>
                  <a:pt x="54" y="36"/>
                  <a:pt x="54" y="32"/>
                  <a:pt x="54" y="31"/>
                </a:cubicBezTo>
                <a:cubicBezTo>
                  <a:pt x="55" y="29"/>
                  <a:pt x="58" y="26"/>
                  <a:pt x="60" y="25"/>
                </a:cubicBezTo>
                <a:cubicBezTo>
                  <a:pt x="62" y="25"/>
                  <a:pt x="62" y="22"/>
                  <a:pt x="64" y="22"/>
                </a:cubicBezTo>
                <a:cubicBezTo>
                  <a:pt x="66" y="22"/>
                  <a:pt x="65" y="20"/>
                  <a:pt x="65" y="18"/>
                </a:cubicBezTo>
                <a:cubicBezTo>
                  <a:pt x="65" y="17"/>
                  <a:pt x="65" y="16"/>
                  <a:pt x="66" y="14"/>
                </a:cubicBezTo>
                <a:cubicBezTo>
                  <a:pt x="64" y="13"/>
                  <a:pt x="62" y="12"/>
                  <a:pt x="60" y="11"/>
                </a:cubicBezTo>
                <a:cubicBezTo>
                  <a:pt x="57" y="8"/>
                  <a:pt x="52" y="4"/>
                  <a:pt x="49" y="5"/>
                </a:cubicBezTo>
                <a:cubicBezTo>
                  <a:pt x="47" y="6"/>
                  <a:pt x="47" y="1"/>
                  <a:pt x="43" y="2"/>
                </a:cubicBezTo>
                <a:cubicBezTo>
                  <a:pt x="39" y="4"/>
                  <a:pt x="32" y="2"/>
                  <a:pt x="29" y="2"/>
                </a:cubicBezTo>
                <a:cubicBezTo>
                  <a:pt x="25" y="2"/>
                  <a:pt x="16" y="0"/>
                  <a:pt x="12" y="2"/>
                </a:cubicBezTo>
                <a:cubicBezTo>
                  <a:pt x="10" y="4"/>
                  <a:pt x="7" y="5"/>
                  <a:pt x="3" y="5"/>
                </a:cubicBezTo>
                <a:cubicBezTo>
                  <a:pt x="6" y="9"/>
                  <a:pt x="5" y="14"/>
                  <a:pt x="2" y="17"/>
                </a:cubicBezTo>
                <a:cubicBezTo>
                  <a:pt x="0" y="19"/>
                  <a:pt x="1" y="19"/>
                  <a:pt x="3" y="20"/>
                </a:cubicBezTo>
                <a:cubicBezTo>
                  <a:pt x="5" y="20"/>
                  <a:pt x="9" y="19"/>
                  <a:pt x="10" y="2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89" name="Freeform 86"/>
          <p:cNvSpPr/>
          <p:nvPr/>
        </p:nvSpPr>
        <p:spPr bwMode="auto">
          <a:xfrm>
            <a:off x="6076872" y="3164045"/>
            <a:ext cx="113112" cy="66338"/>
          </a:xfrm>
          <a:custGeom>
            <a:cxnLst>
              <a:cxn ang="0">
                <a:pos x="46" y="12"/>
              </a:cxn>
              <a:cxn ang="0">
                <a:pos x="40" y="9"/>
              </a:cxn>
              <a:cxn ang="0">
                <a:pos x="40" y="4"/>
              </a:cxn>
              <a:cxn ang="0">
                <a:pos x="33" y="1"/>
              </a:cxn>
              <a:cxn ang="0">
                <a:pos x="26" y="2"/>
              </a:cxn>
              <a:cxn ang="0">
                <a:pos x="16" y="2"/>
              </a:cxn>
              <a:cxn ang="0">
                <a:pos x="15" y="4"/>
              </a:cxn>
              <a:cxn ang="0">
                <a:pos x="9" y="8"/>
              </a:cxn>
              <a:cxn ang="0">
                <a:pos x="2" y="17"/>
              </a:cxn>
              <a:cxn ang="0">
                <a:pos x="3" y="21"/>
              </a:cxn>
              <a:cxn ang="0">
                <a:pos x="8" y="22"/>
              </a:cxn>
              <a:cxn ang="0">
                <a:pos x="10" y="27"/>
              </a:cxn>
              <a:cxn ang="0">
                <a:pos x="10" y="27"/>
              </a:cxn>
              <a:cxn ang="0">
                <a:pos x="20" y="27"/>
              </a:cxn>
              <a:cxn ang="0">
                <a:pos x="25" y="19"/>
              </a:cxn>
              <a:cxn ang="0">
                <a:pos x="32" y="26"/>
              </a:cxn>
              <a:cxn ang="0">
                <a:pos x="35" y="22"/>
              </a:cxn>
              <a:cxn ang="0">
                <a:pos x="39" y="20"/>
              </a:cxn>
              <a:cxn ang="0">
                <a:pos x="44" y="19"/>
              </a:cxn>
              <a:cxn ang="0">
                <a:pos x="47" y="17"/>
              </a:cxn>
              <a:cxn ang="0">
                <a:pos x="49" y="15"/>
              </a:cxn>
              <a:cxn ang="0">
                <a:pos x="51" y="12"/>
              </a:cxn>
              <a:cxn ang="0">
                <a:pos x="46" y="12"/>
              </a:cxn>
            </a:cxnLst>
            <a:rect b="b" l="0" r="r" t="0"/>
            <a:pathLst>
              <a:path h="28" w="51">
                <a:moveTo>
                  <a:pt x="46" y="12"/>
                </a:moveTo>
                <a:cubicBezTo>
                  <a:pt x="43" y="13"/>
                  <a:pt x="40" y="10"/>
                  <a:pt x="40" y="9"/>
                </a:cubicBezTo>
                <a:cubicBezTo>
                  <a:pt x="40" y="8"/>
                  <a:pt x="39" y="6"/>
                  <a:pt x="40" y="4"/>
                </a:cubicBezTo>
                <a:cubicBezTo>
                  <a:pt x="38" y="3"/>
                  <a:pt x="35" y="2"/>
                  <a:pt x="33" y="1"/>
                </a:cubicBezTo>
                <a:cubicBezTo>
                  <a:pt x="30" y="0"/>
                  <a:pt x="28" y="0"/>
                  <a:pt x="26" y="2"/>
                </a:cubicBezTo>
                <a:cubicBezTo>
                  <a:pt x="24" y="2"/>
                  <a:pt x="19" y="2"/>
                  <a:pt x="16" y="2"/>
                </a:cubicBezTo>
                <a:cubicBezTo>
                  <a:pt x="16" y="3"/>
                  <a:pt x="15" y="4"/>
                  <a:pt x="15" y="4"/>
                </a:cubicBezTo>
                <a:cubicBezTo>
                  <a:pt x="12" y="4"/>
                  <a:pt x="9" y="6"/>
                  <a:pt x="9" y="8"/>
                </a:cubicBezTo>
                <a:cubicBezTo>
                  <a:pt x="8" y="11"/>
                  <a:pt x="3" y="13"/>
                  <a:pt x="2" y="17"/>
                </a:cubicBezTo>
                <a:cubicBezTo>
                  <a:pt x="0" y="22"/>
                  <a:pt x="1" y="24"/>
                  <a:pt x="3" y="21"/>
                </a:cubicBezTo>
                <a:cubicBezTo>
                  <a:pt x="5" y="18"/>
                  <a:pt x="8" y="19"/>
                  <a:pt x="8" y="22"/>
                </a:cubicBezTo>
                <a:cubicBezTo>
                  <a:pt x="8" y="24"/>
                  <a:pt x="11" y="24"/>
                  <a:pt x="10" y="27"/>
                </a:cubicBezTo>
                <a:cubicBezTo>
                  <a:pt x="10" y="27"/>
                  <a:pt x="10" y="27"/>
                  <a:pt x="10" y="27"/>
                </a:cubicBezTo>
                <a:cubicBezTo>
                  <a:pt x="13" y="27"/>
                  <a:pt x="18" y="27"/>
                  <a:pt x="20" y="27"/>
                </a:cubicBezTo>
                <a:cubicBezTo>
                  <a:pt x="22" y="27"/>
                  <a:pt x="24" y="19"/>
                  <a:pt x="25" y="19"/>
                </a:cubicBezTo>
                <a:cubicBezTo>
                  <a:pt x="26" y="18"/>
                  <a:pt x="29" y="24"/>
                  <a:pt x="32" y="26"/>
                </a:cubicBezTo>
                <a:cubicBezTo>
                  <a:pt x="34" y="29"/>
                  <a:pt x="35" y="24"/>
                  <a:pt x="35" y="22"/>
                </a:cubicBezTo>
                <a:cubicBezTo>
                  <a:pt x="35" y="20"/>
                  <a:pt x="37" y="20"/>
                  <a:pt x="39" y="20"/>
                </a:cubicBezTo>
                <a:cubicBezTo>
                  <a:pt x="40" y="20"/>
                  <a:pt x="44" y="21"/>
                  <a:pt x="44" y="19"/>
                </a:cubicBezTo>
                <a:cubicBezTo>
                  <a:pt x="44" y="16"/>
                  <a:pt x="46" y="17"/>
                  <a:pt x="47" y="17"/>
                </a:cubicBezTo>
                <a:cubicBezTo>
                  <a:pt x="49" y="17"/>
                  <a:pt x="49" y="15"/>
                  <a:pt x="49" y="15"/>
                </a:cubicBezTo>
                <a:cubicBezTo>
                  <a:pt x="51" y="12"/>
                  <a:pt x="51" y="12"/>
                  <a:pt x="51" y="12"/>
                </a:cubicBezTo>
                <a:cubicBezTo>
                  <a:pt x="49" y="12"/>
                  <a:pt x="47" y="11"/>
                  <a:pt x="46" y="1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0" name="Freeform 87"/>
          <p:cNvSpPr/>
          <p:nvPr/>
        </p:nvSpPr>
        <p:spPr bwMode="auto">
          <a:xfrm>
            <a:off x="6075019" y="2919545"/>
            <a:ext cx="224369" cy="261558"/>
          </a:xfrm>
          <a:custGeom>
            <a:cxnLst>
              <a:cxn ang="0">
                <a:pos x="13" y="29"/>
              </a:cxn>
              <a:cxn ang="0">
                <a:pos x="7" y="35"/>
              </a:cxn>
              <a:cxn ang="0">
                <a:pos x="11" y="41"/>
              </a:cxn>
              <a:cxn ang="0">
                <a:pos x="9" y="44"/>
              </a:cxn>
              <a:cxn ang="0">
                <a:pos x="2" y="47"/>
              </a:cxn>
              <a:cxn ang="0">
                <a:pos x="2" y="53"/>
              </a:cxn>
              <a:cxn ang="0">
                <a:pos x="0" y="62"/>
              </a:cxn>
              <a:cxn ang="0">
                <a:pos x="3" y="69"/>
              </a:cxn>
              <a:cxn ang="0">
                <a:pos x="1" y="73"/>
              </a:cxn>
              <a:cxn ang="0">
                <a:pos x="5" y="82"/>
              </a:cxn>
              <a:cxn ang="0">
                <a:pos x="7" y="84"/>
              </a:cxn>
              <a:cxn ang="0">
                <a:pos x="14" y="87"/>
              </a:cxn>
              <a:cxn ang="0">
                <a:pos x="20" y="89"/>
              </a:cxn>
              <a:cxn ang="0">
                <a:pos x="23" y="93"/>
              </a:cxn>
              <a:cxn ang="0">
                <a:pos x="18" y="102"/>
              </a:cxn>
              <a:cxn ang="0">
                <a:pos x="17" y="109"/>
              </a:cxn>
              <a:cxn ang="0">
                <a:pos x="27" y="109"/>
              </a:cxn>
              <a:cxn ang="0">
                <a:pos x="34" y="108"/>
              </a:cxn>
              <a:cxn ang="0">
                <a:pos x="41" y="111"/>
              </a:cxn>
              <a:cxn ang="0">
                <a:pos x="42" y="110"/>
              </a:cxn>
              <a:cxn ang="0">
                <a:pos x="49" y="112"/>
              </a:cxn>
              <a:cxn ang="0">
                <a:pos x="55" y="111"/>
              </a:cxn>
              <a:cxn ang="0">
                <a:pos x="62" y="110"/>
              </a:cxn>
              <a:cxn ang="0">
                <a:pos x="73" y="108"/>
              </a:cxn>
              <a:cxn ang="0">
                <a:pos x="78" y="105"/>
              </a:cxn>
              <a:cxn ang="0">
                <a:pos x="82" y="98"/>
              </a:cxn>
              <a:cxn ang="0">
                <a:pos x="89" y="93"/>
              </a:cxn>
              <a:cxn ang="0">
                <a:pos x="77" y="84"/>
              </a:cxn>
              <a:cxn ang="0">
                <a:pos x="73" y="74"/>
              </a:cxn>
              <a:cxn ang="0">
                <a:pos x="72" y="68"/>
              </a:cxn>
              <a:cxn ang="0">
                <a:pos x="84" y="64"/>
              </a:cxn>
              <a:cxn ang="0">
                <a:pos x="93" y="60"/>
              </a:cxn>
              <a:cxn ang="0">
                <a:pos x="99" y="59"/>
              </a:cxn>
              <a:cxn ang="0">
                <a:pos x="100" y="53"/>
              </a:cxn>
              <a:cxn ang="0">
                <a:pos x="97" y="44"/>
              </a:cxn>
              <a:cxn ang="0">
                <a:pos x="95" y="38"/>
              </a:cxn>
              <a:cxn ang="0">
                <a:pos x="93" y="33"/>
              </a:cxn>
              <a:cxn ang="0">
                <a:pos x="92" y="28"/>
              </a:cxn>
              <a:cxn ang="0">
                <a:pos x="92" y="16"/>
              </a:cxn>
              <a:cxn ang="0">
                <a:pos x="92" y="15"/>
              </a:cxn>
              <a:cxn ang="0">
                <a:pos x="91" y="14"/>
              </a:cxn>
              <a:cxn ang="0">
                <a:pos x="85" y="10"/>
              </a:cxn>
              <a:cxn ang="0">
                <a:pos x="86" y="3"/>
              </a:cxn>
              <a:cxn ang="0">
                <a:pos x="76" y="6"/>
              </a:cxn>
              <a:cxn ang="0">
                <a:pos x="63" y="13"/>
              </a:cxn>
              <a:cxn ang="0">
                <a:pos x="57" y="9"/>
              </a:cxn>
              <a:cxn ang="0">
                <a:pos x="53" y="7"/>
              </a:cxn>
              <a:cxn ang="0">
                <a:pos x="45" y="3"/>
              </a:cxn>
              <a:cxn ang="0">
                <a:pos x="44" y="0"/>
              </a:cxn>
              <a:cxn ang="0">
                <a:pos x="40" y="1"/>
              </a:cxn>
              <a:cxn ang="0">
                <a:pos x="30" y="0"/>
              </a:cxn>
              <a:cxn ang="0">
                <a:pos x="32" y="5"/>
              </a:cxn>
              <a:cxn ang="0">
                <a:pos x="35" y="15"/>
              </a:cxn>
              <a:cxn ang="0">
                <a:pos x="30" y="19"/>
              </a:cxn>
              <a:cxn ang="0">
                <a:pos x="22" y="18"/>
              </a:cxn>
              <a:cxn ang="0">
                <a:pos x="13" y="19"/>
              </a:cxn>
              <a:cxn ang="0">
                <a:pos x="13" y="22"/>
              </a:cxn>
              <a:cxn ang="0">
                <a:pos x="13" y="29"/>
              </a:cxn>
            </a:cxnLst>
            <a:rect b="b" l="0" r="r" t="0"/>
            <a:pathLst>
              <a:path h="114" w="100">
                <a:moveTo>
                  <a:pt x="13" y="29"/>
                </a:moveTo>
                <a:cubicBezTo>
                  <a:pt x="10" y="33"/>
                  <a:pt x="7" y="34"/>
                  <a:pt x="7" y="35"/>
                </a:cubicBezTo>
                <a:cubicBezTo>
                  <a:pt x="8" y="36"/>
                  <a:pt x="12" y="39"/>
                  <a:pt x="11" y="41"/>
                </a:cubicBezTo>
                <a:cubicBezTo>
                  <a:pt x="10" y="42"/>
                  <a:pt x="9" y="41"/>
                  <a:pt x="9" y="44"/>
                </a:cubicBezTo>
                <a:cubicBezTo>
                  <a:pt x="9" y="47"/>
                  <a:pt x="4" y="47"/>
                  <a:pt x="2" y="47"/>
                </a:cubicBezTo>
                <a:cubicBezTo>
                  <a:pt x="1" y="47"/>
                  <a:pt x="3" y="50"/>
                  <a:pt x="2" y="53"/>
                </a:cubicBezTo>
                <a:cubicBezTo>
                  <a:pt x="1" y="55"/>
                  <a:pt x="1" y="60"/>
                  <a:pt x="0" y="62"/>
                </a:cubicBezTo>
                <a:cubicBezTo>
                  <a:pt x="0" y="64"/>
                  <a:pt x="4" y="67"/>
                  <a:pt x="3" y="69"/>
                </a:cubicBezTo>
                <a:cubicBezTo>
                  <a:pt x="3" y="70"/>
                  <a:pt x="0" y="72"/>
                  <a:pt x="1" y="73"/>
                </a:cubicBezTo>
                <a:cubicBezTo>
                  <a:pt x="2" y="74"/>
                  <a:pt x="4" y="76"/>
                  <a:pt x="5" y="82"/>
                </a:cubicBezTo>
                <a:cubicBezTo>
                  <a:pt x="6" y="83"/>
                  <a:pt x="7" y="83"/>
                  <a:pt x="7" y="84"/>
                </a:cubicBezTo>
                <a:cubicBezTo>
                  <a:pt x="9" y="86"/>
                  <a:pt x="11" y="87"/>
                  <a:pt x="14" y="87"/>
                </a:cubicBezTo>
                <a:cubicBezTo>
                  <a:pt x="18" y="87"/>
                  <a:pt x="19" y="89"/>
                  <a:pt x="20" y="89"/>
                </a:cubicBezTo>
                <a:cubicBezTo>
                  <a:pt x="22" y="89"/>
                  <a:pt x="26" y="90"/>
                  <a:pt x="23" y="93"/>
                </a:cubicBezTo>
                <a:cubicBezTo>
                  <a:pt x="19" y="96"/>
                  <a:pt x="19" y="99"/>
                  <a:pt x="18" y="102"/>
                </a:cubicBezTo>
                <a:cubicBezTo>
                  <a:pt x="18" y="104"/>
                  <a:pt x="18" y="107"/>
                  <a:pt x="17" y="109"/>
                </a:cubicBezTo>
                <a:cubicBezTo>
                  <a:pt x="20" y="109"/>
                  <a:pt x="25" y="109"/>
                  <a:pt x="27" y="109"/>
                </a:cubicBezTo>
                <a:cubicBezTo>
                  <a:pt x="29" y="107"/>
                  <a:pt x="31" y="107"/>
                  <a:pt x="34" y="108"/>
                </a:cubicBezTo>
                <a:cubicBezTo>
                  <a:pt x="36" y="109"/>
                  <a:pt x="39" y="110"/>
                  <a:pt x="41" y="111"/>
                </a:cubicBezTo>
                <a:cubicBezTo>
                  <a:pt x="41" y="110"/>
                  <a:pt x="41" y="110"/>
                  <a:pt x="42" y="110"/>
                </a:cubicBezTo>
                <a:cubicBezTo>
                  <a:pt x="44" y="110"/>
                  <a:pt x="47" y="114"/>
                  <a:pt x="49" y="112"/>
                </a:cubicBezTo>
                <a:cubicBezTo>
                  <a:pt x="50" y="109"/>
                  <a:pt x="54" y="110"/>
                  <a:pt x="55" y="111"/>
                </a:cubicBezTo>
                <a:cubicBezTo>
                  <a:pt x="57" y="112"/>
                  <a:pt x="60" y="112"/>
                  <a:pt x="62" y="110"/>
                </a:cubicBezTo>
                <a:cubicBezTo>
                  <a:pt x="64" y="108"/>
                  <a:pt x="72" y="107"/>
                  <a:pt x="73" y="108"/>
                </a:cubicBezTo>
                <a:cubicBezTo>
                  <a:pt x="75" y="109"/>
                  <a:pt x="80" y="111"/>
                  <a:pt x="78" y="105"/>
                </a:cubicBezTo>
                <a:cubicBezTo>
                  <a:pt x="76" y="99"/>
                  <a:pt x="82" y="100"/>
                  <a:pt x="82" y="98"/>
                </a:cubicBezTo>
                <a:cubicBezTo>
                  <a:pt x="83" y="95"/>
                  <a:pt x="90" y="94"/>
                  <a:pt x="89" y="93"/>
                </a:cubicBezTo>
                <a:cubicBezTo>
                  <a:pt x="88" y="91"/>
                  <a:pt x="79" y="86"/>
                  <a:pt x="77" y="84"/>
                </a:cubicBezTo>
                <a:cubicBezTo>
                  <a:pt x="74" y="82"/>
                  <a:pt x="74" y="77"/>
                  <a:pt x="73" y="74"/>
                </a:cubicBezTo>
                <a:cubicBezTo>
                  <a:pt x="72" y="72"/>
                  <a:pt x="69" y="69"/>
                  <a:pt x="72" y="68"/>
                </a:cubicBezTo>
                <a:cubicBezTo>
                  <a:pt x="76" y="68"/>
                  <a:pt x="81" y="66"/>
                  <a:pt x="84" y="64"/>
                </a:cubicBezTo>
                <a:cubicBezTo>
                  <a:pt x="87" y="61"/>
                  <a:pt x="92" y="61"/>
                  <a:pt x="93" y="60"/>
                </a:cubicBezTo>
                <a:cubicBezTo>
                  <a:pt x="95" y="58"/>
                  <a:pt x="98" y="61"/>
                  <a:pt x="99" y="59"/>
                </a:cubicBezTo>
                <a:cubicBezTo>
                  <a:pt x="100" y="58"/>
                  <a:pt x="101" y="55"/>
                  <a:pt x="100" y="53"/>
                </a:cubicBezTo>
                <a:cubicBezTo>
                  <a:pt x="98" y="51"/>
                  <a:pt x="97" y="48"/>
                  <a:pt x="97" y="44"/>
                </a:cubicBezTo>
                <a:cubicBezTo>
                  <a:pt x="97" y="40"/>
                  <a:pt x="95" y="40"/>
                  <a:pt x="95" y="38"/>
                </a:cubicBezTo>
                <a:cubicBezTo>
                  <a:pt x="95" y="36"/>
                  <a:pt x="95" y="34"/>
                  <a:pt x="93" y="33"/>
                </a:cubicBezTo>
                <a:cubicBezTo>
                  <a:pt x="91" y="32"/>
                  <a:pt x="90" y="31"/>
                  <a:pt x="92" y="28"/>
                </a:cubicBezTo>
                <a:cubicBezTo>
                  <a:pt x="94" y="25"/>
                  <a:pt x="93" y="18"/>
                  <a:pt x="92" y="16"/>
                </a:cubicBezTo>
                <a:cubicBezTo>
                  <a:pt x="92" y="16"/>
                  <a:pt x="92" y="15"/>
                  <a:pt x="92" y="15"/>
                </a:cubicBezTo>
                <a:cubicBezTo>
                  <a:pt x="92" y="15"/>
                  <a:pt x="91" y="14"/>
                  <a:pt x="91" y="14"/>
                </a:cubicBezTo>
                <a:cubicBezTo>
                  <a:pt x="91" y="11"/>
                  <a:pt x="89" y="10"/>
                  <a:pt x="85" y="10"/>
                </a:cubicBezTo>
                <a:cubicBezTo>
                  <a:pt x="80" y="10"/>
                  <a:pt x="87" y="6"/>
                  <a:pt x="86" y="3"/>
                </a:cubicBezTo>
                <a:cubicBezTo>
                  <a:pt x="84" y="1"/>
                  <a:pt x="80" y="7"/>
                  <a:pt x="76" y="6"/>
                </a:cubicBezTo>
                <a:cubicBezTo>
                  <a:pt x="72" y="5"/>
                  <a:pt x="67" y="11"/>
                  <a:pt x="63" y="13"/>
                </a:cubicBezTo>
                <a:cubicBezTo>
                  <a:pt x="60" y="16"/>
                  <a:pt x="55" y="13"/>
                  <a:pt x="57" y="9"/>
                </a:cubicBezTo>
                <a:cubicBezTo>
                  <a:pt x="60" y="5"/>
                  <a:pt x="57" y="6"/>
                  <a:pt x="53" y="7"/>
                </a:cubicBezTo>
                <a:cubicBezTo>
                  <a:pt x="49" y="9"/>
                  <a:pt x="44" y="7"/>
                  <a:pt x="45" y="3"/>
                </a:cubicBezTo>
                <a:cubicBezTo>
                  <a:pt x="45" y="2"/>
                  <a:pt x="45" y="1"/>
                  <a:pt x="44" y="0"/>
                </a:cubicBezTo>
                <a:cubicBezTo>
                  <a:pt x="42" y="1"/>
                  <a:pt x="41" y="1"/>
                  <a:pt x="40" y="1"/>
                </a:cubicBezTo>
                <a:cubicBezTo>
                  <a:pt x="38" y="0"/>
                  <a:pt x="34" y="0"/>
                  <a:pt x="30" y="0"/>
                </a:cubicBezTo>
                <a:cubicBezTo>
                  <a:pt x="31" y="1"/>
                  <a:pt x="32" y="3"/>
                  <a:pt x="32" y="5"/>
                </a:cubicBezTo>
                <a:cubicBezTo>
                  <a:pt x="30" y="8"/>
                  <a:pt x="33" y="10"/>
                  <a:pt x="35" y="15"/>
                </a:cubicBezTo>
                <a:cubicBezTo>
                  <a:pt x="37" y="19"/>
                  <a:pt x="30" y="16"/>
                  <a:pt x="30" y="19"/>
                </a:cubicBezTo>
                <a:cubicBezTo>
                  <a:pt x="30" y="22"/>
                  <a:pt x="24" y="19"/>
                  <a:pt x="22" y="18"/>
                </a:cubicBezTo>
                <a:cubicBezTo>
                  <a:pt x="20" y="17"/>
                  <a:pt x="13" y="18"/>
                  <a:pt x="13" y="19"/>
                </a:cubicBezTo>
                <a:cubicBezTo>
                  <a:pt x="13" y="20"/>
                  <a:pt x="13" y="21"/>
                  <a:pt x="13" y="22"/>
                </a:cubicBezTo>
                <a:cubicBezTo>
                  <a:pt x="14" y="25"/>
                  <a:pt x="14" y="28"/>
                  <a:pt x="13" y="2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1" name="Freeform 88"/>
          <p:cNvSpPr/>
          <p:nvPr/>
        </p:nvSpPr>
        <p:spPr bwMode="auto">
          <a:xfrm>
            <a:off x="6442167" y="2295977"/>
            <a:ext cx="263308" cy="430244"/>
          </a:xfrm>
          <a:custGeom>
            <a:cxnLst>
              <a:cxn ang="0">
                <a:pos x="100" y="158"/>
              </a:cxn>
              <a:cxn ang="0">
                <a:pos x="117" y="142"/>
              </a:cxn>
              <a:cxn ang="0">
                <a:pos x="114" y="133"/>
              </a:cxn>
              <a:cxn ang="0">
                <a:pos x="100" y="122"/>
              </a:cxn>
              <a:cxn ang="0">
                <a:pos x="107" y="116"/>
              </a:cxn>
              <a:cxn ang="0">
                <a:pos x="101" y="110"/>
              </a:cxn>
              <a:cxn ang="0">
                <a:pos x="102" y="104"/>
              </a:cxn>
              <a:cxn ang="0">
                <a:pos x="97" y="101"/>
              </a:cxn>
              <a:cxn ang="0">
                <a:pos x="99" y="97"/>
              </a:cxn>
              <a:cxn ang="0">
                <a:pos x="98" y="89"/>
              </a:cxn>
              <a:cxn ang="0">
                <a:pos x="101" y="82"/>
              </a:cxn>
              <a:cxn ang="0">
                <a:pos x="91" y="65"/>
              </a:cxn>
              <a:cxn ang="0">
                <a:pos x="94" y="58"/>
              </a:cxn>
              <a:cxn ang="0">
                <a:pos x="101" y="50"/>
              </a:cxn>
              <a:cxn ang="0">
                <a:pos x="93" y="42"/>
              </a:cxn>
              <a:cxn ang="0">
                <a:pos x="86" y="38"/>
              </a:cxn>
              <a:cxn ang="0">
                <a:pos x="84" y="31"/>
              </a:cxn>
              <a:cxn ang="0">
                <a:pos x="86" y="25"/>
              </a:cxn>
              <a:cxn ang="0">
                <a:pos x="90" y="22"/>
              </a:cxn>
              <a:cxn ang="0">
                <a:pos x="93" y="18"/>
              </a:cxn>
              <a:cxn ang="0">
                <a:pos x="93" y="11"/>
              </a:cxn>
              <a:cxn ang="0">
                <a:pos x="81" y="3"/>
              </a:cxn>
              <a:cxn ang="0">
                <a:pos x="72" y="3"/>
              </a:cxn>
              <a:cxn ang="0">
                <a:pos x="61" y="6"/>
              </a:cxn>
              <a:cxn ang="0">
                <a:pos x="54" y="14"/>
              </a:cxn>
              <a:cxn ang="0">
                <a:pos x="52" y="23"/>
              </a:cxn>
              <a:cxn ang="0">
                <a:pos x="47" y="30"/>
              </a:cxn>
              <a:cxn ang="0">
                <a:pos x="40" y="28"/>
              </a:cxn>
              <a:cxn ang="0">
                <a:pos x="32" y="28"/>
              </a:cxn>
              <a:cxn ang="0">
                <a:pos x="19" y="27"/>
              </a:cxn>
              <a:cxn ang="0">
                <a:pos x="7" y="18"/>
              </a:cxn>
              <a:cxn ang="0">
                <a:pos x="0" y="23"/>
              </a:cxn>
              <a:cxn ang="0">
                <a:pos x="12" y="32"/>
              </a:cxn>
              <a:cxn ang="0">
                <a:pos x="28" y="42"/>
              </a:cxn>
              <a:cxn ang="0">
                <a:pos x="29" y="53"/>
              </a:cxn>
              <a:cxn ang="0">
                <a:pos x="31" y="63"/>
              </a:cxn>
              <a:cxn ang="0">
                <a:pos x="31" y="73"/>
              </a:cxn>
              <a:cxn ang="0">
                <a:pos x="33" y="78"/>
              </a:cxn>
              <a:cxn ang="0">
                <a:pos x="34" y="84"/>
              </a:cxn>
              <a:cxn ang="0">
                <a:pos x="44" y="88"/>
              </a:cxn>
              <a:cxn ang="0">
                <a:pos x="48" y="96"/>
              </a:cxn>
              <a:cxn ang="0">
                <a:pos x="46" y="100"/>
              </a:cxn>
              <a:cxn ang="0">
                <a:pos x="39" y="105"/>
              </a:cxn>
              <a:cxn ang="0">
                <a:pos x="28" y="117"/>
              </a:cxn>
              <a:cxn ang="0">
                <a:pos x="21" y="122"/>
              </a:cxn>
              <a:cxn ang="0">
                <a:pos x="15" y="128"/>
              </a:cxn>
              <a:cxn ang="0">
                <a:pos x="7" y="132"/>
              </a:cxn>
              <a:cxn ang="0">
                <a:pos x="2" y="139"/>
              </a:cxn>
              <a:cxn ang="0">
                <a:pos x="3" y="146"/>
              </a:cxn>
              <a:cxn ang="0">
                <a:pos x="4" y="153"/>
              </a:cxn>
              <a:cxn ang="0">
                <a:pos x="6" y="166"/>
              </a:cxn>
              <a:cxn ang="0">
                <a:pos x="3" y="178"/>
              </a:cxn>
              <a:cxn ang="0">
                <a:pos x="13" y="182"/>
              </a:cxn>
              <a:cxn ang="0">
                <a:pos x="20" y="186"/>
              </a:cxn>
              <a:cxn ang="0">
                <a:pos x="33" y="188"/>
              </a:cxn>
              <a:cxn ang="0">
                <a:pos x="68" y="180"/>
              </a:cxn>
              <a:cxn ang="0">
                <a:pos x="78" y="179"/>
              </a:cxn>
              <a:cxn ang="0">
                <a:pos x="83" y="172"/>
              </a:cxn>
              <a:cxn ang="0">
                <a:pos x="100" y="158"/>
              </a:cxn>
            </a:cxnLst>
            <a:rect b="b" l="0" r="r" t="0"/>
            <a:pathLst>
              <a:path h="189" w="118">
                <a:moveTo>
                  <a:pt x="100" y="158"/>
                </a:moveTo>
                <a:cubicBezTo>
                  <a:pt x="103" y="152"/>
                  <a:pt x="115" y="148"/>
                  <a:pt x="117" y="142"/>
                </a:cubicBezTo>
                <a:cubicBezTo>
                  <a:pt x="118" y="140"/>
                  <a:pt x="118" y="138"/>
                  <a:pt x="114" y="133"/>
                </a:cubicBezTo>
                <a:cubicBezTo>
                  <a:pt x="110" y="128"/>
                  <a:pt x="100" y="125"/>
                  <a:pt x="100" y="122"/>
                </a:cubicBezTo>
                <a:cubicBezTo>
                  <a:pt x="99" y="120"/>
                  <a:pt x="107" y="119"/>
                  <a:pt x="107" y="116"/>
                </a:cubicBezTo>
                <a:cubicBezTo>
                  <a:pt x="106" y="113"/>
                  <a:pt x="102" y="113"/>
                  <a:pt x="101" y="110"/>
                </a:cubicBezTo>
                <a:cubicBezTo>
                  <a:pt x="99" y="107"/>
                  <a:pt x="103" y="106"/>
                  <a:pt x="102" y="104"/>
                </a:cubicBezTo>
                <a:cubicBezTo>
                  <a:pt x="102" y="103"/>
                  <a:pt x="97" y="102"/>
                  <a:pt x="97" y="101"/>
                </a:cubicBezTo>
                <a:cubicBezTo>
                  <a:pt x="96" y="99"/>
                  <a:pt x="100" y="99"/>
                  <a:pt x="99" y="97"/>
                </a:cubicBezTo>
                <a:cubicBezTo>
                  <a:pt x="99" y="95"/>
                  <a:pt x="95" y="92"/>
                  <a:pt x="98" y="89"/>
                </a:cubicBezTo>
                <a:cubicBezTo>
                  <a:pt x="100" y="86"/>
                  <a:pt x="105" y="89"/>
                  <a:pt x="101" y="82"/>
                </a:cubicBezTo>
                <a:cubicBezTo>
                  <a:pt x="98" y="75"/>
                  <a:pt x="92" y="67"/>
                  <a:pt x="91" y="65"/>
                </a:cubicBezTo>
                <a:cubicBezTo>
                  <a:pt x="89" y="63"/>
                  <a:pt x="92" y="60"/>
                  <a:pt x="94" y="58"/>
                </a:cubicBezTo>
                <a:cubicBezTo>
                  <a:pt x="96" y="57"/>
                  <a:pt x="101" y="52"/>
                  <a:pt x="101" y="50"/>
                </a:cubicBezTo>
                <a:cubicBezTo>
                  <a:pt x="101" y="48"/>
                  <a:pt x="95" y="43"/>
                  <a:pt x="93" y="42"/>
                </a:cubicBezTo>
                <a:cubicBezTo>
                  <a:pt x="91" y="41"/>
                  <a:pt x="88" y="41"/>
                  <a:pt x="86" y="38"/>
                </a:cubicBezTo>
                <a:cubicBezTo>
                  <a:pt x="84" y="34"/>
                  <a:pt x="83" y="33"/>
                  <a:pt x="84" y="31"/>
                </a:cubicBezTo>
                <a:cubicBezTo>
                  <a:pt x="86" y="29"/>
                  <a:pt x="86" y="27"/>
                  <a:pt x="86" y="25"/>
                </a:cubicBezTo>
                <a:cubicBezTo>
                  <a:pt x="86" y="23"/>
                  <a:pt x="90" y="25"/>
                  <a:pt x="90" y="22"/>
                </a:cubicBezTo>
                <a:cubicBezTo>
                  <a:pt x="91" y="20"/>
                  <a:pt x="92" y="19"/>
                  <a:pt x="93" y="18"/>
                </a:cubicBezTo>
                <a:cubicBezTo>
                  <a:pt x="93" y="15"/>
                  <a:pt x="93" y="13"/>
                  <a:pt x="93" y="11"/>
                </a:cubicBezTo>
                <a:cubicBezTo>
                  <a:pt x="92" y="8"/>
                  <a:pt x="83" y="7"/>
                  <a:pt x="81" y="3"/>
                </a:cubicBezTo>
                <a:cubicBezTo>
                  <a:pt x="79" y="0"/>
                  <a:pt x="74" y="1"/>
                  <a:pt x="72" y="3"/>
                </a:cubicBezTo>
                <a:cubicBezTo>
                  <a:pt x="70" y="6"/>
                  <a:pt x="61" y="3"/>
                  <a:pt x="61" y="6"/>
                </a:cubicBezTo>
                <a:cubicBezTo>
                  <a:pt x="61" y="9"/>
                  <a:pt x="54" y="10"/>
                  <a:pt x="54" y="14"/>
                </a:cubicBezTo>
                <a:cubicBezTo>
                  <a:pt x="54" y="17"/>
                  <a:pt x="57" y="24"/>
                  <a:pt x="52" y="23"/>
                </a:cubicBezTo>
                <a:cubicBezTo>
                  <a:pt x="46" y="23"/>
                  <a:pt x="50" y="25"/>
                  <a:pt x="47" y="30"/>
                </a:cubicBezTo>
                <a:cubicBezTo>
                  <a:pt x="44" y="34"/>
                  <a:pt x="44" y="27"/>
                  <a:pt x="40" y="28"/>
                </a:cubicBezTo>
                <a:cubicBezTo>
                  <a:pt x="37" y="29"/>
                  <a:pt x="33" y="25"/>
                  <a:pt x="32" y="28"/>
                </a:cubicBezTo>
                <a:cubicBezTo>
                  <a:pt x="30" y="30"/>
                  <a:pt x="25" y="28"/>
                  <a:pt x="19" y="27"/>
                </a:cubicBezTo>
                <a:cubicBezTo>
                  <a:pt x="14" y="26"/>
                  <a:pt x="11" y="18"/>
                  <a:pt x="7" y="18"/>
                </a:cubicBezTo>
                <a:cubicBezTo>
                  <a:pt x="4" y="18"/>
                  <a:pt x="1" y="20"/>
                  <a:pt x="0" y="23"/>
                </a:cubicBezTo>
                <a:cubicBezTo>
                  <a:pt x="4" y="26"/>
                  <a:pt x="7" y="30"/>
                  <a:pt x="12" y="32"/>
                </a:cubicBezTo>
                <a:cubicBezTo>
                  <a:pt x="18" y="35"/>
                  <a:pt x="29" y="38"/>
                  <a:pt x="28" y="42"/>
                </a:cubicBezTo>
                <a:cubicBezTo>
                  <a:pt x="28" y="46"/>
                  <a:pt x="26" y="51"/>
                  <a:pt x="29" y="53"/>
                </a:cubicBezTo>
                <a:cubicBezTo>
                  <a:pt x="31" y="54"/>
                  <a:pt x="28" y="61"/>
                  <a:pt x="31" y="63"/>
                </a:cubicBezTo>
                <a:cubicBezTo>
                  <a:pt x="34" y="64"/>
                  <a:pt x="33" y="73"/>
                  <a:pt x="31" y="73"/>
                </a:cubicBezTo>
                <a:cubicBezTo>
                  <a:pt x="28" y="73"/>
                  <a:pt x="31" y="77"/>
                  <a:pt x="33" y="78"/>
                </a:cubicBezTo>
                <a:cubicBezTo>
                  <a:pt x="34" y="79"/>
                  <a:pt x="34" y="81"/>
                  <a:pt x="34" y="84"/>
                </a:cubicBezTo>
                <a:cubicBezTo>
                  <a:pt x="38" y="85"/>
                  <a:pt x="41" y="86"/>
                  <a:pt x="44" y="88"/>
                </a:cubicBezTo>
                <a:cubicBezTo>
                  <a:pt x="48" y="90"/>
                  <a:pt x="47" y="93"/>
                  <a:pt x="48" y="96"/>
                </a:cubicBezTo>
                <a:cubicBezTo>
                  <a:pt x="48" y="100"/>
                  <a:pt x="48" y="102"/>
                  <a:pt x="46" y="100"/>
                </a:cubicBezTo>
                <a:cubicBezTo>
                  <a:pt x="43" y="99"/>
                  <a:pt x="41" y="100"/>
                  <a:pt x="39" y="105"/>
                </a:cubicBezTo>
                <a:cubicBezTo>
                  <a:pt x="38" y="110"/>
                  <a:pt x="32" y="116"/>
                  <a:pt x="28" y="117"/>
                </a:cubicBezTo>
                <a:cubicBezTo>
                  <a:pt x="24" y="117"/>
                  <a:pt x="24" y="121"/>
                  <a:pt x="21" y="122"/>
                </a:cubicBezTo>
                <a:cubicBezTo>
                  <a:pt x="18" y="123"/>
                  <a:pt x="15" y="125"/>
                  <a:pt x="15" y="128"/>
                </a:cubicBezTo>
                <a:cubicBezTo>
                  <a:pt x="15" y="132"/>
                  <a:pt x="11" y="132"/>
                  <a:pt x="7" y="132"/>
                </a:cubicBezTo>
                <a:cubicBezTo>
                  <a:pt x="4" y="132"/>
                  <a:pt x="5" y="138"/>
                  <a:pt x="2" y="139"/>
                </a:cubicBezTo>
                <a:cubicBezTo>
                  <a:pt x="0" y="141"/>
                  <a:pt x="0" y="143"/>
                  <a:pt x="3" y="146"/>
                </a:cubicBezTo>
                <a:cubicBezTo>
                  <a:pt x="5" y="149"/>
                  <a:pt x="3" y="151"/>
                  <a:pt x="4" y="153"/>
                </a:cubicBezTo>
                <a:cubicBezTo>
                  <a:pt x="5" y="156"/>
                  <a:pt x="8" y="161"/>
                  <a:pt x="6" y="166"/>
                </a:cubicBezTo>
                <a:cubicBezTo>
                  <a:pt x="3" y="172"/>
                  <a:pt x="1" y="178"/>
                  <a:pt x="3" y="178"/>
                </a:cubicBezTo>
                <a:cubicBezTo>
                  <a:pt x="5" y="177"/>
                  <a:pt x="10" y="182"/>
                  <a:pt x="13" y="182"/>
                </a:cubicBezTo>
                <a:cubicBezTo>
                  <a:pt x="17" y="182"/>
                  <a:pt x="17" y="187"/>
                  <a:pt x="20" y="186"/>
                </a:cubicBezTo>
                <a:cubicBezTo>
                  <a:pt x="23" y="185"/>
                  <a:pt x="23" y="189"/>
                  <a:pt x="33" y="188"/>
                </a:cubicBezTo>
                <a:cubicBezTo>
                  <a:pt x="42" y="188"/>
                  <a:pt x="60" y="180"/>
                  <a:pt x="68" y="180"/>
                </a:cubicBezTo>
                <a:cubicBezTo>
                  <a:pt x="72" y="180"/>
                  <a:pt x="75" y="180"/>
                  <a:pt x="78" y="179"/>
                </a:cubicBezTo>
                <a:cubicBezTo>
                  <a:pt x="79" y="177"/>
                  <a:pt x="81" y="174"/>
                  <a:pt x="83" y="172"/>
                </a:cubicBezTo>
                <a:cubicBezTo>
                  <a:pt x="88" y="168"/>
                  <a:pt x="98" y="164"/>
                  <a:pt x="100" y="158"/>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2" name="Freeform 89"/>
          <p:cNvSpPr/>
          <p:nvPr/>
        </p:nvSpPr>
        <p:spPr bwMode="auto">
          <a:xfrm>
            <a:off x="6779646" y="3643567"/>
            <a:ext cx="532180" cy="434035"/>
          </a:xfrm>
          <a:custGeom>
            <a:cxnLst>
              <a:cxn ang="0">
                <a:pos x="142" y="40"/>
              </a:cxn>
              <a:cxn ang="0">
                <a:pos x="122" y="38"/>
              </a:cxn>
              <a:cxn ang="0">
                <a:pos x="109" y="33"/>
              </a:cxn>
              <a:cxn ang="0">
                <a:pos x="82" y="13"/>
              </a:cxn>
              <a:cxn ang="0">
                <a:pos x="59" y="0"/>
              </a:cxn>
              <a:cxn ang="0">
                <a:pos x="50" y="0"/>
              </a:cxn>
              <a:cxn ang="0">
                <a:pos x="38" y="4"/>
              </a:cxn>
              <a:cxn ang="0">
                <a:pos x="27" y="11"/>
              </a:cxn>
              <a:cxn ang="0">
                <a:pos x="36" y="21"/>
              </a:cxn>
              <a:cxn ang="0">
                <a:pos x="29" y="26"/>
              </a:cxn>
              <a:cxn ang="0">
                <a:pos x="22" y="29"/>
              </a:cxn>
              <a:cxn ang="0">
                <a:pos x="13" y="36"/>
              </a:cxn>
              <a:cxn ang="0">
                <a:pos x="2" y="31"/>
              </a:cxn>
              <a:cxn ang="0">
                <a:pos x="1" y="34"/>
              </a:cxn>
              <a:cxn ang="0">
                <a:pos x="0" y="37"/>
              </a:cxn>
              <a:cxn ang="0">
                <a:pos x="2" y="50"/>
              </a:cxn>
              <a:cxn ang="0">
                <a:pos x="11" y="61"/>
              </a:cxn>
              <a:cxn ang="0">
                <a:pos x="28" y="87"/>
              </a:cxn>
              <a:cxn ang="0">
                <a:pos x="36" y="99"/>
              </a:cxn>
              <a:cxn ang="0">
                <a:pos x="47" y="112"/>
              </a:cxn>
              <a:cxn ang="0">
                <a:pos x="49" y="124"/>
              </a:cxn>
              <a:cxn ang="0">
                <a:pos x="59" y="143"/>
              </a:cxn>
              <a:cxn ang="0">
                <a:pos x="72" y="158"/>
              </a:cxn>
              <a:cxn ang="0">
                <a:pos x="82" y="175"/>
              </a:cxn>
              <a:cxn ang="0">
                <a:pos x="86" y="184"/>
              </a:cxn>
              <a:cxn ang="0">
                <a:pos x="89" y="190"/>
              </a:cxn>
              <a:cxn ang="0">
                <a:pos x="95" y="188"/>
              </a:cxn>
              <a:cxn ang="0">
                <a:pos x="94" y="181"/>
              </a:cxn>
              <a:cxn ang="0">
                <a:pos x="99" y="177"/>
              </a:cxn>
              <a:cxn ang="0">
                <a:pos x="107" y="179"/>
              </a:cxn>
              <a:cxn ang="0">
                <a:pos x="121" y="180"/>
              </a:cxn>
              <a:cxn ang="0">
                <a:pos x="137" y="182"/>
              </a:cxn>
              <a:cxn ang="0">
                <a:pos x="145" y="179"/>
              </a:cxn>
              <a:cxn ang="0">
                <a:pos x="162" y="164"/>
              </a:cxn>
              <a:cxn ang="0">
                <a:pos x="184" y="163"/>
              </a:cxn>
              <a:cxn ang="0">
                <a:pos x="230" y="148"/>
              </a:cxn>
              <a:cxn ang="0">
                <a:pos x="238" y="125"/>
              </a:cxn>
              <a:cxn ang="0">
                <a:pos x="232" y="117"/>
              </a:cxn>
              <a:cxn ang="0">
                <a:pos x="203" y="113"/>
              </a:cxn>
              <a:cxn ang="0">
                <a:pos x="195" y="101"/>
              </a:cxn>
              <a:cxn ang="0">
                <a:pos x="190" y="94"/>
              </a:cxn>
              <a:cxn ang="0">
                <a:pos x="181" y="88"/>
              </a:cxn>
              <a:cxn ang="0">
                <a:pos x="175" y="76"/>
              </a:cxn>
              <a:cxn ang="0">
                <a:pos x="170" y="63"/>
              </a:cxn>
              <a:cxn ang="0">
                <a:pos x="158" y="50"/>
              </a:cxn>
              <a:cxn ang="0">
                <a:pos x="157" y="45"/>
              </a:cxn>
              <a:cxn ang="0">
                <a:pos x="148" y="45"/>
              </a:cxn>
              <a:cxn ang="0">
                <a:pos x="142" y="40"/>
              </a:cxn>
            </a:cxnLst>
            <a:rect b="b" l="0" r="r" t="0"/>
            <a:pathLst>
              <a:path h="190" w="238">
                <a:moveTo>
                  <a:pt x="142" y="40"/>
                </a:moveTo>
                <a:cubicBezTo>
                  <a:pt x="142" y="40"/>
                  <a:pt x="125" y="38"/>
                  <a:pt x="122" y="38"/>
                </a:cubicBezTo>
                <a:cubicBezTo>
                  <a:pt x="119" y="38"/>
                  <a:pt x="113" y="37"/>
                  <a:pt x="109" y="33"/>
                </a:cubicBezTo>
                <a:cubicBezTo>
                  <a:pt x="105" y="30"/>
                  <a:pt x="85" y="15"/>
                  <a:pt x="82" y="13"/>
                </a:cubicBezTo>
                <a:cubicBezTo>
                  <a:pt x="78" y="11"/>
                  <a:pt x="63" y="1"/>
                  <a:pt x="59" y="0"/>
                </a:cubicBezTo>
                <a:cubicBezTo>
                  <a:pt x="55" y="0"/>
                  <a:pt x="55" y="0"/>
                  <a:pt x="50" y="0"/>
                </a:cubicBezTo>
                <a:cubicBezTo>
                  <a:pt x="45" y="0"/>
                  <a:pt x="47" y="3"/>
                  <a:pt x="38" y="4"/>
                </a:cubicBezTo>
                <a:cubicBezTo>
                  <a:pt x="30" y="4"/>
                  <a:pt x="25" y="10"/>
                  <a:pt x="27" y="11"/>
                </a:cubicBezTo>
                <a:cubicBezTo>
                  <a:pt x="30" y="12"/>
                  <a:pt x="38" y="19"/>
                  <a:pt x="36" y="21"/>
                </a:cubicBezTo>
                <a:cubicBezTo>
                  <a:pt x="33" y="22"/>
                  <a:pt x="33" y="26"/>
                  <a:pt x="29" y="26"/>
                </a:cubicBezTo>
                <a:cubicBezTo>
                  <a:pt x="26" y="26"/>
                  <a:pt x="22" y="27"/>
                  <a:pt x="22" y="29"/>
                </a:cubicBezTo>
                <a:cubicBezTo>
                  <a:pt x="22" y="32"/>
                  <a:pt x="17" y="36"/>
                  <a:pt x="13" y="36"/>
                </a:cubicBezTo>
                <a:cubicBezTo>
                  <a:pt x="11" y="36"/>
                  <a:pt x="6" y="33"/>
                  <a:pt x="2" y="31"/>
                </a:cubicBezTo>
                <a:cubicBezTo>
                  <a:pt x="1" y="34"/>
                  <a:pt x="1" y="34"/>
                  <a:pt x="1" y="34"/>
                </a:cubicBezTo>
                <a:cubicBezTo>
                  <a:pt x="0" y="37"/>
                  <a:pt x="0" y="37"/>
                  <a:pt x="0" y="37"/>
                </a:cubicBezTo>
                <a:cubicBezTo>
                  <a:pt x="1" y="40"/>
                  <a:pt x="0" y="49"/>
                  <a:pt x="2" y="50"/>
                </a:cubicBezTo>
                <a:cubicBezTo>
                  <a:pt x="5" y="51"/>
                  <a:pt x="6" y="55"/>
                  <a:pt x="11" y="61"/>
                </a:cubicBezTo>
                <a:cubicBezTo>
                  <a:pt x="17" y="67"/>
                  <a:pt x="28" y="83"/>
                  <a:pt x="28" y="87"/>
                </a:cubicBezTo>
                <a:cubicBezTo>
                  <a:pt x="28" y="90"/>
                  <a:pt x="30" y="95"/>
                  <a:pt x="36" y="99"/>
                </a:cubicBezTo>
                <a:cubicBezTo>
                  <a:pt x="43" y="104"/>
                  <a:pt x="43" y="109"/>
                  <a:pt x="47" y="112"/>
                </a:cubicBezTo>
                <a:cubicBezTo>
                  <a:pt x="50" y="114"/>
                  <a:pt x="49" y="118"/>
                  <a:pt x="49" y="124"/>
                </a:cubicBezTo>
                <a:cubicBezTo>
                  <a:pt x="50" y="131"/>
                  <a:pt x="53" y="140"/>
                  <a:pt x="59" y="143"/>
                </a:cubicBezTo>
                <a:cubicBezTo>
                  <a:pt x="65" y="147"/>
                  <a:pt x="69" y="151"/>
                  <a:pt x="72" y="158"/>
                </a:cubicBezTo>
                <a:cubicBezTo>
                  <a:pt x="74" y="165"/>
                  <a:pt x="78" y="171"/>
                  <a:pt x="82" y="175"/>
                </a:cubicBezTo>
                <a:cubicBezTo>
                  <a:pt x="86" y="179"/>
                  <a:pt x="84" y="181"/>
                  <a:pt x="86" y="184"/>
                </a:cubicBezTo>
                <a:cubicBezTo>
                  <a:pt x="87" y="185"/>
                  <a:pt x="88" y="188"/>
                  <a:pt x="89" y="190"/>
                </a:cubicBezTo>
                <a:cubicBezTo>
                  <a:pt x="92" y="189"/>
                  <a:pt x="94" y="188"/>
                  <a:pt x="95" y="188"/>
                </a:cubicBezTo>
                <a:cubicBezTo>
                  <a:pt x="95" y="186"/>
                  <a:pt x="93" y="183"/>
                  <a:pt x="94" y="181"/>
                </a:cubicBezTo>
                <a:cubicBezTo>
                  <a:pt x="95" y="180"/>
                  <a:pt x="97" y="178"/>
                  <a:pt x="99" y="177"/>
                </a:cubicBezTo>
                <a:cubicBezTo>
                  <a:pt x="101" y="177"/>
                  <a:pt x="103" y="179"/>
                  <a:pt x="107" y="179"/>
                </a:cubicBezTo>
                <a:cubicBezTo>
                  <a:pt x="112" y="178"/>
                  <a:pt x="120" y="179"/>
                  <a:pt x="121" y="180"/>
                </a:cubicBezTo>
                <a:cubicBezTo>
                  <a:pt x="122" y="181"/>
                  <a:pt x="134" y="180"/>
                  <a:pt x="137" y="182"/>
                </a:cubicBezTo>
                <a:cubicBezTo>
                  <a:pt x="140" y="185"/>
                  <a:pt x="143" y="184"/>
                  <a:pt x="145" y="179"/>
                </a:cubicBezTo>
                <a:cubicBezTo>
                  <a:pt x="147" y="175"/>
                  <a:pt x="160" y="165"/>
                  <a:pt x="162" y="164"/>
                </a:cubicBezTo>
                <a:cubicBezTo>
                  <a:pt x="164" y="163"/>
                  <a:pt x="179" y="164"/>
                  <a:pt x="184" y="163"/>
                </a:cubicBezTo>
                <a:cubicBezTo>
                  <a:pt x="190" y="162"/>
                  <a:pt x="228" y="150"/>
                  <a:pt x="230" y="148"/>
                </a:cubicBezTo>
                <a:cubicBezTo>
                  <a:pt x="231" y="147"/>
                  <a:pt x="238" y="127"/>
                  <a:pt x="238" y="125"/>
                </a:cubicBezTo>
                <a:cubicBezTo>
                  <a:pt x="238" y="122"/>
                  <a:pt x="235" y="116"/>
                  <a:pt x="232" y="117"/>
                </a:cubicBezTo>
                <a:cubicBezTo>
                  <a:pt x="229" y="117"/>
                  <a:pt x="205" y="114"/>
                  <a:pt x="203" y="113"/>
                </a:cubicBezTo>
                <a:cubicBezTo>
                  <a:pt x="202" y="113"/>
                  <a:pt x="196" y="108"/>
                  <a:pt x="195" y="101"/>
                </a:cubicBezTo>
                <a:cubicBezTo>
                  <a:pt x="193" y="100"/>
                  <a:pt x="191" y="97"/>
                  <a:pt x="190" y="94"/>
                </a:cubicBezTo>
                <a:cubicBezTo>
                  <a:pt x="188" y="95"/>
                  <a:pt x="183" y="94"/>
                  <a:pt x="181" y="88"/>
                </a:cubicBezTo>
                <a:cubicBezTo>
                  <a:pt x="179" y="86"/>
                  <a:pt x="173" y="78"/>
                  <a:pt x="175" y="76"/>
                </a:cubicBezTo>
                <a:cubicBezTo>
                  <a:pt x="177" y="73"/>
                  <a:pt x="174" y="67"/>
                  <a:pt x="170" y="63"/>
                </a:cubicBezTo>
                <a:cubicBezTo>
                  <a:pt x="166" y="60"/>
                  <a:pt x="159" y="54"/>
                  <a:pt x="158" y="50"/>
                </a:cubicBezTo>
                <a:cubicBezTo>
                  <a:pt x="158" y="49"/>
                  <a:pt x="158" y="47"/>
                  <a:pt x="157" y="45"/>
                </a:cubicBezTo>
                <a:cubicBezTo>
                  <a:pt x="148" y="45"/>
                  <a:pt x="148" y="45"/>
                  <a:pt x="148" y="45"/>
                </a:cubicBezTo>
                <a:lnTo>
                  <a:pt x="142" y="40"/>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3" name="Freeform 90"/>
          <p:cNvSpPr/>
          <p:nvPr/>
        </p:nvSpPr>
        <p:spPr bwMode="auto">
          <a:xfrm>
            <a:off x="7215402" y="3842579"/>
            <a:ext cx="203971" cy="229337"/>
          </a:xfrm>
          <a:custGeom>
            <a:cxnLst>
              <a:cxn ang="0">
                <a:pos x="45" y="3"/>
              </a:cxn>
              <a:cxn ang="0">
                <a:pos x="45" y="11"/>
              </a:cxn>
              <a:cxn ang="0">
                <a:pos x="38" y="20"/>
              </a:cxn>
              <a:cxn ang="0">
                <a:pos x="35" y="30"/>
              </a:cxn>
              <a:cxn ang="0">
                <a:pos x="37" y="30"/>
              </a:cxn>
              <a:cxn ang="0">
                <a:pos x="43" y="38"/>
              </a:cxn>
              <a:cxn ang="0">
                <a:pos x="35" y="61"/>
              </a:cxn>
              <a:cxn ang="0">
                <a:pos x="0" y="73"/>
              </a:cxn>
              <a:cxn ang="0">
                <a:pos x="14" y="101"/>
              </a:cxn>
              <a:cxn ang="0">
                <a:pos x="17" y="100"/>
              </a:cxn>
              <a:cxn ang="0">
                <a:pos x="35" y="97"/>
              </a:cxn>
              <a:cxn ang="0">
                <a:pos x="40" y="88"/>
              </a:cxn>
              <a:cxn ang="0">
                <a:pos x="52" y="86"/>
              </a:cxn>
              <a:cxn ang="0">
                <a:pos x="59" y="76"/>
              </a:cxn>
              <a:cxn ang="0">
                <a:pos x="67" y="72"/>
              </a:cxn>
              <a:cxn ang="0">
                <a:pos x="70" y="57"/>
              </a:cxn>
              <a:cxn ang="0">
                <a:pos x="80" y="51"/>
              </a:cxn>
              <a:cxn ang="0">
                <a:pos x="89" y="37"/>
              </a:cxn>
              <a:cxn ang="0">
                <a:pos x="88" y="31"/>
              </a:cxn>
              <a:cxn ang="0">
                <a:pos x="79" y="19"/>
              </a:cxn>
              <a:cxn ang="0">
                <a:pos x="60" y="12"/>
              </a:cxn>
              <a:cxn ang="0">
                <a:pos x="54" y="0"/>
              </a:cxn>
              <a:cxn ang="0">
                <a:pos x="50" y="3"/>
              </a:cxn>
              <a:cxn ang="0">
                <a:pos x="45" y="3"/>
              </a:cxn>
            </a:cxnLst>
            <a:rect b="b" l="0" r="r" t="0"/>
            <a:pathLst>
              <a:path h="100" w="91">
                <a:moveTo>
                  <a:pt x="45" y="3"/>
                </a:moveTo>
                <a:cubicBezTo>
                  <a:pt x="45" y="11"/>
                  <a:pt x="45" y="11"/>
                  <a:pt x="45" y="11"/>
                </a:cubicBezTo>
                <a:cubicBezTo>
                  <a:pt x="38" y="20"/>
                  <a:pt x="38" y="20"/>
                  <a:pt x="38" y="20"/>
                </a:cubicBezTo>
                <a:cubicBezTo>
                  <a:pt x="35" y="30"/>
                  <a:pt x="35" y="30"/>
                  <a:pt x="35" y="30"/>
                </a:cubicBezTo>
                <a:cubicBezTo>
                  <a:pt x="36" y="30"/>
                  <a:pt x="36" y="30"/>
                  <a:pt x="37" y="30"/>
                </a:cubicBezTo>
                <a:cubicBezTo>
                  <a:pt x="40" y="29"/>
                  <a:pt x="43" y="35"/>
                  <a:pt x="43" y="38"/>
                </a:cubicBezTo>
                <a:cubicBezTo>
                  <a:pt x="43" y="40"/>
                  <a:pt x="36" y="60"/>
                  <a:pt x="35" y="61"/>
                </a:cubicBezTo>
                <a:cubicBezTo>
                  <a:pt x="34" y="62"/>
                  <a:pt x="14" y="69"/>
                  <a:pt x="0" y="73"/>
                </a:cubicBezTo>
                <a:cubicBezTo>
                  <a:pt x="3" y="79"/>
                  <a:pt x="9" y="91"/>
                  <a:pt x="14" y="101"/>
                </a:cubicBezTo>
                <a:cubicBezTo>
                  <a:pt x="15" y="101"/>
                  <a:pt x="16" y="101"/>
                  <a:pt x="17" y="100"/>
                </a:cubicBezTo>
                <a:cubicBezTo>
                  <a:pt x="23" y="96"/>
                  <a:pt x="31" y="98"/>
                  <a:pt x="35" y="97"/>
                </a:cubicBezTo>
                <a:cubicBezTo>
                  <a:pt x="40" y="96"/>
                  <a:pt x="36" y="92"/>
                  <a:pt x="40" y="88"/>
                </a:cubicBezTo>
                <a:cubicBezTo>
                  <a:pt x="44" y="85"/>
                  <a:pt x="50" y="87"/>
                  <a:pt x="52" y="86"/>
                </a:cubicBezTo>
                <a:cubicBezTo>
                  <a:pt x="54" y="85"/>
                  <a:pt x="56" y="77"/>
                  <a:pt x="59" y="76"/>
                </a:cubicBezTo>
                <a:cubicBezTo>
                  <a:pt x="63" y="74"/>
                  <a:pt x="67" y="75"/>
                  <a:pt x="67" y="72"/>
                </a:cubicBezTo>
                <a:cubicBezTo>
                  <a:pt x="66" y="69"/>
                  <a:pt x="67" y="58"/>
                  <a:pt x="70" y="57"/>
                </a:cubicBezTo>
                <a:cubicBezTo>
                  <a:pt x="74" y="56"/>
                  <a:pt x="79" y="53"/>
                  <a:pt x="80" y="51"/>
                </a:cubicBezTo>
                <a:cubicBezTo>
                  <a:pt x="80" y="49"/>
                  <a:pt x="87" y="41"/>
                  <a:pt x="89" y="37"/>
                </a:cubicBezTo>
                <a:cubicBezTo>
                  <a:pt x="91" y="34"/>
                  <a:pt x="91" y="32"/>
                  <a:pt x="88" y="31"/>
                </a:cubicBezTo>
                <a:cubicBezTo>
                  <a:pt x="85" y="31"/>
                  <a:pt x="80" y="22"/>
                  <a:pt x="79" y="19"/>
                </a:cubicBezTo>
                <a:cubicBezTo>
                  <a:pt x="77" y="17"/>
                  <a:pt x="68" y="19"/>
                  <a:pt x="60" y="12"/>
                </a:cubicBezTo>
                <a:cubicBezTo>
                  <a:pt x="57" y="10"/>
                  <a:pt x="55" y="5"/>
                  <a:pt x="54" y="0"/>
                </a:cubicBezTo>
                <a:cubicBezTo>
                  <a:pt x="50" y="3"/>
                  <a:pt x="50" y="3"/>
                  <a:pt x="50" y="3"/>
                </a:cubicBezTo>
                <a:lnTo>
                  <a:pt x="45" y="3"/>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4" name="Freeform 91"/>
          <p:cNvSpPr/>
          <p:nvPr/>
        </p:nvSpPr>
        <p:spPr bwMode="auto">
          <a:xfrm>
            <a:off x="7183880" y="3814149"/>
            <a:ext cx="29669" cy="45488"/>
          </a:xfrm>
          <a:custGeom>
            <a:cxnLst>
              <a:cxn ang="0">
                <a:pos x="9" y="19"/>
              </a:cxn>
              <a:cxn ang="0">
                <a:pos x="10" y="16"/>
              </a:cxn>
              <a:cxn ang="0">
                <a:pos x="8" y="2"/>
              </a:cxn>
              <a:cxn ang="0">
                <a:pos x="1" y="13"/>
              </a:cxn>
              <a:cxn ang="0">
                <a:pos x="0" y="13"/>
              </a:cxn>
              <a:cxn ang="0">
                <a:pos x="9" y="19"/>
              </a:cxn>
            </a:cxnLst>
            <a:rect b="b" l="0" r="r" t="0"/>
            <a:pathLst>
              <a:path h="20" w="13">
                <a:moveTo>
                  <a:pt x="9" y="19"/>
                </a:moveTo>
                <a:cubicBezTo>
                  <a:pt x="9" y="18"/>
                  <a:pt x="9" y="17"/>
                  <a:pt x="10" y="16"/>
                </a:cubicBezTo>
                <a:cubicBezTo>
                  <a:pt x="12" y="12"/>
                  <a:pt x="13" y="3"/>
                  <a:pt x="8" y="2"/>
                </a:cubicBezTo>
                <a:cubicBezTo>
                  <a:pt x="3" y="0"/>
                  <a:pt x="1" y="10"/>
                  <a:pt x="1" y="13"/>
                </a:cubicBezTo>
                <a:cubicBezTo>
                  <a:pt x="1" y="13"/>
                  <a:pt x="0" y="13"/>
                  <a:pt x="0" y="13"/>
                </a:cubicBezTo>
                <a:cubicBezTo>
                  <a:pt x="2" y="19"/>
                  <a:pt x="7" y="20"/>
                  <a:pt x="9" y="1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5" name="Freeform 92"/>
          <p:cNvSpPr/>
          <p:nvPr/>
        </p:nvSpPr>
        <p:spPr bwMode="auto">
          <a:xfrm>
            <a:off x="7215402" y="3810358"/>
            <a:ext cx="120529" cy="100454"/>
          </a:xfrm>
          <a:custGeom>
            <a:cxnLst>
              <a:cxn ang="0">
                <a:pos x="8" y="40"/>
              </a:cxn>
              <a:cxn ang="0">
                <a:pos x="35" y="44"/>
              </a:cxn>
              <a:cxn ang="0">
                <a:pos x="38" y="34"/>
              </a:cxn>
              <a:cxn ang="0">
                <a:pos x="45" y="25"/>
              </a:cxn>
              <a:cxn ang="0">
                <a:pos x="45" y="17"/>
              </a:cxn>
              <a:cxn ang="0">
                <a:pos x="50" y="17"/>
              </a:cxn>
              <a:cxn ang="0">
                <a:pos x="54" y="14"/>
              </a:cxn>
              <a:cxn ang="0">
                <a:pos x="51" y="0"/>
              </a:cxn>
              <a:cxn ang="0">
                <a:pos x="37" y="16"/>
              </a:cxn>
              <a:cxn ang="0">
                <a:pos x="16" y="26"/>
              </a:cxn>
              <a:cxn ang="0">
                <a:pos x="2" y="29"/>
              </a:cxn>
              <a:cxn ang="0">
                <a:pos x="0" y="28"/>
              </a:cxn>
              <a:cxn ang="0">
                <a:pos x="8" y="40"/>
              </a:cxn>
            </a:cxnLst>
            <a:rect b="b" l="0" r="r" t="0"/>
            <a:pathLst>
              <a:path h="44" w="54">
                <a:moveTo>
                  <a:pt x="8" y="40"/>
                </a:moveTo>
                <a:cubicBezTo>
                  <a:pt x="10" y="41"/>
                  <a:pt x="28" y="43"/>
                  <a:pt x="35" y="44"/>
                </a:cubicBezTo>
                <a:cubicBezTo>
                  <a:pt x="38" y="34"/>
                  <a:pt x="38" y="34"/>
                  <a:pt x="38" y="34"/>
                </a:cubicBezTo>
                <a:cubicBezTo>
                  <a:pt x="45" y="25"/>
                  <a:pt x="45" y="25"/>
                  <a:pt x="45" y="25"/>
                </a:cubicBezTo>
                <a:cubicBezTo>
                  <a:pt x="45" y="17"/>
                  <a:pt x="45" y="17"/>
                  <a:pt x="45" y="17"/>
                </a:cubicBezTo>
                <a:cubicBezTo>
                  <a:pt x="50" y="17"/>
                  <a:pt x="50" y="17"/>
                  <a:pt x="50" y="17"/>
                </a:cubicBezTo>
                <a:cubicBezTo>
                  <a:pt x="54" y="14"/>
                  <a:pt x="54" y="14"/>
                  <a:pt x="54" y="14"/>
                </a:cubicBezTo>
                <a:cubicBezTo>
                  <a:pt x="52" y="7"/>
                  <a:pt x="52" y="0"/>
                  <a:pt x="51" y="0"/>
                </a:cubicBezTo>
                <a:cubicBezTo>
                  <a:pt x="49" y="0"/>
                  <a:pt x="40" y="9"/>
                  <a:pt x="37" y="16"/>
                </a:cubicBezTo>
                <a:cubicBezTo>
                  <a:pt x="34" y="22"/>
                  <a:pt x="24" y="27"/>
                  <a:pt x="16" y="26"/>
                </a:cubicBezTo>
                <a:cubicBezTo>
                  <a:pt x="7" y="24"/>
                  <a:pt x="5" y="28"/>
                  <a:pt x="2" y="29"/>
                </a:cubicBezTo>
                <a:cubicBezTo>
                  <a:pt x="2" y="29"/>
                  <a:pt x="1" y="29"/>
                  <a:pt x="0" y="28"/>
                </a:cubicBezTo>
                <a:cubicBezTo>
                  <a:pt x="1" y="35"/>
                  <a:pt x="7" y="40"/>
                  <a:pt x="8" y="4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6" name="Freeform 93"/>
          <p:cNvSpPr>
            <a:spLocks noEditPoints="1"/>
          </p:cNvSpPr>
          <p:nvPr/>
        </p:nvSpPr>
        <p:spPr bwMode="auto">
          <a:xfrm>
            <a:off x="8405852" y="4337264"/>
            <a:ext cx="489531" cy="155418"/>
          </a:xfrm>
          <a:custGeom>
            <a:cxnLst>
              <a:cxn ang="0">
                <a:pos x="39" y="24"/>
              </a:cxn>
              <a:cxn ang="0">
                <a:pos x="31" y="12"/>
              </a:cxn>
              <a:cxn ang="0">
                <a:pos x="25" y="7"/>
              </a:cxn>
              <a:cxn ang="0">
                <a:pos x="24" y="5"/>
              </a:cxn>
              <a:cxn ang="0">
                <a:pos x="21" y="10"/>
              </a:cxn>
              <a:cxn ang="0">
                <a:pos x="12" y="9"/>
              </a:cxn>
              <a:cxn ang="0">
                <a:pos x="6" y="2"/>
              </a:cxn>
              <a:cxn ang="0">
                <a:pos x="0" y="1"/>
              </a:cxn>
              <a:cxn ang="0">
                <a:pos x="3" y="19"/>
              </a:cxn>
              <a:cxn ang="0">
                <a:pos x="14" y="40"/>
              </a:cxn>
              <a:cxn ang="0">
                <a:pos x="25" y="51"/>
              </a:cxn>
              <a:cxn ang="0">
                <a:pos x="47" y="62"/>
              </a:cxn>
              <a:cxn ang="0">
                <a:pos x="39" y="46"/>
              </a:cxn>
              <a:cxn ang="0">
                <a:pos x="39" y="24"/>
              </a:cxn>
              <a:cxn ang="0">
                <a:pos x="210" y="11"/>
              </a:cxn>
              <a:cxn ang="0">
                <a:pos x="200" y="9"/>
              </a:cxn>
              <a:cxn ang="0">
                <a:pos x="189" y="0"/>
              </a:cxn>
              <a:cxn ang="0">
                <a:pos x="180" y="11"/>
              </a:cxn>
              <a:cxn ang="0">
                <a:pos x="174" y="19"/>
              </a:cxn>
              <a:cxn ang="0">
                <a:pos x="172" y="22"/>
              </a:cxn>
              <a:cxn ang="0">
                <a:pos x="172" y="29"/>
              </a:cxn>
              <a:cxn ang="0">
                <a:pos x="165" y="31"/>
              </a:cxn>
              <a:cxn ang="0">
                <a:pos x="159" y="23"/>
              </a:cxn>
              <a:cxn ang="0">
                <a:pos x="158" y="23"/>
              </a:cxn>
              <a:cxn ang="0">
                <a:pos x="148" y="39"/>
              </a:cxn>
              <a:cxn ang="0">
                <a:pos x="132" y="44"/>
              </a:cxn>
              <a:cxn ang="0">
                <a:pos x="125" y="58"/>
              </a:cxn>
              <a:cxn ang="0">
                <a:pos x="108" y="54"/>
              </a:cxn>
              <a:cxn ang="0">
                <a:pos x="111" y="61"/>
              </a:cxn>
              <a:cxn ang="0">
                <a:pos x="121" y="66"/>
              </a:cxn>
              <a:cxn ang="0">
                <a:pos x="135" y="65"/>
              </a:cxn>
              <a:cxn ang="0">
                <a:pos x="147" y="60"/>
              </a:cxn>
              <a:cxn ang="0">
                <a:pos x="157" y="62"/>
              </a:cxn>
              <a:cxn ang="0">
                <a:pos x="167" y="55"/>
              </a:cxn>
              <a:cxn ang="0">
                <a:pos x="171" y="45"/>
              </a:cxn>
              <a:cxn ang="0">
                <a:pos x="177" y="35"/>
              </a:cxn>
              <a:cxn ang="0">
                <a:pos x="195" y="27"/>
              </a:cxn>
              <a:cxn ang="0">
                <a:pos x="200" y="29"/>
              </a:cxn>
              <a:cxn ang="0">
                <a:pos x="207" y="22"/>
              </a:cxn>
              <a:cxn ang="0">
                <a:pos x="217" y="18"/>
              </a:cxn>
              <a:cxn ang="0">
                <a:pos x="210" y="11"/>
              </a:cxn>
            </a:cxnLst>
            <a:rect b="b" l="0" r="r" t="0"/>
            <a:pathLst>
              <a:path h="68" w="219">
                <a:moveTo>
                  <a:pt x="39" y="24"/>
                </a:moveTo>
                <a:cubicBezTo>
                  <a:pt x="39" y="17"/>
                  <a:pt x="32" y="17"/>
                  <a:pt x="31" y="12"/>
                </a:cubicBezTo>
                <a:cubicBezTo>
                  <a:pt x="29" y="7"/>
                  <a:pt x="26" y="10"/>
                  <a:pt x="25" y="7"/>
                </a:cubicBezTo>
                <a:cubicBezTo>
                  <a:pt x="25" y="6"/>
                  <a:pt x="25" y="6"/>
                  <a:pt x="24" y="5"/>
                </a:cubicBezTo>
                <a:cubicBezTo>
                  <a:pt x="20" y="6"/>
                  <a:pt x="22" y="9"/>
                  <a:pt x="21" y="10"/>
                </a:cubicBezTo>
                <a:cubicBezTo>
                  <a:pt x="19" y="10"/>
                  <a:pt x="12" y="11"/>
                  <a:pt x="12" y="9"/>
                </a:cubicBezTo>
                <a:cubicBezTo>
                  <a:pt x="12" y="6"/>
                  <a:pt x="11" y="3"/>
                  <a:pt x="6" y="2"/>
                </a:cubicBezTo>
                <a:cubicBezTo>
                  <a:pt x="4" y="1"/>
                  <a:pt x="2" y="1"/>
                  <a:pt x="0" y="1"/>
                </a:cubicBezTo>
                <a:cubicBezTo>
                  <a:pt x="2" y="7"/>
                  <a:pt x="3" y="14"/>
                  <a:pt x="3" y="19"/>
                </a:cubicBezTo>
                <a:cubicBezTo>
                  <a:pt x="3" y="25"/>
                  <a:pt x="13" y="36"/>
                  <a:pt x="14" y="40"/>
                </a:cubicBezTo>
                <a:cubicBezTo>
                  <a:pt x="16" y="45"/>
                  <a:pt x="19" y="46"/>
                  <a:pt x="25" y="51"/>
                </a:cubicBezTo>
                <a:cubicBezTo>
                  <a:pt x="32" y="55"/>
                  <a:pt x="44" y="63"/>
                  <a:pt x="47" y="62"/>
                </a:cubicBezTo>
                <a:cubicBezTo>
                  <a:pt x="49" y="61"/>
                  <a:pt x="43" y="50"/>
                  <a:pt x="39" y="46"/>
                </a:cubicBezTo>
                <a:cubicBezTo>
                  <a:pt x="36" y="42"/>
                  <a:pt x="39" y="32"/>
                  <a:pt x="39" y="24"/>
                </a:cubicBezTo>
                <a:close/>
                <a:moveTo>
                  <a:pt x="210" y="11"/>
                </a:moveTo>
                <a:cubicBezTo>
                  <a:pt x="207" y="12"/>
                  <a:pt x="200" y="12"/>
                  <a:pt x="200" y="9"/>
                </a:cubicBezTo>
                <a:cubicBezTo>
                  <a:pt x="200" y="6"/>
                  <a:pt x="193" y="0"/>
                  <a:pt x="189" y="0"/>
                </a:cubicBezTo>
                <a:cubicBezTo>
                  <a:pt x="185" y="0"/>
                  <a:pt x="181" y="8"/>
                  <a:pt x="180" y="11"/>
                </a:cubicBezTo>
                <a:cubicBezTo>
                  <a:pt x="180" y="15"/>
                  <a:pt x="174" y="14"/>
                  <a:pt x="174" y="19"/>
                </a:cubicBezTo>
                <a:cubicBezTo>
                  <a:pt x="175" y="21"/>
                  <a:pt x="173" y="21"/>
                  <a:pt x="172" y="22"/>
                </a:cubicBezTo>
                <a:cubicBezTo>
                  <a:pt x="173" y="26"/>
                  <a:pt x="174" y="29"/>
                  <a:pt x="172" y="29"/>
                </a:cubicBezTo>
                <a:cubicBezTo>
                  <a:pt x="169" y="28"/>
                  <a:pt x="169" y="31"/>
                  <a:pt x="165" y="31"/>
                </a:cubicBezTo>
                <a:cubicBezTo>
                  <a:pt x="163" y="31"/>
                  <a:pt x="161" y="28"/>
                  <a:pt x="159" y="23"/>
                </a:cubicBezTo>
                <a:cubicBezTo>
                  <a:pt x="159" y="23"/>
                  <a:pt x="158" y="23"/>
                  <a:pt x="158" y="23"/>
                </a:cubicBezTo>
                <a:cubicBezTo>
                  <a:pt x="156" y="23"/>
                  <a:pt x="150" y="33"/>
                  <a:pt x="148" y="39"/>
                </a:cubicBezTo>
                <a:cubicBezTo>
                  <a:pt x="147" y="45"/>
                  <a:pt x="141" y="43"/>
                  <a:pt x="132" y="44"/>
                </a:cubicBezTo>
                <a:cubicBezTo>
                  <a:pt x="123" y="45"/>
                  <a:pt x="127" y="54"/>
                  <a:pt x="125" y="58"/>
                </a:cubicBezTo>
                <a:cubicBezTo>
                  <a:pt x="123" y="62"/>
                  <a:pt x="113" y="55"/>
                  <a:pt x="108" y="54"/>
                </a:cubicBezTo>
                <a:cubicBezTo>
                  <a:pt x="109" y="58"/>
                  <a:pt x="110" y="61"/>
                  <a:pt x="111" y="61"/>
                </a:cubicBezTo>
                <a:cubicBezTo>
                  <a:pt x="114" y="61"/>
                  <a:pt x="118" y="68"/>
                  <a:pt x="121" y="66"/>
                </a:cubicBezTo>
                <a:cubicBezTo>
                  <a:pt x="123" y="64"/>
                  <a:pt x="131" y="66"/>
                  <a:pt x="135" y="65"/>
                </a:cubicBezTo>
                <a:cubicBezTo>
                  <a:pt x="139" y="63"/>
                  <a:pt x="140" y="60"/>
                  <a:pt x="147" y="60"/>
                </a:cubicBezTo>
                <a:cubicBezTo>
                  <a:pt x="153" y="60"/>
                  <a:pt x="151" y="65"/>
                  <a:pt x="157" y="62"/>
                </a:cubicBezTo>
                <a:cubicBezTo>
                  <a:pt x="164" y="59"/>
                  <a:pt x="168" y="61"/>
                  <a:pt x="167" y="55"/>
                </a:cubicBezTo>
                <a:cubicBezTo>
                  <a:pt x="167" y="49"/>
                  <a:pt x="171" y="49"/>
                  <a:pt x="171" y="45"/>
                </a:cubicBezTo>
                <a:cubicBezTo>
                  <a:pt x="170" y="40"/>
                  <a:pt x="178" y="43"/>
                  <a:pt x="177" y="35"/>
                </a:cubicBezTo>
                <a:cubicBezTo>
                  <a:pt x="177" y="26"/>
                  <a:pt x="189" y="27"/>
                  <a:pt x="195" y="27"/>
                </a:cubicBezTo>
                <a:cubicBezTo>
                  <a:pt x="196" y="27"/>
                  <a:pt x="198" y="28"/>
                  <a:pt x="200" y="29"/>
                </a:cubicBezTo>
                <a:cubicBezTo>
                  <a:pt x="204" y="27"/>
                  <a:pt x="210" y="24"/>
                  <a:pt x="207" y="22"/>
                </a:cubicBezTo>
                <a:cubicBezTo>
                  <a:pt x="204" y="20"/>
                  <a:pt x="216" y="22"/>
                  <a:pt x="217" y="18"/>
                </a:cubicBezTo>
                <a:cubicBezTo>
                  <a:pt x="219" y="14"/>
                  <a:pt x="213" y="11"/>
                  <a:pt x="210" y="1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7" name="Freeform 94"/>
          <p:cNvSpPr/>
          <p:nvPr/>
        </p:nvSpPr>
        <p:spPr bwMode="auto">
          <a:xfrm>
            <a:off x="8760021" y="4386543"/>
            <a:ext cx="33377" cy="20849"/>
          </a:xfrm>
          <a:custGeom>
            <a:cxnLst>
              <a:cxn ang="0">
                <a:pos x="6" y="9"/>
              </a:cxn>
              <a:cxn ang="0">
                <a:pos x="13" y="7"/>
              </a:cxn>
              <a:cxn ang="0">
                <a:pos x="13" y="0"/>
              </a:cxn>
              <a:cxn ang="0">
                <a:pos x="7" y="3"/>
              </a:cxn>
              <a:cxn ang="0">
                <a:pos x="0" y="1"/>
              </a:cxn>
              <a:cxn ang="0">
                <a:pos x="6" y="9"/>
              </a:cxn>
            </a:cxnLst>
            <a:rect b="b" l="0" r="r" t="0"/>
            <a:pathLst>
              <a:path h="9" w="15">
                <a:moveTo>
                  <a:pt x="6" y="9"/>
                </a:moveTo>
                <a:cubicBezTo>
                  <a:pt x="10" y="9"/>
                  <a:pt x="10" y="6"/>
                  <a:pt x="13" y="7"/>
                </a:cubicBezTo>
                <a:cubicBezTo>
                  <a:pt x="15" y="7"/>
                  <a:pt x="14" y="4"/>
                  <a:pt x="13" y="0"/>
                </a:cubicBezTo>
                <a:cubicBezTo>
                  <a:pt x="11" y="1"/>
                  <a:pt x="7" y="1"/>
                  <a:pt x="7" y="3"/>
                </a:cubicBezTo>
                <a:cubicBezTo>
                  <a:pt x="7" y="5"/>
                  <a:pt x="2" y="1"/>
                  <a:pt x="0" y="1"/>
                </a:cubicBezTo>
                <a:cubicBezTo>
                  <a:pt x="2" y="6"/>
                  <a:pt x="4" y="9"/>
                  <a:pt x="6" y="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8" name="Freeform 95"/>
          <p:cNvSpPr/>
          <p:nvPr/>
        </p:nvSpPr>
        <p:spPr bwMode="auto">
          <a:xfrm>
            <a:off x="6885340" y="3486254"/>
            <a:ext cx="244765" cy="246395"/>
          </a:xfrm>
          <a:custGeom>
            <a:cxnLst>
              <a:cxn ang="0">
                <a:pos x="93" y="98"/>
              </a:cxn>
              <a:cxn ang="0">
                <a:pos x="98" y="94"/>
              </a:cxn>
              <a:cxn ang="0">
                <a:pos x="106" y="98"/>
              </a:cxn>
              <a:cxn ang="0">
                <a:pos x="110" y="95"/>
              </a:cxn>
              <a:cxn ang="0">
                <a:pos x="104" y="87"/>
              </a:cxn>
              <a:cxn ang="0">
                <a:pos x="100" y="79"/>
              </a:cxn>
              <a:cxn ang="0">
                <a:pos x="101" y="71"/>
              </a:cxn>
              <a:cxn ang="0">
                <a:pos x="96" y="65"/>
              </a:cxn>
              <a:cxn ang="0">
                <a:pos x="83" y="56"/>
              </a:cxn>
              <a:cxn ang="0">
                <a:pos x="78" y="50"/>
              </a:cxn>
              <a:cxn ang="0">
                <a:pos x="76" y="40"/>
              </a:cxn>
              <a:cxn ang="0">
                <a:pos x="81" y="31"/>
              </a:cxn>
              <a:cxn ang="0">
                <a:pos x="82" y="24"/>
              </a:cxn>
              <a:cxn ang="0">
                <a:pos x="78" y="20"/>
              </a:cxn>
              <a:cxn ang="0">
                <a:pos x="72" y="14"/>
              </a:cxn>
              <a:cxn ang="0">
                <a:pos x="68" y="5"/>
              </a:cxn>
              <a:cxn ang="0">
                <a:pos x="56" y="3"/>
              </a:cxn>
              <a:cxn ang="0">
                <a:pos x="46" y="1"/>
              </a:cxn>
              <a:cxn ang="0">
                <a:pos x="41" y="5"/>
              </a:cxn>
              <a:cxn ang="0">
                <a:pos x="41" y="5"/>
              </a:cxn>
              <a:cxn ang="0">
                <a:pos x="34" y="10"/>
              </a:cxn>
              <a:cxn ang="0">
                <a:pos x="27" y="15"/>
              </a:cxn>
              <a:cxn ang="0">
                <a:pos x="28" y="24"/>
              </a:cxn>
              <a:cxn ang="0">
                <a:pos x="27" y="33"/>
              </a:cxn>
              <a:cxn ang="0">
                <a:pos x="24" y="40"/>
              </a:cxn>
              <a:cxn ang="0">
                <a:pos x="0" y="53"/>
              </a:cxn>
              <a:cxn ang="0">
                <a:pos x="1" y="58"/>
              </a:cxn>
              <a:cxn ang="0">
                <a:pos x="4" y="69"/>
              </a:cxn>
              <a:cxn ang="0">
                <a:pos x="12" y="69"/>
              </a:cxn>
              <a:cxn ang="0">
                <a:pos x="35" y="82"/>
              </a:cxn>
              <a:cxn ang="0">
                <a:pos x="62" y="102"/>
              </a:cxn>
              <a:cxn ang="0">
                <a:pos x="75" y="107"/>
              </a:cxn>
              <a:cxn ang="0">
                <a:pos x="88" y="108"/>
              </a:cxn>
              <a:cxn ang="0">
                <a:pos x="93" y="98"/>
              </a:cxn>
            </a:cxnLst>
            <a:rect b="b" l="0" r="r" t="0"/>
            <a:pathLst>
              <a:path h="108" w="110">
                <a:moveTo>
                  <a:pt x="93" y="98"/>
                </a:moveTo>
                <a:cubicBezTo>
                  <a:pt x="94" y="97"/>
                  <a:pt x="95" y="94"/>
                  <a:pt x="98" y="94"/>
                </a:cubicBezTo>
                <a:cubicBezTo>
                  <a:pt x="101" y="94"/>
                  <a:pt x="103" y="95"/>
                  <a:pt x="106" y="98"/>
                </a:cubicBezTo>
                <a:cubicBezTo>
                  <a:pt x="107" y="97"/>
                  <a:pt x="109" y="96"/>
                  <a:pt x="110" y="95"/>
                </a:cubicBezTo>
                <a:cubicBezTo>
                  <a:pt x="107" y="92"/>
                  <a:pt x="104" y="89"/>
                  <a:pt x="104" y="87"/>
                </a:cubicBezTo>
                <a:cubicBezTo>
                  <a:pt x="105" y="83"/>
                  <a:pt x="101" y="81"/>
                  <a:pt x="100" y="79"/>
                </a:cubicBezTo>
                <a:cubicBezTo>
                  <a:pt x="100" y="77"/>
                  <a:pt x="103" y="73"/>
                  <a:pt x="101" y="71"/>
                </a:cubicBezTo>
                <a:cubicBezTo>
                  <a:pt x="99" y="70"/>
                  <a:pt x="99" y="65"/>
                  <a:pt x="96" y="65"/>
                </a:cubicBezTo>
                <a:cubicBezTo>
                  <a:pt x="93" y="64"/>
                  <a:pt x="83" y="59"/>
                  <a:pt x="83" y="56"/>
                </a:cubicBezTo>
                <a:cubicBezTo>
                  <a:pt x="84" y="53"/>
                  <a:pt x="80" y="51"/>
                  <a:pt x="78" y="50"/>
                </a:cubicBezTo>
                <a:cubicBezTo>
                  <a:pt x="76" y="49"/>
                  <a:pt x="74" y="41"/>
                  <a:pt x="76" y="40"/>
                </a:cubicBezTo>
                <a:cubicBezTo>
                  <a:pt x="79" y="39"/>
                  <a:pt x="78" y="31"/>
                  <a:pt x="81" y="31"/>
                </a:cubicBezTo>
                <a:cubicBezTo>
                  <a:pt x="84" y="31"/>
                  <a:pt x="81" y="27"/>
                  <a:pt x="82" y="24"/>
                </a:cubicBezTo>
                <a:cubicBezTo>
                  <a:pt x="83" y="22"/>
                  <a:pt x="80" y="20"/>
                  <a:pt x="78" y="20"/>
                </a:cubicBezTo>
                <a:cubicBezTo>
                  <a:pt x="76" y="20"/>
                  <a:pt x="72" y="17"/>
                  <a:pt x="72" y="14"/>
                </a:cubicBezTo>
                <a:cubicBezTo>
                  <a:pt x="72" y="11"/>
                  <a:pt x="67" y="6"/>
                  <a:pt x="68" y="5"/>
                </a:cubicBezTo>
                <a:cubicBezTo>
                  <a:pt x="67" y="11"/>
                  <a:pt x="58" y="2"/>
                  <a:pt x="56" y="3"/>
                </a:cubicBezTo>
                <a:cubicBezTo>
                  <a:pt x="53" y="4"/>
                  <a:pt x="51" y="0"/>
                  <a:pt x="46" y="1"/>
                </a:cubicBezTo>
                <a:cubicBezTo>
                  <a:pt x="42" y="1"/>
                  <a:pt x="42" y="3"/>
                  <a:pt x="41" y="5"/>
                </a:cubicBezTo>
                <a:cubicBezTo>
                  <a:pt x="41" y="5"/>
                  <a:pt x="41" y="5"/>
                  <a:pt x="41" y="5"/>
                </a:cubicBezTo>
                <a:cubicBezTo>
                  <a:pt x="34" y="10"/>
                  <a:pt x="34" y="10"/>
                  <a:pt x="34" y="10"/>
                </a:cubicBezTo>
                <a:cubicBezTo>
                  <a:pt x="34" y="10"/>
                  <a:pt x="28" y="11"/>
                  <a:pt x="27" y="15"/>
                </a:cubicBezTo>
                <a:cubicBezTo>
                  <a:pt x="26" y="19"/>
                  <a:pt x="30" y="22"/>
                  <a:pt x="28" y="24"/>
                </a:cubicBezTo>
                <a:cubicBezTo>
                  <a:pt x="26" y="27"/>
                  <a:pt x="27" y="31"/>
                  <a:pt x="27" y="33"/>
                </a:cubicBezTo>
                <a:cubicBezTo>
                  <a:pt x="28" y="35"/>
                  <a:pt x="24" y="40"/>
                  <a:pt x="24" y="40"/>
                </a:cubicBezTo>
                <a:cubicBezTo>
                  <a:pt x="24" y="40"/>
                  <a:pt x="11" y="47"/>
                  <a:pt x="0" y="53"/>
                </a:cubicBezTo>
                <a:cubicBezTo>
                  <a:pt x="0" y="55"/>
                  <a:pt x="1" y="57"/>
                  <a:pt x="1" y="58"/>
                </a:cubicBezTo>
                <a:cubicBezTo>
                  <a:pt x="2" y="61"/>
                  <a:pt x="3" y="65"/>
                  <a:pt x="4" y="69"/>
                </a:cubicBezTo>
                <a:cubicBezTo>
                  <a:pt x="8" y="69"/>
                  <a:pt x="9" y="69"/>
                  <a:pt x="12" y="69"/>
                </a:cubicBezTo>
                <a:cubicBezTo>
                  <a:pt x="16" y="70"/>
                  <a:pt x="31" y="80"/>
                  <a:pt x="35" y="82"/>
                </a:cubicBezTo>
                <a:cubicBezTo>
                  <a:pt x="38" y="84"/>
                  <a:pt x="58" y="99"/>
                  <a:pt x="62" y="102"/>
                </a:cubicBezTo>
                <a:cubicBezTo>
                  <a:pt x="66" y="106"/>
                  <a:pt x="72" y="107"/>
                  <a:pt x="75" y="107"/>
                </a:cubicBezTo>
                <a:cubicBezTo>
                  <a:pt x="77" y="107"/>
                  <a:pt x="83" y="107"/>
                  <a:pt x="88" y="108"/>
                </a:cubicBezTo>
                <a:cubicBezTo>
                  <a:pt x="90" y="104"/>
                  <a:pt x="92" y="99"/>
                  <a:pt x="93" y="98"/>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99" name="Freeform 96"/>
          <p:cNvSpPr/>
          <p:nvPr/>
        </p:nvSpPr>
        <p:spPr bwMode="auto">
          <a:xfrm>
            <a:off x="7081894" y="3700428"/>
            <a:ext cx="48211" cy="45488"/>
          </a:xfrm>
          <a:custGeom>
            <a:cxnLst>
              <a:cxn ang="0">
                <a:pos x="7" y="15"/>
              </a:cxn>
              <a:cxn ang="0">
                <a:pos x="13" y="20"/>
              </a:cxn>
              <a:cxn ang="0">
                <a:pos x="22" y="20"/>
              </a:cxn>
              <a:cxn ang="0">
                <a:pos x="17" y="6"/>
              </a:cxn>
              <a:cxn ang="0">
                <a:pos x="18" y="4"/>
              </a:cxn>
              <a:cxn ang="0">
                <a:pos x="10" y="0"/>
              </a:cxn>
              <a:cxn ang="0">
                <a:pos x="5" y="4"/>
              </a:cxn>
              <a:cxn ang="0">
                <a:pos x="0" y="14"/>
              </a:cxn>
              <a:cxn ang="0">
                <a:pos x="7" y="15"/>
              </a:cxn>
            </a:cxnLst>
            <a:rect b="b" l="0" r="r" t="0"/>
            <a:pathLst>
              <a:path h="20" w="22">
                <a:moveTo>
                  <a:pt x="7" y="15"/>
                </a:moveTo>
                <a:cubicBezTo>
                  <a:pt x="13" y="20"/>
                  <a:pt x="13" y="20"/>
                  <a:pt x="13" y="20"/>
                </a:cubicBezTo>
                <a:cubicBezTo>
                  <a:pt x="22" y="20"/>
                  <a:pt x="22" y="20"/>
                  <a:pt x="22" y="20"/>
                </a:cubicBezTo>
                <a:cubicBezTo>
                  <a:pt x="20" y="15"/>
                  <a:pt x="17" y="8"/>
                  <a:pt x="17" y="6"/>
                </a:cubicBezTo>
                <a:cubicBezTo>
                  <a:pt x="17" y="5"/>
                  <a:pt x="17" y="5"/>
                  <a:pt x="18" y="4"/>
                </a:cubicBezTo>
                <a:cubicBezTo>
                  <a:pt x="15" y="1"/>
                  <a:pt x="13" y="0"/>
                  <a:pt x="10" y="0"/>
                </a:cubicBezTo>
                <a:cubicBezTo>
                  <a:pt x="7" y="0"/>
                  <a:pt x="6" y="3"/>
                  <a:pt x="5" y="4"/>
                </a:cubicBezTo>
                <a:cubicBezTo>
                  <a:pt x="4" y="5"/>
                  <a:pt x="2" y="10"/>
                  <a:pt x="0" y="14"/>
                </a:cubicBezTo>
                <a:cubicBezTo>
                  <a:pt x="4" y="14"/>
                  <a:pt x="7" y="15"/>
                  <a:pt x="7" y="1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0" name="Freeform 97"/>
          <p:cNvSpPr>
            <a:spLocks noEditPoints="1"/>
          </p:cNvSpPr>
          <p:nvPr/>
        </p:nvSpPr>
        <p:spPr bwMode="auto">
          <a:xfrm>
            <a:off x="5796876" y="3052219"/>
            <a:ext cx="369003" cy="312733"/>
          </a:xfrm>
          <a:custGeom>
            <a:cxnLst>
              <a:cxn ang="0">
                <a:pos x="144" y="31"/>
              </a:cxn>
              <a:cxn ang="0">
                <a:pos x="138" y="29"/>
              </a:cxn>
              <a:cxn ang="0">
                <a:pos x="131" y="26"/>
              </a:cxn>
              <a:cxn ang="0">
                <a:pos x="119" y="24"/>
              </a:cxn>
              <a:cxn ang="0">
                <a:pos x="114" y="20"/>
              </a:cxn>
              <a:cxn ang="0">
                <a:pos x="110" y="15"/>
              </a:cxn>
              <a:cxn ang="0">
                <a:pos x="105" y="17"/>
              </a:cxn>
              <a:cxn ang="0">
                <a:pos x="102" y="13"/>
              </a:cxn>
              <a:cxn ang="0">
                <a:pos x="95" y="9"/>
              </a:cxn>
              <a:cxn ang="0">
                <a:pos x="89" y="6"/>
              </a:cxn>
              <a:cxn ang="0">
                <a:pos x="85" y="1"/>
              </a:cxn>
              <a:cxn ang="0">
                <a:pos x="84" y="0"/>
              </a:cxn>
              <a:cxn ang="0">
                <a:pos x="81" y="0"/>
              </a:cxn>
              <a:cxn ang="0">
                <a:pos x="75" y="10"/>
              </a:cxn>
              <a:cxn ang="0">
                <a:pos x="63" y="18"/>
              </a:cxn>
              <a:cxn ang="0">
                <a:pos x="56" y="26"/>
              </a:cxn>
              <a:cxn ang="0">
                <a:pos x="41" y="21"/>
              </a:cxn>
              <a:cxn ang="0">
                <a:pos x="35" y="25"/>
              </a:cxn>
              <a:cxn ang="0">
                <a:pos x="36" y="37"/>
              </a:cxn>
              <a:cxn ang="0">
                <a:pos x="27" y="37"/>
              </a:cxn>
              <a:cxn ang="0">
                <a:pos x="20" y="33"/>
              </a:cxn>
              <a:cxn ang="0">
                <a:pos x="9" y="34"/>
              </a:cxn>
              <a:cxn ang="0">
                <a:pos x="2" y="40"/>
              </a:cxn>
              <a:cxn ang="0">
                <a:pos x="3" y="47"/>
              </a:cxn>
              <a:cxn ang="0">
                <a:pos x="18" y="52"/>
              </a:cxn>
              <a:cxn ang="0">
                <a:pos x="28" y="54"/>
              </a:cxn>
              <a:cxn ang="0">
                <a:pos x="32" y="59"/>
              </a:cxn>
              <a:cxn ang="0">
                <a:pos x="40" y="69"/>
              </a:cxn>
              <a:cxn ang="0">
                <a:pos x="43" y="78"/>
              </a:cxn>
              <a:cxn ang="0">
                <a:pos x="42" y="91"/>
              </a:cxn>
              <a:cxn ang="0">
                <a:pos x="36" y="112"/>
              </a:cxn>
              <a:cxn ang="0">
                <a:pos x="36" y="112"/>
              </a:cxn>
              <a:cxn ang="0">
                <a:pos x="42" y="115"/>
              </a:cxn>
              <a:cxn ang="0">
                <a:pos x="53" y="120"/>
              </a:cxn>
              <a:cxn ang="0">
                <a:pos x="62" y="119"/>
              </a:cxn>
              <a:cxn ang="0">
                <a:pos x="67" y="121"/>
              </a:cxn>
              <a:cxn ang="0">
                <a:pos x="81" y="124"/>
              </a:cxn>
              <a:cxn ang="0">
                <a:pos x="92" y="124"/>
              </a:cxn>
              <a:cxn ang="0">
                <a:pos x="92" y="121"/>
              </a:cxn>
              <a:cxn ang="0">
                <a:pos x="101" y="110"/>
              </a:cxn>
              <a:cxn ang="0">
                <a:pos x="122" y="115"/>
              </a:cxn>
              <a:cxn ang="0">
                <a:pos x="135" y="110"/>
              </a:cxn>
              <a:cxn ang="0">
                <a:pos x="142" y="106"/>
              </a:cxn>
              <a:cxn ang="0">
                <a:pos x="143" y="102"/>
              </a:cxn>
              <a:cxn ang="0">
                <a:pos x="138" y="100"/>
              </a:cxn>
              <a:cxn ang="0">
                <a:pos x="135" y="95"/>
              </a:cxn>
              <a:cxn ang="0">
                <a:pos x="132" y="89"/>
              </a:cxn>
              <a:cxn ang="0">
                <a:pos x="134" y="86"/>
              </a:cxn>
              <a:cxn ang="0">
                <a:pos x="136" y="82"/>
              </a:cxn>
              <a:cxn ang="0">
                <a:pos x="135" y="76"/>
              </a:cxn>
              <a:cxn ang="0">
                <a:pos x="133" y="71"/>
              </a:cxn>
              <a:cxn ang="0">
                <a:pos x="128" y="70"/>
              </a:cxn>
              <a:cxn ang="0">
                <a:pos x="127" y="66"/>
              </a:cxn>
              <a:cxn ang="0">
                <a:pos x="134" y="57"/>
              </a:cxn>
              <a:cxn ang="0">
                <a:pos x="140" y="53"/>
              </a:cxn>
              <a:cxn ang="0">
                <a:pos x="142" y="44"/>
              </a:cxn>
              <a:cxn ang="0">
                <a:pos x="147" y="35"/>
              </a:cxn>
              <a:cxn ang="0">
                <a:pos x="144" y="31"/>
              </a:cxn>
              <a:cxn ang="0">
                <a:pos x="162" y="116"/>
              </a:cxn>
              <a:cxn ang="0">
                <a:pos x="155" y="122"/>
              </a:cxn>
              <a:cxn ang="0">
                <a:pos x="160" y="137"/>
              </a:cxn>
              <a:cxn ang="0">
                <a:pos x="162" y="116"/>
              </a:cxn>
            </a:cxnLst>
            <a:rect b="b" l="0" r="r" t="0"/>
            <a:pathLst>
              <a:path h="137" w="165">
                <a:moveTo>
                  <a:pt x="144" y="31"/>
                </a:moveTo>
                <a:cubicBezTo>
                  <a:pt x="143" y="31"/>
                  <a:pt x="142" y="29"/>
                  <a:pt x="138" y="29"/>
                </a:cubicBezTo>
                <a:cubicBezTo>
                  <a:pt x="135" y="29"/>
                  <a:pt x="133" y="28"/>
                  <a:pt x="131" y="26"/>
                </a:cubicBezTo>
                <a:cubicBezTo>
                  <a:pt x="130" y="24"/>
                  <a:pt x="122" y="23"/>
                  <a:pt x="119" y="24"/>
                </a:cubicBezTo>
                <a:cubicBezTo>
                  <a:pt x="117" y="24"/>
                  <a:pt x="116" y="19"/>
                  <a:pt x="114" y="20"/>
                </a:cubicBezTo>
                <a:cubicBezTo>
                  <a:pt x="111" y="20"/>
                  <a:pt x="110" y="17"/>
                  <a:pt x="110" y="15"/>
                </a:cubicBezTo>
                <a:cubicBezTo>
                  <a:pt x="110" y="13"/>
                  <a:pt x="108" y="16"/>
                  <a:pt x="105" y="17"/>
                </a:cubicBezTo>
                <a:cubicBezTo>
                  <a:pt x="103" y="18"/>
                  <a:pt x="102" y="15"/>
                  <a:pt x="102" y="13"/>
                </a:cubicBezTo>
                <a:cubicBezTo>
                  <a:pt x="102" y="12"/>
                  <a:pt x="97" y="10"/>
                  <a:pt x="95" y="9"/>
                </a:cubicBezTo>
                <a:cubicBezTo>
                  <a:pt x="93" y="8"/>
                  <a:pt x="90" y="4"/>
                  <a:pt x="89" y="6"/>
                </a:cubicBezTo>
                <a:cubicBezTo>
                  <a:pt x="88" y="7"/>
                  <a:pt x="86" y="3"/>
                  <a:pt x="85" y="1"/>
                </a:cubicBezTo>
                <a:cubicBezTo>
                  <a:pt x="85" y="0"/>
                  <a:pt x="84" y="0"/>
                  <a:pt x="84" y="0"/>
                </a:cubicBezTo>
                <a:cubicBezTo>
                  <a:pt x="83" y="0"/>
                  <a:pt x="82" y="0"/>
                  <a:pt x="81" y="0"/>
                </a:cubicBezTo>
                <a:cubicBezTo>
                  <a:pt x="77" y="0"/>
                  <a:pt x="74" y="3"/>
                  <a:pt x="75" y="10"/>
                </a:cubicBezTo>
                <a:cubicBezTo>
                  <a:pt x="75" y="16"/>
                  <a:pt x="70" y="17"/>
                  <a:pt x="63" y="18"/>
                </a:cubicBezTo>
                <a:cubicBezTo>
                  <a:pt x="56" y="18"/>
                  <a:pt x="58" y="23"/>
                  <a:pt x="56" y="26"/>
                </a:cubicBezTo>
                <a:cubicBezTo>
                  <a:pt x="53" y="28"/>
                  <a:pt x="43" y="24"/>
                  <a:pt x="41" y="21"/>
                </a:cubicBezTo>
                <a:cubicBezTo>
                  <a:pt x="40" y="17"/>
                  <a:pt x="31" y="21"/>
                  <a:pt x="35" y="25"/>
                </a:cubicBezTo>
                <a:cubicBezTo>
                  <a:pt x="39" y="29"/>
                  <a:pt x="39" y="35"/>
                  <a:pt x="36" y="37"/>
                </a:cubicBezTo>
                <a:cubicBezTo>
                  <a:pt x="34" y="39"/>
                  <a:pt x="30" y="34"/>
                  <a:pt x="27" y="37"/>
                </a:cubicBezTo>
                <a:cubicBezTo>
                  <a:pt x="24" y="39"/>
                  <a:pt x="23" y="35"/>
                  <a:pt x="20" y="33"/>
                </a:cubicBezTo>
                <a:cubicBezTo>
                  <a:pt x="16" y="32"/>
                  <a:pt x="15" y="35"/>
                  <a:pt x="9" y="34"/>
                </a:cubicBezTo>
                <a:cubicBezTo>
                  <a:pt x="3" y="34"/>
                  <a:pt x="0" y="37"/>
                  <a:pt x="2" y="40"/>
                </a:cubicBezTo>
                <a:cubicBezTo>
                  <a:pt x="4" y="42"/>
                  <a:pt x="1" y="45"/>
                  <a:pt x="3" y="47"/>
                </a:cubicBezTo>
                <a:cubicBezTo>
                  <a:pt x="5" y="49"/>
                  <a:pt x="12" y="49"/>
                  <a:pt x="18" y="52"/>
                </a:cubicBezTo>
                <a:cubicBezTo>
                  <a:pt x="24" y="55"/>
                  <a:pt x="25" y="52"/>
                  <a:pt x="28" y="54"/>
                </a:cubicBezTo>
                <a:cubicBezTo>
                  <a:pt x="31" y="56"/>
                  <a:pt x="31" y="55"/>
                  <a:pt x="32" y="59"/>
                </a:cubicBezTo>
                <a:cubicBezTo>
                  <a:pt x="32" y="63"/>
                  <a:pt x="35" y="67"/>
                  <a:pt x="40" y="69"/>
                </a:cubicBezTo>
                <a:cubicBezTo>
                  <a:pt x="46" y="70"/>
                  <a:pt x="42" y="74"/>
                  <a:pt x="43" y="78"/>
                </a:cubicBezTo>
                <a:cubicBezTo>
                  <a:pt x="45" y="81"/>
                  <a:pt x="41" y="87"/>
                  <a:pt x="42" y="91"/>
                </a:cubicBezTo>
                <a:cubicBezTo>
                  <a:pt x="43" y="96"/>
                  <a:pt x="39" y="110"/>
                  <a:pt x="36" y="112"/>
                </a:cubicBezTo>
                <a:cubicBezTo>
                  <a:pt x="36" y="112"/>
                  <a:pt x="36" y="112"/>
                  <a:pt x="36" y="112"/>
                </a:cubicBezTo>
                <a:cubicBezTo>
                  <a:pt x="38" y="113"/>
                  <a:pt x="41" y="114"/>
                  <a:pt x="42" y="115"/>
                </a:cubicBezTo>
                <a:cubicBezTo>
                  <a:pt x="45" y="116"/>
                  <a:pt x="50" y="118"/>
                  <a:pt x="53" y="120"/>
                </a:cubicBezTo>
                <a:cubicBezTo>
                  <a:pt x="56" y="122"/>
                  <a:pt x="62" y="122"/>
                  <a:pt x="62" y="119"/>
                </a:cubicBezTo>
                <a:cubicBezTo>
                  <a:pt x="62" y="117"/>
                  <a:pt x="65" y="118"/>
                  <a:pt x="67" y="121"/>
                </a:cubicBezTo>
                <a:cubicBezTo>
                  <a:pt x="69" y="123"/>
                  <a:pt x="77" y="123"/>
                  <a:pt x="81" y="124"/>
                </a:cubicBezTo>
                <a:cubicBezTo>
                  <a:pt x="84" y="124"/>
                  <a:pt x="88" y="124"/>
                  <a:pt x="92" y="124"/>
                </a:cubicBezTo>
                <a:cubicBezTo>
                  <a:pt x="92" y="123"/>
                  <a:pt x="92" y="122"/>
                  <a:pt x="92" y="121"/>
                </a:cubicBezTo>
                <a:cubicBezTo>
                  <a:pt x="90" y="115"/>
                  <a:pt x="95" y="111"/>
                  <a:pt x="101" y="110"/>
                </a:cubicBezTo>
                <a:cubicBezTo>
                  <a:pt x="106" y="109"/>
                  <a:pt x="118" y="113"/>
                  <a:pt x="122" y="115"/>
                </a:cubicBezTo>
                <a:cubicBezTo>
                  <a:pt x="125" y="117"/>
                  <a:pt x="129" y="116"/>
                  <a:pt x="135" y="110"/>
                </a:cubicBezTo>
                <a:cubicBezTo>
                  <a:pt x="137" y="107"/>
                  <a:pt x="140" y="106"/>
                  <a:pt x="142" y="106"/>
                </a:cubicBezTo>
                <a:cubicBezTo>
                  <a:pt x="142" y="104"/>
                  <a:pt x="142" y="103"/>
                  <a:pt x="143" y="102"/>
                </a:cubicBezTo>
                <a:cubicBezTo>
                  <a:pt x="144" y="100"/>
                  <a:pt x="140" y="100"/>
                  <a:pt x="138" y="100"/>
                </a:cubicBezTo>
                <a:cubicBezTo>
                  <a:pt x="135" y="100"/>
                  <a:pt x="133" y="97"/>
                  <a:pt x="135" y="95"/>
                </a:cubicBezTo>
                <a:cubicBezTo>
                  <a:pt x="137" y="92"/>
                  <a:pt x="134" y="92"/>
                  <a:pt x="132" y="89"/>
                </a:cubicBezTo>
                <a:cubicBezTo>
                  <a:pt x="130" y="86"/>
                  <a:pt x="133" y="87"/>
                  <a:pt x="134" y="86"/>
                </a:cubicBezTo>
                <a:cubicBezTo>
                  <a:pt x="136" y="85"/>
                  <a:pt x="138" y="82"/>
                  <a:pt x="136" y="82"/>
                </a:cubicBezTo>
                <a:cubicBezTo>
                  <a:pt x="135" y="81"/>
                  <a:pt x="134" y="79"/>
                  <a:pt x="135" y="76"/>
                </a:cubicBezTo>
                <a:cubicBezTo>
                  <a:pt x="136" y="73"/>
                  <a:pt x="133" y="73"/>
                  <a:pt x="133" y="71"/>
                </a:cubicBezTo>
                <a:cubicBezTo>
                  <a:pt x="133" y="68"/>
                  <a:pt x="130" y="67"/>
                  <a:pt x="128" y="70"/>
                </a:cubicBezTo>
                <a:cubicBezTo>
                  <a:pt x="126" y="73"/>
                  <a:pt x="125" y="71"/>
                  <a:pt x="127" y="66"/>
                </a:cubicBezTo>
                <a:cubicBezTo>
                  <a:pt x="128" y="62"/>
                  <a:pt x="133" y="60"/>
                  <a:pt x="134" y="57"/>
                </a:cubicBezTo>
                <a:cubicBezTo>
                  <a:pt x="134" y="55"/>
                  <a:pt x="137" y="53"/>
                  <a:pt x="140" y="53"/>
                </a:cubicBezTo>
                <a:cubicBezTo>
                  <a:pt x="142" y="53"/>
                  <a:pt x="141" y="47"/>
                  <a:pt x="142" y="44"/>
                </a:cubicBezTo>
                <a:cubicBezTo>
                  <a:pt x="143" y="41"/>
                  <a:pt x="143" y="38"/>
                  <a:pt x="147" y="35"/>
                </a:cubicBezTo>
                <a:cubicBezTo>
                  <a:pt x="150" y="32"/>
                  <a:pt x="146" y="31"/>
                  <a:pt x="144" y="31"/>
                </a:cubicBezTo>
                <a:close/>
                <a:moveTo>
                  <a:pt x="162" y="116"/>
                </a:moveTo>
                <a:cubicBezTo>
                  <a:pt x="160" y="116"/>
                  <a:pt x="160" y="119"/>
                  <a:pt x="155" y="122"/>
                </a:cubicBezTo>
                <a:cubicBezTo>
                  <a:pt x="151" y="125"/>
                  <a:pt x="155" y="137"/>
                  <a:pt x="160" y="137"/>
                </a:cubicBezTo>
                <a:cubicBezTo>
                  <a:pt x="165" y="136"/>
                  <a:pt x="164" y="116"/>
                  <a:pt x="162" y="11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1" name="Freeform 98"/>
          <p:cNvSpPr/>
          <p:nvPr/>
        </p:nvSpPr>
        <p:spPr bwMode="auto">
          <a:xfrm>
            <a:off x="3632927" y="4130672"/>
            <a:ext cx="59337" cy="32221"/>
          </a:xfrm>
          <a:custGeom>
            <a:cxnLst>
              <a:cxn ang="0">
                <a:pos x="26" y="5"/>
              </a:cxn>
              <a:cxn ang="0">
                <a:pos x="14" y="2"/>
              </a:cxn>
              <a:cxn ang="0">
                <a:pos x="9" y="0"/>
              </a:cxn>
              <a:cxn ang="0">
                <a:pos x="8" y="0"/>
              </a:cxn>
              <a:cxn ang="0">
                <a:pos x="0" y="7"/>
              </a:cxn>
              <a:cxn ang="0">
                <a:pos x="22" y="14"/>
              </a:cxn>
              <a:cxn ang="0">
                <a:pos x="26" y="13"/>
              </a:cxn>
              <a:cxn ang="0">
                <a:pos x="26" y="5"/>
              </a:cxn>
            </a:cxnLst>
            <a:rect b="b" l="0" r="r" t="0"/>
            <a:pathLst>
              <a:path h="14" w="26">
                <a:moveTo>
                  <a:pt x="26" y="5"/>
                </a:moveTo>
                <a:cubicBezTo>
                  <a:pt x="24" y="3"/>
                  <a:pt x="19" y="6"/>
                  <a:pt x="14" y="2"/>
                </a:cubicBezTo>
                <a:cubicBezTo>
                  <a:pt x="12" y="1"/>
                  <a:pt x="10" y="1"/>
                  <a:pt x="9" y="0"/>
                </a:cubicBezTo>
                <a:cubicBezTo>
                  <a:pt x="9" y="0"/>
                  <a:pt x="8" y="0"/>
                  <a:pt x="8" y="0"/>
                </a:cubicBezTo>
                <a:cubicBezTo>
                  <a:pt x="7" y="0"/>
                  <a:pt x="4" y="4"/>
                  <a:pt x="0" y="7"/>
                </a:cubicBezTo>
                <a:cubicBezTo>
                  <a:pt x="4" y="10"/>
                  <a:pt x="18" y="14"/>
                  <a:pt x="22" y="14"/>
                </a:cubicBezTo>
                <a:cubicBezTo>
                  <a:pt x="24" y="14"/>
                  <a:pt x="25" y="13"/>
                  <a:pt x="26" y="13"/>
                </a:cubicBezTo>
                <a:cubicBezTo>
                  <a:pt x="26" y="9"/>
                  <a:pt x="26" y="6"/>
                  <a:pt x="26" y="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2" name="Freeform 99"/>
          <p:cNvSpPr/>
          <p:nvPr/>
        </p:nvSpPr>
        <p:spPr bwMode="auto">
          <a:xfrm>
            <a:off x="3653325" y="4083288"/>
            <a:ext cx="153906" cy="87186"/>
          </a:xfrm>
          <a:custGeom>
            <a:cxnLst>
              <a:cxn ang="0">
                <a:pos x="29" y="34"/>
              </a:cxn>
              <a:cxn ang="0">
                <a:pos x="32" y="27"/>
              </a:cxn>
              <a:cxn ang="0">
                <a:pos x="45" y="22"/>
              </a:cxn>
              <a:cxn ang="0">
                <a:pos x="55" y="19"/>
              </a:cxn>
              <a:cxn ang="0">
                <a:pos x="69" y="14"/>
              </a:cxn>
              <a:cxn ang="0">
                <a:pos x="56" y="5"/>
              </a:cxn>
              <a:cxn ang="0">
                <a:pos x="32" y="5"/>
              </a:cxn>
              <a:cxn ang="0">
                <a:pos x="11" y="6"/>
              </a:cxn>
              <a:cxn ang="0">
                <a:pos x="11" y="6"/>
              </a:cxn>
              <a:cxn ang="0">
                <a:pos x="5" y="12"/>
              </a:cxn>
              <a:cxn ang="0">
                <a:pos x="0" y="21"/>
              </a:cxn>
              <a:cxn ang="0">
                <a:pos x="5" y="23"/>
              </a:cxn>
              <a:cxn ang="0">
                <a:pos x="17" y="26"/>
              </a:cxn>
              <a:cxn ang="0">
                <a:pos x="17" y="34"/>
              </a:cxn>
              <a:cxn ang="0">
                <a:pos x="20" y="34"/>
              </a:cxn>
              <a:cxn ang="0">
                <a:pos x="21" y="38"/>
              </a:cxn>
              <a:cxn ang="0">
                <a:pos x="25" y="37"/>
              </a:cxn>
              <a:cxn ang="0">
                <a:pos x="29" y="34"/>
              </a:cxn>
            </a:cxnLst>
            <a:rect b="b" l="0" r="r" t="0"/>
            <a:pathLst>
              <a:path h="38" w="69">
                <a:moveTo>
                  <a:pt x="29" y="34"/>
                </a:moveTo>
                <a:cubicBezTo>
                  <a:pt x="29" y="33"/>
                  <a:pt x="26" y="27"/>
                  <a:pt x="32" y="27"/>
                </a:cubicBezTo>
                <a:cubicBezTo>
                  <a:pt x="39" y="26"/>
                  <a:pt x="44" y="26"/>
                  <a:pt x="45" y="22"/>
                </a:cubicBezTo>
                <a:cubicBezTo>
                  <a:pt x="46" y="17"/>
                  <a:pt x="53" y="19"/>
                  <a:pt x="55" y="19"/>
                </a:cubicBezTo>
                <a:cubicBezTo>
                  <a:pt x="57" y="19"/>
                  <a:pt x="63" y="14"/>
                  <a:pt x="69" y="14"/>
                </a:cubicBezTo>
                <a:cubicBezTo>
                  <a:pt x="69" y="8"/>
                  <a:pt x="61" y="10"/>
                  <a:pt x="56" y="5"/>
                </a:cubicBezTo>
                <a:cubicBezTo>
                  <a:pt x="51" y="0"/>
                  <a:pt x="39" y="2"/>
                  <a:pt x="32" y="5"/>
                </a:cubicBezTo>
                <a:cubicBezTo>
                  <a:pt x="26" y="7"/>
                  <a:pt x="18" y="2"/>
                  <a:pt x="11" y="6"/>
                </a:cubicBezTo>
                <a:cubicBezTo>
                  <a:pt x="11" y="6"/>
                  <a:pt x="11" y="6"/>
                  <a:pt x="11" y="6"/>
                </a:cubicBezTo>
                <a:cubicBezTo>
                  <a:pt x="9" y="8"/>
                  <a:pt x="7" y="10"/>
                  <a:pt x="5" y="12"/>
                </a:cubicBezTo>
                <a:cubicBezTo>
                  <a:pt x="0" y="16"/>
                  <a:pt x="1" y="20"/>
                  <a:pt x="0" y="21"/>
                </a:cubicBezTo>
                <a:cubicBezTo>
                  <a:pt x="1" y="22"/>
                  <a:pt x="3" y="22"/>
                  <a:pt x="5" y="23"/>
                </a:cubicBezTo>
                <a:cubicBezTo>
                  <a:pt x="10" y="27"/>
                  <a:pt x="15" y="24"/>
                  <a:pt x="17" y="26"/>
                </a:cubicBezTo>
                <a:cubicBezTo>
                  <a:pt x="17" y="27"/>
                  <a:pt x="17" y="30"/>
                  <a:pt x="17" y="34"/>
                </a:cubicBezTo>
                <a:cubicBezTo>
                  <a:pt x="18" y="33"/>
                  <a:pt x="18" y="32"/>
                  <a:pt x="20" y="34"/>
                </a:cubicBezTo>
                <a:cubicBezTo>
                  <a:pt x="22" y="35"/>
                  <a:pt x="21" y="37"/>
                  <a:pt x="21" y="38"/>
                </a:cubicBezTo>
                <a:cubicBezTo>
                  <a:pt x="25" y="37"/>
                  <a:pt x="25" y="37"/>
                  <a:pt x="25" y="37"/>
                </a:cubicBezTo>
                <a:cubicBezTo>
                  <a:pt x="25" y="37"/>
                  <a:pt x="28" y="35"/>
                  <a:pt x="29" y="3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3" name="Freeform 100"/>
          <p:cNvSpPr/>
          <p:nvPr/>
        </p:nvSpPr>
        <p:spPr bwMode="auto">
          <a:xfrm>
            <a:off x="2952406" y="3630301"/>
            <a:ext cx="767673" cy="485209"/>
          </a:xfrm>
          <a:custGeom>
            <a:cxnLst>
              <a:cxn ang="0">
                <a:pos x="301" y="199"/>
              </a:cxn>
              <a:cxn ang="0">
                <a:pos x="296" y="180"/>
              </a:cxn>
              <a:cxn ang="0">
                <a:pos x="324" y="173"/>
              </a:cxn>
              <a:cxn ang="0">
                <a:pos x="334" y="161"/>
              </a:cxn>
              <a:cxn ang="0">
                <a:pos x="343" y="139"/>
              </a:cxn>
              <a:cxn ang="0">
                <a:pos x="315" y="137"/>
              </a:cxn>
              <a:cxn ang="0">
                <a:pos x="297" y="161"/>
              </a:cxn>
              <a:cxn ang="0">
                <a:pos x="281" y="170"/>
              </a:cxn>
              <a:cxn ang="0">
                <a:pos x="242" y="169"/>
              </a:cxn>
              <a:cxn ang="0">
                <a:pos x="224" y="143"/>
              </a:cxn>
              <a:cxn ang="0">
                <a:pos x="223" y="90"/>
              </a:cxn>
              <a:cxn ang="0">
                <a:pos x="219" y="83"/>
              </a:cxn>
              <a:cxn ang="0">
                <a:pos x="200" y="71"/>
              </a:cxn>
              <a:cxn ang="0">
                <a:pos x="187" y="47"/>
              </a:cxn>
              <a:cxn ang="0">
                <a:pos x="158" y="46"/>
              </a:cxn>
              <a:cxn ang="0">
                <a:pos x="141" y="32"/>
              </a:cxn>
              <a:cxn ang="0">
                <a:pos x="121" y="11"/>
              </a:cxn>
              <a:cxn ang="0">
                <a:pos x="100" y="16"/>
              </a:cxn>
              <a:cxn ang="0">
                <a:pos x="39" y="6"/>
              </a:cxn>
              <a:cxn ang="0">
                <a:pos x="0" y="3"/>
              </a:cxn>
              <a:cxn ang="0">
                <a:pos x="16" y="35"/>
              </a:cxn>
              <a:cxn ang="0">
                <a:pos x="35" y="61"/>
              </a:cxn>
              <a:cxn ang="0">
                <a:pos x="40" y="72"/>
              </a:cxn>
              <a:cxn ang="0">
                <a:pos x="56" y="94"/>
              </a:cxn>
              <a:cxn ang="0">
                <a:pos x="81" y="120"/>
              </a:cxn>
              <a:cxn ang="0">
                <a:pos x="84" y="107"/>
              </a:cxn>
              <a:cxn ang="0">
                <a:pos x="71" y="93"/>
              </a:cxn>
              <a:cxn ang="0">
                <a:pos x="52" y="60"/>
              </a:cxn>
              <a:cxn ang="0">
                <a:pos x="44" y="42"/>
              </a:cxn>
              <a:cxn ang="0">
                <a:pos x="29" y="29"/>
              </a:cxn>
              <a:cxn ang="0">
                <a:pos x="29" y="11"/>
              </a:cxn>
              <a:cxn ang="0">
                <a:pos x="39" y="16"/>
              </a:cxn>
              <a:cxn ang="0">
                <a:pos x="49" y="32"/>
              </a:cxn>
              <a:cxn ang="0">
                <a:pos x="56" y="47"/>
              </a:cxn>
              <a:cxn ang="0">
                <a:pos x="73" y="60"/>
              </a:cxn>
              <a:cxn ang="0">
                <a:pos x="87" y="74"/>
              </a:cxn>
              <a:cxn ang="0">
                <a:pos x="95" y="89"/>
              </a:cxn>
              <a:cxn ang="0">
                <a:pos x="129" y="125"/>
              </a:cxn>
              <a:cxn ang="0">
                <a:pos x="134" y="145"/>
              </a:cxn>
              <a:cxn ang="0">
                <a:pos x="139" y="163"/>
              </a:cxn>
              <a:cxn ang="0">
                <a:pos x="174" y="180"/>
              </a:cxn>
              <a:cxn ang="0">
                <a:pos x="221" y="202"/>
              </a:cxn>
              <a:cxn ang="0">
                <a:pos x="265" y="204"/>
              </a:cxn>
              <a:cxn ang="0">
                <a:pos x="286" y="201"/>
              </a:cxn>
            </a:cxnLst>
            <a:rect b="b" l="0" r="r" t="0"/>
            <a:pathLst>
              <a:path h="213" w="344">
                <a:moveTo>
                  <a:pt x="286" y="201"/>
                </a:moveTo>
                <a:cubicBezTo>
                  <a:pt x="287" y="201"/>
                  <a:pt x="300" y="202"/>
                  <a:pt x="301" y="199"/>
                </a:cubicBezTo>
                <a:cubicBezTo>
                  <a:pt x="302" y="196"/>
                  <a:pt x="292" y="189"/>
                  <a:pt x="293" y="188"/>
                </a:cubicBezTo>
                <a:cubicBezTo>
                  <a:pt x="294" y="188"/>
                  <a:pt x="294" y="180"/>
                  <a:pt x="296" y="180"/>
                </a:cubicBezTo>
                <a:cubicBezTo>
                  <a:pt x="298" y="180"/>
                  <a:pt x="316" y="181"/>
                  <a:pt x="317" y="180"/>
                </a:cubicBezTo>
                <a:cubicBezTo>
                  <a:pt x="318" y="180"/>
                  <a:pt x="321" y="173"/>
                  <a:pt x="324" y="173"/>
                </a:cubicBezTo>
                <a:cubicBezTo>
                  <a:pt x="325" y="173"/>
                  <a:pt x="327" y="175"/>
                  <a:pt x="329" y="176"/>
                </a:cubicBezTo>
                <a:cubicBezTo>
                  <a:pt x="333" y="173"/>
                  <a:pt x="334" y="167"/>
                  <a:pt x="334" y="161"/>
                </a:cubicBezTo>
                <a:cubicBezTo>
                  <a:pt x="335" y="154"/>
                  <a:pt x="333" y="152"/>
                  <a:pt x="336" y="148"/>
                </a:cubicBezTo>
                <a:cubicBezTo>
                  <a:pt x="340" y="145"/>
                  <a:pt x="344" y="144"/>
                  <a:pt x="343" y="139"/>
                </a:cubicBezTo>
                <a:cubicBezTo>
                  <a:pt x="342" y="134"/>
                  <a:pt x="337" y="139"/>
                  <a:pt x="333" y="137"/>
                </a:cubicBezTo>
                <a:cubicBezTo>
                  <a:pt x="329" y="134"/>
                  <a:pt x="325" y="136"/>
                  <a:pt x="315" y="137"/>
                </a:cubicBezTo>
                <a:cubicBezTo>
                  <a:pt x="305" y="139"/>
                  <a:pt x="300" y="143"/>
                  <a:pt x="301" y="150"/>
                </a:cubicBezTo>
                <a:cubicBezTo>
                  <a:pt x="301" y="158"/>
                  <a:pt x="297" y="154"/>
                  <a:pt x="297" y="161"/>
                </a:cubicBezTo>
                <a:cubicBezTo>
                  <a:pt x="298" y="167"/>
                  <a:pt x="289" y="167"/>
                  <a:pt x="290" y="171"/>
                </a:cubicBezTo>
                <a:cubicBezTo>
                  <a:pt x="290" y="175"/>
                  <a:pt x="283" y="171"/>
                  <a:pt x="281" y="170"/>
                </a:cubicBezTo>
                <a:cubicBezTo>
                  <a:pt x="279" y="168"/>
                  <a:pt x="258" y="175"/>
                  <a:pt x="255" y="175"/>
                </a:cubicBezTo>
                <a:cubicBezTo>
                  <a:pt x="252" y="176"/>
                  <a:pt x="246" y="169"/>
                  <a:pt x="242" y="169"/>
                </a:cubicBezTo>
                <a:cubicBezTo>
                  <a:pt x="238" y="170"/>
                  <a:pt x="236" y="163"/>
                  <a:pt x="236" y="158"/>
                </a:cubicBezTo>
                <a:cubicBezTo>
                  <a:pt x="235" y="153"/>
                  <a:pt x="227" y="148"/>
                  <a:pt x="224" y="143"/>
                </a:cubicBezTo>
                <a:cubicBezTo>
                  <a:pt x="220" y="138"/>
                  <a:pt x="220" y="128"/>
                  <a:pt x="219" y="121"/>
                </a:cubicBezTo>
                <a:cubicBezTo>
                  <a:pt x="219" y="114"/>
                  <a:pt x="218" y="103"/>
                  <a:pt x="223" y="90"/>
                </a:cubicBezTo>
                <a:cubicBezTo>
                  <a:pt x="224" y="88"/>
                  <a:pt x="224" y="86"/>
                  <a:pt x="224" y="85"/>
                </a:cubicBezTo>
                <a:cubicBezTo>
                  <a:pt x="222" y="84"/>
                  <a:pt x="221" y="83"/>
                  <a:pt x="219" y="83"/>
                </a:cubicBezTo>
                <a:cubicBezTo>
                  <a:pt x="215" y="83"/>
                  <a:pt x="206" y="77"/>
                  <a:pt x="204" y="77"/>
                </a:cubicBezTo>
                <a:cubicBezTo>
                  <a:pt x="202" y="77"/>
                  <a:pt x="202" y="73"/>
                  <a:pt x="200" y="71"/>
                </a:cubicBezTo>
                <a:cubicBezTo>
                  <a:pt x="199" y="68"/>
                  <a:pt x="200" y="64"/>
                  <a:pt x="198" y="62"/>
                </a:cubicBezTo>
                <a:cubicBezTo>
                  <a:pt x="196" y="60"/>
                  <a:pt x="189" y="54"/>
                  <a:pt x="187" y="47"/>
                </a:cubicBezTo>
                <a:cubicBezTo>
                  <a:pt x="185" y="39"/>
                  <a:pt x="172" y="36"/>
                  <a:pt x="167" y="35"/>
                </a:cubicBezTo>
                <a:cubicBezTo>
                  <a:pt x="162" y="35"/>
                  <a:pt x="160" y="45"/>
                  <a:pt x="158" y="46"/>
                </a:cubicBezTo>
                <a:cubicBezTo>
                  <a:pt x="157" y="46"/>
                  <a:pt x="148" y="40"/>
                  <a:pt x="145" y="39"/>
                </a:cubicBezTo>
                <a:cubicBezTo>
                  <a:pt x="143" y="38"/>
                  <a:pt x="141" y="35"/>
                  <a:pt x="141" y="32"/>
                </a:cubicBezTo>
                <a:cubicBezTo>
                  <a:pt x="141" y="29"/>
                  <a:pt x="136" y="24"/>
                  <a:pt x="134" y="23"/>
                </a:cubicBezTo>
                <a:cubicBezTo>
                  <a:pt x="132" y="22"/>
                  <a:pt x="121" y="11"/>
                  <a:pt x="121" y="11"/>
                </a:cubicBezTo>
                <a:cubicBezTo>
                  <a:pt x="104" y="11"/>
                  <a:pt x="104" y="11"/>
                  <a:pt x="104" y="11"/>
                </a:cubicBezTo>
                <a:cubicBezTo>
                  <a:pt x="100" y="16"/>
                  <a:pt x="100" y="16"/>
                  <a:pt x="100" y="16"/>
                </a:cubicBezTo>
                <a:cubicBezTo>
                  <a:pt x="68" y="17"/>
                  <a:pt x="68" y="17"/>
                  <a:pt x="68" y="17"/>
                </a:cubicBezTo>
                <a:cubicBezTo>
                  <a:pt x="68" y="17"/>
                  <a:pt x="43" y="7"/>
                  <a:pt x="39" y="6"/>
                </a:cubicBezTo>
                <a:cubicBezTo>
                  <a:pt x="34" y="5"/>
                  <a:pt x="26" y="0"/>
                  <a:pt x="26" y="0"/>
                </a:cubicBezTo>
                <a:cubicBezTo>
                  <a:pt x="0" y="3"/>
                  <a:pt x="0" y="3"/>
                  <a:pt x="0" y="3"/>
                </a:cubicBezTo>
                <a:cubicBezTo>
                  <a:pt x="1" y="6"/>
                  <a:pt x="3" y="9"/>
                  <a:pt x="6" y="13"/>
                </a:cubicBezTo>
                <a:cubicBezTo>
                  <a:pt x="11" y="19"/>
                  <a:pt x="15" y="31"/>
                  <a:pt x="16" y="35"/>
                </a:cubicBezTo>
                <a:cubicBezTo>
                  <a:pt x="16" y="39"/>
                  <a:pt x="23" y="42"/>
                  <a:pt x="30" y="46"/>
                </a:cubicBezTo>
                <a:cubicBezTo>
                  <a:pt x="36" y="50"/>
                  <a:pt x="36" y="59"/>
                  <a:pt x="35" y="61"/>
                </a:cubicBezTo>
                <a:cubicBezTo>
                  <a:pt x="34" y="63"/>
                  <a:pt x="27" y="59"/>
                  <a:pt x="26" y="62"/>
                </a:cubicBezTo>
                <a:cubicBezTo>
                  <a:pt x="26" y="64"/>
                  <a:pt x="36" y="73"/>
                  <a:pt x="40" y="72"/>
                </a:cubicBezTo>
                <a:cubicBezTo>
                  <a:pt x="44" y="72"/>
                  <a:pt x="46" y="74"/>
                  <a:pt x="52" y="80"/>
                </a:cubicBezTo>
                <a:cubicBezTo>
                  <a:pt x="59" y="85"/>
                  <a:pt x="58" y="92"/>
                  <a:pt x="56" y="94"/>
                </a:cubicBezTo>
                <a:cubicBezTo>
                  <a:pt x="53" y="96"/>
                  <a:pt x="61" y="100"/>
                  <a:pt x="69" y="105"/>
                </a:cubicBezTo>
                <a:cubicBezTo>
                  <a:pt x="77" y="110"/>
                  <a:pt x="80" y="117"/>
                  <a:pt x="81" y="120"/>
                </a:cubicBezTo>
                <a:cubicBezTo>
                  <a:pt x="81" y="122"/>
                  <a:pt x="85" y="120"/>
                  <a:pt x="86" y="116"/>
                </a:cubicBezTo>
                <a:cubicBezTo>
                  <a:pt x="87" y="112"/>
                  <a:pt x="84" y="111"/>
                  <a:pt x="84" y="107"/>
                </a:cubicBezTo>
                <a:cubicBezTo>
                  <a:pt x="84" y="103"/>
                  <a:pt x="77" y="104"/>
                  <a:pt x="74" y="103"/>
                </a:cubicBezTo>
                <a:cubicBezTo>
                  <a:pt x="71" y="103"/>
                  <a:pt x="74" y="96"/>
                  <a:pt x="71" y="93"/>
                </a:cubicBezTo>
                <a:cubicBezTo>
                  <a:pt x="68" y="90"/>
                  <a:pt x="66" y="83"/>
                  <a:pt x="64" y="77"/>
                </a:cubicBezTo>
                <a:cubicBezTo>
                  <a:pt x="63" y="72"/>
                  <a:pt x="55" y="66"/>
                  <a:pt x="52" y="60"/>
                </a:cubicBezTo>
                <a:cubicBezTo>
                  <a:pt x="48" y="54"/>
                  <a:pt x="45" y="49"/>
                  <a:pt x="43" y="48"/>
                </a:cubicBezTo>
                <a:cubicBezTo>
                  <a:pt x="40" y="46"/>
                  <a:pt x="46" y="44"/>
                  <a:pt x="44" y="42"/>
                </a:cubicBezTo>
                <a:cubicBezTo>
                  <a:pt x="42" y="40"/>
                  <a:pt x="39" y="40"/>
                  <a:pt x="35" y="38"/>
                </a:cubicBezTo>
                <a:cubicBezTo>
                  <a:pt x="31" y="36"/>
                  <a:pt x="29" y="33"/>
                  <a:pt x="29" y="29"/>
                </a:cubicBezTo>
                <a:cubicBezTo>
                  <a:pt x="29" y="25"/>
                  <a:pt x="26" y="16"/>
                  <a:pt x="25" y="13"/>
                </a:cubicBezTo>
                <a:cubicBezTo>
                  <a:pt x="24" y="9"/>
                  <a:pt x="28" y="10"/>
                  <a:pt x="29" y="11"/>
                </a:cubicBezTo>
                <a:cubicBezTo>
                  <a:pt x="30" y="13"/>
                  <a:pt x="31" y="14"/>
                  <a:pt x="33" y="13"/>
                </a:cubicBezTo>
                <a:cubicBezTo>
                  <a:pt x="35" y="12"/>
                  <a:pt x="38" y="13"/>
                  <a:pt x="39" y="16"/>
                </a:cubicBezTo>
                <a:cubicBezTo>
                  <a:pt x="40" y="19"/>
                  <a:pt x="45" y="16"/>
                  <a:pt x="47" y="17"/>
                </a:cubicBezTo>
                <a:cubicBezTo>
                  <a:pt x="49" y="19"/>
                  <a:pt x="42" y="20"/>
                  <a:pt x="49" y="32"/>
                </a:cubicBezTo>
                <a:cubicBezTo>
                  <a:pt x="55" y="43"/>
                  <a:pt x="51" y="37"/>
                  <a:pt x="51" y="44"/>
                </a:cubicBezTo>
                <a:cubicBezTo>
                  <a:pt x="51" y="52"/>
                  <a:pt x="55" y="49"/>
                  <a:pt x="56" y="47"/>
                </a:cubicBezTo>
                <a:cubicBezTo>
                  <a:pt x="57" y="46"/>
                  <a:pt x="61" y="50"/>
                  <a:pt x="64" y="54"/>
                </a:cubicBezTo>
                <a:cubicBezTo>
                  <a:pt x="67" y="58"/>
                  <a:pt x="73" y="58"/>
                  <a:pt x="73" y="60"/>
                </a:cubicBezTo>
                <a:cubicBezTo>
                  <a:pt x="73" y="63"/>
                  <a:pt x="75" y="67"/>
                  <a:pt x="79" y="68"/>
                </a:cubicBezTo>
                <a:cubicBezTo>
                  <a:pt x="83" y="69"/>
                  <a:pt x="84" y="73"/>
                  <a:pt x="87" y="74"/>
                </a:cubicBezTo>
                <a:cubicBezTo>
                  <a:pt x="89" y="74"/>
                  <a:pt x="90" y="77"/>
                  <a:pt x="88" y="81"/>
                </a:cubicBezTo>
                <a:cubicBezTo>
                  <a:pt x="87" y="84"/>
                  <a:pt x="88" y="87"/>
                  <a:pt x="95" y="89"/>
                </a:cubicBezTo>
                <a:cubicBezTo>
                  <a:pt x="102" y="92"/>
                  <a:pt x="99" y="93"/>
                  <a:pt x="105" y="98"/>
                </a:cubicBezTo>
                <a:cubicBezTo>
                  <a:pt x="110" y="103"/>
                  <a:pt x="126" y="120"/>
                  <a:pt x="129" y="125"/>
                </a:cubicBezTo>
                <a:cubicBezTo>
                  <a:pt x="132" y="130"/>
                  <a:pt x="133" y="134"/>
                  <a:pt x="134" y="137"/>
                </a:cubicBezTo>
                <a:cubicBezTo>
                  <a:pt x="136" y="141"/>
                  <a:pt x="132" y="142"/>
                  <a:pt x="134" y="145"/>
                </a:cubicBezTo>
                <a:cubicBezTo>
                  <a:pt x="136" y="148"/>
                  <a:pt x="130" y="147"/>
                  <a:pt x="130" y="149"/>
                </a:cubicBezTo>
                <a:cubicBezTo>
                  <a:pt x="131" y="152"/>
                  <a:pt x="134" y="163"/>
                  <a:pt x="139" y="163"/>
                </a:cubicBezTo>
                <a:cubicBezTo>
                  <a:pt x="145" y="164"/>
                  <a:pt x="151" y="171"/>
                  <a:pt x="156" y="174"/>
                </a:cubicBezTo>
                <a:cubicBezTo>
                  <a:pt x="160" y="178"/>
                  <a:pt x="167" y="177"/>
                  <a:pt x="174" y="180"/>
                </a:cubicBezTo>
                <a:cubicBezTo>
                  <a:pt x="180" y="182"/>
                  <a:pt x="186" y="188"/>
                  <a:pt x="196" y="191"/>
                </a:cubicBezTo>
                <a:cubicBezTo>
                  <a:pt x="206" y="194"/>
                  <a:pt x="215" y="198"/>
                  <a:pt x="221" y="202"/>
                </a:cubicBezTo>
                <a:cubicBezTo>
                  <a:pt x="228" y="206"/>
                  <a:pt x="235" y="204"/>
                  <a:pt x="244" y="201"/>
                </a:cubicBezTo>
                <a:cubicBezTo>
                  <a:pt x="253" y="197"/>
                  <a:pt x="260" y="202"/>
                  <a:pt x="265" y="204"/>
                </a:cubicBezTo>
                <a:cubicBezTo>
                  <a:pt x="267" y="205"/>
                  <a:pt x="272" y="209"/>
                  <a:pt x="277" y="213"/>
                </a:cubicBezTo>
                <a:cubicBezTo>
                  <a:pt x="281" y="207"/>
                  <a:pt x="285" y="201"/>
                  <a:pt x="286" y="20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4" name="Freeform 101"/>
          <p:cNvSpPr/>
          <p:nvPr/>
        </p:nvSpPr>
        <p:spPr bwMode="auto">
          <a:xfrm>
            <a:off x="3569882" y="4039695"/>
            <a:ext cx="107548" cy="108035"/>
          </a:xfrm>
          <a:custGeom>
            <a:cxnLst>
              <a:cxn ang="0">
                <a:pos x="42" y="31"/>
              </a:cxn>
              <a:cxn ang="0">
                <a:pos x="48" y="25"/>
              </a:cxn>
              <a:cxn ang="0">
                <a:pos x="43" y="22"/>
              </a:cxn>
              <a:cxn ang="0">
                <a:pos x="38" y="23"/>
              </a:cxn>
              <a:cxn ang="0">
                <a:pos x="38" y="0"/>
              </a:cxn>
              <a:cxn ang="0">
                <a:pos x="19" y="0"/>
              </a:cxn>
              <a:cxn ang="0">
                <a:pos x="16" y="8"/>
              </a:cxn>
              <a:cxn ang="0">
                <a:pos x="24" y="19"/>
              </a:cxn>
              <a:cxn ang="0">
                <a:pos x="9" y="21"/>
              </a:cxn>
              <a:cxn ang="0">
                <a:pos x="0" y="33"/>
              </a:cxn>
              <a:cxn ang="0">
                <a:pos x="12" y="44"/>
              </a:cxn>
              <a:cxn ang="0">
                <a:pos x="28" y="47"/>
              </a:cxn>
              <a:cxn ang="0">
                <a:pos x="28" y="47"/>
              </a:cxn>
              <a:cxn ang="0">
                <a:pos x="36" y="40"/>
              </a:cxn>
              <a:cxn ang="0">
                <a:pos x="42" y="31"/>
              </a:cxn>
            </a:cxnLst>
            <a:rect b="b" l="0" r="r" t="0"/>
            <a:pathLst>
              <a:path h="47" w="48">
                <a:moveTo>
                  <a:pt x="42" y="31"/>
                </a:moveTo>
                <a:cubicBezTo>
                  <a:pt x="44" y="29"/>
                  <a:pt x="46" y="27"/>
                  <a:pt x="48" y="25"/>
                </a:cubicBezTo>
                <a:cubicBezTo>
                  <a:pt x="44" y="27"/>
                  <a:pt x="43" y="25"/>
                  <a:pt x="43" y="22"/>
                </a:cubicBezTo>
                <a:cubicBezTo>
                  <a:pt x="38" y="23"/>
                  <a:pt x="38" y="23"/>
                  <a:pt x="38" y="23"/>
                </a:cubicBezTo>
                <a:cubicBezTo>
                  <a:pt x="38" y="0"/>
                  <a:pt x="38" y="0"/>
                  <a:pt x="38" y="0"/>
                </a:cubicBezTo>
                <a:cubicBezTo>
                  <a:pt x="34" y="0"/>
                  <a:pt x="21" y="0"/>
                  <a:pt x="19" y="0"/>
                </a:cubicBezTo>
                <a:cubicBezTo>
                  <a:pt x="17" y="0"/>
                  <a:pt x="17" y="8"/>
                  <a:pt x="16" y="8"/>
                </a:cubicBezTo>
                <a:cubicBezTo>
                  <a:pt x="15" y="9"/>
                  <a:pt x="25" y="16"/>
                  <a:pt x="24" y="19"/>
                </a:cubicBezTo>
                <a:cubicBezTo>
                  <a:pt x="23" y="22"/>
                  <a:pt x="10" y="21"/>
                  <a:pt x="9" y="21"/>
                </a:cubicBezTo>
                <a:cubicBezTo>
                  <a:pt x="8" y="21"/>
                  <a:pt x="4" y="27"/>
                  <a:pt x="0" y="33"/>
                </a:cubicBezTo>
                <a:cubicBezTo>
                  <a:pt x="5" y="38"/>
                  <a:pt x="10" y="42"/>
                  <a:pt x="12" y="44"/>
                </a:cubicBezTo>
                <a:cubicBezTo>
                  <a:pt x="17" y="47"/>
                  <a:pt x="25" y="44"/>
                  <a:pt x="28" y="47"/>
                </a:cubicBezTo>
                <a:cubicBezTo>
                  <a:pt x="28" y="47"/>
                  <a:pt x="28" y="47"/>
                  <a:pt x="28" y="47"/>
                </a:cubicBezTo>
                <a:cubicBezTo>
                  <a:pt x="32" y="44"/>
                  <a:pt x="35" y="40"/>
                  <a:pt x="36" y="40"/>
                </a:cubicBezTo>
                <a:cubicBezTo>
                  <a:pt x="39" y="39"/>
                  <a:pt x="37" y="35"/>
                  <a:pt x="42" y="3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5" name="Freeform 102"/>
          <p:cNvSpPr/>
          <p:nvPr/>
        </p:nvSpPr>
        <p:spPr bwMode="auto">
          <a:xfrm>
            <a:off x="3655179" y="4024533"/>
            <a:ext cx="31523" cy="68232"/>
          </a:xfrm>
          <a:custGeom>
            <a:cxnLst>
              <a:cxn ang="0">
                <a:pos x="2" y="7"/>
              </a:cxn>
              <a:cxn ang="0">
                <a:pos x="0" y="7"/>
              </a:cxn>
              <a:cxn ang="0">
                <a:pos x="0" y="30"/>
              </a:cxn>
              <a:cxn ang="0">
                <a:pos x="5" y="29"/>
              </a:cxn>
              <a:cxn ang="0">
                <a:pos x="9" y="24"/>
              </a:cxn>
              <a:cxn ang="0">
                <a:pos x="12" y="5"/>
              </a:cxn>
              <a:cxn ang="0">
                <a:pos x="14" y="3"/>
              </a:cxn>
              <a:cxn ang="0">
                <a:pos x="9" y="0"/>
              </a:cxn>
              <a:cxn ang="0">
                <a:pos x="2" y="7"/>
              </a:cxn>
            </a:cxnLst>
            <a:rect b="b" l="0" r="r" t="0"/>
            <a:pathLst>
              <a:path h="30" w="14">
                <a:moveTo>
                  <a:pt x="2" y="7"/>
                </a:moveTo>
                <a:cubicBezTo>
                  <a:pt x="2" y="7"/>
                  <a:pt x="1" y="7"/>
                  <a:pt x="0" y="7"/>
                </a:cubicBezTo>
                <a:cubicBezTo>
                  <a:pt x="0" y="30"/>
                  <a:pt x="0" y="30"/>
                  <a:pt x="0" y="30"/>
                </a:cubicBezTo>
                <a:cubicBezTo>
                  <a:pt x="5" y="29"/>
                  <a:pt x="5" y="29"/>
                  <a:pt x="5" y="29"/>
                </a:cubicBezTo>
                <a:cubicBezTo>
                  <a:pt x="6" y="27"/>
                  <a:pt x="7" y="25"/>
                  <a:pt x="9" y="24"/>
                </a:cubicBezTo>
                <a:cubicBezTo>
                  <a:pt x="13" y="20"/>
                  <a:pt x="7" y="6"/>
                  <a:pt x="12" y="5"/>
                </a:cubicBezTo>
                <a:cubicBezTo>
                  <a:pt x="13" y="5"/>
                  <a:pt x="14" y="4"/>
                  <a:pt x="14" y="3"/>
                </a:cubicBezTo>
                <a:cubicBezTo>
                  <a:pt x="12" y="2"/>
                  <a:pt x="10" y="0"/>
                  <a:pt x="9" y="0"/>
                </a:cubicBezTo>
                <a:cubicBezTo>
                  <a:pt x="6" y="0"/>
                  <a:pt x="3" y="7"/>
                  <a:pt x="2" y="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6" name="Freeform 103"/>
          <p:cNvSpPr/>
          <p:nvPr/>
        </p:nvSpPr>
        <p:spPr bwMode="auto">
          <a:xfrm>
            <a:off x="4024182" y="3973358"/>
            <a:ext cx="76026" cy="66338"/>
          </a:xfrm>
          <a:custGeom>
            <a:cxnLst>
              <a:cxn ang="0">
                <a:pos x="16" y="3"/>
              </a:cxn>
              <a:cxn ang="0">
                <a:pos x="23" y="19"/>
              </a:cxn>
              <a:cxn ang="0">
                <a:pos x="1" y="23"/>
              </a:cxn>
              <a:cxn ang="0">
                <a:pos x="16" y="26"/>
              </a:cxn>
              <a:cxn ang="0">
                <a:pos x="31" y="28"/>
              </a:cxn>
              <a:cxn ang="0">
                <a:pos x="34" y="6"/>
              </a:cxn>
              <a:cxn ang="0">
                <a:pos x="16" y="3"/>
              </a:cxn>
            </a:cxnLst>
            <a:rect b="b" l="0" r="r" t="0"/>
            <a:pathLst>
              <a:path h="28" w="34">
                <a:moveTo>
                  <a:pt x="16" y="3"/>
                </a:moveTo>
                <a:cubicBezTo>
                  <a:pt x="11" y="7"/>
                  <a:pt x="23" y="14"/>
                  <a:pt x="23" y="19"/>
                </a:cubicBezTo>
                <a:cubicBezTo>
                  <a:pt x="23" y="23"/>
                  <a:pt x="3" y="18"/>
                  <a:pt x="1" y="23"/>
                </a:cubicBezTo>
                <a:cubicBezTo>
                  <a:pt x="0" y="25"/>
                  <a:pt x="8" y="29"/>
                  <a:pt x="16" y="26"/>
                </a:cubicBezTo>
                <a:cubicBezTo>
                  <a:pt x="23" y="24"/>
                  <a:pt x="28" y="26"/>
                  <a:pt x="31" y="28"/>
                </a:cubicBezTo>
                <a:cubicBezTo>
                  <a:pt x="32" y="21"/>
                  <a:pt x="33" y="12"/>
                  <a:pt x="34" y="6"/>
                </a:cubicBezTo>
                <a:cubicBezTo>
                  <a:pt x="27" y="5"/>
                  <a:pt x="19" y="0"/>
                  <a:pt x="16" y="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7" name="Freeform 104"/>
          <p:cNvSpPr/>
          <p:nvPr/>
        </p:nvSpPr>
        <p:spPr bwMode="auto">
          <a:xfrm>
            <a:off x="4092789" y="3984730"/>
            <a:ext cx="87152" cy="60651"/>
          </a:xfrm>
          <a:custGeom>
            <a:cxnLst>
              <a:cxn ang="0">
                <a:pos x="15" y="19"/>
              </a:cxn>
              <a:cxn ang="0">
                <a:pos x="39" y="14"/>
              </a:cxn>
              <a:cxn ang="0">
                <a:pos x="9" y="2"/>
              </a:cxn>
              <a:cxn ang="0">
                <a:pos x="3" y="1"/>
              </a:cxn>
              <a:cxn ang="0">
                <a:pos x="0" y="23"/>
              </a:cxn>
              <a:cxn ang="0">
                <a:pos x="1" y="24"/>
              </a:cxn>
              <a:cxn ang="0">
                <a:pos x="15" y="19"/>
              </a:cxn>
            </a:cxnLst>
            <a:rect b="b" l="0" r="r" t="0"/>
            <a:pathLst>
              <a:path h="26" w="39">
                <a:moveTo>
                  <a:pt x="15" y="19"/>
                </a:moveTo>
                <a:cubicBezTo>
                  <a:pt x="24" y="16"/>
                  <a:pt x="39" y="21"/>
                  <a:pt x="39" y="14"/>
                </a:cubicBezTo>
                <a:cubicBezTo>
                  <a:pt x="39" y="7"/>
                  <a:pt x="15" y="0"/>
                  <a:pt x="9" y="2"/>
                </a:cubicBezTo>
                <a:cubicBezTo>
                  <a:pt x="7" y="2"/>
                  <a:pt x="5" y="2"/>
                  <a:pt x="3" y="1"/>
                </a:cubicBezTo>
                <a:cubicBezTo>
                  <a:pt x="2" y="7"/>
                  <a:pt x="1" y="16"/>
                  <a:pt x="0" y="23"/>
                </a:cubicBezTo>
                <a:cubicBezTo>
                  <a:pt x="1" y="23"/>
                  <a:pt x="1" y="23"/>
                  <a:pt x="1" y="24"/>
                </a:cubicBezTo>
                <a:cubicBezTo>
                  <a:pt x="5" y="26"/>
                  <a:pt x="6" y="22"/>
                  <a:pt x="15" y="1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8" name="Freeform 105"/>
          <p:cNvSpPr/>
          <p:nvPr/>
        </p:nvSpPr>
        <p:spPr bwMode="auto">
          <a:xfrm>
            <a:off x="3699681" y="4115509"/>
            <a:ext cx="107548" cy="111826"/>
          </a:xfrm>
          <a:custGeom>
            <a:cxnLst>
              <a:cxn ang="0">
                <a:pos x="26" y="46"/>
              </a:cxn>
              <a:cxn ang="0">
                <a:pos x="37" y="48"/>
              </a:cxn>
              <a:cxn ang="0">
                <a:pos x="42" y="49"/>
              </a:cxn>
              <a:cxn ang="0">
                <a:pos x="41" y="47"/>
              </a:cxn>
              <a:cxn ang="0">
                <a:pos x="44" y="32"/>
              </a:cxn>
              <a:cxn ang="0">
                <a:pos x="45" y="13"/>
              </a:cxn>
              <a:cxn ang="0">
                <a:pos x="48" y="1"/>
              </a:cxn>
              <a:cxn ang="0">
                <a:pos x="48" y="0"/>
              </a:cxn>
              <a:cxn ang="0">
                <a:pos x="34" y="5"/>
              </a:cxn>
              <a:cxn ang="0">
                <a:pos x="24" y="8"/>
              </a:cxn>
              <a:cxn ang="0">
                <a:pos x="11" y="13"/>
              </a:cxn>
              <a:cxn ang="0">
                <a:pos x="8" y="20"/>
              </a:cxn>
              <a:cxn ang="0">
                <a:pos x="4" y="23"/>
              </a:cxn>
              <a:cxn ang="0">
                <a:pos x="0" y="24"/>
              </a:cxn>
              <a:cxn ang="0">
                <a:pos x="2" y="28"/>
              </a:cxn>
              <a:cxn ang="0">
                <a:pos x="16" y="42"/>
              </a:cxn>
              <a:cxn ang="0">
                <a:pos x="19" y="46"/>
              </a:cxn>
              <a:cxn ang="0">
                <a:pos x="26" y="46"/>
              </a:cxn>
            </a:cxnLst>
            <a:rect b="b" l="0" r="r" t="0"/>
            <a:pathLst>
              <a:path h="49" w="48">
                <a:moveTo>
                  <a:pt x="26" y="46"/>
                </a:moveTo>
                <a:cubicBezTo>
                  <a:pt x="28" y="48"/>
                  <a:pt x="34" y="46"/>
                  <a:pt x="37" y="48"/>
                </a:cubicBezTo>
                <a:cubicBezTo>
                  <a:pt x="38" y="49"/>
                  <a:pt x="40" y="49"/>
                  <a:pt x="42" y="49"/>
                </a:cubicBezTo>
                <a:cubicBezTo>
                  <a:pt x="42" y="48"/>
                  <a:pt x="41" y="47"/>
                  <a:pt x="41" y="47"/>
                </a:cubicBezTo>
                <a:cubicBezTo>
                  <a:pt x="39" y="43"/>
                  <a:pt x="42" y="37"/>
                  <a:pt x="44" y="32"/>
                </a:cubicBezTo>
                <a:cubicBezTo>
                  <a:pt x="45" y="27"/>
                  <a:pt x="42" y="16"/>
                  <a:pt x="45" y="13"/>
                </a:cubicBezTo>
                <a:cubicBezTo>
                  <a:pt x="48" y="10"/>
                  <a:pt x="46" y="8"/>
                  <a:pt x="48" y="1"/>
                </a:cubicBezTo>
                <a:cubicBezTo>
                  <a:pt x="48" y="1"/>
                  <a:pt x="48" y="0"/>
                  <a:pt x="48" y="0"/>
                </a:cubicBezTo>
                <a:cubicBezTo>
                  <a:pt x="42" y="0"/>
                  <a:pt x="36" y="5"/>
                  <a:pt x="34" y="5"/>
                </a:cubicBezTo>
                <a:cubicBezTo>
                  <a:pt x="32" y="5"/>
                  <a:pt x="25" y="3"/>
                  <a:pt x="24" y="8"/>
                </a:cubicBezTo>
                <a:cubicBezTo>
                  <a:pt x="23" y="12"/>
                  <a:pt x="18" y="12"/>
                  <a:pt x="11" y="13"/>
                </a:cubicBezTo>
                <a:cubicBezTo>
                  <a:pt x="5" y="13"/>
                  <a:pt x="8" y="19"/>
                  <a:pt x="8" y="20"/>
                </a:cubicBezTo>
                <a:cubicBezTo>
                  <a:pt x="7" y="21"/>
                  <a:pt x="4" y="23"/>
                  <a:pt x="4" y="23"/>
                </a:cubicBezTo>
                <a:cubicBezTo>
                  <a:pt x="0" y="24"/>
                  <a:pt x="0" y="24"/>
                  <a:pt x="0" y="24"/>
                </a:cubicBezTo>
                <a:cubicBezTo>
                  <a:pt x="0" y="26"/>
                  <a:pt x="0" y="27"/>
                  <a:pt x="2" y="28"/>
                </a:cubicBezTo>
                <a:cubicBezTo>
                  <a:pt x="6" y="31"/>
                  <a:pt x="11" y="39"/>
                  <a:pt x="16" y="42"/>
                </a:cubicBezTo>
                <a:cubicBezTo>
                  <a:pt x="18" y="43"/>
                  <a:pt x="19" y="44"/>
                  <a:pt x="19" y="46"/>
                </a:cubicBezTo>
                <a:cubicBezTo>
                  <a:pt x="22" y="46"/>
                  <a:pt x="24" y="46"/>
                  <a:pt x="26" y="4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09" name="Freeform 106"/>
          <p:cNvSpPr/>
          <p:nvPr/>
        </p:nvSpPr>
        <p:spPr bwMode="auto">
          <a:xfrm>
            <a:off x="4039016" y="4371380"/>
            <a:ext cx="1005021" cy="1048127"/>
          </a:xfrm>
          <a:custGeom>
            <a:cxnLst>
              <a:cxn ang="0">
                <a:pos x="253" y="427"/>
              </a:cxn>
              <a:cxn ang="0">
                <a:pos x="260" y="429"/>
              </a:cxn>
              <a:cxn ang="0">
                <a:pos x="289" y="379"/>
              </a:cxn>
              <a:cxn ang="0">
                <a:pos x="307" y="343"/>
              </a:cxn>
              <a:cxn ang="0">
                <a:pos x="337" y="326"/>
              </a:cxn>
              <a:cxn ang="0">
                <a:pos x="372" y="316"/>
              </a:cxn>
              <a:cxn ang="0">
                <a:pos x="386" y="290"/>
              </a:cxn>
              <a:cxn ang="0">
                <a:pos x="397" y="264"/>
              </a:cxn>
              <a:cxn ang="0">
                <a:pos x="401" y="211"/>
              </a:cxn>
              <a:cxn ang="0">
                <a:pos x="409" y="206"/>
              </a:cxn>
              <a:cxn ang="0">
                <a:pos x="445" y="158"/>
              </a:cxn>
              <a:cxn ang="0">
                <a:pos x="406" y="104"/>
              </a:cxn>
              <a:cxn ang="0">
                <a:pos x="336" y="96"/>
              </a:cxn>
              <a:cxn ang="0">
                <a:pos x="295" y="74"/>
              </a:cxn>
              <a:cxn ang="0">
                <a:pos x="291" y="67"/>
              </a:cxn>
              <a:cxn ang="0">
                <a:pos x="264" y="60"/>
              </a:cxn>
              <a:cxn ang="0">
                <a:pos x="258" y="13"/>
              </a:cxn>
              <a:cxn ang="0">
                <a:pos x="222" y="32"/>
              </a:cxn>
              <a:cxn ang="0">
                <a:pos x="191" y="39"/>
              </a:cxn>
              <a:cxn ang="0">
                <a:pos x="165" y="40"/>
              </a:cxn>
              <a:cxn ang="0">
                <a:pos x="157" y="1"/>
              </a:cxn>
              <a:cxn ang="0">
                <a:pos x="129" y="17"/>
              </a:cxn>
              <a:cxn ang="0">
                <a:pos x="107" y="15"/>
              </a:cxn>
              <a:cxn ang="0">
                <a:pos x="120" y="32"/>
              </a:cxn>
              <a:cxn ang="0">
                <a:pos x="105" y="46"/>
              </a:cxn>
              <a:cxn ang="0">
                <a:pos x="84" y="49"/>
              </a:cxn>
              <a:cxn ang="0">
                <a:pos x="48" y="42"/>
              </a:cxn>
              <a:cxn ang="0">
                <a:pos x="45" y="59"/>
              </a:cxn>
              <a:cxn ang="0">
                <a:pos x="46" y="108"/>
              </a:cxn>
              <a:cxn ang="0">
                <a:pos x="12" y="120"/>
              </a:cxn>
              <a:cxn ang="0">
                <a:pos x="2" y="144"/>
              </a:cxn>
              <a:cxn ang="0">
                <a:pos x="15" y="168"/>
              </a:cxn>
              <a:cxn ang="0">
                <a:pos x="38" y="172"/>
              </a:cxn>
              <a:cxn ang="0">
                <a:pos x="65" y="184"/>
              </a:cxn>
              <a:cxn ang="0">
                <a:pos x="99" y="174"/>
              </a:cxn>
              <a:cxn ang="0">
                <a:pos x="124" y="206"/>
              </a:cxn>
              <a:cxn ang="0">
                <a:pos x="150" y="217"/>
              </a:cxn>
              <a:cxn ang="0">
                <a:pos x="158" y="242"/>
              </a:cxn>
              <a:cxn ang="0">
                <a:pos x="186" y="265"/>
              </a:cxn>
              <a:cxn ang="0">
                <a:pos x="182" y="293"/>
              </a:cxn>
              <a:cxn ang="0">
                <a:pos x="199" y="317"/>
              </a:cxn>
              <a:cxn ang="0">
                <a:pos x="222" y="337"/>
              </a:cxn>
              <a:cxn ang="0">
                <a:pos x="230" y="375"/>
              </a:cxn>
              <a:cxn ang="0">
                <a:pos x="187" y="415"/>
              </a:cxn>
              <a:cxn ang="0">
                <a:pos x="205" y="426"/>
              </a:cxn>
              <a:cxn ang="0">
                <a:pos x="232" y="443"/>
              </a:cxn>
            </a:cxnLst>
            <a:rect b="b" l="0" r="r" t="0"/>
            <a:pathLst>
              <a:path h="460" w="450">
                <a:moveTo>
                  <a:pt x="238" y="455"/>
                </a:moveTo>
                <a:cubicBezTo>
                  <a:pt x="245" y="450"/>
                  <a:pt x="244" y="447"/>
                  <a:pt x="247" y="441"/>
                </a:cubicBezTo>
                <a:cubicBezTo>
                  <a:pt x="250" y="435"/>
                  <a:pt x="247" y="432"/>
                  <a:pt x="253" y="427"/>
                </a:cubicBezTo>
                <a:cubicBezTo>
                  <a:pt x="258" y="422"/>
                  <a:pt x="252" y="418"/>
                  <a:pt x="259" y="415"/>
                </a:cubicBezTo>
                <a:cubicBezTo>
                  <a:pt x="266" y="412"/>
                  <a:pt x="265" y="418"/>
                  <a:pt x="259" y="425"/>
                </a:cubicBezTo>
                <a:cubicBezTo>
                  <a:pt x="253" y="432"/>
                  <a:pt x="252" y="434"/>
                  <a:pt x="260" y="429"/>
                </a:cubicBezTo>
                <a:cubicBezTo>
                  <a:pt x="267" y="423"/>
                  <a:pt x="270" y="416"/>
                  <a:pt x="274" y="407"/>
                </a:cubicBezTo>
                <a:cubicBezTo>
                  <a:pt x="279" y="398"/>
                  <a:pt x="282" y="395"/>
                  <a:pt x="286" y="395"/>
                </a:cubicBezTo>
                <a:cubicBezTo>
                  <a:pt x="289" y="394"/>
                  <a:pt x="289" y="385"/>
                  <a:pt x="289" y="379"/>
                </a:cubicBezTo>
                <a:cubicBezTo>
                  <a:pt x="288" y="372"/>
                  <a:pt x="286" y="366"/>
                  <a:pt x="289" y="362"/>
                </a:cubicBezTo>
                <a:cubicBezTo>
                  <a:pt x="292" y="358"/>
                  <a:pt x="289" y="354"/>
                  <a:pt x="293" y="354"/>
                </a:cubicBezTo>
                <a:cubicBezTo>
                  <a:pt x="296" y="354"/>
                  <a:pt x="301" y="348"/>
                  <a:pt x="307" y="343"/>
                </a:cubicBezTo>
                <a:cubicBezTo>
                  <a:pt x="312" y="337"/>
                  <a:pt x="316" y="337"/>
                  <a:pt x="322" y="336"/>
                </a:cubicBezTo>
                <a:cubicBezTo>
                  <a:pt x="327" y="336"/>
                  <a:pt x="324" y="334"/>
                  <a:pt x="328" y="333"/>
                </a:cubicBezTo>
                <a:cubicBezTo>
                  <a:pt x="332" y="332"/>
                  <a:pt x="334" y="328"/>
                  <a:pt x="337" y="326"/>
                </a:cubicBezTo>
                <a:cubicBezTo>
                  <a:pt x="339" y="324"/>
                  <a:pt x="349" y="326"/>
                  <a:pt x="355" y="326"/>
                </a:cubicBezTo>
                <a:cubicBezTo>
                  <a:pt x="361" y="326"/>
                  <a:pt x="365" y="327"/>
                  <a:pt x="365" y="323"/>
                </a:cubicBezTo>
                <a:cubicBezTo>
                  <a:pt x="365" y="319"/>
                  <a:pt x="368" y="316"/>
                  <a:pt x="372" y="316"/>
                </a:cubicBezTo>
                <a:cubicBezTo>
                  <a:pt x="375" y="316"/>
                  <a:pt x="377" y="315"/>
                  <a:pt x="377" y="310"/>
                </a:cubicBezTo>
                <a:cubicBezTo>
                  <a:pt x="377" y="305"/>
                  <a:pt x="378" y="302"/>
                  <a:pt x="381" y="300"/>
                </a:cubicBezTo>
                <a:cubicBezTo>
                  <a:pt x="384" y="298"/>
                  <a:pt x="385" y="293"/>
                  <a:pt x="386" y="290"/>
                </a:cubicBezTo>
                <a:cubicBezTo>
                  <a:pt x="387" y="286"/>
                  <a:pt x="390" y="288"/>
                  <a:pt x="390" y="284"/>
                </a:cubicBezTo>
                <a:cubicBezTo>
                  <a:pt x="390" y="279"/>
                  <a:pt x="392" y="274"/>
                  <a:pt x="392" y="270"/>
                </a:cubicBezTo>
                <a:cubicBezTo>
                  <a:pt x="392" y="266"/>
                  <a:pt x="396" y="267"/>
                  <a:pt x="397" y="264"/>
                </a:cubicBezTo>
                <a:cubicBezTo>
                  <a:pt x="399" y="261"/>
                  <a:pt x="396" y="258"/>
                  <a:pt x="399" y="250"/>
                </a:cubicBezTo>
                <a:cubicBezTo>
                  <a:pt x="401" y="242"/>
                  <a:pt x="399" y="235"/>
                  <a:pt x="399" y="228"/>
                </a:cubicBezTo>
                <a:cubicBezTo>
                  <a:pt x="399" y="221"/>
                  <a:pt x="399" y="214"/>
                  <a:pt x="401" y="211"/>
                </a:cubicBezTo>
                <a:cubicBezTo>
                  <a:pt x="404" y="209"/>
                  <a:pt x="402" y="208"/>
                  <a:pt x="400" y="207"/>
                </a:cubicBezTo>
                <a:cubicBezTo>
                  <a:pt x="398" y="206"/>
                  <a:pt x="401" y="203"/>
                  <a:pt x="402" y="204"/>
                </a:cubicBezTo>
                <a:cubicBezTo>
                  <a:pt x="404" y="204"/>
                  <a:pt x="406" y="208"/>
                  <a:pt x="409" y="206"/>
                </a:cubicBezTo>
                <a:cubicBezTo>
                  <a:pt x="413" y="204"/>
                  <a:pt x="416" y="195"/>
                  <a:pt x="418" y="188"/>
                </a:cubicBezTo>
                <a:cubicBezTo>
                  <a:pt x="421" y="181"/>
                  <a:pt x="426" y="182"/>
                  <a:pt x="429" y="180"/>
                </a:cubicBezTo>
                <a:cubicBezTo>
                  <a:pt x="433" y="179"/>
                  <a:pt x="440" y="170"/>
                  <a:pt x="445" y="158"/>
                </a:cubicBezTo>
                <a:cubicBezTo>
                  <a:pt x="450" y="146"/>
                  <a:pt x="445" y="134"/>
                  <a:pt x="443" y="125"/>
                </a:cubicBezTo>
                <a:cubicBezTo>
                  <a:pt x="441" y="117"/>
                  <a:pt x="438" y="118"/>
                  <a:pt x="433" y="119"/>
                </a:cubicBezTo>
                <a:cubicBezTo>
                  <a:pt x="428" y="119"/>
                  <a:pt x="418" y="118"/>
                  <a:pt x="406" y="104"/>
                </a:cubicBezTo>
                <a:cubicBezTo>
                  <a:pt x="393" y="91"/>
                  <a:pt x="381" y="92"/>
                  <a:pt x="373" y="94"/>
                </a:cubicBezTo>
                <a:cubicBezTo>
                  <a:pt x="365" y="96"/>
                  <a:pt x="356" y="90"/>
                  <a:pt x="351" y="89"/>
                </a:cubicBezTo>
                <a:cubicBezTo>
                  <a:pt x="345" y="87"/>
                  <a:pt x="340" y="94"/>
                  <a:pt x="336" y="96"/>
                </a:cubicBezTo>
                <a:cubicBezTo>
                  <a:pt x="332" y="97"/>
                  <a:pt x="338" y="90"/>
                  <a:pt x="338" y="85"/>
                </a:cubicBezTo>
                <a:cubicBezTo>
                  <a:pt x="338" y="80"/>
                  <a:pt x="323" y="74"/>
                  <a:pt x="312" y="69"/>
                </a:cubicBezTo>
                <a:cubicBezTo>
                  <a:pt x="300" y="65"/>
                  <a:pt x="295" y="67"/>
                  <a:pt x="295" y="74"/>
                </a:cubicBezTo>
                <a:cubicBezTo>
                  <a:pt x="295" y="81"/>
                  <a:pt x="291" y="72"/>
                  <a:pt x="287" y="80"/>
                </a:cubicBezTo>
                <a:cubicBezTo>
                  <a:pt x="284" y="87"/>
                  <a:pt x="277" y="82"/>
                  <a:pt x="281" y="80"/>
                </a:cubicBezTo>
                <a:cubicBezTo>
                  <a:pt x="286" y="77"/>
                  <a:pt x="290" y="72"/>
                  <a:pt x="291" y="67"/>
                </a:cubicBezTo>
                <a:cubicBezTo>
                  <a:pt x="293" y="62"/>
                  <a:pt x="275" y="58"/>
                  <a:pt x="268" y="61"/>
                </a:cubicBezTo>
                <a:cubicBezTo>
                  <a:pt x="262" y="63"/>
                  <a:pt x="266" y="72"/>
                  <a:pt x="261" y="70"/>
                </a:cubicBezTo>
                <a:cubicBezTo>
                  <a:pt x="256" y="67"/>
                  <a:pt x="260" y="60"/>
                  <a:pt x="264" y="60"/>
                </a:cubicBezTo>
                <a:cubicBezTo>
                  <a:pt x="268" y="61"/>
                  <a:pt x="273" y="52"/>
                  <a:pt x="275" y="46"/>
                </a:cubicBezTo>
                <a:cubicBezTo>
                  <a:pt x="278" y="40"/>
                  <a:pt x="271" y="39"/>
                  <a:pt x="266" y="34"/>
                </a:cubicBezTo>
                <a:cubicBezTo>
                  <a:pt x="262" y="29"/>
                  <a:pt x="263" y="15"/>
                  <a:pt x="258" y="13"/>
                </a:cubicBezTo>
                <a:cubicBezTo>
                  <a:pt x="253" y="17"/>
                  <a:pt x="247" y="25"/>
                  <a:pt x="245" y="31"/>
                </a:cubicBezTo>
                <a:cubicBezTo>
                  <a:pt x="242" y="38"/>
                  <a:pt x="239" y="34"/>
                  <a:pt x="233" y="36"/>
                </a:cubicBezTo>
                <a:cubicBezTo>
                  <a:pt x="226" y="38"/>
                  <a:pt x="223" y="35"/>
                  <a:pt x="222" y="32"/>
                </a:cubicBezTo>
                <a:cubicBezTo>
                  <a:pt x="220" y="30"/>
                  <a:pt x="214" y="32"/>
                  <a:pt x="209" y="32"/>
                </a:cubicBezTo>
                <a:cubicBezTo>
                  <a:pt x="205" y="32"/>
                  <a:pt x="207" y="37"/>
                  <a:pt x="204" y="39"/>
                </a:cubicBezTo>
                <a:cubicBezTo>
                  <a:pt x="201" y="41"/>
                  <a:pt x="194" y="36"/>
                  <a:pt x="191" y="39"/>
                </a:cubicBezTo>
                <a:cubicBezTo>
                  <a:pt x="188" y="42"/>
                  <a:pt x="186" y="39"/>
                  <a:pt x="185" y="41"/>
                </a:cubicBezTo>
                <a:cubicBezTo>
                  <a:pt x="184" y="44"/>
                  <a:pt x="179" y="42"/>
                  <a:pt x="178" y="44"/>
                </a:cubicBezTo>
                <a:cubicBezTo>
                  <a:pt x="176" y="46"/>
                  <a:pt x="172" y="47"/>
                  <a:pt x="165" y="40"/>
                </a:cubicBezTo>
                <a:cubicBezTo>
                  <a:pt x="159" y="33"/>
                  <a:pt x="160" y="22"/>
                  <a:pt x="163" y="20"/>
                </a:cubicBezTo>
                <a:cubicBezTo>
                  <a:pt x="166" y="18"/>
                  <a:pt x="166" y="12"/>
                  <a:pt x="162" y="11"/>
                </a:cubicBezTo>
                <a:cubicBezTo>
                  <a:pt x="158" y="9"/>
                  <a:pt x="162" y="2"/>
                  <a:pt x="157" y="1"/>
                </a:cubicBezTo>
                <a:cubicBezTo>
                  <a:pt x="153" y="0"/>
                  <a:pt x="153" y="7"/>
                  <a:pt x="150" y="8"/>
                </a:cubicBezTo>
                <a:cubicBezTo>
                  <a:pt x="147" y="9"/>
                  <a:pt x="140" y="14"/>
                  <a:pt x="136" y="13"/>
                </a:cubicBezTo>
                <a:cubicBezTo>
                  <a:pt x="133" y="12"/>
                  <a:pt x="129" y="14"/>
                  <a:pt x="129" y="17"/>
                </a:cubicBezTo>
                <a:cubicBezTo>
                  <a:pt x="129" y="21"/>
                  <a:pt x="125" y="20"/>
                  <a:pt x="124" y="17"/>
                </a:cubicBezTo>
                <a:cubicBezTo>
                  <a:pt x="124" y="14"/>
                  <a:pt x="116" y="16"/>
                  <a:pt x="114" y="14"/>
                </a:cubicBezTo>
                <a:cubicBezTo>
                  <a:pt x="112" y="12"/>
                  <a:pt x="103" y="13"/>
                  <a:pt x="107" y="15"/>
                </a:cubicBezTo>
                <a:cubicBezTo>
                  <a:pt x="111" y="17"/>
                  <a:pt x="111" y="20"/>
                  <a:pt x="111" y="23"/>
                </a:cubicBezTo>
                <a:cubicBezTo>
                  <a:pt x="111" y="27"/>
                  <a:pt x="114" y="26"/>
                  <a:pt x="114" y="31"/>
                </a:cubicBezTo>
                <a:cubicBezTo>
                  <a:pt x="114" y="35"/>
                  <a:pt x="118" y="32"/>
                  <a:pt x="120" y="32"/>
                </a:cubicBezTo>
                <a:cubicBezTo>
                  <a:pt x="123" y="32"/>
                  <a:pt x="123" y="36"/>
                  <a:pt x="119" y="37"/>
                </a:cubicBezTo>
                <a:cubicBezTo>
                  <a:pt x="115" y="37"/>
                  <a:pt x="113" y="39"/>
                  <a:pt x="112" y="43"/>
                </a:cubicBezTo>
                <a:cubicBezTo>
                  <a:pt x="111" y="46"/>
                  <a:pt x="108" y="44"/>
                  <a:pt x="105" y="46"/>
                </a:cubicBezTo>
                <a:cubicBezTo>
                  <a:pt x="102" y="49"/>
                  <a:pt x="99" y="52"/>
                  <a:pt x="97" y="51"/>
                </a:cubicBezTo>
                <a:cubicBezTo>
                  <a:pt x="95" y="49"/>
                  <a:pt x="93" y="50"/>
                  <a:pt x="91" y="52"/>
                </a:cubicBezTo>
                <a:cubicBezTo>
                  <a:pt x="89" y="53"/>
                  <a:pt x="88" y="52"/>
                  <a:pt x="84" y="49"/>
                </a:cubicBezTo>
                <a:cubicBezTo>
                  <a:pt x="82" y="47"/>
                  <a:pt x="80" y="42"/>
                  <a:pt x="76" y="37"/>
                </a:cubicBezTo>
                <a:cubicBezTo>
                  <a:pt x="73" y="39"/>
                  <a:pt x="68" y="41"/>
                  <a:pt x="65" y="41"/>
                </a:cubicBezTo>
                <a:cubicBezTo>
                  <a:pt x="61" y="41"/>
                  <a:pt x="48" y="40"/>
                  <a:pt x="48" y="42"/>
                </a:cubicBezTo>
                <a:cubicBezTo>
                  <a:pt x="47" y="44"/>
                  <a:pt x="49" y="48"/>
                  <a:pt x="51" y="48"/>
                </a:cubicBezTo>
                <a:cubicBezTo>
                  <a:pt x="53" y="49"/>
                  <a:pt x="57" y="50"/>
                  <a:pt x="53" y="53"/>
                </a:cubicBezTo>
                <a:cubicBezTo>
                  <a:pt x="49" y="56"/>
                  <a:pt x="45" y="52"/>
                  <a:pt x="45" y="59"/>
                </a:cubicBezTo>
                <a:cubicBezTo>
                  <a:pt x="45" y="66"/>
                  <a:pt x="54" y="71"/>
                  <a:pt x="52" y="77"/>
                </a:cubicBezTo>
                <a:cubicBezTo>
                  <a:pt x="51" y="81"/>
                  <a:pt x="50" y="89"/>
                  <a:pt x="50" y="93"/>
                </a:cubicBezTo>
                <a:cubicBezTo>
                  <a:pt x="50" y="96"/>
                  <a:pt x="49" y="107"/>
                  <a:pt x="46" y="108"/>
                </a:cubicBezTo>
                <a:cubicBezTo>
                  <a:pt x="43" y="109"/>
                  <a:pt x="40" y="105"/>
                  <a:pt x="36" y="109"/>
                </a:cubicBezTo>
                <a:cubicBezTo>
                  <a:pt x="32" y="112"/>
                  <a:pt x="27" y="110"/>
                  <a:pt x="22" y="114"/>
                </a:cubicBezTo>
                <a:cubicBezTo>
                  <a:pt x="18" y="117"/>
                  <a:pt x="13" y="116"/>
                  <a:pt x="12" y="120"/>
                </a:cubicBezTo>
                <a:cubicBezTo>
                  <a:pt x="12" y="125"/>
                  <a:pt x="8" y="127"/>
                  <a:pt x="9" y="131"/>
                </a:cubicBezTo>
                <a:cubicBezTo>
                  <a:pt x="10" y="135"/>
                  <a:pt x="7" y="134"/>
                  <a:pt x="4" y="137"/>
                </a:cubicBezTo>
                <a:cubicBezTo>
                  <a:pt x="1" y="140"/>
                  <a:pt x="4" y="142"/>
                  <a:pt x="2" y="144"/>
                </a:cubicBezTo>
                <a:cubicBezTo>
                  <a:pt x="0" y="147"/>
                  <a:pt x="3" y="150"/>
                  <a:pt x="5" y="154"/>
                </a:cubicBezTo>
                <a:cubicBezTo>
                  <a:pt x="7" y="158"/>
                  <a:pt x="10" y="160"/>
                  <a:pt x="10" y="164"/>
                </a:cubicBezTo>
                <a:cubicBezTo>
                  <a:pt x="9" y="167"/>
                  <a:pt x="12" y="168"/>
                  <a:pt x="15" y="168"/>
                </a:cubicBezTo>
                <a:cubicBezTo>
                  <a:pt x="19" y="168"/>
                  <a:pt x="16" y="174"/>
                  <a:pt x="21" y="174"/>
                </a:cubicBezTo>
                <a:cubicBezTo>
                  <a:pt x="27" y="174"/>
                  <a:pt x="32" y="176"/>
                  <a:pt x="33" y="173"/>
                </a:cubicBezTo>
                <a:cubicBezTo>
                  <a:pt x="35" y="170"/>
                  <a:pt x="38" y="167"/>
                  <a:pt x="38" y="172"/>
                </a:cubicBezTo>
                <a:cubicBezTo>
                  <a:pt x="38" y="176"/>
                  <a:pt x="37" y="188"/>
                  <a:pt x="41" y="186"/>
                </a:cubicBezTo>
                <a:cubicBezTo>
                  <a:pt x="45" y="185"/>
                  <a:pt x="52" y="185"/>
                  <a:pt x="56" y="187"/>
                </a:cubicBezTo>
                <a:cubicBezTo>
                  <a:pt x="59" y="188"/>
                  <a:pt x="63" y="187"/>
                  <a:pt x="65" y="184"/>
                </a:cubicBezTo>
                <a:cubicBezTo>
                  <a:pt x="68" y="182"/>
                  <a:pt x="70" y="182"/>
                  <a:pt x="75" y="179"/>
                </a:cubicBezTo>
                <a:cubicBezTo>
                  <a:pt x="80" y="177"/>
                  <a:pt x="84" y="173"/>
                  <a:pt x="88" y="173"/>
                </a:cubicBezTo>
                <a:cubicBezTo>
                  <a:pt x="93" y="173"/>
                  <a:pt x="100" y="171"/>
                  <a:pt x="99" y="174"/>
                </a:cubicBezTo>
                <a:cubicBezTo>
                  <a:pt x="98" y="177"/>
                  <a:pt x="97" y="190"/>
                  <a:pt x="103" y="196"/>
                </a:cubicBezTo>
                <a:cubicBezTo>
                  <a:pt x="108" y="202"/>
                  <a:pt x="111" y="205"/>
                  <a:pt x="116" y="204"/>
                </a:cubicBezTo>
                <a:cubicBezTo>
                  <a:pt x="121" y="203"/>
                  <a:pt x="120" y="206"/>
                  <a:pt x="124" y="206"/>
                </a:cubicBezTo>
                <a:cubicBezTo>
                  <a:pt x="128" y="205"/>
                  <a:pt x="125" y="210"/>
                  <a:pt x="129" y="210"/>
                </a:cubicBezTo>
                <a:cubicBezTo>
                  <a:pt x="132" y="210"/>
                  <a:pt x="138" y="210"/>
                  <a:pt x="138" y="214"/>
                </a:cubicBezTo>
                <a:cubicBezTo>
                  <a:pt x="138" y="218"/>
                  <a:pt x="148" y="215"/>
                  <a:pt x="150" y="217"/>
                </a:cubicBezTo>
                <a:cubicBezTo>
                  <a:pt x="153" y="219"/>
                  <a:pt x="155" y="220"/>
                  <a:pt x="155" y="224"/>
                </a:cubicBezTo>
                <a:cubicBezTo>
                  <a:pt x="154" y="228"/>
                  <a:pt x="160" y="231"/>
                  <a:pt x="156" y="233"/>
                </a:cubicBezTo>
                <a:cubicBezTo>
                  <a:pt x="153" y="235"/>
                  <a:pt x="157" y="238"/>
                  <a:pt x="158" y="242"/>
                </a:cubicBezTo>
                <a:cubicBezTo>
                  <a:pt x="158" y="247"/>
                  <a:pt x="163" y="248"/>
                  <a:pt x="170" y="248"/>
                </a:cubicBezTo>
                <a:cubicBezTo>
                  <a:pt x="177" y="248"/>
                  <a:pt x="179" y="248"/>
                  <a:pt x="179" y="254"/>
                </a:cubicBezTo>
                <a:cubicBezTo>
                  <a:pt x="179" y="259"/>
                  <a:pt x="184" y="260"/>
                  <a:pt x="186" y="265"/>
                </a:cubicBezTo>
                <a:cubicBezTo>
                  <a:pt x="188" y="270"/>
                  <a:pt x="184" y="275"/>
                  <a:pt x="185" y="279"/>
                </a:cubicBezTo>
                <a:cubicBezTo>
                  <a:pt x="185" y="282"/>
                  <a:pt x="183" y="286"/>
                  <a:pt x="181" y="287"/>
                </a:cubicBezTo>
                <a:cubicBezTo>
                  <a:pt x="184" y="290"/>
                  <a:pt x="184" y="292"/>
                  <a:pt x="182" y="293"/>
                </a:cubicBezTo>
                <a:cubicBezTo>
                  <a:pt x="179" y="295"/>
                  <a:pt x="185" y="299"/>
                  <a:pt x="184" y="307"/>
                </a:cubicBezTo>
                <a:cubicBezTo>
                  <a:pt x="182" y="314"/>
                  <a:pt x="182" y="316"/>
                  <a:pt x="190" y="316"/>
                </a:cubicBezTo>
                <a:cubicBezTo>
                  <a:pt x="197" y="316"/>
                  <a:pt x="197" y="319"/>
                  <a:pt x="199" y="317"/>
                </a:cubicBezTo>
                <a:cubicBezTo>
                  <a:pt x="202" y="315"/>
                  <a:pt x="206" y="323"/>
                  <a:pt x="207" y="326"/>
                </a:cubicBezTo>
                <a:cubicBezTo>
                  <a:pt x="208" y="330"/>
                  <a:pt x="211" y="339"/>
                  <a:pt x="213" y="339"/>
                </a:cubicBezTo>
                <a:cubicBezTo>
                  <a:pt x="214" y="339"/>
                  <a:pt x="218" y="335"/>
                  <a:pt x="222" y="337"/>
                </a:cubicBezTo>
                <a:cubicBezTo>
                  <a:pt x="226" y="339"/>
                  <a:pt x="221" y="351"/>
                  <a:pt x="221" y="357"/>
                </a:cubicBezTo>
                <a:cubicBezTo>
                  <a:pt x="224" y="357"/>
                  <a:pt x="227" y="357"/>
                  <a:pt x="228" y="358"/>
                </a:cubicBezTo>
                <a:cubicBezTo>
                  <a:pt x="230" y="359"/>
                  <a:pt x="231" y="372"/>
                  <a:pt x="230" y="375"/>
                </a:cubicBezTo>
                <a:cubicBezTo>
                  <a:pt x="229" y="377"/>
                  <a:pt x="221" y="380"/>
                  <a:pt x="217" y="382"/>
                </a:cubicBezTo>
                <a:cubicBezTo>
                  <a:pt x="212" y="385"/>
                  <a:pt x="202" y="395"/>
                  <a:pt x="197" y="403"/>
                </a:cubicBezTo>
                <a:cubicBezTo>
                  <a:pt x="194" y="408"/>
                  <a:pt x="190" y="411"/>
                  <a:pt x="187" y="415"/>
                </a:cubicBezTo>
                <a:cubicBezTo>
                  <a:pt x="189" y="415"/>
                  <a:pt x="190" y="415"/>
                  <a:pt x="191" y="415"/>
                </a:cubicBezTo>
                <a:cubicBezTo>
                  <a:pt x="193" y="413"/>
                  <a:pt x="196" y="413"/>
                  <a:pt x="200" y="418"/>
                </a:cubicBezTo>
                <a:cubicBezTo>
                  <a:pt x="204" y="423"/>
                  <a:pt x="204" y="426"/>
                  <a:pt x="205" y="426"/>
                </a:cubicBezTo>
                <a:cubicBezTo>
                  <a:pt x="207" y="426"/>
                  <a:pt x="209" y="420"/>
                  <a:pt x="212" y="424"/>
                </a:cubicBezTo>
                <a:cubicBezTo>
                  <a:pt x="215" y="428"/>
                  <a:pt x="223" y="432"/>
                  <a:pt x="224" y="434"/>
                </a:cubicBezTo>
                <a:cubicBezTo>
                  <a:pt x="226" y="436"/>
                  <a:pt x="232" y="437"/>
                  <a:pt x="232" y="443"/>
                </a:cubicBezTo>
                <a:cubicBezTo>
                  <a:pt x="232" y="446"/>
                  <a:pt x="230" y="454"/>
                  <a:pt x="233" y="460"/>
                </a:cubicBezTo>
                <a:cubicBezTo>
                  <a:pt x="235" y="458"/>
                  <a:pt x="236" y="456"/>
                  <a:pt x="238" y="45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0" name="Freeform 107"/>
          <p:cNvSpPr/>
          <p:nvPr/>
        </p:nvSpPr>
        <p:spPr bwMode="auto">
          <a:xfrm>
            <a:off x="4435832" y="5313368"/>
            <a:ext cx="124238" cy="140256"/>
          </a:xfrm>
          <a:custGeom>
            <a:cxnLst>
              <a:cxn ang="0">
                <a:pos x="55" y="30"/>
              </a:cxn>
              <a:cxn ang="0">
                <a:pos x="47" y="21"/>
              </a:cxn>
              <a:cxn ang="0">
                <a:pos x="35" y="11"/>
              </a:cxn>
              <a:cxn ang="0">
                <a:pos x="28" y="13"/>
              </a:cxn>
              <a:cxn ang="0">
                <a:pos x="23" y="5"/>
              </a:cxn>
              <a:cxn ang="0">
                <a:pos x="14" y="2"/>
              </a:cxn>
              <a:cxn ang="0">
                <a:pos x="10" y="2"/>
              </a:cxn>
              <a:cxn ang="0">
                <a:pos x="7" y="8"/>
              </a:cxn>
              <a:cxn ang="0">
                <a:pos x="3" y="27"/>
              </a:cxn>
              <a:cxn ang="0">
                <a:pos x="0" y="42"/>
              </a:cxn>
              <a:cxn ang="0">
                <a:pos x="3" y="49"/>
              </a:cxn>
              <a:cxn ang="0">
                <a:pos x="2" y="54"/>
              </a:cxn>
              <a:cxn ang="0">
                <a:pos x="7" y="56"/>
              </a:cxn>
              <a:cxn ang="0">
                <a:pos x="21" y="60"/>
              </a:cxn>
              <a:cxn ang="0">
                <a:pos x="30" y="60"/>
              </a:cxn>
              <a:cxn ang="0">
                <a:pos x="47" y="57"/>
              </a:cxn>
              <a:cxn ang="0">
                <a:pos x="56" y="47"/>
              </a:cxn>
              <a:cxn ang="0">
                <a:pos x="55" y="30"/>
              </a:cxn>
            </a:cxnLst>
            <a:rect b="b" l="0" r="r" t="0"/>
            <a:pathLst>
              <a:path h="62" w="56">
                <a:moveTo>
                  <a:pt x="55" y="30"/>
                </a:moveTo>
                <a:cubicBezTo>
                  <a:pt x="55" y="24"/>
                  <a:pt x="49" y="23"/>
                  <a:pt x="47" y="21"/>
                </a:cubicBezTo>
                <a:cubicBezTo>
                  <a:pt x="46" y="19"/>
                  <a:pt x="38" y="15"/>
                  <a:pt x="35" y="11"/>
                </a:cubicBezTo>
                <a:cubicBezTo>
                  <a:pt x="32" y="7"/>
                  <a:pt x="30" y="13"/>
                  <a:pt x="28" y="13"/>
                </a:cubicBezTo>
                <a:cubicBezTo>
                  <a:pt x="27" y="13"/>
                  <a:pt x="27" y="10"/>
                  <a:pt x="23" y="5"/>
                </a:cubicBezTo>
                <a:cubicBezTo>
                  <a:pt x="19" y="0"/>
                  <a:pt x="16" y="0"/>
                  <a:pt x="14" y="2"/>
                </a:cubicBezTo>
                <a:cubicBezTo>
                  <a:pt x="13" y="2"/>
                  <a:pt x="12" y="2"/>
                  <a:pt x="10" y="2"/>
                </a:cubicBezTo>
                <a:cubicBezTo>
                  <a:pt x="8" y="4"/>
                  <a:pt x="7" y="6"/>
                  <a:pt x="7" y="8"/>
                </a:cubicBezTo>
                <a:cubicBezTo>
                  <a:pt x="7" y="13"/>
                  <a:pt x="3" y="18"/>
                  <a:pt x="3" y="27"/>
                </a:cubicBezTo>
                <a:cubicBezTo>
                  <a:pt x="3" y="36"/>
                  <a:pt x="0" y="35"/>
                  <a:pt x="0" y="42"/>
                </a:cubicBezTo>
                <a:cubicBezTo>
                  <a:pt x="0" y="49"/>
                  <a:pt x="2" y="48"/>
                  <a:pt x="3" y="49"/>
                </a:cubicBezTo>
                <a:cubicBezTo>
                  <a:pt x="4" y="49"/>
                  <a:pt x="3" y="52"/>
                  <a:pt x="2" y="54"/>
                </a:cubicBezTo>
                <a:cubicBezTo>
                  <a:pt x="3" y="55"/>
                  <a:pt x="5" y="56"/>
                  <a:pt x="7" y="56"/>
                </a:cubicBezTo>
                <a:cubicBezTo>
                  <a:pt x="11" y="55"/>
                  <a:pt x="16" y="57"/>
                  <a:pt x="21" y="60"/>
                </a:cubicBezTo>
                <a:cubicBezTo>
                  <a:pt x="27" y="62"/>
                  <a:pt x="25" y="59"/>
                  <a:pt x="30" y="60"/>
                </a:cubicBezTo>
                <a:cubicBezTo>
                  <a:pt x="35" y="60"/>
                  <a:pt x="41" y="61"/>
                  <a:pt x="47" y="57"/>
                </a:cubicBezTo>
                <a:cubicBezTo>
                  <a:pt x="51" y="55"/>
                  <a:pt x="53" y="51"/>
                  <a:pt x="56" y="47"/>
                </a:cubicBezTo>
                <a:cubicBezTo>
                  <a:pt x="53" y="41"/>
                  <a:pt x="55" y="33"/>
                  <a:pt x="55" y="3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1" name="Freeform 108"/>
          <p:cNvSpPr>
            <a:spLocks noEditPoints="1"/>
          </p:cNvSpPr>
          <p:nvPr/>
        </p:nvSpPr>
        <p:spPr bwMode="auto">
          <a:xfrm>
            <a:off x="4046433" y="5080240"/>
            <a:ext cx="509928" cy="1027278"/>
          </a:xfrm>
          <a:custGeom>
            <a:cxnLst>
              <a:cxn ang="0">
                <a:pos x="65" y="427"/>
              </a:cxn>
              <a:cxn ang="0">
                <a:pos x="60" y="417"/>
              </a:cxn>
              <a:cxn ang="0">
                <a:pos x="56" y="448"/>
              </a:cxn>
              <a:cxn ang="0">
                <a:pos x="80" y="449"/>
              </a:cxn>
              <a:cxn ang="0">
                <a:pos x="87" y="441"/>
              </a:cxn>
              <a:cxn ang="0">
                <a:pos x="218" y="46"/>
              </a:cxn>
              <a:cxn ang="0">
                <a:pos x="212" y="64"/>
              </a:cxn>
              <a:cxn ang="0">
                <a:pos x="194" y="70"/>
              </a:cxn>
              <a:cxn ang="0">
                <a:pos x="172" y="67"/>
              </a:cxn>
              <a:cxn ang="0">
                <a:pos x="185" y="44"/>
              </a:cxn>
              <a:cxn ang="0">
                <a:pos x="151" y="27"/>
              </a:cxn>
              <a:cxn ang="0">
                <a:pos x="123" y="3"/>
              </a:cxn>
              <a:cxn ang="0">
                <a:pos x="105" y="10"/>
              </a:cxn>
              <a:cxn ang="0">
                <a:pos x="82" y="5"/>
              </a:cxn>
              <a:cxn ang="0">
                <a:pos x="72" y="25"/>
              </a:cxn>
              <a:cxn ang="0">
                <a:pos x="58" y="43"/>
              </a:cxn>
              <a:cxn ang="0">
                <a:pos x="60" y="63"/>
              </a:cxn>
              <a:cxn ang="0">
                <a:pos x="49" y="78"/>
              </a:cxn>
              <a:cxn ang="0">
                <a:pos x="41" y="94"/>
              </a:cxn>
              <a:cxn ang="0">
                <a:pos x="37" y="115"/>
              </a:cxn>
              <a:cxn ang="0">
                <a:pos x="40" y="138"/>
              </a:cxn>
              <a:cxn ang="0">
                <a:pos x="40" y="157"/>
              </a:cxn>
              <a:cxn ang="0">
                <a:pos x="37" y="180"/>
              </a:cxn>
              <a:cxn ang="0">
                <a:pos x="28" y="206"/>
              </a:cxn>
              <a:cxn ang="0">
                <a:pos x="25" y="216"/>
              </a:cxn>
              <a:cxn ang="0">
                <a:pos x="21" y="232"/>
              </a:cxn>
              <a:cxn ang="0">
                <a:pos x="20" y="248"/>
              </a:cxn>
              <a:cxn ang="0">
                <a:pos x="18" y="272"/>
              </a:cxn>
              <a:cxn ang="0">
                <a:pos x="21" y="285"/>
              </a:cxn>
              <a:cxn ang="0">
                <a:pos x="26" y="296"/>
              </a:cxn>
              <a:cxn ang="0">
                <a:pos x="23" y="305"/>
              </a:cxn>
              <a:cxn ang="0">
                <a:pos x="21" y="323"/>
              </a:cxn>
              <a:cxn ang="0">
                <a:pos x="13" y="338"/>
              </a:cxn>
              <a:cxn ang="0">
                <a:pos x="9" y="355"/>
              </a:cxn>
              <a:cxn ang="0">
                <a:pos x="3" y="373"/>
              </a:cxn>
              <a:cxn ang="0">
                <a:pos x="15" y="384"/>
              </a:cxn>
              <a:cxn ang="0">
                <a:pos x="21" y="401"/>
              </a:cxn>
              <a:cxn ang="0">
                <a:pos x="47" y="404"/>
              </a:cxn>
              <a:cxn ang="0">
                <a:pos x="52" y="395"/>
              </a:cxn>
              <a:cxn ang="0">
                <a:pos x="53" y="376"/>
              </a:cxn>
              <a:cxn ang="0">
                <a:pos x="66" y="364"/>
              </a:cxn>
              <a:cxn ang="0">
                <a:pos x="87" y="340"/>
              </a:cxn>
              <a:cxn ang="0">
                <a:pos x="78" y="326"/>
              </a:cxn>
              <a:cxn ang="0">
                <a:pos x="89" y="299"/>
              </a:cxn>
              <a:cxn ang="0">
                <a:pos x="95" y="285"/>
              </a:cxn>
              <a:cxn ang="0">
                <a:pos x="102" y="270"/>
              </a:cxn>
              <a:cxn ang="0">
                <a:pos x="109" y="269"/>
              </a:cxn>
              <a:cxn ang="0">
                <a:pos x="106" y="262"/>
              </a:cxn>
              <a:cxn ang="0">
                <a:pos x="98" y="251"/>
              </a:cxn>
              <a:cxn ang="0">
                <a:pos x="115" y="245"/>
              </a:cxn>
              <a:cxn ang="0">
                <a:pos x="129" y="228"/>
              </a:cxn>
              <a:cxn ang="0">
                <a:pos x="133" y="215"/>
              </a:cxn>
              <a:cxn ang="0">
                <a:pos x="183" y="203"/>
              </a:cxn>
              <a:cxn ang="0">
                <a:pos x="189" y="181"/>
              </a:cxn>
              <a:cxn ang="0">
                <a:pos x="180" y="164"/>
              </a:cxn>
              <a:cxn ang="0">
                <a:pos x="176" y="156"/>
              </a:cxn>
              <a:cxn ang="0">
                <a:pos x="174" y="144"/>
              </a:cxn>
              <a:cxn ang="0">
                <a:pos x="181" y="110"/>
              </a:cxn>
              <a:cxn ang="0">
                <a:pos x="214" y="71"/>
              </a:cxn>
              <a:cxn ang="0">
                <a:pos x="225" y="47"/>
              </a:cxn>
            </a:cxnLst>
            <a:rect b="b" l="0" r="r" t="0"/>
            <a:pathLst>
              <a:path h="450" w="228">
                <a:moveTo>
                  <a:pt x="87" y="441"/>
                </a:moveTo>
                <a:cubicBezTo>
                  <a:pt x="81" y="441"/>
                  <a:pt x="68" y="430"/>
                  <a:pt x="65" y="427"/>
                </a:cubicBezTo>
                <a:cubicBezTo>
                  <a:pt x="61" y="424"/>
                  <a:pt x="64" y="421"/>
                  <a:pt x="59" y="421"/>
                </a:cubicBezTo>
                <a:cubicBezTo>
                  <a:pt x="55" y="422"/>
                  <a:pt x="58" y="418"/>
                  <a:pt x="60" y="417"/>
                </a:cubicBezTo>
                <a:cubicBezTo>
                  <a:pt x="62" y="415"/>
                  <a:pt x="59" y="411"/>
                  <a:pt x="56" y="410"/>
                </a:cubicBezTo>
                <a:cubicBezTo>
                  <a:pt x="56" y="417"/>
                  <a:pt x="54" y="447"/>
                  <a:pt x="56" y="448"/>
                </a:cubicBezTo>
                <a:cubicBezTo>
                  <a:pt x="58" y="448"/>
                  <a:pt x="71" y="446"/>
                  <a:pt x="75" y="449"/>
                </a:cubicBezTo>
                <a:cubicBezTo>
                  <a:pt x="77" y="449"/>
                  <a:pt x="79" y="450"/>
                  <a:pt x="80" y="449"/>
                </a:cubicBezTo>
                <a:cubicBezTo>
                  <a:pt x="83" y="446"/>
                  <a:pt x="90" y="447"/>
                  <a:pt x="94" y="445"/>
                </a:cubicBezTo>
                <a:cubicBezTo>
                  <a:pt x="98" y="442"/>
                  <a:pt x="93" y="442"/>
                  <a:pt x="87" y="441"/>
                </a:cubicBezTo>
                <a:close/>
                <a:moveTo>
                  <a:pt x="225" y="47"/>
                </a:moveTo>
                <a:cubicBezTo>
                  <a:pt x="224" y="46"/>
                  <a:pt x="221" y="46"/>
                  <a:pt x="218" y="46"/>
                </a:cubicBezTo>
                <a:cubicBezTo>
                  <a:pt x="218" y="46"/>
                  <a:pt x="218" y="47"/>
                  <a:pt x="218" y="47"/>
                </a:cubicBezTo>
                <a:cubicBezTo>
                  <a:pt x="219" y="52"/>
                  <a:pt x="216" y="64"/>
                  <a:pt x="212" y="64"/>
                </a:cubicBezTo>
                <a:cubicBezTo>
                  <a:pt x="209" y="63"/>
                  <a:pt x="206" y="69"/>
                  <a:pt x="203" y="68"/>
                </a:cubicBezTo>
                <a:cubicBezTo>
                  <a:pt x="201" y="67"/>
                  <a:pt x="197" y="72"/>
                  <a:pt x="194" y="70"/>
                </a:cubicBezTo>
                <a:cubicBezTo>
                  <a:pt x="190" y="68"/>
                  <a:pt x="186" y="71"/>
                  <a:pt x="183" y="69"/>
                </a:cubicBezTo>
                <a:cubicBezTo>
                  <a:pt x="180" y="67"/>
                  <a:pt x="172" y="69"/>
                  <a:pt x="172" y="67"/>
                </a:cubicBezTo>
                <a:cubicBezTo>
                  <a:pt x="172" y="65"/>
                  <a:pt x="176" y="65"/>
                  <a:pt x="176" y="59"/>
                </a:cubicBezTo>
                <a:cubicBezTo>
                  <a:pt x="176" y="53"/>
                  <a:pt x="186" y="47"/>
                  <a:pt x="185" y="44"/>
                </a:cubicBezTo>
                <a:cubicBezTo>
                  <a:pt x="183" y="42"/>
                  <a:pt x="166" y="37"/>
                  <a:pt x="164" y="34"/>
                </a:cubicBezTo>
                <a:cubicBezTo>
                  <a:pt x="161" y="31"/>
                  <a:pt x="158" y="28"/>
                  <a:pt x="151" y="27"/>
                </a:cubicBezTo>
                <a:cubicBezTo>
                  <a:pt x="145" y="27"/>
                  <a:pt x="145" y="23"/>
                  <a:pt x="139" y="19"/>
                </a:cubicBezTo>
                <a:cubicBezTo>
                  <a:pt x="134" y="16"/>
                  <a:pt x="126" y="8"/>
                  <a:pt x="123" y="3"/>
                </a:cubicBezTo>
                <a:cubicBezTo>
                  <a:pt x="119" y="3"/>
                  <a:pt x="113" y="2"/>
                  <a:pt x="112" y="4"/>
                </a:cubicBezTo>
                <a:cubicBezTo>
                  <a:pt x="110" y="6"/>
                  <a:pt x="108" y="15"/>
                  <a:pt x="105" y="10"/>
                </a:cubicBezTo>
                <a:cubicBezTo>
                  <a:pt x="103" y="6"/>
                  <a:pt x="97" y="6"/>
                  <a:pt x="92" y="5"/>
                </a:cubicBezTo>
                <a:cubicBezTo>
                  <a:pt x="87" y="4"/>
                  <a:pt x="88" y="0"/>
                  <a:pt x="82" y="5"/>
                </a:cubicBezTo>
                <a:cubicBezTo>
                  <a:pt x="80" y="8"/>
                  <a:pt x="77" y="10"/>
                  <a:pt x="74" y="12"/>
                </a:cubicBezTo>
                <a:cubicBezTo>
                  <a:pt x="74" y="17"/>
                  <a:pt x="73" y="23"/>
                  <a:pt x="72" y="25"/>
                </a:cubicBezTo>
                <a:cubicBezTo>
                  <a:pt x="70" y="28"/>
                  <a:pt x="59" y="33"/>
                  <a:pt x="59" y="35"/>
                </a:cubicBezTo>
                <a:cubicBezTo>
                  <a:pt x="59" y="38"/>
                  <a:pt x="60" y="42"/>
                  <a:pt x="58" y="43"/>
                </a:cubicBezTo>
                <a:cubicBezTo>
                  <a:pt x="56" y="45"/>
                  <a:pt x="63" y="54"/>
                  <a:pt x="59" y="56"/>
                </a:cubicBezTo>
                <a:cubicBezTo>
                  <a:pt x="56" y="58"/>
                  <a:pt x="62" y="61"/>
                  <a:pt x="60" y="63"/>
                </a:cubicBezTo>
                <a:cubicBezTo>
                  <a:pt x="57" y="65"/>
                  <a:pt x="53" y="66"/>
                  <a:pt x="53" y="69"/>
                </a:cubicBezTo>
                <a:cubicBezTo>
                  <a:pt x="53" y="71"/>
                  <a:pt x="53" y="77"/>
                  <a:pt x="49" y="78"/>
                </a:cubicBezTo>
                <a:cubicBezTo>
                  <a:pt x="46" y="79"/>
                  <a:pt x="44" y="84"/>
                  <a:pt x="44" y="88"/>
                </a:cubicBezTo>
                <a:cubicBezTo>
                  <a:pt x="44" y="92"/>
                  <a:pt x="40" y="89"/>
                  <a:pt x="41" y="94"/>
                </a:cubicBezTo>
                <a:cubicBezTo>
                  <a:pt x="43" y="99"/>
                  <a:pt x="45" y="105"/>
                  <a:pt x="41" y="106"/>
                </a:cubicBezTo>
                <a:cubicBezTo>
                  <a:pt x="38" y="107"/>
                  <a:pt x="39" y="115"/>
                  <a:pt x="37" y="115"/>
                </a:cubicBezTo>
                <a:cubicBezTo>
                  <a:pt x="35" y="115"/>
                  <a:pt x="34" y="123"/>
                  <a:pt x="37" y="127"/>
                </a:cubicBezTo>
                <a:cubicBezTo>
                  <a:pt x="40" y="131"/>
                  <a:pt x="40" y="134"/>
                  <a:pt x="40" y="138"/>
                </a:cubicBezTo>
                <a:cubicBezTo>
                  <a:pt x="40" y="142"/>
                  <a:pt x="44" y="144"/>
                  <a:pt x="43" y="148"/>
                </a:cubicBezTo>
                <a:cubicBezTo>
                  <a:pt x="42" y="152"/>
                  <a:pt x="42" y="155"/>
                  <a:pt x="40" y="157"/>
                </a:cubicBezTo>
                <a:cubicBezTo>
                  <a:pt x="38" y="159"/>
                  <a:pt x="40" y="164"/>
                  <a:pt x="37" y="165"/>
                </a:cubicBezTo>
                <a:cubicBezTo>
                  <a:pt x="34" y="167"/>
                  <a:pt x="39" y="177"/>
                  <a:pt x="37" y="180"/>
                </a:cubicBezTo>
                <a:cubicBezTo>
                  <a:pt x="34" y="182"/>
                  <a:pt x="28" y="183"/>
                  <a:pt x="28" y="191"/>
                </a:cubicBezTo>
                <a:cubicBezTo>
                  <a:pt x="28" y="198"/>
                  <a:pt x="29" y="202"/>
                  <a:pt x="28" y="206"/>
                </a:cubicBezTo>
                <a:cubicBezTo>
                  <a:pt x="28" y="208"/>
                  <a:pt x="32" y="208"/>
                  <a:pt x="31" y="212"/>
                </a:cubicBezTo>
                <a:cubicBezTo>
                  <a:pt x="31" y="216"/>
                  <a:pt x="25" y="214"/>
                  <a:pt x="25" y="216"/>
                </a:cubicBezTo>
                <a:cubicBezTo>
                  <a:pt x="24" y="219"/>
                  <a:pt x="26" y="225"/>
                  <a:pt x="24" y="225"/>
                </a:cubicBezTo>
                <a:cubicBezTo>
                  <a:pt x="22" y="225"/>
                  <a:pt x="21" y="227"/>
                  <a:pt x="21" y="232"/>
                </a:cubicBezTo>
                <a:cubicBezTo>
                  <a:pt x="21" y="237"/>
                  <a:pt x="18" y="237"/>
                  <a:pt x="18" y="240"/>
                </a:cubicBezTo>
                <a:cubicBezTo>
                  <a:pt x="18" y="242"/>
                  <a:pt x="20" y="245"/>
                  <a:pt x="20" y="248"/>
                </a:cubicBezTo>
                <a:cubicBezTo>
                  <a:pt x="20" y="250"/>
                  <a:pt x="22" y="259"/>
                  <a:pt x="20" y="260"/>
                </a:cubicBezTo>
                <a:cubicBezTo>
                  <a:pt x="17" y="260"/>
                  <a:pt x="16" y="270"/>
                  <a:pt x="18" y="272"/>
                </a:cubicBezTo>
                <a:cubicBezTo>
                  <a:pt x="20" y="273"/>
                  <a:pt x="20" y="276"/>
                  <a:pt x="19" y="278"/>
                </a:cubicBezTo>
                <a:cubicBezTo>
                  <a:pt x="18" y="280"/>
                  <a:pt x="24" y="282"/>
                  <a:pt x="21" y="285"/>
                </a:cubicBezTo>
                <a:cubicBezTo>
                  <a:pt x="18" y="288"/>
                  <a:pt x="20" y="292"/>
                  <a:pt x="24" y="291"/>
                </a:cubicBezTo>
                <a:cubicBezTo>
                  <a:pt x="27" y="290"/>
                  <a:pt x="29" y="296"/>
                  <a:pt x="26" y="296"/>
                </a:cubicBezTo>
                <a:cubicBezTo>
                  <a:pt x="22" y="296"/>
                  <a:pt x="18" y="296"/>
                  <a:pt x="21" y="298"/>
                </a:cubicBezTo>
                <a:cubicBezTo>
                  <a:pt x="24" y="300"/>
                  <a:pt x="27" y="304"/>
                  <a:pt x="23" y="305"/>
                </a:cubicBezTo>
                <a:cubicBezTo>
                  <a:pt x="19" y="307"/>
                  <a:pt x="22" y="310"/>
                  <a:pt x="21" y="314"/>
                </a:cubicBezTo>
                <a:cubicBezTo>
                  <a:pt x="20" y="318"/>
                  <a:pt x="24" y="322"/>
                  <a:pt x="21" y="323"/>
                </a:cubicBezTo>
                <a:cubicBezTo>
                  <a:pt x="18" y="324"/>
                  <a:pt x="22" y="330"/>
                  <a:pt x="18" y="331"/>
                </a:cubicBezTo>
                <a:cubicBezTo>
                  <a:pt x="13" y="331"/>
                  <a:pt x="16" y="336"/>
                  <a:pt x="13" y="338"/>
                </a:cubicBezTo>
                <a:cubicBezTo>
                  <a:pt x="10" y="341"/>
                  <a:pt x="17" y="345"/>
                  <a:pt x="13" y="347"/>
                </a:cubicBezTo>
                <a:cubicBezTo>
                  <a:pt x="10" y="349"/>
                  <a:pt x="12" y="355"/>
                  <a:pt x="9" y="355"/>
                </a:cubicBezTo>
                <a:cubicBezTo>
                  <a:pt x="5" y="355"/>
                  <a:pt x="3" y="360"/>
                  <a:pt x="2" y="362"/>
                </a:cubicBezTo>
                <a:cubicBezTo>
                  <a:pt x="2" y="365"/>
                  <a:pt x="0" y="369"/>
                  <a:pt x="3" y="373"/>
                </a:cubicBezTo>
                <a:cubicBezTo>
                  <a:pt x="6" y="376"/>
                  <a:pt x="2" y="379"/>
                  <a:pt x="5" y="380"/>
                </a:cubicBezTo>
                <a:cubicBezTo>
                  <a:pt x="7" y="382"/>
                  <a:pt x="17" y="380"/>
                  <a:pt x="15" y="384"/>
                </a:cubicBezTo>
                <a:cubicBezTo>
                  <a:pt x="14" y="388"/>
                  <a:pt x="14" y="396"/>
                  <a:pt x="16" y="396"/>
                </a:cubicBezTo>
                <a:cubicBezTo>
                  <a:pt x="18" y="396"/>
                  <a:pt x="19" y="402"/>
                  <a:pt x="21" y="401"/>
                </a:cubicBezTo>
                <a:cubicBezTo>
                  <a:pt x="24" y="401"/>
                  <a:pt x="36" y="399"/>
                  <a:pt x="41" y="401"/>
                </a:cubicBezTo>
                <a:cubicBezTo>
                  <a:pt x="44" y="402"/>
                  <a:pt x="46" y="403"/>
                  <a:pt x="47" y="404"/>
                </a:cubicBezTo>
                <a:cubicBezTo>
                  <a:pt x="50" y="403"/>
                  <a:pt x="57" y="407"/>
                  <a:pt x="58" y="406"/>
                </a:cubicBezTo>
                <a:cubicBezTo>
                  <a:pt x="60" y="404"/>
                  <a:pt x="52" y="398"/>
                  <a:pt x="52" y="395"/>
                </a:cubicBezTo>
                <a:cubicBezTo>
                  <a:pt x="52" y="393"/>
                  <a:pt x="51" y="389"/>
                  <a:pt x="51" y="387"/>
                </a:cubicBezTo>
                <a:cubicBezTo>
                  <a:pt x="51" y="384"/>
                  <a:pt x="50" y="379"/>
                  <a:pt x="53" y="376"/>
                </a:cubicBezTo>
                <a:cubicBezTo>
                  <a:pt x="57" y="374"/>
                  <a:pt x="57" y="371"/>
                  <a:pt x="59" y="372"/>
                </a:cubicBezTo>
                <a:cubicBezTo>
                  <a:pt x="61" y="372"/>
                  <a:pt x="66" y="370"/>
                  <a:pt x="66" y="364"/>
                </a:cubicBezTo>
                <a:cubicBezTo>
                  <a:pt x="66" y="358"/>
                  <a:pt x="69" y="356"/>
                  <a:pt x="74" y="351"/>
                </a:cubicBezTo>
                <a:cubicBezTo>
                  <a:pt x="80" y="347"/>
                  <a:pt x="89" y="342"/>
                  <a:pt x="87" y="340"/>
                </a:cubicBezTo>
                <a:cubicBezTo>
                  <a:pt x="86" y="338"/>
                  <a:pt x="89" y="332"/>
                  <a:pt x="89" y="329"/>
                </a:cubicBezTo>
                <a:cubicBezTo>
                  <a:pt x="89" y="327"/>
                  <a:pt x="81" y="327"/>
                  <a:pt x="78" y="326"/>
                </a:cubicBezTo>
                <a:cubicBezTo>
                  <a:pt x="75" y="325"/>
                  <a:pt x="65" y="318"/>
                  <a:pt x="70" y="309"/>
                </a:cubicBezTo>
                <a:cubicBezTo>
                  <a:pt x="75" y="300"/>
                  <a:pt x="86" y="299"/>
                  <a:pt x="89" y="299"/>
                </a:cubicBezTo>
                <a:cubicBezTo>
                  <a:pt x="92" y="298"/>
                  <a:pt x="89" y="294"/>
                  <a:pt x="92" y="293"/>
                </a:cubicBezTo>
                <a:cubicBezTo>
                  <a:pt x="94" y="291"/>
                  <a:pt x="95" y="289"/>
                  <a:pt x="95" y="285"/>
                </a:cubicBezTo>
                <a:cubicBezTo>
                  <a:pt x="95" y="281"/>
                  <a:pt x="95" y="274"/>
                  <a:pt x="99" y="273"/>
                </a:cubicBezTo>
                <a:cubicBezTo>
                  <a:pt x="104" y="273"/>
                  <a:pt x="105" y="270"/>
                  <a:pt x="102" y="270"/>
                </a:cubicBezTo>
                <a:cubicBezTo>
                  <a:pt x="99" y="269"/>
                  <a:pt x="98" y="266"/>
                  <a:pt x="103" y="265"/>
                </a:cubicBezTo>
                <a:cubicBezTo>
                  <a:pt x="107" y="265"/>
                  <a:pt x="106" y="269"/>
                  <a:pt x="109" y="269"/>
                </a:cubicBezTo>
                <a:cubicBezTo>
                  <a:pt x="112" y="269"/>
                  <a:pt x="118" y="263"/>
                  <a:pt x="113" y="260"/>
                </a:cubicBezTo>
                <a:cubicBezTo>
                  <a:pt x="109" y="257"/>
                  <a:pt x="108" y="262"/>
                  <a:pt x="106" y="262"/>
                </a:cubicBezTo>
                <a:cubicBezTo>
                  <a:pt x="103" y="263"/>
                  <a:pt x="102" y="259"/>
                  <a:pt x="99" y="259"/>
                </a:cubicBezTo>
                <a:cubicBezTo>
                  <a:pt x="97" y="259"/>
                  <a:pt x="99" y="253"/>
                  <a:pt x="98" y="251"/>
                </a:cubicBezTo>
                <a:cubicBezTo>
                  <a:pt x="97" y="248"/>
                  <a:pt x="95" y="243"/>
                  <a:pt x="97" y="240"/>
                </a:cubicBezTo>
                <a:cubicBezTo>
                  <a:pt x="99" y="237"/>
                  <a:pt x="108" y="244"/>
                  <a:pt x="115" y="245"/>
                </a:cubicBezTo>
                <a:cubicBezTo>
                  <a:pt x="123" y="245"/>
                  <a:pt x="128" y="241"/>
                  <a:pt x="128" y="238"/>
                </a:cubicBezTo>
                <a:cubicBezTo>
                  <a:pt x="128" y="236"/>
                  <a:pt x="125" y="231"/>
                  <a:pt x="129" y="228"/>
                </a:cubicBezTo>
                <a:cubicBezTo>
                  <a:pt x="134" y="225"/>
                  <a:pt x="130" y="224"/>
                  <a:pt x="129" y="220"/>
                </a:cubicBezTo>
                <a:cubicBezTo>
                  <a:pt x="127" y="216"/>
                  <a:pt x="131" y="213"/>
                  <a:pt x="133" y="215"/>
                </a:cubicBezTo>
                <a:cubicBezTo>
                  <a:pt x="135" y="217"/>
                  <a:pt x="149" y="216"/>
                  <a:pt x="162" y="213"/>
                </a:cubicBezTo>
                <a:cubicBezTo>
                  <a:pt x="174" y="211"/>
                  <a:pt x="182" y="206"/>
                  <a:pt x="183" y="203"/>
                </a:cubicBezTo>
                <a:cubicBezTo>
                  <a:pt x="184" y="199"/>
                  <a:pt x="192" y="191"/>
                  <a:pt x="193" y="188"/>
                </a:cubicBezTo>
                <a:cubicBezTo>
                  <a:pt x="195" y="185"/>
                  <a:pt x="194" y="181"/>
                  <a:pt x="189" y="181"/>
                </a:cubicBezTo>
                <a:cubicBezTo>
                  <a:pt x="184" y="180"/>
                  <a:pt x="184" y="174"/>
                  <a:pt x="187" y="171"/>
                </a:cubicBezTo>
                <a:cubicBezTo>
                  <a:pt x="189" y="168"/>
                  <a:pt x="185" y="165"/>
                  <a:pt x="180" y="164"/>
                </a:cubicBezTo>
                <a:cubicBezTo>
                  <a:pt x="176" y="164"/>
                  <a:pt x="168" y="160"/>
                  <a:pt x="172" y="156"/>
                </a:cubicBezTo>
                <a:cubicBezTo>
                  <a:pt x="174" y="154"/>
                  <a:pt x="175" y="155"/>
                  <a:pt x="176" y="156"/>
                </a:cubicBezTo>
                <a:cubicBezTo>
                  <a:pt x="177" y="154"/>
                  <a:pt x="178" y="151"/>
                  <a:pt x="177" y="151"/>
                </a:cubicBezTo>
                <a:cubicBezTo>
                  <a:pt x="176" y="150"/>
                  <a:pt x="174" y="151"/>
                  <a:pt x="174" y="144"/>
                </a:cubicBezTo>
                <a:cubicBezTo>
                  <a:pt x="174" y="137"/>
                  <a:pt x="177" y="138"/>
                  <a:pt x="177" y="129"/>
                </a:cubicBezTo>
                <a:cubicBezTo>
                  <a:pt x="177" y="120"/>
                  <a:pt x="181" y="115"/>
                  <a:pt x="181" y="110"/>
                </a:cubicBezTo>
                <a:cubicBezTo>
                  <a:pt x="181" y="105"/>
                  <a:pt x="189" y="100"/>
                  <a:pt x="194" y="92"/>
                </a:cubicBezTo>
                <a:cubicBezTo>
                  <a:pt x="199" y="84"/>
                  <a:pt x="209" y="74"/>
                  <a:pt x="214" y="71"/>
                </a:cubicBezTo>
                <a:cubicBezTo>
                  <a:pt x="218" y="69"/>
                  <a:pt x="226" y="66"/>
                  <a:pt x="227" y="64"/>
                </a:cubicBezTo>
                <a:cubicBezTo>
                  <a:pt x="228" y="61"/>
                  <a:pt x="227" y="48"/>
                  <a:pt x="225" y="4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2" name="Freeform 109"/>
          <p:cNvSpPr/>
          <p:nvPr/>
        </p:nvSpPr>
        <p:spPr bwMode="auto">
          <a:xfrm>
            <a:off x="3990804" y="4964624"/>
            <a:ext cx="222514" cy="1161848"/>
          </a:xfrm>
          <a:custGeom>
            <a:cxnLst>
              <a:cxn ang="0">
                <a:pos x="40" y="435"/>
              </a:cxn>
              <a:cxn ang="0">
                <a:pos x="27" y="413"/>
              </a:cxn>
              <a:cxn ang="0">
                <a:pos x="38" y="389"/>
              </a:cxn>
              <a:cxn ang="0">
                <a:pos x="46" y="365"/>
              </a:cxn>
              <a:cxn ang="0">
                <a:pos x="51" y="347"/>
              </a:cxn>
              <a:cxn ang="0">
                <a:pos x="44" y="329"/>
              </a:cxn>
              <a:cxn ang="0">
                <a:pos x="45" y="299"/>
              </a:cxn>
              <a:cxn ang="0">
                <a:pos x="49" y="276"/>
              </a:cxn>
              <a:cxn ang="0">
                <a:pos x="53" y="257"/>
              </a:cxn>
              <a:cxn ang="0">
                <a:pos x="62" y="216"/>
              </a:cxn>
              <a:cxn ang="0">
                <a:pos x="65" y="189"/>
              </a:cxn>
              <a:cxn ang="0">
                <a:pos x="66" y="157"/>
              </a:cxn>
              <a:cxn ang="0">
                <a:pos x="74" y="129"/>
              </a:cxn>
              <a:cxn ang="0">
                <a:pos x="84" y="107"/>
              </a:cxn>
              <a:cxn ang="0">
                <a:pos x="97" y="76"/>
              </a:cxn>
              <a:cxn ang="0">
                <a:pos x="89" y="53"/>
              </a:cxn>
              <a:cxn ang="0">
                <a:pos x="84" y="25"/>
              </a:cxn>
              <a:cxn ang="0">
                <a:pos x="71" y="2"/>
              </a:cxn>
              <a:cxn ang="0">
                <a:pos x="64" y="23"/>
              </a:cxn>
              <a:cxn ang="0">
                <a:pos x="62" y="75"/>
              </a:cxn>
              <a:cxn ang="0">
                <a:pos x="53" y="128"/>
              </a:cxn>
              <a:cxn ang="0">
                <a:pos x="48" y="163"/>
              </a:cxn>
              <a:cxn ang="0">
                <a:pos x="41" y="210"/>
              </a:cxn>
              <a:cxn ang="0">
                <a:pos x="26" y="251"/>
              </a:cxn>
              <a:cxn ang="0">
                <a:pos x="24" y="286"/>
              </a:cxn>
              <a:cxn ang="0">
                <a:pos x="17" y="319"/>
              </a:cxn>
              <a:cxn ang="0">
                <a:pos x="32" y="302"/>
              </a:cxn>
              <a:cxn ang="0">
                <a:pos x="34" y="320"/>
              </a:cxn>
              <a:cxn ang="0">
                <a:pos x="30" y="342"/>
              </a:cxn>
              <a:cxn ang="0">
                <a:pos x="25" y="357"/>
              </a:cxn>
              <a:cxn ang="0">
                <a:pos x="23" y="354"/>
              </a:cxn>
              <a:cxn ang="0">
                <a:pos x="15" y="357"/>
              </a:cxn>
              <a:cxn ang="0">
                <a:pos x="2" y="374"/>
              </a:cxn>
              <a:cxn ang="0">
                <a:pos x="17" y="376"/>
              </a:cxn>
              <a:cxn ang="0">
                <a:pos x="25" y="389"/>
              </a:cxn>
              <a:cxn ang="0">
                <a:pos x="11" y="393"/>
              </a:cxn>
              <a:cxn ang="0">
                <a:pos x="13" y="400"/>
              </a:cxn>
              <a:cxn ang="0">
                <a:pos x="6" y="412"/>
              </a:cxn>
              <a:cxn ang="0">
                <a:pos x="15" y="416"/>
              </a:cxn>
              <a:cxn ang="0">
                <a:pos x="16" y="427"/>
              </a:cxn>
              <a:cxn ang="0">
                <a:pos x="9" y="441"/>
              </a:cxn>
              <a:cxn ang="0">
                <a:pos x="23" y="444"/>
              </a:cxn>
              <a:cxn ang="0">
                <a:pos x="28" y="448"/>
              </a:cxn>
              <a:cxn ang="0">
                <a:pos x="22" y="462"/>
              </a:cxn>
              <a:cxn ang="0">
                <a:pos x="41" y="462"/>
              </a:cxn>
              <a:cxn ang="0">
                <a:pos x="28" y="472"/>
              </a:cxn>
              <a:cxn ang="0">
                <a:pos x="42" y="470"/>
              </a:cxn>
              <a:cxn ang="0">
                <a:pos x="26" y="481"/>
              </a:cxn>
              <a:cxn ang="0">
                <a:pos x="41" y="483"/>
              </a:cxn>
              <a:cxn ang="0">
                <a:pos x="64" y="461"/>
              </a:cxn>
              <a:cxn ang="0">
                <a:pos x="71" y="473"/>
              </a:cxn>
              <a:cxn ang="0">
                <a:pos x="61" y="477"/>
              </a:cxn>
              <a:cxn ang="0">
                <a:pos x="50" y="486"/>
              </a:cxn>
              <a:cxn ang="0">
                <a:pos x="58" y="503"/>
              </a:cxn>
              <a:cxn ang="0">
                <a:pos x="74" y="500"/>
              </a:cxn>
              <a:cxn ang="0">
                <a:pos x="91" y="501"/>
              </a:cxn>
              <a:cxn ang="0">
                <a:pos x="81" y="499"/>
              </a:cxn>
              <a:cxn ang="0">
                <a:pos x="71" y="457"/>
              </a:cxn>
              <a:cxn ang="0">
                <a:pos x="46" y="452"/>
              </a:cxn>
            </a:cxnLst>
            <a:rect b="b" l="0" r="r" t="0"/>
            <a:pathLst>
              <a:path h="510" w="100">
                <a:moveTo>
                  <a:pt x="46" y="452"/>
                </a:moveTo>
                <a:cubicBezTo>
                  <a:pt x="44" y="453"/>
                  <a:pt x="43" y="447"/>
                  <a:pt x="41" y="447"/>
                </a:cubicBezTo>
                <a:cubicBezTo>
                  <a:pt x="39" y="447"/>
                  <a:pt x="39" y="439"/>
                  <a:pt x="40" y="435"/>
                </a:cubicBezTo>
                <a:cubicBezTo>
                  <a:pt x="42" y="431"/>
                  <a:pt x="32" y="433"/>
                  <a:pt x="30" y="431"/>
                </a:cubicBezTo>
                <a:cubicBezTo>
                  <a:pt x="27" y="430"/>
                  <a:pt x="31" y="427"/>
                  <a:pt x="28" y="424"/>
                </a:cubicBezTo>
                <a:cubicBezTo>
                  <a:pt x="25" y="420"/>
                  <a:pt x="27" y="416"/>
                  <a:pt x="27" y="413"/>
                </a:cubicBezTo>
                <a:cubicBezTo>
                  <a:pt x="28" y="411"/>
                  <a:pt x="30" y="406"/>
                  <a:pt x="34" y="406"/>
                </a:cubicBezTo>
                <a:cubicBezTo>
                  <a:pt x="37" y="406"/>
                  <a:pt x="35" y="400"/>
                  <a:pt x="38" y="398"/>
                </a:cubicBezTo>
                <a:cubicBezTo>
                  <a:pt x="42" y="396"/>
                  <a:pt x="35" y="392"/>
                  <a:pt x="38" y="389"/>
                </a:cubicBezTo>
                <a:cubicBezTo>
                  <a:pt x="41" y="387"/>
                  <a:pt x="38" y="382"/>
                  <a:pt x="43" y="382"/>
                </a:cubicBezTo>
                <a:cubicBezTo>
                  <a:pt x="47" y="381"/>
                  <a:pt x="43" y="375"/>
                  <a:pt x="46" y="374"/>
                </a:cubicBezTo>
                <a:cubicBezTo>
                  <a:pt x="49" y="373"/>
                  <a:pt x="45" y="369"/>
                  <a:pt x="46" y="365"/>
                </a:cubicBezTo>
                <a:cubicBezTo>
                  <a:pt x="47" y="361"/>
                  <a:pt x="44" y="358"/>
                  <a:pt x="48" y="356"/>
                </a:cubicBezTo>
                <a:cubicBezTo>
                  <a:pt x="52" y="355"/>
                  <a:pt x="49" y="351"/>
                  <a:pt x="46" y="349"/>
                </a:cubicBezTo>
                <a:cubicBezTo>
                  <a:pt x="43" y="347"/>
                  <a:pt x="47" y="347"/>
                  <a:pt x="51" y="347"/>
                </a:cubicBezTo>
                <a:cubicBezTo>
                  <a:pt x="54" y="347"/>
                  <a:pt x="52" y="341"/>
                  <a:pt x="49" y="342"/>
                </a:cubicBezTo>
                <a:cubicBezTo>
                  <a:pt x="45" y="343"/>
                  <a:pt x="43" y="339"/>
                  <a:pt x="46" y="336"/>
                </a:cubicBezTo>
                <a:cubicBezTo>
                  <a:pt x="49" y="333"/>
                  <a:pt x="43" y="331"/>
                  <a:pt x="44" y="329"/>
                </a:cubicBezTo>
                <a:cubicBezTo>
                  <a:pt x="45" y="327"/>
                  <a:pt x="45" y="324"/>
                  <a:pt x="43" y="323"/>
                </a:cubicBezTo>
                <a:cubicBezTo>
                  <a:pt x="41" y="321"/>
                  <a:pt x="42" y="311"/>
                  <a:pt x="45" y="311"/>
                </a:cubicBezTo>
                <a:cubicBezTo>
                  <a:pt x="47" y="310"/>
                  <a:pt x="45" y="301"/>
                  <a:pt x="45" y="299"/>
                </a:cubicBezTo>
                <a:cubicBezTo>
                  <a:pt x="45" y="296"/>
                  <a:pt x="43" y="293"/>
                  <a:pt x="43" y="291"/>
                </a:cubicBezTo>
                <a:cubicBezTo>
                  <a:pt x="43" y="288"/>
                  <a:pt x="46" y="288"/>
                  <a:pt x="46" y="283"/>
                </a:cubicBezTo>
                <a:cubicBezTo>
                  <a:pt x="46" y="278"/>
                  <a:pt x="47" y="276"/>
                  <a:pt x="49" y="276"/>
                </a:cubicBezTo>
                <a:cubicBezTo>
                  <a:pt x="51" y="276"/>
                  <a:pt x="49" y="270"/>
                  <a:pt x="50" y="267"/>
                </a:cubicBezTo>
                <a:cubicBezTo>
                  <a:pt x="50" y="265"/>
                  <a:pt x="56" y="267"/>
                  <a:pt x="56" y="263"/>
                </a:cubicBezTo>
                <a:cubicBezTo>
                  <a:pt x="57" y="259"/>
                  <a:pt x="53" y="259"/>
                  <a:pt x="53" y="257"/>
                </a:cubicBezTo>
                <a:cubicBezTo>
                  <a:pt x="54" y="253"/>
                  <a:pt x="53" y="249"/>
                  <a:pt x="53" y="242"/>
                </a:cubicBezTo>
                <a:cubicBezTo>
                  <a:pt x="53" y="234"/>
                  <a:pt x="59" y="233"/>
                  <a:pt x="62" y="231"/>
                </a:cubicBezTo>
                <a:cubicBezTo>
                  <a:pt x="64" y="228"/>
                  <a:pt x="59" y="218"/>
                  <a:pt x="62" y="216"/>
                </a:cubicBezTo>
                <a:cubicBezTo>
                  <a:pt x="65" y="215"/>
                  <a:pt x="63" y="210"/>
                  <a:pt x="65" y="208"/>
                </a:cubicBezTo>
                <a:cubicBezTo>
                  <a:pt x="67" y="206"/>
                  <a:pt x="67" y="203"/>
                  <a:pt x="68" y="199"/>
                </a:cubicBezTo>
                <a:cubicBezTo>
                  <a:pt x="69" y="195"/>
                  <a:pt x="65" y="193"/>
                  <a:pt x="65" y="189"/>
                </a:cubicBezTo>
                <a:cubicBezTo>
                  <a:pt x="65" y="185"/>
                  <a:pt x="65" y="182"/>
                  <a:pt x="62" y="178"/>
                </a:cubicBezTo>
                <a:cubicBezTo>
                  <a:pt x="59" y="174"/>
                  <a:pt x="60" y="166"/>
                  <a:pt x="62" y="166"/>
                </a:cubicBezTo>
                <a:cubicBezTo>
                  <a:pt x="64" y="166"/>
                  <a:pt x="63" y="158"/>
                  <a:pt x="66" y="157"/>
                </a:cubicBezTo>
                <a:cubicBezTo>
                  <a:pt x="70" y="156"/>
                  <a:pt x="68" y="150"/>
                  <a:pt x="66" y="145"/>
                </a:cubicBezTo>
                <a:cubicBezTo>
                  <a:pt x="65" y="140"/>
                  <a:pt x="69" y="143"/>
                  <a:pt x="69" y="139"/>
                </a:cubicBezTo>
                <a:cubicBezTo>
                  <a:pt x="69" y="135"/>
                  <a:pt x="71" y="130"/>
                  <a:pt x="74" y="129"/>
                </a:cubicBezTo>
                <a:cubicBezTo>
                  <a:pt x="78" y="128"/>
                  <a:pt x="78" y="122"/>
                  <a:pt x="78" y="120"/>
                </a:cubicBezTo>
                <a:cubicBezTo>
                  <a:pt x="78" y="117"/>
                  <a:pt x="82" y="116"/>
                  <a:pt x="85" y="114"/>
                </a:cubicBezTo>
                <a:cubicBezTo>
                  <a:pt x="87" y="112"/>
                  <a:pt x="81" y="109"/>
                  <a:pt x="84" y="107"/>
                </a:cubicBezTo>
                <a:cubicBezTo>
                  <a:pt x="88" y="105"/>
                  <a:pt x="81" y="96"/>
                  <a:pt x="83" y="94"/>
                </a:cubicBezTo>
                <a:cubicBezTo>
                  <a:pt x="85" y="93"/>
                  <a:pt x="84" y="89"/>
                  <a:pt x="84" y="86"/>
                </a:cubicBezTo>
                <a:cubicBezTo>
                  <a:pt x="84" y="84"/>
                  <a:pt x="95" y="79"/>
                  <a:pt x="97" y="76"/>
                </a:cubicBezTo>
                <a:cubicBezTo>
                  <a:pt x="98" y="74"/>
                  <a:pt x="99" y="68"/>
                  <a:pt x="99" y="63"/>
                </a:cubicBezTo>
                <a:cubicBezTo>
                  <a:pt x="96" y="65"/>
                  <a:pt x="93" y="66"/>
                  <a:pt x="92" y="65"/>
                </a:cubicBezTo>
                <a:cubicBezTo>
                  <a:pt x="91" y="63"/>
                  <a:pt x="92" y="56"/>
                  <a:pt x="89" y="53"/>
                </a:cubicBezTo>
                <a:cubicBezTo>
                  <a:pt x="86" y="50"/>
                  <a:pt x="88" y="44"/>
                  <a:pt x="85" y="43"/>
                </a:cubicBezTo>
                <a:cubicBezTo>
                  <a:pt x="82" y="41"/>
                  <a:pt x="79" y="35"/>
                  <a:pt x="81" y="33"/>
                </a:cubicBezTo>
                <a:cubicBezTo>
                  <a:pt x="84" y="31"/>
                  <a:pt x="81" y="27"/>
                  <a:pt x="84" y="25"/>
                </a:cubicBezTo>
                <a:cubicBezTo>
                  <a:pt x="86" y="23"/>
                  <a:pt x="82" y="23"/>
                  <a:pt x="79" y="19"/>
                </a:cubicBezTo>
                <a:cubicBezTo>
                  <a:pt x="76" y="15"/>
                  <a:pt x="80" y="10"/>
                  <a:pt x="76" y="7"/>
                </a:cubicBezTo>
                <a:cubicBezTo>
                  <a:pt x="72" y="4"/>
                  <a:pt x="72" y="0"/>
                  <a:pt x="71" y="2"/>
                </a:cubicBezTo>
                <a:cubicBezTo>
                  <a:pt x="70" y="4"/>
                  <a:pt x="70" y="9"/>
                  <a:pt x="67" y="11"/>
                </a:cubicBezTo>
                <a:cubicBezTo>
                  <a:pt x="66" y="11"/>
                  <a:pt x="65" y="12"/>
                  <a:pt x="64" y="13"/>
                </a:cubicBezTo>
                <a:cubicBezTo>
                  <a:pt x="64" y="15"/>
                  <a:pt x="63" y="20"/>
                  <a:pt x="64" y="23"/>
                </a:cubicBezTo>
                <a:cubicBezTo>
                  <a:pt x="66" y="27"/>
                  <a:pt x="67" y="45"/>
                  <a:pt x="65" y="52"/>
                </a:cubicBezTo>
                <a:cubicBezTo>
                  <a:pt x="64" y="59"/>
                  <a:pt x="62" y="65"/>
                  <a:pt x="61" y="69"/>
                </a:cubicBezTo>
                <a:cubicBezTo>
                  <a:pt x="59" y="73"/>
                  <a:pt x="64" y="73"/>
                  <a:pt x="62" y="75"/>
                </a:cubicBezTo>
                <a:cubicBezTo>
                  <a:pt x="60" y="77"/>
                  <a:pt x="61" y="82"/>
                  <a:pt x="61" y="90"/>
                </a:cubicBezTo>
                <a:cubicBezTo>
                  <a:pt x="61" y="98"/>
                  <a:pt x="56" y="112"/>
                  <a:pt x="56" y="116"/>
                </a:cubicBezTo>
                <a:cubicBezTo>
                  <a:pt x="56" y="120"/>
                  <a:pt x="52" y="123"/>
                  <a:pt x="53" y="128"/>
                </a:cubicBezTo>
                <a:cubicBezTo>
                  <a:pt x="53" y="133"/>
                  <a:pt x="51" y="135"/>
                  <a:pt x="48" y="138"/>
                </a:cubicBezTo>
                <a:cubicBezTo>
                  <a:pt x="45" y="140"/>
                  <a:pt x="52" y="147"/>
                  <a:pt x="52" y="151"/>
                </a:cubicBezTo>
                <a:cubicBezTo>
                  <a:pt x="52" y="155"/>
                  <a:pt x="47" y="157"/>
                  <a:pt x="48" y="163"/>
                </a:cubicBezTo>
                <a:cubicBezTo>
                  <a:pt x="49" y="171"/>
                  <a:pt x="48" y="185"/>
                  <a:pt x="48" y="188"/>
                </a:cubicBezTo>
                <a:cubicBezTo>
                  <a:pt x="48" y="191"/>
                  <a:pt x="45" y="191"/>
                  <a:pt x="45" y="196"/>
                </a:cubicBezTo>
                <a:cubicBezTo>
                  <a:pt x="46" y="201"/>
                  <a:pt x="42" y="202"/>
                  <a:pt x="41" y="210"/>
                </a:cubicBezTo>
                <a:cubicBezTo>
                  <a:pt x="41" y="217"/>
                  <a:pt x="35" y="228"/>
                  <a:pt x="33" y="234"/>
                </a:cubicBezTo>
                <a:cubicBezTo>
                  <a:pt x="30" y="240"/>
                  <a:pt x="30" y="243"/>
                  <a:pt x="27" y="243"/>
                </a:cubicBezTo>
                <a:cubicBezTo>
                  <a:pt x="24" y="243"/>
                  <a:pt x="24" y="246"/>
                  <a:pt x="26" y="251"/>
                </a:cubicBezTo>
                <a:cubicBezTo>
                  <a:pt x="28" y="256"/>
                  <a:pt x="24" y="260"/>
                  <a:pt x="27" y="265"/>
                </a:cubicBezTo>
                <a:cubicBezTo>
                  <a:pt x="30" y="270"/>
                  <a:pt x="29" y="272"/>
                  <a:pt x="28" y="277"/>
                </a:cubicBezTo>
                <a:cubicBezTo>
                  <a:pt x="26" y="282"/>
                  <a:pt x="24" y="282"/>
                  <a:pt x="24" y="286"/>
                </a:cubicBezTo>
                <a:cubicBezTo>
                  <a:pt x="24" y="291"/>
                  <a:pt x="21" y="295"/>
                  <a:pt x="23" y="300"/>
                </a:cubicBezTo>
                <a:cubicBezTo>
                  <a:pt x="25" y="305"/>
                  <a:pt x="24" y="306"/>
                  <a:pt x="22" y="306"/>
                </a:cubicBezTo>
                <a:cubicBezTo>
                  <a:pt x="19" y="306"/>
                  <a:pt x="18" y="310"/>
                  <a:pt x="17" y="319"/>
                </a:cubicBezTo>
                <a:cubicBezTo>
                  <a:pt x="16" y="327"/>
                  <a:pt x="16" y="327"/>
                  <a:pt x="22" y="326"/>
                </a:cubicBezTo>
                <a:cubicBezTo>
                  <a:pt x="28" y="326"/>
                  <a:pt x="24" y="306"/>
                  <a:pt x="27" y="306"/>
                </a:cubicBezTo>
                <a:cubicBezTo>
                  <a:pt x="31" y="306"/>
                  <a:pt x="28" y="303"/>
                  <a:pt x="32" y="302"/>
                </a:cubicBezTo>
                <a:cubicBezTo>
                  <a:pt x="35" y="301"/>
                  <a:pt x="32" y="305"/>
                  <a:pt x="35" y="306"/>
                </a:cubicBezTo>
                <a:cubicBezTo>
                  <a:pt x="37" y="307"/>
                  <a:pt x="39" y="309"/>
                  <a:pt x="35" y="311"/>
                </a:cubicBezTo>
                <a:cubicBezTo>
                  <a:pt x="32" y="313"/>
                  <a:pt x="36" y="318"/>
                  <a:pt x="34" y="320"/>
                </a:cubicBezTo>
                <a:cubicBezTo>
                  <a:pt x="33" y="323"/>
                  <a:pt x="30" y="326"/>
                  <a:pt x="32" y="329"/>
                </a:cubicBezTo>
                <a:cubicBezTo>
                  <a:pt x="33" y="333"/>
                  <a:pt x="30" y="332"/>
                  <a:pt x="30" y="337"/>
                </a:cubicBezTo>
                <a:cubicBezTo>
                  <a:pt x="29" y="341"/>
                  <a:pt x="32" y="341"/>
                  <a:pt x="30" y="342"/>
                </a:cubicBezTo>
                <a:cubicBezTo>
                  <a:pt x="28" y="343"/>
                  <a:pt x="32" y="346"/>
                  <a:pt x="30" y="347"/>
                </a:cubicBezTo>
                <a:cubicBezTo>
                  <a:pt x="27" y="347"/>
                  <a:pt x="29" y="351"/>
                  <a:pt x="30" y="354"/>
                </a:cubicBezTo>
                <a:cubicBezTo>
                  <a:pt x="32" y="357"/>
                  <a:pt x="27" y="355"/>
                  <a:pt x="25" y="357"/>
                </a:cubicBezTo>
                <a:cubicBezTo>
                  <a:pt x="22" y="359"/>
                  <a:pt x="27" y="362"/>
                  <a:pt x="26" y="364"/>
                </a:cubicBezTo>
                <a:cubicBezTo>
                  <a:pt x="24" y="367"/>
                  <a:pt x="20" y="363"/>
                  <a:pt x="18" y="361"/>
                </a:cubicBezTo>
                <a:cubicBezTo>
                  <a:pt x="17" y="360"/>
                  <a:pt x="21" y="357"/>
                  <a:pt x="23" y="354"/>
                </a:cubicBezTo>
                <a:cubicBezTo>
                  <a:pt x="26" y="351"/>
                  <a:pt x="21" y="344"/>
                  <a:pt x="17" y="346"/>
                </a:cubicBezTo>
                <a:cubicBezTo>
                  <a:pt x="14" y="347"/>
                  <a:pt x="21" y="351"/>
                  <a:pt x="21" y="355"/>
                </a:cubicBezTo>
                <a:cubicBezTo>
                  <a:pt x="21" y="358"/>
                  <a:pt x="15" y="354"/>
                  <a:pt x="15" y="357"/>
                </a:cubicBezTo>
                <a:cubicBezTo>
                  <a:pt x="15" y="361"/>
                  <a:pt x="11" y="360"/>
                  <a:pt x="9" y="362"/>
                </a:cubicBezTo>
                <a:cubicBezTo>
                  <a:pt x="6" y="365"/>
                  <a:pt x="12" y="367"/>
                  <a:pt x="9" y="368"/>
                </a:cubicBezTo>
                <a:cubicBezTo>
                  <a:pt x="7" y="368"/>
                  <a:pt x="2" y="372"/>
                  <a:pt x="2" y="374"/>
                </a:cubicBezTo>
                <a:cubicBezTo>
                  <a:pt x="2" y="377"/>
                  <a:pt x="5" y="377"/>
                  <a:pt x="5" y="375"/>
                </a:cubicBezTo>
                <a:cubicBezTo>
                  <a:pt x="5" y="372"/>
                  <a:pt x="9" y="372"/>
                  <a:pt x="10" y="375"/>
                </a:cubicBezTo>
                <a:cubicBezTo>
                  <a:pt x="11" y="378"/>
                  <a:pt x="13" y="375"/>
                  <a:pt x="17" y="376"/>
                </a:cubicBezTo>
                <a:cubicBezTo>
                  <a:pt x="20" y="376"/>
                  <a:pt x="20" y="382"/>
                  <a:pt x="18" y="381"/>
                </a:cubicBezTo>
                <a:cubicBezTo>
                  <a:pt x="16" y="381"/>
                  <a:pt x="14" y="385"/>
                  <a:pt x="14" y="388"/>
                </a:cubicBezTo>
                <a:cubicBezTo>
                  <a:pt x="15" y="392"/>
                  <a:pt x="22" y="388"/>
                  <a:pt x="25" y="389"/>
                </a:cubicBezTo>
                <a:cubicBezTo>
                  <a:pt x="28" y="390"/>
                  <a:pt x="27" y="396"/>
                  <a:pt x="25" y="394"/>
                </a:cubicBezTo>
                <a:cubicBezTo>
                  <a:pt x="23" y="392"/>
                  <a:pt x="19" y="389"/>
                  <a:pt x="17" y="392"/>
                </a:cubicBezTo>
                <a:cubicBezTo>
                  <a:pt x="16" y="395"/>
                  <a:pt x="13" y="394"/>
                  <a:pt x="11" y="393"/>
                </a:cubicBezTo>
                <a:cubicBezTo>
                  <a:pt x="8" y="392"/>
                  <a:pt x="0" y="397"/>
                  <a:pt x="3" y="399"/>
                </a:cubicBezTo>
                <a:cubicBezTo>
                  <a:pt x="6" y="401"/>
                  <a:pt x="6" y="404"/>
                  <a:pt x="7" y="404"/>
                </a:cubicBezTo>
                <a:cubicBezTo>
                  <a:pt x="9" y="404"/>
                  <a:pt x="12" y="402"/>
                  <a:pt x="13" y="400"/>
                </a:cubicBezTo>
                <a:cubicBezTo>
                  <a:pt x="14" y="398"/>
                  <a:pt x="17" y="396"/>
                  <a:pt x="18" y="401"/>
                </a:cubicBezTo>
                <a:cubicBezTo>
                  <a:pt x="18" y="405"/>
                  <a:pt x="13" y="403"/>
                  <a:pt x="12" y="406"/>
                </a:cubicBezTo>
                <a:cubicBezTo>
                  <a:pt x="11" y="408"/>
                  <a:pt x="9" y="410"/>
                  <a:pt x="6" y="412"/>
                </a:cubicBezTo>
                <a:cubicBezTo>
                  <a:pt x="3" y="415"/>
                  <a:pt x="6" y="418"/>
                  <a:pt x="8" y="417"/>
                </a:cubicBezTo>
                <a:cubicBezTo>
                  <a:pt x="11" y="416"/>
                  <a:pt x="8" y="420"/>
                  <a:pt x="11" y="421"/>
                </a:cubicBezTo>
                <a:cubicBezTo>
                  <a:pt x="14" y="421"/>
                  <a:pt x="15" y="419"/>
                  <a:pt x="15" y="416"/>
                </a:cubicBezTo>
                <a:cubicBezTo>
                  <a:pt x="14" y="414"/>
                  <a:pt x="16" y="408"/>
                  <a:pt x="19" y="411"/>
                </a:cubicBezTo>
                <a:cubicBezTo>
                  <a:pt x="22" y="414"/>
                  <a:pt x="18" y="416"/>
                  <a:pt x="18" y="419"/>
                </a:cubicBezTo>
                <a:cubicBezTo>
                  <a:pt x="18" y="421"/>
                  <a:pt x="16" y="425"/>
                  <a:pt x="16" y="427"/>
                </a:cubicBezTo>
                <a:cubicBezTo>
                  <a:pt x="16" y="430"/>
                  <a:pt x="13" y="429"/>
                  <a:pt x="13" y="432"/>
                </a:cubicBezTo>
                <a:cubicBezTo>
                  <a:pt x="13" y="435"/>
                  <a:pt x="6" y="433"/>
                  <a:pt x="9" y="435"/>
                </a:cubicBezTo>
                <a:cubicBezTo>
                  <a:pt x="13" y="437"/>
                  <a:pt x="7" y="439"/>
                  <a:pt x="9" y="441"/>
                </a:cubicBezTo>
                <a:cubicBezTo>
                  <a:pt x="11" y="443"/>
                  <a:pt x="12" y="439"/>
                  <a:pt x="15" y="440"/>
                </a:cubicBezTo>
                <a:cubicBezTo>
                  <a:pt x="18" y="441"/>
                  <a:pt x="17" y="441"/>
                  <a:pt x="21" y="440"/>
                </a:cubicBezTo>
                <a:cubicBezTo>
                  <a:pt x="24" y="438"/>
                  <a:pt x="26" y="443"/>
                  <a:pt x="23" y="444"/>
                </a:cubicBezTo>
                <a:cubicBezTo>
                  <a:pt x="20" y="445"/>
                  <a:pt x="16" y="448"/>
                  <a:pt x="18" y="449"/>
                </a:cubicBezTo>
                <a:cubicBezTo>
                  <a:pt x="19" y="449"/>
                  <a:pt x="24" y="446"/>
                  <a:pt x="25" y="450"/>
                </a:cubicBezTo>
                <a:cubicBezTo>
                  <a:pt x="26" y="453"/>
                  <a:pt x="28" y="452"/>
                  <a:pt x="28" y="448"/>
                </a:cubicBezTo>
                <a:cubicBezTo>
                  <a:pt x="29" y="445"/>
                  <a:pt x="35" y="448"/>
                  <a:pt x="36" y="451"/>
                </a:cubicBezTo>
                <a:cubicBezTo>
                  <a:pt x="37" y="454"/>
                  <a:pt x="29" y="456"/>
                  <a:pt x="26" y="455"/>
                </a:cubicBezTo>
                <a:cubicBezTo>
                  <a:pt x="22" y="454"/>
                  <a:pt x="20" y="458"/>
                  <a:pt x="22" y="462"/>
                </a:cubicBezTo>
                <a:cubicBezTo>
                  <a:pt x="25" y="465"/>
                  <a:pt x="28" y="462"/>
                  <a:pt x="31" y="459"/>
                </a:cubicBezTo>
                <a:cubicBezTo>
                  <a:pt x="33" y="456"/>
                  <a:pt x="47" y="457"/>
                  <a:pt x="48" y="460"/>
                </a:cubicBezTo>
                <a:cubicBezTo>
                  <a:pt x="49" y="463"/>
                  <a:pt x="42" y="460"/>
                  <a:pt x="41" y="462"/>
                </a:cubicBezTo>
                <a:cubicBezTo>
                  <a:pt x="40" y="464"/>
                  <a:pt x="35" y="465"/>
                  <a:pt x="34" y="463"/>
                </a:cubicBezTo>
                <a:cubicBezTo>
                  <a:pt x="33" y="461"/>
                  <a:pt x="28" y="464"/>
                  <a:pt x="28" y="467"/>
                </a:cubicBezTo>
                <a:cubicBezTo>
                  <a:pt x="27" y="471"/>
                  <a:pt x="23" y="471"/>
                  <a:pt x="28" y="472"/>
                </a:cubicBezTo>
                <a:cubicBezTo>
                  <a:pt x="32" y="473"/>
                  <a:pt x="31" y="467"/>
                  <a:pt x="38" y="468"/>
                </a:cubicBezTo>
                <a:cubicBezTo>
                  <a:pt x="45" y="468"/>
                  <a:pt x="49" y="461"/>
                  <a:pt x="51" y="465"/>
                </a:cubicBezTo>
                <a:cubicBezTo>
                  <a:pt x="53" y="469"/>
                  <a:pt x="45" y="472"/>
                  <a:pt x="42" y="470"/>
                </a:cubicBezTo>
                <a:cubicBezTo>
                  <a:pt x="40" y="467"/>
                  <a:pt x="36" y="472"/>
                  <a:pt x="37" y="475"/>
                </a:cubicBezTo>
                <a:cubicBezTo>
                  <a:pt x="37" y="479"/>
                  <a:pt x="29" y="474"/>
                  <a:pt x="25" y="474"/>
                </a:cubicBezTo>
                <a:cubicBezTo>
                  <a:pt x="21" y="473"/>
                  <a:pt x="22" y="478"/>
                  <a:pt x="26" y="481"/>
                </a:cubicBezTo>
                <a:cubicBezTo>
                  <a:pt x="29" y="485"/>
                  <a:pt x="31" y="481"/>
                  <a:pt x="36" y="484"/>
                </a:cubicBezTo>
                <a:cubicBezTo>
                  <a:pt x="40" y="486"/>
                  <a:pt x="40" y="489"/>
                  <a:pt x="43" y="487"/>
                </a:cubicBezTo>
                <a:cubicBezTo>
                  <a:pt x="46" y="484"/>
                  <a:pt x="43" y="484"/>
                  <a:pt x="41" y="483"/>
                </a:cubicBezTo>
                <a:cubicBezTo>
                  <a:pt x="39" y="482"/>
                  <a:pt x="41" y="477"/>
                  <a:pt x="45" y="480"/>
                </a:cubicBezTo>
                <a:cubicBezTo>
                  <a:pt x="50" y="482"/>
                  <a:pt x="56" y="478"/>
                  <a:pt x="54" y="472"/>
                </a:cubicBezTo>
                <a:cubicBezTo>
                  <a:pt x="53" y="466"/>
                  <a:pt x="58" y="463"/>
                  <a:pt x="64" y="461"/>
                </a:cubicBezTo>
                <a:cubicBezTo>
                  <a:pt x="70" y="459"/>
                  <a:pt x="67" y="465"/>
                  <a:pt x="63" y="466"/>
                </a:cubicBezTo>
                <a:cubicBezTo>
                  <a:pt x="58" y="468"/>
                  <a:pt x="58" y="469"/>
                  <a:pt x="61" y="473"/>
                </a:cubicBezTo>
                <a:cubicBezTo>
                  <a:pt x="64" y="476"/>
                  <a:pt x="68" y="471"/>
                  <a:pt x="71" y="473"/>
                </a:cubicBezTo>
                <a:cubicBezTo>
                  <a:pt x="74" y="476"/>
                  <a:pt x="66" y="476"/>
                  <a:pt x="65" y="478"/>
                </a:cubicBezTo>
                <a:cubicBezTo>
                  <a:pt x="64" y="481"/>
                  <a:pt x="70" y="484"/>
                  <a:pt x="65" y="486"/>
                </a:cubicBezTo>
                <a:cubicBezTo>
                  <a:pt x="61" y="488"/>
                  <a:pt x="63" y="478"/>
                  <a:pt x="61" y="477"/>
                </a:cubicBezTo>
                <a:cubicBezTo>
                  <a:pt x="58" y="476"/>
                  <a:pt x="56" y="478"/>
                  <a:pt x="58" y="484"/>
                </a:cubicBezTo>
                <a:cubicBezTo>
                  <a:pt x="61" y="490"/>
                  <a:pt x="55" y="485"/>
                  <a:pt x="53" y="482"/>
                </a:cubicBezTo>
                <a:cubicBezTo>
                  <a:pt x="50" y="479"/>
                  <a:pt x="47" y="483"/>
                  <a:pt x="50" y="486"/>
                </a:cubicBezTo>
                <a:cubicBezTo>
                  <a:pt x="53" y="489"/>
                  <a:pt x="44" y="486"/>
                  <a:pt x="44" y="491"/>
                </a:cubicBezTo>
                <a:cubicBezTo>
                  <a:pt x="44" y="496"/>
                  <a:pt x="48" y="492"/>
                  <a:pt x="52" y="493"/>
                </a:cubicBezTo>
                <a:cubicBezTo>
                  <a:pt x="57" y="494"/>
                  <a:pt x="55" y="500"/>
                  <a:pt x="58" y="503"/>
                </a:cubicBezTo>
                <a:cubicBezTo>
                  <a:pt x="61" y="505"/>
                  <a:pt x="59" y="495"/>
                  <a:pt x="62" y="494"/>
                </a:cubicBezTo>
                <a:cubicBezTo>
                  <a:pt x="66" y="493"/>
                  <a:pt x="62" y="502"/>
                  <a:pt x="70" y="504"/>
                </a:cubicBezTo>
                <a:cubicBezTo>
                  <a:pt x="78" y="507"/>
                  <a:pt x="71" y="503"/>
                  <a:pt x="74" y="500"/>
                </a:cubicBezTo>
                <a:cubicBezTo>
                  <a:pt x="78" y="498"/>
                  <a:pt x="82" y="508"/>
                  <a:pt x="86" y="509"/>
                </a:cubicBezTo>
                <a:cubicBezTo>
                  <a:pt x="90" y="510"/>
                  <a:pt x="87" y="504"/>
                  <a:pt x="84" y="501"/>
                </a:cubicBezTo>
                <a:cubicBezTo>
                  <a:pt x="82" y="498"/>
                  <a:pt x="87" y="500"/>
                  <a:pt x="91" y="501"/>
                </a:cubicBezTo>
                <a:cubicBezTo>
                  <a:pt x="95" y="503"/>
                  <a:pt x="98" y="503"/>
                  <a:pt x="98" y="500"/>
                </a:cubicBezTo>
                <a:cubicBezTo>
                  <a:pt x="99" y="499"/>
                  <a:pt x="99" y="499"/>
                  <a:pt x="100" y="500"/>
                </a:cubicBezTo>
                <a:cubicBezTo>
                  <a:pt x="96" y="497"/>
                  <a:pt x="83" y="499"/>
                  <a:pt x="81" y="499"/>
                </a:cubicBezTo>
                <a:cubicBezTo>
                  <a:pt x="79" y="498"/>
                  <a:pt x="81" y="468"/>
                  <a:pt x="81" y="461"/>
                </a:cubicBezTo>
                <a:cubicBezTo>
                  <a:pt x="81" y="461"/>
                  <a:pt x="81" y="461"/>
                  <a:pt x="80" y="461"/>
                </a:cubicBezTo>
                <a:cubicBezTo>
                  <a:pt x="77" y="461"/>
                  <a:pt x="70" y="462"/>
                  <a:pt x="71" y="457"/>
                </a:cubicBezTo>
                <a:cubicBezTo>
                  <a:pt x="71" y="456"/>
                  <a:pt x="72" y="456"/>
                  <a:pt x="72" y="455"/>
                </a:cubicBezTo>
                <a:cubicBezTo>
                  <a:pt x="71" y="454"/>
                  <a:pt x="69" y="453"/>
                  <a:pt x="66" y="452"/>
                </a:cubicBezTo>
                <a:cubicBezTo>
                  <a:pt x="61" y="450"/>
                  <a:pt x="49" y="452"/>
                  <a:pt x="46" y="45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3" name="Freeform 110"/>
          <p:cNvSpPr/>
          <p:nvPr/>
        </p:nvSpPr>
        <p:spPr bwMode="auto">
          <a:xfrm>
            <a:off x="4320867" y="5015798"/>
            <a:ext cx="224369" cy="229337"/>
          </a:xfrm>
          <a:custGeom>
            <a:cxnLst>
              <a:cxn ang="0">
                <a:pos x="96" y="54"/>
              </a:cxn>
              <a:cxn ang="0">
                <a:pos x="87" y="56"/>
              </a:cxn>
              <a:cxn ang="0">
                <a:pos x="81" y="43"/>
              </a:cxn>
              <a:cxn ang="0">
                <a:pos x="73" y="34"/>
              </a:cxn>
              <a:cxn ang="0">
                <a:pos x="64" y="33"/>
              </a:cxn>
              <a:cxn ang="0">
                <a:pos x="58" y="24"/>
              </a:cxn>
              <a:cxn ang="0">
                <a:pos x="56" y="10"/>
              </a:cxn>
              <a:cxn ang="0">
                <a:pos x="55" y="4"/>
              </a:cxn>
              <a:cxn ang="0">
                <a:pos x="53" y="5"/>
              </a:cxn>
              <a:cxn ang="0">
                <a:pos x="43" y="0"/>
              </a:cxn>
              <a:cxn ang="0">
                <a:pos x="30" y="1"/>
              </a:cxn>
              <a:cxn ang="0">
                <a:pos x="16" y="4"/>
              </a:cxn>
              <a:cxn ang="0">
                <a:pos x="7" y="14"/>
              </a:cxn>
              <a:cxn ang="0">
                <a:pos x="4" y="32"/>
              </a:cxn>
              <a:cxn ang="0">
                <a:pos x="0" y="31"/>
              </a:cxn>
              <a:cxn ang="0">
                <a:pos x="16" y="47"/>
              </a:cxn>
              <a:cxn ang="0">
                <a:pos x="28" y="55"/>
              </a:cxn>
              <a:cxn ang="0">
                <a:pos x="41" y="62"/>
              </a:cxn>
              <a:cxn ang="0">
                <a:pos x="62" y="72"/>
              </a:cxn>
              <a:cxn ang="0">
                <a:pos x="53" y="87"/>
              </a:cxn>
              <a:cxn ang="0">
                <a:pos x="49" y="95"/>
              </a:cxn>
              <a:cxn ang="0">
                <a:pos x="60" y="97"/>
              </a:cxn>
              <a:cxn ang="0">
                <a:pos x="71" y="98"/>
              </a:cxn>
              <a:cxn ang="0">
                <a:pos x="80" y="96"/>
              </a:cxn>
              <a:cxn ang="0">
                <a:pos x="89" y="92"/>
              </a:cxn>
              <a:cxn ang="0">
                <a:pos x="95" y="75"/>
              </a:cxn>
              <a:cxn ang="0">
                <a:pos x="96" y="54"/>
              </a:cxn>
            </a:cxnLst>
            <a:rect b="b" l="0" r="r" t="0"/>
            <a:pathLst>
              <a:path h="100" w="100">
                <a:moveTo>
                  <a:pt x="96" y="54"/>
                </a:moveTo>
                <a:cubicBezTo>
                  <a:pt x="92" y="52"/>
                  <a:pt x="88" y="56"/>
                  <a:pt x="87" y="56"/>
                </a:cubicBezTo>
                <a:cubicBezTo>
                  <a:pt x="85" y="56"/>
                  <a:pt x="82" y="47"/>
                  <a:pt x="81" y="43"/>
                </a:cubicBezTo>
                <a:cubicBezTo>
                  <a:pt x="80" y="40"/>
                  <a:pt x="76" y="32"/>
                  <a:pt x="73" y="34"/>
                </a:cubicBezTo>
                <a:cubicBezTo>
                  <a:pt x="71" y="36"/>
                  <a:pt x="71" y="33"/>
                  <a:pt x="64" y="33"/>
                </a:cubicBezTo>
                <a:cubicBezTo>
                  <a:pt x="56" y="33"/>
                  <a:pt x="56" y="31"/>
                  <a:pt x="58" y="24"/>
                </a:cubicBezTo>
                <a:cubicBezTo>
                  <a:pt x="59" y="16"/>
                  <a:pt x="53" y="12"/>
                  <a:pt x="56" y="10"/>
                </a:cubicBezTo>
                <a:cubicBezTo>
                  <a:pt x="58" y="9"/>
                  <a:pt x="58" y="7"/>
                  <a:pt x="55" y="4"/>
                </a:cubicBezTo>
                <a:cubicBezTo>
                  <a:pt x="55" y="4"/>
                  <a:pt x="54" y="5"/>
                  <a:pt x="53" y="5"/>
                </a:cubicBezTo>
                <a:cubicBezTo>
                  <a:pt x="51" y="5"/>
                  <a:pt x="47" y="0"/>
                  <a:pt x="43" y="0"/>
                </a:cubicBezTo>
                <a:cubicBezTo>
                  <a:pt x="38" y="0"/>
                  <a:pt x="33" y="0"/>
                  <a:pt x="30" y="1"/>
                </a:cubicBezTo>
                <a:cubicBezTo>
                  <a:pt x="26" y="3"/>
                  <a:pt x="20" y="1"/>
                  <a:pt x="16" y="4"/>
                </a:cubicBezTo>
                <a:cubicBezTo>
                  <a:pt x="12" y="6"/>
                  <a:pt x="7" y="12"/>
                  <a:pt x="7" y="14"/>
                </a:cubicBezTo>
                <a:cubicBezTo>
                  <a:pt x="8" y="17"/>
                  <a:pt x="6" y="31"/>
                  <a:pt x="4" y="32"/>
                </a:cubicBezTo>
                <a:cubicBezTo>
                  <a:pt x="3" y="32"/>
                  <a:pt x="2" y="32"/>
                  <a:pt x="0" y="31"/>
                </a:cubicBezTo>
                <a:cubicBezTo>
                  <a:pt x="3" y="36"/>
                  <a:pt x="11" y="44"/>
                  <a:pt x="16" y="47"/>
                </a:cubicBezTo>
                <a:cubicBezTo>
                  <a:pt x="22" y="51"/>
                  <a:pt x="22" y="55"/>
                  <a:pt x="28" y="55"/>
                </a:cubicBezTo>
                <a:cubicBezTo>
                  <a:pt x="35" y="56"/>
                  <a:pt x="38" y="59"/>
                  <a:pt x="41" y="62"/>
                </a:cubicBezTo>
                <a:cubicBezTo>
                  <a:pt x="43" y="65"/>
                  <a:pt x="60" y="70"/>
                  <a:pt x="62" y="72"/>
                </a:cubicBezTo>
                <a:cubicBezTo>
                  <a:pt x="63" y="75"/>
                  <a:pt x="53" y="81"/>
                  <a:pt x="53" y="87"/>
                </a:cubicBezTo>
                <a:cubicBezTo>
                  <a:pt x="53" y="93"/>
                  <a:pt x="49" y="93"/>
                  <a:pt x="49" y="95"/>
                </a:cubicBezTo>
                <a:cubicBezTo>
                  <a:pt x="49" y="97"/>
                  <a:pt x="57" y="95"/>
                  <a:pt x="60" y="97"/>
                </a:cubicBezTo>
                <a:cubicBezTo>
                  <a:pt x="63" y="99"/>
                  <a:pt x="67" y="96"/>
                  <a:pt x="71" y="98"/>
                </a:cubicBezTo>
                <a:cubicBezTo>
                  <a:pt x="74" y="100"/>
                  <a:pt x="78" y="95"/>
                  <a:pt x="80" y="96"/>
                </a:cubicBezTo>
                <a:cubicBezTo>
                  <a:pt x="83" y="97"/>
                  <a:pt x="86" y="91"/>
                  <a:pt x="89" y="92"/>
                </a:cubicBezTo>
                <a:cubicBezTo>
                  <a:pt x="93" y="92"/>
                  <a:pt x="96" y="80"/>
                  <a:pt x="95" y="75"/>
                </a:cubicBezTo>
                <a:cubicBezTo>
                  <a:pt x="94" y="70"/>
                  <a:pt x="100" y="56"/>
                  <a:pt x="96" y="5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4" name="Freeform 111"/>
          <p:cNvSpPr/>
          <p:nvPr/>
        </p:nvSpPr>
        <p:spPr bwMode="auto">
          <a:xfrm>
            <a:off x="3736767" y="4219753"/>
            <a:ext cx="83443" cy="68232"/>
          </a:xfrm>
          <a:custGeom>
            <a:cxnLst>
              <a:cxn ang="0">
                <a:pos x="36" y="24"/>
              </a:cxn>
              <a:cxn ang="0">
                <a:pos x="38" y="17"/>
              </a:cxn>
              <a:cxn ang="0">
                <a:pos x="26" y="3"/>
              </a:cxn>
              <a:cxn ang="0">
                <a:pos x="21" y="2"/>
              </a:cxn>
              <a:cxn ang="0">
                <a:pos x="10" y="0"/>
              </a:cxn>
              <a:cxn ang="0">
                <a:pos x="3" y="0"/>
              </a:cxn>
              <a:cxn ang="0">
                <a:pos x="3" y="5"/>
              </a:cxn>
              <a:cxn ang="0">
                <a:pos x="6" y="14"/>
              </a:cxn>
              <a:cxn ang="0">
                <a:pos x="12" y="13"/>
              </a:cxn>
              <a:cxn ang="0">
                <a:pos x="17" y="17"/>
              </a:cxn>
              <a:cxn ang="0">
                <a:pos x="25" y="24"/>
              </a:cxn>
              <a:cxn ang="0">
                <a:pos x="32" y="30"/>
              </a:cxn>
              <a:cxn ang="0">
                <a:pos x="34" y="30"/>
              </a:cxn>
              <a:cxn ang="0">
                <a:pos x="36" y="24"/>
              </a:cxn>
            </a:cxnLst>
            <a:rect b="b" l="0" r="r" t="0"/>
            <a:pathLst>
              <a:path h="30" w="38">
                <a:moveTo>
                  <a:pt x="36" y="24"/>
                </a:moveTo>
                <a:cubicBezTo>
                  <a:pt x="35" y="23"/>
                  <a:pt x="36" y="19"/>
                  <a:pt x="38" y="17"/>
                </a:cubicBezTo>
                <a:cubicBezTo>
                  <a:pt x="33" y="12"/>
                  <a:pt x="29" y="6"/>
                  <a:pt x="26" y="3"/>
                </a:cubicBezTo>
                <a:cubicBezTo>
                  <a:pt x="24" y="3"/>
                  <a:pt x="22" y="3"/>
                  <a:pt x="21" y="2"/>
                </a:cubicBezTo>
                <a:cubicBezTo>
                  <a:pt x="18" y="0"/>
                  <a:pt x="12" y="2"/>
                  <a:pt x="10" y="0"/>
                </a:cubicBezTo>
                <a:cubicBezTo>
                  <a:pt x="8" y="0"/>
                  <a:pt x="6" y="0"/>
                  <a:pt x="3" y="0"/>
                </a:cubicBezTo>
                <a:cubicBezTo>
                  <a:pt x="4" y="2"/>
                  <a:pt x="4" y="4"/>
                  <a:pt x="3" y="5"/>
                </a:cubicBezTo>
                <a:cubicBezTo>
                  <a:pt x="0" y="6"/>
                  <a:pt x="0" y="12"/>
                  <a:pt x="6" y="14"/>
                </a:cubicBezTo>
                <a:cubicBezTo>
                  <a:pt x="11" y="17"/>
                  <a:pt x="9" y="13"/>
                  <a:pt x="12" y="13"/>
                </a:cubicBezTo>
                <a:cubicBezTo>
                  <a:pt x="15" y="13"/>
                  <a:pt x="15" y="17"/>
                  <a:pt x="17" y="17"/>
                </a:cubicBezTo>
                <a:cubicBezTo>
                  <a:pt x="20" y="17"/>
                  <a:pt x="25" y="20"/>
                  <a:pt x="25" y="24"/>
                </a:cubicBezTo>
                <a:cubicBezTo>
                  <a:pt x="25" y="28"/>
                  <a:pt x="27" y="30"/>
                  <a:pt x="32" y="30"/>
                </a:cubicBezTo>
                <a:cubicBezTo>
                  <a:pt x="32" y="30"/>
                  <a:pt x="33" y="30"/>
                  <a:pt x="34" y="30"/>
                </a:cubicBezTo>
                <a:cubicBezTo>
                  <a:pt x="35" y="28"/>
                  <a:pt x="36" y="25"/>
                  <a:pt x="36" y="2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5" name="Freeform 112"/>
          <p:cNvSpPr/>
          <p:nvPr/>
        </p:nvSpPr>
        <p:spPr bwMode="auto">
          <a:xfrm>
            <a:off x="3812793" y="4253869"/>
            <a:ext cx="146489" cy="72023"/>
          </a:xfrm>
          <a:custGeom>
            <a:cxnLst>
              <a:cxn ang="0">
                <a:pos x="59" y="9"/>
              </a:cxn>
              <a:cxn ang="0">
                <a:pos x="43" y="2"/>
              </a:cxn>
              <a:cxn ang="0">
                <a:pos x="27" y="8"/>
              </a:cxn>
              <a:cxn ang="0">
                <a:pos x="9" y="7"/>
              </a:cxn>
              <a:cxn ang="0">
                <a:pos x="4" y="2"/>
              </a:cxn>
              <a:cxn ang="0">
                <a:pos x="2" y="9"/>
              </a:cxn>
              <a:cxn ang="0">
                <a:pos x="0" y="15"/>
              </a:cxn>
              <a:cxn ang="0">
                <a:pos x="15" y="22"/>
              </a:cxn>
              <a:cxn ang="0">
                <a:pos x="23" y="27"/>
              </a:cxn>
              <a:cxn ang="0">
                <a:pos x="32" y="25"/>
              </a:cxn>
              <a:cxn ang="0">
                <a:pos x="29" y="19"/>
              </a:cxn>
              <a:cxn ang="0">
                <a:pos x="35" y="13"/>
              </a:cxn>
              <a:cxn ang="0">
                <a:pos x="47" y="9"/>
              </a:cxn>
              <a:cxn ang="0">
                <a:pos x="50" y="17"/>
              </a:cxn>
              <a:cxn ang="0">
                <a:pos x="57" y="29"/>
              </a:cxn>
              <a:cxn ang="0">
                <a:pos x="65" y="21"/>
              </a:cxn>
              <a:cxn ang="0">
                <a:pos x="66" y="18"/>
              </a:cxn>
              <a:cxn ang="0">
                <a:pos x="59" y="9"/>
              </a:cxn>
            </a:cxnLst>
            <a:rect b="b" l="0" r="r" t="0"/>
            <a:pathLst>
              <a:path h="31" w="66">
                <a:moveTo>
                  <a:pt x="59" y="9"/>
                </a:moveTo>
                <a:cubicBezTo>
                  <a:pt x="55" y="3"/>
                  <a:pt x="48" y="4"/>
                  <a:pt x="43" y="2"/>
                </a:cubicBezTo>
                <a:cubicBezTo>
                  <a:pt x="39" y="0"/>
                  <a:pt x="33" y="2"/>
                  <a:pt x="27" y="8"/>
                </a:cubicBezTo>
                <a:cubicBezTo>
                  <a:pt x="22" y="13"/>
                  <a:pt x="14" y="10"/>
                  <a:pt x="9" y="7"/>
                </a:cubicBezTo>
                <a:cubicBezTo>
                  <a:pt x="8" y="6"/>
                  <a:pt x="6" y="4"/>
                  <a:pt x="4" y="2"/>
                </a:cubicBezTo>
                <a:cubicBezTo>
                  <a:pt x="2" y="4"/>
                  <a:pt x="1" y="8"/>
                  <a:pt x="2" y="9"/>
                </a:cubicBezTo>
                <a:cubicBezTo>
                  <a:pt x="2" y="10"/>
                  <a:pt x="1" y="13"/>
                  <a:pt x="0" y="15"/>
                </a:cubicBezTo>
                <a:cubicBezTo>
                  <a:pt x="5" y="16"/>
                  <a:pt x="12" y="18"/>
                  <a:pt x="15" y="22"/>
                </a:cubicBezTo>
                <a:cubicBezTo>
                  <a:pt x="19" y="26"/>
                  <a:pt x="21" y="23"/>
                  <a:pt x="23" y="27"/>
                </a:cubicBezTo>
                <a:cubicBezTo>
                  <a:pt x="25" y="31"/>
                  <a:pt x="31" y="28"/>
                  <a:pt x="32" y="25"/>
                </a:cubicBezTo>
                <a:cubicBezTo>
                  <a:pt x="33" y="23"/>
                  <a:pt x="29" y="22"/>
                  <a:pt x="29" y="19"/>
                </a:cubicBezTo>
                <a:cubicBezTo>
                  <a:pt x="28" y="16"/>
                  <a:pt x="34" y="17"/>
                  <a:pt x="35" y="13"/>
                </a:cubicBezTo>
                <a:cubicBezTo>
                  <a:pt x="36" y="10"/>
                  <a:pt x="44" y="8"/>
                  <a:pt x="47" y="9"/>
                </a:cubicBezTo>
                <a:cubicBezTo>
                  <a:pt x="51" y="11"/>
                  <a:pt x="54" y="13"/>
                  <a:pt x="50" y="17"/>
                </a:cubicBezTo>
                <a:cubicBezTo>
                  <a:pt x="48" y="20"/>
                  <a:pt x="53" y="25"/>
                  <a:pt x="57" y="29"/>
                </a:cubicBezTo>
                <a:cubicBezTo>
                  <a:pt x="60" y="26"/>
                  <a:pt x="63" y="22"/>
                  <a:pt x="65" y="21"/>
                </a:cubicBezTo>
                <a:cubicBezTo>
                  <a:pt x="65" y="21"/>
                  <a:pt x="66" y="19"/>
                  <a:pt x="66" y="18"/>
                </a:cubicBezTo>
                <a:cubicBezTo>
                  <a:pt x="64" y="17"/>
                  <a:pt x="62" y="13"/>
                  <a:pt x="59" y="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6" name="Freeform 113"/>
          <p:cNvSpPr/>
          <p:nvPr/>
        </p:nvSpPr>
        <p:spPr bwMode="auto">
          <a:xfrm>
            <a:off x="3912925" y="4179951"/>
            <a:ext cx="300394" cy="437826"/>
          </a:xfrm>
          <a:custGeom>
            <a:cxnLst>
              <a:cxn ang="0">
                <a:pos x="21" y="140"/>
              </a:cxn>
              <a:cxn ang="0">
                <a:pos x="30" y="140"/>
              </a:cxn>
              <a:cxn ang="0">
                <a:pos x="38" y="146"/>
              </a:cxn>
              <a:cxn ang="0">
                <a:pos x="38" y="147"/>
              </a:cxn>
              <a:cxn ang="0">
                <a:pos x="48" y="147"/>
              </a:cxn>
              <a:cxn ang="0">
                <a:pos x="55" y="156"/>
              </a:cxn>
              <a:cxn ang="0">
                <a:pos x="62" y="163"/>
              </a:cxn>
              <a:cxn ang="0">
                <a:pos x="66" y="170"/>
              </a:cxn>
              <a:cxn ang="0">
                <a:pos x="79" y="172"/>
              </a:cxn>
              <a:cxn ang="0">
                <a:pos x="86" y="171"/>
              </a:cxn>
              <a:cxn ang="0">
                <a:pos x="93" y="170"/>
              </a:cxn>
              <a:cxn ang="0">
                <a:pos x="101" y="177"/>
              </a:cxn>
              <a:cxn ang="0">
                <a:pos x="95" y="187"/>
              </a:cxn>
              <a:cxn ang="0">
                <a:pos x="102" y="192"/>
              </a:cxn>
              <a:cxn ang="0">
                <a:pos x="103" y="192"/>
              </a:cxn>
              <a:cxn ang="0">
                <a:pos x="107" y="177"/>
              </a:cxn>
              <a:cxn ang="0">
                <a:pos x="109" y="161"/>
              </a:cxn>
              <a:cxn ang="0">
                <a:pos x="102" y="143"/>
              </a:cxn>
              <a:cxn ang="0">
                <a:pos x="110" y="137"/>
              </a:cxn>
              <a:cxn ang="0">
                <a:pos x="108" y="132"/>
              </a:cxn>
              <a:cxn ang="0">
                <a:pos x="105" y="126"/>
              </a:cxn>
              <a:cxn ang="0">
                <a:pos x="122" y="125"/>
              </a:cxn>
              <a:cxn ang="0">
                <a:pos x="134" y="121"/>
              </a:cxn>
              <a:cxn ang="0">
                <a:pos x="132" y="115"/>
              </a:cxn>
              <a:cxn ang="0">
                <a:pos x="133" y="106"/>
              </a:cxn>
              <a:cxn ang="0">
                <a:pos x="128" y="98"/>
              </a:cxn>
              <a:cxn ang="0">
                <a:pos x="131" y="77"/>
              </a:cxn>
              <a:cxn ang="0">
                <a:pos x="118" y="74"/>
              </a:cxn>
              <a:cxn ang="0">
                <a:pos x="102" y="67"/>
              </a:cxn>
              <a:cxn ang="0">
                <a:pos x="83" y="65"/>
              </a:cxn>
              <a:cxn ang="0">
                <a:pos x="75" y="50"/>
              </a:cxn>
              <a:cxn ang="0">
                <a:pos x="70" y="43"/>
              </a:cxn>
              <a:cxn ang="0">
                <a:pos x="65" y="40"/>
              </a:cxn>
              <a:cxn ang="0">
                <a:pos x="67" y="35"/>
              </a:cxn>
              <a:cxn ang="0">
                <a:pos x="69" y="27"/>
              </a:cxn>
              <a:cxn ang="0">
                <a:pos x="78" y="14"/>
              </a:cxn>
              <a:cxn ang="0">
                <a:pos x="82" y="12"/>
              </a:cxn>
              <a:cxn ang="0">
                <a:pos x="85" y="10"/>
              </a:cxn>
              <a:cxn ang="0">
                <a:pos x="87" y="3"/>
              </a:cxn>
              <a:cxn ang="0">
                <a:pos x="75" y="9"/>
              </a:cxn>
              <a:cxn ang="0">
                <a:pos x="65" y="14"/>
              </a:cxn>
              <a:cxn ang="0">
                <a:pos x="55" y="18"/>
              </a:cxn>
              <a:cxn ang="0">
                <a:pos x="49" y="17"/>
              </a:cxn>
              <a:cxn ang="0">
                <a:pos x="39" y="27"/>
              </a:cxn>
              <a:cxn ang="0">
                <a:pos x="35" y="37"/>
              </a:cxn>
              <a:cxn ang="0">
                <a:pos x="24" y="50"/>
              </a:cxn>
              <a:cxn ang="0">
                <a:pos x="21" y="51"/>
              </a:cxn>
              <a:cxn ang="0">
                <a:pos x="20" y="54"/>
              </a:cxn>
              <a:cxn ang="0">
                <a:pos x="12" y="62"/>
              </a:cxn>
              <a:cxn ang="0">
                <a:pos x="16" y="65"/>
              </a:cxn>
              <a:cxn ang="0">
                <a:pos x="18" y="74"/>
              </a:cxn>
              <a:cxn ang="0">
                <a:pos x="18" y="80"/>
              </a:cxn>
              <a:cxn ang="0">
                <a:pos x="20" y="98"/>
              </a:cxn>
              <a:cxn ang="0">
                <a:pos x="17" y="108"/>
              </a:cxn>
              <a:cxn ang="0">
                <a:pos x="8" y="115"/>
              </a:cxn>
              <a:cxn ang="0">
                <a:pos x="2" y="122"/>
              </a:cxn>
              <a:cxn ang="0">
                <a:pos x="0" y="127"/>
              </a:cxn>
              <a:cxn ang="0">
                <a:pos x="14" y="135"/>
              </a:cxn>
              <a:cxn ang="0">
                <a:pos x="21" y="140"/>
              </a:cxn>
            </a:cxnLst>
            <a:rect b="b" l="0" r="r" t="0"/>
            <a:pathLst>
              <a:path h="192" w="135">
                <a:moveTo>
                  <a:pt x="21" y="140"/>
                </a:moveTo>
                <a:cubicBezTo>
                  <a:pt x="24" y="142"/>
                  <a:pt x="29" y="141"/>
                  <a:pt x="30" y="140"/>
                </a:cubicBezTo>
                <a:cubicBezTo>
                  <a:pt x="31" y="139"/>
                  <a:pt x="34" y="142"/>
                  <a:pt x="38" y="146"/>
                </a:cubicBezTo>
                <a:cubicBezTo>
                  <a:pt x="38" y="146"/>
                  <a:pt x="38" y="147"/>
                  <a:pt x="38" y="147"/>
                </a:cubicBezTo>
                <a:cubicBezTo>
                  <a:pt x="42" y="146"/>
                  <a:pt x="46" y="145"/>
                  <a:pt x="48" y="147"/>
                </a:cubicBezTo>
                <a:cubicBezTo>
                  <a:pt x="51" y="148"/>
                  <a:pt x="50" y="156"/>
                  <a:pt x="55" y="156"/>
                </a:cubicBezTo>
                <a:cubicBezTo>
                  <a:pt x="59" y="156"/>
                  <a:pt x="62" y="161"/>
                  <a:pt x="62" y="163"/>
                </a:cubicBezTo>
                <a:cubicBezTo>
                  <a:pt x="61" y="165"/>
                  <a:pt x="66" y="167"/>
                  <a:pt x="66" y="170"/>
                </a:cubicBezTo>
                <a:cubicBezTo>
                  <a:pt x="66" y="174"/>
                  <a:pt x="77" y="173"/>
                  <a:pt x="79" y="172"/>
                </a:cubicBezTo>
                <a:cubicBezTo>
                  <a:pt x="81" y="170"/>
                  <a:pt x="84" y="170"/>
                  <a:pt x="86" y="171"/>
                </a:cubicBezTo>
                <a:cubicBezTo>
                  <a:pt x="88" y="172"/>
                  <a:pt x="91" y="170"/>
                  <a:pt x="93" y="170"/>
                </a:cubicBezTo>
                <a:cubicBezTo>
                  <a:pt x="95" y="171"/>
                  <a:pt x="103" y="174"/>
                  <a:pt x="101" y="177"/>
                </a:cubicBezTo>
                <a:cubicBezTo>
                  <a:pt x="100" y="180"/>
                  <a:pt x="94" y="184"/>
                  <a:pt x="95" y="187"/>
                </a:cubicBezTo>
                <a:cubicBezTo>
                  <a:pt x="96" y="188"/>
                  <a:pt x="100" y="190"/>
                  <a:pt x="102" y="192"/>
                </a:cubicBezTo>
                <a:cubicBezTo>
                  <a:pt x="102" y="192"/>
                  <a:pt x="103" y="192"/>
                  <a:pt x="103" y="192"/>
                </a:cubicBezTo>
                <a:cubicBezTo>
                  <a:pt x="106" y="191"/>
                  <a:pt x="107" y="180"/>
                  <a:pt x="107" y="177"/>
                </a:cubicBezTo>
                <a:cubicBezTo>
                  <a:pt x="107" y="173"/>
                  <a:pt x="108" y="165"/>
                  <a:pt x="109" y="161"/>
                </a:cubicBezTo>
                <a:cubicBezTo>
                  <a:pt x="111" y="155"/>
                  <a:pt x="102" y="150"/>
                  <a:pt x="102" y="143"/>
                </a:cubicBezTo>
                <a:cubicBezTo>
                  <a:pt x="102" y="136"/>
                  <a:pt x="106" y="140"/>
                  <a:pt x="110" y="137"/>
                </a:cubicBezTo>
                <a:cubicBezTo>
                  <a:pt x="114" y="134"/>
                  <a:pt x="110" y="133"/>
                  <a:pt x="108" y="132"/>
                </a:cubicBezTo>
                <a:cubicBezTo>
                  <a:pt x="106" y="132"/>
                  <a:pt x="104" y="128"/>
                  <a:pt x="105" y="126"/>
                </a:cubicBezTo>
                <a:cubicBezTo>
                  <a:pt x="105" y="124"/>
                  <a:pt x="118" y="125"/>
                  <a:pt x="122" y="125"/>
                </a:cubicBezTo>
                <a:cubicBezTo>
                  <a:pt x="126" y="125"/>
                  <a:pt x="134" y="121"/>
                  <a:pt x="134" y="121"/>
                </a:cubicBezTo>
                <a:cubicBezTo>
                  <a:pt x="134" y="120"/>
                  <a:pt x="135" y="117"/>
                  <a:pt x="132" y="115"/>
                </a:cubicBezTo>
                <a:cubicBezTo>
                  <a:pt x="129" y="112"/>
                  <a:pt x="130" y="109"/>
                  <a:pt x="133" y="106"/>
                </a:cubicBezTo>
                <a:cubicBezTo>
                  <a:pt x="135" y="104"/>
                  <a:pt x="131" y="101"/>
                  <a:pt x="128" y="98"/>
                </a:cubicBezTo>
                <a:cubicBezTo>
                  <a:pt x="125" y="94"/>
                  <a:pt x="128" y="83"/>
                  <a:pt x="131" y="77"/>
                </a:cubicBezTo>
                <a:cubicBezTo>
                  <a:pt x="134" y="72"/>
                  <a:pt x="124" y="73"/>
                  <a:pt x="118" y="74"/>
                </a:cubicBezTo>
                <a:cubicBezTo>
                  <a:pt x="111" y="74"/>
                  <a:pt x="106" y="72"/>
                  <a:pt x="102" y="67"/>
                </a:cubicBezTo>
                <a:cubicBezTo>
                  <a:pt x="98" y="61"/>
                  <a:pt x="92" y="65"/>
                  <a:pt x="83" y="65"/>
                </a:cubicBezTo>
                <a:cubicBezTo>
                  <a:pt x="73" y="65"/>
                  <a:pt x="75" y="54"/>
                  <a:pt x="75" y="50"/>
                </a:cubicBezTo>
                <a:cubicBezTo>
                  <a:pt x="76" y="46"/>
                  <a:pt x="70" y="45"/>
                  <a:pt x="70" y="43"/>
                </a:cubicBezTo>
                <a:cubicBezTo>
                  <a:pt x="70" y="40"/>
                  <a:pt x="68" y="40"/>
                  <a:pt x="65" y="40"/>
                </a:cubicBezTo>
                <a:cubicBezTo>
                  <a:pt x="63" y="40"/>
                  <a:pt x="65" y="37"/>
                  <a:pt x="67" y="35"/>
                </a:cubicBezTo>
                <a:cubicBezTo>
                  <a:pt x="69" y="33"/>
                  <a:pt x="68" y="31"/>
                  <a:pt x="69" y="27"/>
                </a:cubicBezTo>
                <a:cubicBezTo>
                  <a:pt x="69" y="22"/>
                  <a:pt x="75" y="18"/>
                  <a:pt x="78" y="14"/>
                </a:cubicBezTo>
                <a:cubicBezTo>
                  <a:pt x="79" y="13"/>
                  <a:pt x="80" y="12"/>
                  <a:pt x="82" y="12"/>
                </a:cubicBezTo>
                <a:cubicBezTo>
                  <a:pt x="82" y="11"/>
                  <a:pt x="83" y="10"/>
                  <a:pt x="85" y="10"/>
                </a:cubicBezTo>
                <a:cubicBezTo>
                  <a:pt x="90" y="9"/>
                  <a:pt x="92" y="5"/>
                  <a:pt x="87" y="3"/>
                </a:cubicBezTo>
                <a:cubicBezTo>
                  <a:pt x="83" y="0"/>
                  <a:pt x="80" y="8"/>
                  <a:pt x="75" y="9"/>
                </a:cubicBezTo>
                <a:cubicBezTo>
                  <a:pt x="69" y="9"/>
                  <a:pt x="68" y="13"/>
                  <a:pt x="65" y="14"/>
                </a:cubicBezTo>
                <a:cubicBezTo>
                  <a:pt x="61" y="16"/>
                  <a:pt x="55" y="15"/>
                  <a:pt x="55" y="18"/>
                </a:cubicBezTo>
                <a:cubicBezTo>
                  <a:pt x="54" y="21"/>
                  <a:pt x="52" y="18"/>
                  <a:pt x="49" y="17"/>
                </a:cubicBezTo>
                <a:cubicBezTo>
                  <a:pt x="46" y="16"/>
                  <a:pt x="39" y="23"/>
                  <a:pt x="39" y="27"/>
                </a:cubicBezTo>
                <a:cubicBezTo>
                  <a:pt x="39" y="30"/>
                  <a:pt x="40" y="34"/>
                  <a:pt x="35" y="37"/>
                </a:cubicBezTo>
                <a:cubicBezTo>
                  <a:pt x="29" y="41"/>
                  <a:pt x="26" y="47"/>
                  <a:pt x="24" y="50"/>
                </a:cubicBezTo>
                <a:cubicBezTo>
                  <a:pt x="23" y="51"/>
                  <a:pt x="22" y="51"/>
                  <a:pt x="21" y="51"/>
                </a:cubicBezTo>
                <a:cubicBezTo>
                  <a:pt x="21" y="52"/>
                  <a:pt x="20" y="54"/>
                  <a:pt x="20" y="54"/>
                </a:cubicBezTo>
                <a:cubicBezTo>
                  <a:pt x="18" y="55"/>
                  <a:pt x="15" y="59"/>
                  <a:pt x="12" y="62"/>
                </a:cubicBezTo>
                <a:cubicBezTo>
                  <a:pt x="13" y="63"/>
                  <a:pt x="15" y="64"/>
                  <a:pt x="16" y="65"/>
                </a:cubicBezTo>
                <a:cubicBezTo>
                  <a:pt x="19" y="69"/>
                  <a:pt x="17" y="72"/>
                  <a:pt x="18" y="74"/>
                </a:cubicBezTo>
                <a:cubicBezTo>
                  <a:pt x="19" y="76"/>
                  <a:pt x="20" y="79"/>
                  <a:pt x="18" y="80"/>
                </a:cubicBezTo>
                <a:cubicBezTo>
                  <a:pt x="16" y="82"/>
                  <a:pt x="18" y="95"/>
                  <a:pt x="20" y="98"/>
                </a:cubicBezTo>
                <a:cubicBezTo>
                  <a:pt x="22" y="100"/>
                  <a:pt x="20" y="103"/>
                  <a:pt x="17" y="108"/>
                </a:cubicBezTo>
                <a:cubicBezTo>
                  <a:pt x="15" y="113"/>
                  <a:pt x="13" y="115"/>
                  <a:pt x="8" y="115"/>
                </a:cubicBezTo>
                <a:cubicBezTo>
                  <a:pt x="4" y="115"/>
                  <a:pt x="4" y="122"/>
                  <a:pt x="2" y="122"/>
                </a:cubicBezTo>
                <a:cubicBezTo>
                  <a:pt x="1" y="122"/>
                  <a:pt x="0" y="125"/>
                  <a:pt x="0" y="127"/>
                </a:cubicBezTo>
                <a:cubicBezTo>
                  <a:pt x="4" y="131"/>
                  <a:pt x="12" y="135"/>
                  <a:pt x="14" y="135"/>
                </a:cubicBezTo>
                <a:cubicBezTo>
                  <a:pt x="16" y="135"/>
                  <a:pt x="18" y="138"/>
                  <a:pt x="21" y="14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7" name="Freeform 114"/>
          <p:cNvSpPr/>
          <p:nvPr/>
        </p:nvSpPr>
        <p:spPr bwMode="auto">
          <a:xfrm>
            <a:off x="4148418" y="4761822"/>
            <a:ext cx="311520" cy="358221"/>
          </a:xfrm>
          <a:custGeom>
            <a:cxnLst>
              <a:cxn ang="0">
                <a:pos x="137" y="94"/>
              </a:cxn>
              <a:cxn ang="0">
                <a:pos x="130" y="83"/>
              </a:cxn>
              <a:cxn ang="0">
                <a:pos x="121" y="77"/>
              </a:cxn>
              <a:cxn ang="0">
                <a:pos x="109" y="71"/>
              </a:cxn>
              <a:cxn ang="0">
                <a:pos x="107" y="62"/>
              </a:cxn>
              <a:cxn ang="0">
                <a:pos x="106" y="53"/>
              </a:cxn>
              <a:cxn ang="0">
                <a:pos x="101" y="46"/>
              </a:cxn>
              <a:cxn ang="0">
                <a:pos x="89" y="43"/>
              </a:cxn>
              <a:cxn ang="0">
                <a:pos x="80" y="39"/>
              </a:cxn>
              <a:cxn ang="0">
                <a:pos x="75" y="35"/>
              </a:cxn>
              <a:cxn ang="0">
                <a:pos x="67" y="33"/>
              </a:cxn>
              <a:cxn ang="0">
                <a:pos x="54" y="25"/>
              </a:cxn>
              <a:cxn ang="0">
                <a:pos x="50" y="3"/>
              </a:cxn>
              <a:cxn ang="0">
                <a:pos x="39" y="2"/>
              </a:cxn>
              <a:cxn ang="0">
                <a:pos x="26" y="8"/>
              </a:cxn>
              <a:cxn ang="0">
                <a:pos x="16" y="13"/>
              </a:cxn>
              <a:cxn ang="0">
                <a:pos x="7" y="16"/>
              </a:cxn>
              <a:cxn ang="0">
                <a:pos x="3" y="15"/>
              </a:cxn>
              <a:cxn ang="0">
                <a:pos x="11" y="31"/>
              </a:cxn>
              <a:cxn ang="0">
                <a:pos x="8" y="37"/>
              </a:cxn>
              <a:cxn ang="0">
                <a:pos x="9" y="53"/>
              </a:cxn>
              <a:cxn ang="0">
                <a:pos x="6" y="62"/>
              </a:cxn>
              <a:cxn ang="0">
                <a:pos x="3" y="72"/>
              </a:cxn>
              <a:cxn ang="0">
                <a:pos x="8" y="77"/>
              </a:cxn>
              <a:cxn ang="0">
                <a:pos x="2" y="86"/>
              </a:cxn>
              <a:cxn ang="0">
                <a:pos x="1" y="90"/>
              </a:cxn>
              <a:cxn ang="0">
                <a:pos x="5" y="96"/>
              </a:cxn>
              <a:cxn ang="0">
                <a:pos x="8" y="108"/>
              </a:cxn>
              <a:cxn ang="0">
                <a:pos x="13" y="114"/>
              </a:cxn>
              <a:cxn ang="0">
                <a:pos x="10" y="122"/>
              </a:cxn>
              <a:cxn ang="0">
                <a:pos x="14" y="132"/>
              </a:cxn>
              <a:cxn ang="0">
                <a:pos x="18" y="142"/>
              </a:cxn>
              <a:cxn ang="0">
                <a:pos x="21" y="154"/>
              </a:cxn>
              <a:cxn ang="0">
                <a:pos x="36" y="145"/>
              </a:cxn>
              <a:cxn ang="0">
                <a:pos x="46" y="145"/>
              </a:cxn>
              <a:cxn ang="0">
                <a:pos x="59" y="150"/>
              </a:cxn>
              <a:cxn ang="0">
                <a:pos x="66" y="144"/>
              </a:cxn>
              <a:cxn ang="0">
                <a:pos x="81" y="144"/>
              </a:cxn>
              <a:cxn ang="0">
                <a:pos x="84" y="126"/>
              </a:cxn>
              <a:cxn ang="0">
                <a:pos x="93" y="116"/>
              </a:cxn>
              <a:cxn ang="0">
                <a:pos x="107" y="113"/>
              </a:cxn>
              <a:cxn ang="0">
                <a:pos x="120" y="112"/>
              </a:cxn>
              <a:cxn ang="0">
                <a:pos x="130" y="117"/>
              </a:cxn>
              <a:cxn ang="0">
                <a:pos x="136" y="108"/>
              </a:cxn>
              <a:cxn ang="0">
                <a:pos x="137" y="94"/>
              </a:cxn>
            </a:cxnLst>
            <a:rect b="b" l="0" r="r" t="0"/>
            <a:pathLst>
              <a:path h="157" w="139">
                <a:moveTo>
                  <a:pt x="137" y="94"/>
                </a:moveTo>
                <a:cubicBezTo>
                  <a:pt x="135" y="89"/>
                  <a:pt x="130" y="88"/>
                  <a:pt x="130" y="83"/>
                </a:cubicBezTo>
                <a:cubicBezTo>
                  <a:pt x="130" y="77"/>
                  <a:pt x="128" y="77"/>
                  <a:pt x="121" y="77"/>
                </a:cubicBezTo>
                <a:cubicBezTo>
                  <a:pt x="114" y="77"/>
                  <a:pt x="109" y="76"/>
                  <a:pt x="109" y="71"/>
                </a:cubicBezTo>
                <a:cubicBezTo>
                  <a:pt x="108" y="67"/>
                  <a:pt x="104" y="64"/>
                  <a:pt x="107" y="62"/>
                </a:cubicBezTo>
                <a:cubicBezTo>
                  <a:pt x="111" y="60"/>
                  <a:pt x="105" y="57"/>
                  <a:pt x="106" y="53"/>
                </a:cubicBezTo>
                <a:cubicBezTo>
                  <a:pt x="106" y="49"/>
                  <a:pt x="104" y="48"/>
                  <a:pt x="101" y="46"/>
                </a:cubicBezTo>
                <a:cubicBezTo>
                  <a:pt x="99" y="44"/>
                  <a:pt x="89" y="47"/>
                  <a:pt x="89" y="43"/>
                </a:cubicBezTo>
                <a:cubicBezTo>
                  <a:pt x="89" y="39"/>
                  <a:pt x="83" y="39"/>
                  <a:pt x="80" y="39"/>
                </a:cubicBezTo>
                <a:cubicBezTo>
                  <a:pt x="76" y="39"/>
                  <a:pt x="79" y="34"/>
                  <a:pt x="75" y="35"/>
                </a:cubicBezTo>
                <a:cubicBezTo>
                  <a:pt x="71" y="35"/>
                  <a:pt x="72" y="32"/>
                  <a:pt x="67" y="33"/>
                </a:cubicBezTo>
                <a:cubicBezTo>
                  <a:pt x="62" y="34"/>
                  <a:pt x="59" y="31"/>
                  <a:pt x="54" y="25"/>
                </a:cubicBezTo>
                <a:cubicBezTo>
                  <a:pt x="48" y="19"/>
                  <a:pt x="49" y="6"/>
                  <a:pt x="50" y="3"/>
                </a:cubicBezTo>
                <a:cubicBezTo>
                  <a:pt x="51" y="0"/>
                  <a:pt x="44" y="2"/>
                  <a:pt x="39" y="2"/>
                </a:cubicBezTo>
                <a:cubicBezTo>
                  <a:pt x="35" y="2"/>
                  <a:pt x="31" y="6"/>
                  <a:pt x="26" y="8"/>
                </a:cubicBezTo>
                <a:cubicBezTo>
                  <a:pt x="21" y="11"/>
                  <a:pt x="19" y="11"/>
                  <a:pt x="16" y="13"/>
                </a:cubicBezTo>
                <a:cubicBezTo>
                  <a:pt x="14" y="16"/>
                  <a:pt x="10" y="17"/>
                  <a:pt x="7" y="16"/>
                </a:cubicBezTo>
                <a:cubicBezTo>
                  <a:pt x="6" y="15"/>
                  <a:pt x="4" y="15"/>
                  <a:pt x="3" y="15"/>
                </a:cubicBezTo>
                <a:cubicBezTo>
                  <a:pt x="5" y="20"/>
                  <a:pt x="10" y="28"/>
                  <a:pt x="11" y="31"/>
                </a:cubicBezTo>
                <a:cubicBezTo>
                  <a:pt x="12" y="34"/>
                  <a:pt x="9" y="35"/>
                  <a:pt x="8" y="37"/>
                </a:cubicBezTo>
                <a:cubicBezTo>
                  <a:pt x="6" y="38"/>
                  <a:pt x="8" y="50"/>
                  <a:pt x="9" y="53"/>
                </a:cubicBezTo>
                <a:cubicBezTo>
                  <a:pt x="9" y="55"/>
                  <a:pt x="4" y="60"/>
                  <a:pt x="6" y="62"/>
                </a:cubicBezTo>
                <a:cubicBezTo>
                  <a:pt x="8" y="64"/>
                  <a:pt x="3" y="69"/>
                  <a:pt x="3" y="72"/>
                </a:cubicBezTo>
                <a:cubicBezTo>
                  <a:pt x="3" y="75"/>
                  <a:pt x="8" y="75"/>
                  <a:pt x="8" y="77"/>
                </a:cubicBezTo>
                <a:cubicBezTo>
                  <a:pt x="8" y="79"/>
                  <a:pt x="4" y="85"/>
                  <a:pt x="2" y="86"/>
                </a:cubicBezTo>
                <a:cubicBezTo>
                  <a:pt x="0" y="87"/>
                  <a:pt x="0" y="88"/>
                  <a:pt x="1" y="90"/>
                </a:cubicBezTo>
                <a:cubicBezTo>
                  <a:pt x="1" y="90"/>
                  <a:pt x="2" y="93"/>
                  <a:pt x="5" y="96"/>
                </a:cubicBezTo>
                <a:cubicBezTo>
                  <a:pt x="9" y="99"/>
                  <a:pt x="5" y="104"/>
                  <a:pt x="8" y="108"/>
                </a:cubicBezTo>
                <a:cubicBezTo>
                  <a:pt x="11" y="112"/>
                  <a:pt x="15" y="112"/>
                  <a:pt x="13" y="114"/>
                </a:cubicBezTo>
                <a:cubicBezTo>
                  <a:pt x="10" y="116"/>
                  <a:pt x="13" y="120"/>
                  <a:pt x="10" y="122"/>
                </a:cubicBezTo>
                <a:cubicBezTo>
                  <a:pt x="8" y="124"/>
                  <a:pt x="11" y="130"/>
                  <a:pt x="14" y="132"/>
                </a:cubicBezTo>
                <a:cubicBezTo>
                  <a:pt x="17" y="133"/>
                  <a:pt x="15" y="139"/>
                  <a:pt x="18" y="142"/>
                </a:cubicBezTo>
                <a:cubicBezTo>
                  <a:pt x="21" y="145"/>
                  <a:pt x="20" y="152"/>
                  <a:pt x="21" y="154"/>
                </a:cubicBezTo>
                <a:cubicBezTo>
                  <a:pt x="22" y="157"/>
                  <a:pt x="31" y="151"/>
                  <a:pt x="36" y="145"/>
                </a:cubicBezTo>
                <a:cubicBezTo>
                  <a:pt x="42" y="140"/>
                  <a:pt x="41" y="144"/>
                  <a:pt x="46" y="145"/>
                </a:cubicBezTo>
                <a:cubicBezTo>
                  <a:pt x="51" y="146"/>
                  <a:pt x="57" y="146"/>
                  <a:pt x="59" y="150"/>
                </a:cubicBezTo>
                <a:cubicBezTo>
                  <a:pt x="62" y="155"/>
                  <a:pt x="64" y="146"/>
                  <a:pt x="66" y="144"/>
                </a:cubicBezTo>
                <a:cubicBezTo>
                  <a:pt x="68" y="142"/>
                  <a:pt x="79" y="144"/>
                  <a:pt x="81" y="144"/>
                </a:cubicBezTo>
                <a:cubicBezTo>
                  <a:pt x="83" y="143"/>
                  <a:pt x="85" y="129"/>
                  <a:pt x="84" y="126"/>
                </a:cubicBezTo>
                <a:cubicBezTo>
                  <a:pt x="84" y="124"/>
                  <a:pt x="89" y="118"/>
                  <a:pt x="93" y="116"/>
                </a:cubicBezTo>
                <a:cubicBezTo>
                  <a:pt x="97" y="113"/>
                  <a:pt x="103" y="115"/>
                  <a:pt x="107" y="113"/>
                </a:cubicBezTo>
                <a:cubicBezTo>
                  <a:pt x="110" y="112"/>
                  <a:pt x="115" y="112"/>
                  <a:pt x="120" y="112"/>
                </a:cubicBezTo>
                <a:cubicBezTo>
                  <a:pt x="124" y="112"/>
                  <a:pt x="128" y="117"/>
                  <a:pt x="130" y="117"/>
                </a:cubicBezTo>
                <a:cubicBezTo>
                  <a:pt x="133" y="117"/>
                  <a:pt x="136" y="112"/>
                  <a:pt x="136" y="108"/>
                </a:cubicBezTo>
                <a:cubicBezTo>
                  <a:pt x="135" y="104"/>
                  <a:pt x="139" y="99"/>
                  <a:pt x="137" y="9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8" name="Freeform 115"/>
          <p:cNvSpPr/>
          <p:nvPr/>
        </p:nvSpPr>
        <p:spPr bwMode="auto">
          <a:xfrm>
            <a:off x="3849879" y="4509741"/>
            <a:ext cx="326354" cy="483314"/>
          </a:xfrm>
          <a:custGeom>
            <a:cxnLst>
              <a:cxn ang="0">
                <a:pos x="134" y="201"/>
              </a:cxn>
              <a:cxn ang="0">
                <a:pos x="135" y="200"/>
              </a:cxn>
              <a:cxn ang="0">
                <a:pos x="136" y="196"/>
              </a:cxn>
              <a:cxn ang="0">
                <a:pos x="142" y="187"/>
              </a:cxn>
              <a:cxn ang="0">
                <a:pos x="137" y="182"/>
              </a:cxn>
              <a:cxn ang="0">
                <a:pos x="140" y="172"/>
              </a:cxn>
              <a:cxn ang="0">
                <a:pos x="143" y="163"/>
              </a:cxn>
              <a:cxn ang="0">
                <a:pos x="142" y="147"/>
              </a:cxn>
              <a:cxn ang="0">
                <a:pos x="145" y="141"/>
              </a:cxn>
              <a:cxn ang="0">
                <a:pos x="137" y="125"/>
              </a:cxn>
              <a:cxn ang="0">
                <a:pos x="126" y="125"/>
              </a:cxn>
              <a:cxn ang="0">
                <a:pos x="123" y="111"/>
              </a:cxn>
              <a:cxn ang="0">
                <a:pos x="118" y="112"/>
              </a:cxn>
              <a:cxn ang="0">
                <a:pos x="106" y="113"/>
              </a:cxn>
              <a:cxn ang="0">
                <a:pos x="100" y="107"/>
              </a:cxn>
              <a:cxn ang="0">
                <a:pos x="95" y="103"/>
              </a:cxn>
              <a:cxn ang="0">
                <a:pos x="90" y="93"/>
              </a:cxn>
              <a:cxn ang="0">
                <a:pos x="87" y="83"/>
              </a:cxn>
              <a:cxn ang="0">
                <a:pos x="89" y="76"/>
              </a:cxn>
              <a:cxn ang="0">
                <a:pos x="94" y="70"/>
              </a:cxn>
              <a:cxn ang="0">
                <a:pos x="97" y="59"/>
              </a:cxn>
              <a:cxn ang="0">
                <a:pos x="107" y="53"/>
              </a:cxn>
              <a:cxn ang="0">
                <a:pos x="121" y="48"/>
              </a:cxn>
              <a:cxn ang="0">
                <a:pos x="130" y="47"/>
              </a:cxn>
              <a:cxn ang="0">
                <a:pos x="123" y="42"/>
              </a:cxn>
              <a:cxn ang="0">
                <a:pos x="129" y="32"/>
              </a:cxn>
              <a:cxn ang="0">
                <a:pos x="121" y="25"/>
              </a:cxn>
              <a:cxn ang="0">
                <a:pos x="114" y="26"/>
              </a:cxn>
              <a:cxn ang="0">
                <a:pos x="107" y="27"/>
              </a:cxn>
              <a:cxn ang="0">
                <a:pos x="94" y="25"/>
              </a:cxn>
              <a:cxn ang="0">
                <a:pos x="90" y="18"/>
              </a:cxn>
              <a:cxn ang="0">
                <a:pos x="83" y="11"/>
              </a:cxn>
              <a:cxn ang="0">
                <a:pos x="76" y="2"/>
              </a:cxn>
              <a:cxn ang="0">
                <a:pos x="66" y="2"/>
              </a:cxn>
              <a:cxn ang="0">
                <a:pos x="69" y="10"/>
              </a:cxn>
              <a:cxn ang="0">
                <a:pos x="63" y="21"/>
              </a:cxn>
              <a:cxn ang="0">
                <a:pos x="40" y="33"/>
              </a:cxn>
              <a:cxn ang="0">
                <a:pos x="30" y="51"/>
              </a:cxn>
              <a:cxn ang="0">
                <a:pos x="22" y="52"/>
              </a:cxn>
              <a:cxn ang="0">
                <a:pos x="14" y="49"/>
              </a:cxn>
              <a:cxn ang="0">
                <a:pos x="14" y="44"/>
              </a:cxn>
              <a:cxn ang="0">
                <a:pos x="11" y="38"/>
              </a:cxn>
              <a:cxn ang="0">
                <a:pos x="2" y="48"/>
              </a:cxn>
              <a:cxn ang="0">
                <a:pos x="6" y="63"/>
              </a:cxn>
              <a:cxn ang="0">
                <a:pos x="3" y="66"/>
              </a:cxn>
              <a:cxn ang="0">
                <a:pos x="15" y="76"/>
              </a:cxn>
              <a:cxn ang="0">
                <a:pos x="26" y="92"/>
              </a:cxn>
              <a:cxn ang="0">
                <a:pos x="34" y="109"/>
              </a:cxn>
              <a:cxn ang="0">
                <a:pos x="52" y="142"/>
              </a:cxn>
              <a:cxn ang="0">
                <a:pos x="59" y="157"/>
              </a:cxn>
              <a:cxn ang="0">
                <a:pos x="63" y="167"/>
              </a:cxn>
              <a:cxn ang="0">
                <a:pos x="81" y="179"/>
              </a:cxn>
              <a:cxn ang="0">
                <a:pos x="113" y="199"/>
              </a:cxn>
              <a:cxn ang="0">
                <a:pos x="127" y="210"/>
              </a:cxn>
              <a:cxn ang="0">
                <a:pos x="127" y="212"/>
              </a:cxn>
              <a:cxn ang="0">
                <a:pos x="130" y="210"/>
              </a:cxn>
              <a:cxn ang="0">
                <a:pos x="134" y="201"/>
              </a:cxn>
            </a:cxnLst>
            <a:rect b="b" l="0" r="r" t="0"/>
            <a:pathLst>
              <a:path h="211" w="146">
                <a:moveTo>
                  <a:pt x="134" y="201"/>
                </a:moveTo>
                <a:cubicBezTo>
                  <a:pt x="134" y="201"/>
                  <a:pt x="135" y="201"/>
                  <a:pt x="135" y="200"/>
                </a:cubicBezTo>
                <a:cubicBezTo>
                  <a:pt x="134" y="198"/>
                  <a:pt x="134" y="197"/>
                  <a:pt x="136" y="196"/>
                </a:cubicBezTo>
                <a:cubicBezTo>
                  <a:pt x="138" y="195"/>
                  <a:pt x="142" y="189"/>
                  <a:pt x="142" y="187"/>
                </a:cubicBezTo>
                <a:cubicBezTo>
                  <a:pt x="142" y="185"/>
                  <a:pt x="137" y="185"/>
                  <a:pt x="137" y="182"/>
                </a:cubicBezTo>
                <a:cubicBezTo>
                  <a:pt x="137" y="179"/>
                  <a:pt x="142" y="174"/>
                  <a:pt x="140" y="172"/>
                </a:cubicBezTo>
                <a:cubicBezTo>
                  <a:pt x="138" y="170"/>
                  <a:pt x="143" y="165"/>
                  <a:pt x="143" y="163"/>
                </a:cubicBezTo>
                <a:cubicBezTo>
                  <a:pt x="142" y="160"/>
                  <a:pt x="140" y="148"/>
                  <a:pt x="142" y="147"/>
                </a:cubicBezTo>
                <a:cubicBezTo>
                  <a:pt x="143" y="145"/>
                  <a:pt x="146" y="144"/>
                  <a:pt x="145" y="141"/>
                </a:cubicBezTo>
                <a:cubicBezTo>
                  <a:pt x="144" y="138"/>
                  <a:pt x="139" y="130"/>
                  <a:pt x="137" y="125"/>
                </a:cubicBezTo>
                <a:cubicBezTo>
                  <a:pt x="133" y="124"/>
                  <a:pt x="129" y="124"/>
                  <a:pt x="126" y="125"/>
                </a:cubicBezTo>
                <a:cubicBezTo>
                  <a:pt x="122" y="127"/>
                  <a:pt x="123" y="115"/>
                  <a:pt x="123" y="111"/>
                </a:cubicBezTo>
                <a:cubicBezTo>
                  <a:pt x="123" y="106"/>
                  <a:pt x="120" y="109"/>
                  <a:pt x="118" y="112"/>
                </a:cubicBezTo>
                <a:cubicBezTo>
                  <a:pt x="117" y="115"/>
                  <a:pt x="112" y="113"/>
                  <a:pt x="106" y="113"/>
                </a:cubicBezTo>
                <a:cubicBezTo>
                  <a:pt x="101" y="113"/>
                  <a:pt x="104" y="107"/>
                  <a:pt x="100" y="107"/>
                </a:cubicBezTo>
                <a:cubicBezTo>
                  <a:pt x="97" y="107"/>
                  <a:pt x="94" y="106"/>
                  <a:pt x="95" y="103"/>
                </a:cubicBezTo>
                <a:cubicBezTo>
                  <a:pt x="95" y="99"/>
                  <a:pt x="92" y="97"/>
                  <a:pt x="90" y="93"/>
                </a:cubicBezTo>
                <a:cubicBezTo>
                  <a:pt x="88" y="89"/>
                  <a:pt x="85" y="86"/>
                  <a:pt x="87" y="83"/>
                </a:cubicBezTo>
                <a:cubicBezTo>
                  <a:pt x="89" y="81"/>
                  <a:pt x="86" y="79"/>
                  <a:pt x="89" y="76"/>
                </a:cubicBezTo>
                <a:cubicBezTo>
                  <a:pt x="92" y="73"/>
                  <a:pt x="95" y="74"/>
                  <a:pt x="94" y="70"/>
                </a:cubicBezTo>
                <a:cubicBezTo>
                  <a:pt x="93" y="66"/>
                  <a:pt x="97" y="64"/>
                  <a:pt x="97" y="59"/>
                </a:cubicBezTo>
                <a:cubicBezTo>
                  <a:pt x="98" y="55"/>
                  <a:pt x="103" y="56"/>
                  <a:pt x="107" y="53"/>
                </a:cubicBezTo>
                <a:cubicBezTo>
                  <a:pt x="112" y="49"/>
                  <a:pt x="117" y="51"/>
                  <a:pt x="121" y="48"/>
                </a:cubicBezTo>
                <a:cubicBezTo>
                  <a:pt x="125" y="44"/>
                  <a:pt x="127" y="47"/>
                  <a:pt x="130" y="47"/>
                </a:cubicBezTo>
                <a:cubicBezTo>
                  <a:pt x="128" y="45"/>
                  <a:pt x="124" y="43"/>
                  <a:pt x="123" y="42"/>
                </a:cubicBezTo>
                <a:cubicBezTo>
                  <a:pt x="122" y="39"/>
                  <a:pt x="128" y="35"/>
                  <a:pt x="129" y="32"/>
                </a:cubicBezTo>
                <a:cubicBezTo>
                  <a:pt x="131" y="29"/>
                  <a:pt x="123" y="26"/>
                  <a:pt x="121" y="25"/>
                </a:cubicBezTo>
                <a:cubicBezTo>
                  <a:pt x="119" y="25"/>
                  <a:pt x="116" y="27"/>
                  <a:pt x="114" y="26"/>
                </a:cubicBezTo>
                <a:cubicBezTo>
                  <a:pt x="112" y="25"/>
                  <a:pt x="109" y="25"/>
                  <a:pt x="107" y="27"/>
                </a:cubicBezTo>
                <a:cubicBezTo>
                  <a:pt x="105" y="28"/>
                  <a:pt x="94" y="29"/>
                  <a:pt x="94" y="25"/>
                </a:cubicBezTo>
                <a:cubicBezTo>
                  <a:pt x="94" y="22"/>
                  <a:pt x="89" y="20"/>
                  <a:pt x="90" y="18"/>
                </a:cubicBezTo>
                <a:cubicBezTo>
                  <a:pt x="90" y="16"/>
                  <a:pt x="87" y="11"/>
                  <a:pt x="83" y="11"/>
                </a:cubicBezTo>
                <a:cubicBezTo>
                  <a:pt x="78" y="11"/>
                  <a:pt x="79" y="3"/>
                  <a:pt x="76" y="2"/>
                </a:cubicBezTo>
                <a:cubicBezTo>
                  <a:pt x="74" y="0"/>
                  <a:pt x="70" y="1"/>
                  <a:pt x="66" y="2"/>
                </a:cubicBezTo>
                <a:cubicBezTo>
                  <a:pt x="70" y="6"/>
                  <a:pt x="71" y="8"/>
                  <a:pt x="69" y="10"/>
                </a:cubicBezTo>
                <a:cubicBezTo>
                  <a:pt x="66" y="12"/>
                  <a:pt x="69" y="13"/>
                  <a:pt x="63" y="21"/>
                </a:cubicBezTo>
                <a:cubicBezTo>
                  <a:pt x="56" y="30"/>
                  <a:pt x="46" y="32"/>
                  <a:pt x="40" y="33"/>
                </a:cubicBezTo>
                <a:cubicBezTo>
                  <a:pt x="35" y="35"/>
                  <a:pt x="33" y="45"/>
                  <a:pt x="30" y="51"/>
                </a:cubicBezTo>
                <a:cubicBezTo>
                  <a:pt x="27" y="58"/>
                  <a:pt x="25" y="56"/>
                  <a:pt x="22" y="52"/>
                </a:cubicBezTo>
                <a:cubicBezTo>
                  <a:pt x="19" y="48"/>
                  <a:pt x="17" y="53"/>
                  <a:pt x="14" y="49"/>
                </a:cubicBezTo>
                <a:cubicBezTo>
                  <a:pt x="10" y="46"/>
                  <a:pt x="12" y="46"/>
                  <a:pt x="14" y="44"/>
                </a:cubicBezTo>
                <a:cubicBezTo>
                  <a:pt x="15" y="42"/>
                  <a:pt x="14" y="40"/>
                  <a:pt x="11" y="38"/>
                </a:cubicBezTo>
                <a:cubicBezTo>
                  <a:pt x="8" y="39"/>
                  <a:pt x="4" y="44"/>
                  <a:pt x="2" y="48"/>
                </a:cubicBezTo>
                <a:cubicBezTo>
                  <a:pt x="0" y="52"/>
                  <a:pt x="6" y="60"/>
                  <a:pt x="6" y="63"/>
                </a:cubicBezTo>
                <a:cubicBezTo>
                  <a:pt x="7" y="66"/>
                  <a:pt x="3" y="64"/>
                  <a:pt x="3" y="66"/>
                </a:cubicBezTo>
                <a:cubicBezTo>
                  <a:pt x="2" y="69"/>
                  <a:pt x="11" y="73"/>
                  <a:pt x="15" y="76"/>
                </a:cubicBezTo>
                <a:cubicBezTo>
                  <a:pt x="19" y="79"/>
                  <a:pt x="23" y="88"/>
                  <a:pt x="26" y="92"/>
                </a:cubicBezTo>
                <a:cubicBezTo>
                  <a:pt x="30" y="96"/>
                  <a:pt x="30" y="99"/>
                  <a:pt x="34" y="109"/>
                </a:cubicBezTo>
                <a:cubicBezTo>
                  <a:pt x="38" y="119"/>
                  <a:pt x="46" y="135"/>
                  <a:pt x="52" y="142"/>
                </a:cubicBezTo>
                <a:cubicBezTo>
                  <a:pt x="57" y="149"/>
                  <a:pt x="60" y="155"/>
                  <a:pt x="59" y="157"/>
                </a:cubicBezTo>
                <a:cubicBezTo>
                  <a:pt x="57" y="159"/>
                  <a:pt x="59" y="164"/>
                  <a:pt x="63" y="167"/>
                </a:cubicBezTo>
                <a:cubicBezTo>
                  <a:pt x="67" y="170"/>
                  <a:pt x="70" y="174"/>
                  <a:pt x="81" y="179"/>
                </a:cubicBezTo>
                <a:cubicBezTo>
                  <a:pt x="91" y="185"/>
                  <a:pt x="110" y="195"/>
                  <a:pt x="113" y="199"/>
                </a:cubicBezTo>
                <a:cubicBezTo>
                  <a:pt x="116" y="204"/>
                  <a:pt x="125" y="209"/>
                  <a:pt x="127" y="210"/>
                </a:cubicBezTo>
                <a:cubicBezTo>
                  <a:pt x="127" y="210"/>
                  <a:pt x="127" y="211"/>
                  <a:pt x="127" y="212"/>
                </a:cubicBezTo>
                <a:cubicBezTo>
                  <a:pt x="128" y="211"/>
                  <a:pt x="129" y="210"/>
                  <a:pt x="130" y="210"/>
                </a:cubicBezTo>
                <a:cubicBezTo>
                  <a:pt x="133" y="208"/>
                  <a:pt x="133" y="203"/>
                  <a:pt x="134" y="20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19" name="Freeform 116"/>
          <p:cNvSpPr/>
          <p:nvPr/>
        </p:nvSpPr>
        <p:spPr bwMode="auto">
          <a:xfrm>
            <a:off x="4053850" y="4193218"/>
            <a:ext cx="346752" cy="299465"/>
          </a:xfrm>
          <a:custGeom>
            <a:cxnLst>
              <a:cxn ang="0">
                <a:pos x="15" y="8"/>
              </a:cxn>
              <a:cxn ang="0">
                <a:pos x="6" y="21"/>
              </a:cxn>
              <a:cxn ang="0">
                <a:pos x="4" y="29"/>
              </a:cxn>
              <a:cxn ang="0">
                <a:pos x="2" y="34"/>
              </a:cxn>
              <a:cxn ang="0">
                <a:pos x="7" y="37"/>
              </a:cxn>
              <a:cxn ang="0">
                <a:pos x="12" y="44"/>
              </a:cxn>
              <a:cxn ang="0">
                <a:pos x="20" y="59"/>
              </a:cxn>
              <a:cxn ang="0">
                <a:pos x="39" y="61"/>
              </a:cxn>
              <a:cxn ang="0">
                <a:pos x="55" y="68"/>
              </a:cxn>
              <a:cxn ang="0">
                <a:pos x="68" y="71"/>
              </a:cxn>
              <a:cxn ang="0">
                <a:pos x="65" y="92"/>
              </a:cxn>
              <a:cxn ang="0">
                <a:pos x="70" y="100"/>
              </a:cxn>
              <a:cxn ang="0">
                <a:pos x="69" y="109"/>
              </a:cxn>
              <a:cxn ang="0">
                <a:pos x="71" y="115"/>
              </a:cxn>
              <a:cxn ang="0">
                <a:pos x="70" y="115"/>
              </a:cxn>
              <a:cxn ang="0">
                <a:pos x="78" y="127"/>
              </a:cxn>
              <a:cxn ang="0">
                <a:pos x="85" y="130"/>
              </a:cxn>
              <a:cxn ang="0">
                <a:pos x="91" y="129"/>
              </a:cxn>
              <a:cxn ang="0">
                <a:pos x="99" y="124"/>
              </a:cxn>
              <a:cxn ang="0">
                <a:pos x="106" y="121"/>
              </a:cxn>
              <a:cxn ang="0">
                <a:pos x="113" y="115"/>
              </a:cxn>
              <a:cxn ang="0">
                <a:pos x="114" y="110"/>
              </a:cxn>
              <a:cxn ang="0">
                <a:pos x="108" y="109"/>
              </a:cxn>
              <a:cxn ang="0">
                <a:pos x="105" y="101"/>
              </a:cxn>
              <a:cxn ang="0">
                <a:pos x="101" y="93"/>
              </a:cxn>
              <a:cxn ang="0">
                <a:pos x="108" y="92"/>
              </a:cxn>
              <a:cxn ang="0">
                <a:pos x="118" y="95"/>
              </a:cxn>
              <a:cxn ang="0">
                <a:pos x="123" y="95"/>
              </a:cxn>
              <a:cxn ang="0">
                <a:pos x="130" y="91"/>
              </a:cxn>
              <a:cxn ang="0">
                <a:pos x="144" y="86"/>
              </a:cxn>
              <a:cxn ang="0">
                <a:pos x="147" y="82"/>
              </a:cxn>
              <a:cxn ang="0">
                <a:pos x="140" y="72"/>
              </a:cxn>
              <a:cxn ang="0">
                <a:pos x="141" y="66"/>
              </a:cxn>
              <a:cxn ang="0">
                <a:pos x="146" y="61"/>
              </a:cxn>
              <a:cxn ang="0">
                <a:pos x="148" y="55"/>
              </a:cxn>
              <a:cxn ang="0">
                <a:pos x="152" y="47"/>
              </a:cxn>
              <a:cxn ang="0">
                <a:pos x="156" y="42"/>
              </a:cxn>
              <a:cxn ang="0">
                <a:pos x="140" y="40"/>
              </a:cxn>
              <a:cxn ang="0">
                <a:pos x="143" y="31"/>
              </a:cxn>
              <a:cxn ang="0">
                <a:pos x="126" y="25"/>
              </a:cxn>
              <a:cxn ang="0">
                <a:pos x="128" y="19"/>
              </a:cxn>
              <a:cxn ang="0">
                <a:pos x="118" y="16"/>
              </a:cxn>
              <a:cxn ang="0">
                <a:pos x="96" y="24"/>
              </a:cxn>
              <a:cxn ang="0">
                <a:pos x="75" y="17"/>
              </a:cxn>
              <a:cxn ang="0">
                <a:pos x="60" y="15"/>
              </a:cxn>
              <a:cxn ang="0">
                <a:pos x="52" y="6"/>
              </a:cxn>
              <a:cxn ang="0">
                <a:pos x="42" y="0"/>
              </a:cxn>
              <a:cxn ang="0">
                <a:pos x="39" y="7"/>
              </a:cxn>
              <a:cxn ang="0">
                <a:pos x="24" y="16"/>
              </a:cxn>
              <a:cxn ang="0">
                <a:pos x="27" y="32"/>
              </a:cxn>
              <a:cxn ang="0">
                <a:pos x="15" y="28"/>
              </a:cxn>
              <a:cxn ang="0">
                <a:pos x="20" y="14"/>
              </a:cxn>
              <a:cxn ang="0">
                <a:pos x="19" y="6"/>
              </a:cxn>
              <a:cxn ang="0">
                <a:pos x="15" y="8"/>
              </a:cxn>
            </a:cxnLst>
            <a:rect b="b" l="0" r="r" t="0"/>
            <a:pathLst>
              <a:path h="131" w="156">
                <a:moveTo>
                  <a:pt x="15" y="8"/>
                </a:moveTo>
                <a:cubicBezTo>
                  <a:pt x="12" y="12"/>
                  <a:pt x="6" y="16"/>
                  <a:pt x="6" y="21"/>
                </a:cubicBezTo>
                <a:cubicBezTo>
                  <a:pt x="5" y="25"/>
                  <a:pt x="6" y="27"/>
                  <a:pt x="4" y="29"/>
                </a:cubicBezTo>
                <a:cubicBezTo>
                  <a:pt x="2" y="31"/>
                  <a:pt x="0" y="34"/>
                  <a:pt x="2" y="34"/>
                </a:cubicBezTo>
                <a:cubicBezTo>
                  <a:pt x="5" y="34"/>
                  <a:pt x="7" y="34"/>
                  <a:pt x="7" y="37"/>
                </a:cubicBezTo>
                <a:cubicBezTo>
                  <a:pt x="7" y="39"/>
                  <a:pt x="13" y="40"/>
                  <a:pt x="12" y="44"/>
                </a:cubicBezTo>
                <a:cubicBezTo>
                  <a:pt x="12" y="48"/>
                  <a:pt x="10" y="59"/>
                  <a:pt x="20" y="59"/>
                </a:cubicBezTo>
                <a:cubicBezTo>
                  <a:pt x="29" y="59"/>
                  <a:pt x="35" y="55"/>
                  <a:pt x="39" y="61"/>
                </a:cubicBezTo>
                <a:cubicBezTo>
                  <a:pt x="43" y="66"/>
                  <a:pt x="48" y="68"/>
                  <a:pt x="55" y="68"/>
                </a:cubicBezTo>
                <a:cubicBezTo>
                  <a:pt x="61" y="67"/>
                  <a:pt x="71" y="66"/>
                  <a:pt x="68" y="71"/>
                </a:cubicBezTo>
                <a:cubicBezTo>
                  <a:pt x="65" y="77"/>
                  <a:pt x="62" y="88"/>
                  <a:pt x="65" y="92"/>
                </a:cubicBezTo>
                <a:cubicBezTo>
                  <a:pt x="68" y="95"/>
                  <a:pt x="72" y="98"/>
                  <a:pt x="70" y="100"/>
                </a:cubicBezTo>
                <a:cubicBezTo>
                  <a:pt x="67" y="103"/>
                  <a:pt x="66" y="106"/>
                  <a:pt x="69" y="109"/>
                </a:cubicBezTo>
                <a:cubicBezTo>
                  <a:pt x="72" y="111"/>
                  <a:pt x="71" y="114"/>
                  <a:pt x="71" y="115"/>
                </a:cubicBezTo>
                <a:cubicBezTo>
                  <a:pt x="71" y="115"/>
                  <a:pt x="71" y="115"/>
                  <a:pt x="70" y="115"/>
                </a:cubicBezTo>
                <a:cubicBezTo>
                  <a:pt x="74" y="120"/>
                  <a:pt x="76" y="125"/>
                  <a:pt x="78" y="127"/>
                </a:cubicBezTo>
                <a:cubicBezTo>
                  <a:pt x="82" y="130"/>
                  <a:pt x="83" y="131"/>
                  <a:pt x="85" y="130"/>
                </a:cubicBezTo>
                <a:cubicBezTo>
                  <a:pt x="87" y="128"/>
                  <a:pt x="89" y="127"/>
                  <a:pt x="91" y="129"/>
                </a:cubicBezTo>
                <a:cubicBezTo>
                  <a:pt x="93" y="130"/>
                  <a:pt x="96" y="127"/>
                  <a:pt x="99" y="124"/>
                </a:cubicBezTo>
                <a:cubicBezTo>
                  <a:pt x="102" y="122"/>
                  <a:pt x="105" y="124"/>
                  <a:pt x="106" y="121"/>
                </a:cubicBezTo>
                <a:cubicBezTo>
                  <a:pt x="107" y="117"/>
                  <a:pt x="109" y="115"/>
                  <a:pt x="113" y="115"/>
                </a:cubicBezTo>
                <a:cubicBezTo>
                  <a:pt x="117" y="114"/>
                  <a:pt x="117" y="110"/>
                  <a:pt x="114" y="110"/>
                </a:cubicBezTo>
                <a:cubicBezTo>
                  <a:pt x="112" y="110"/>
                  <a:pt x="108" y="113"/>
                  <a:pt x="108" y="109"/>
                </a:cubicBezTo>
                <a:cubicBezTo>
                  <a:pt x="108" y="104"/>
                  <a:pt x="105" y="105"/>
                  <a:pt x="105" y="101"/>
                </a:cubicBezTo>
                <a:cubicBezTo>
                  <a:pt x="105" y="98"/>
                  <a:pt x="105" y="95"/>
                  <a:pt x="101" y="93"/>
                </a:cubicBezTo>
                <a:cubicBezTo>
                  <a:pt x="97" y="91"/>
                  <a:pt x="106" y="90"/>
                  <a:pt x="108" y="92"/>
                </a:cubicBezTo>
                <a:cubicBezTo>
                  <a:pt x="110" y="94"/>
                  <a:pt x="118" y="92"/>
                  <a:pt x="118" y="95"/>
                </a:cubicBezTo>
                <a:cubicBezTo>
                  <a:pt x="119" y="98"/>
                  <a:pt x="123" y="99"/>
                  <a:pt x="123" y="95"/>
                </a:cubicBezTo>
                <a:cubicBezTo>
                  <a:pt x="123" y="92"/>
                  <a:pt x="127" y="90"/>
                  <a:pt x="130" y="91"/>
                </a:cubicBezTo>
                <a:cubicBezTo>
                  <a:pt x="134" y="92"/>
                  <a:pt x="141" y="87"/>
                  <a:pt x="144" y="86"/>
                </a:cubicBezTo>
                <a:cubicBezTo>
                  <a:pt x="146" y="85"/>
                  <a:pt x="146" y="83"/>
                  <a:pt x="147" y="82"/>
                </a:cubicBezTo>
                <a:cubicBezTo>
                  <a:pt x="145" y="78"/>
                  <a:pt x="142" y="74"/>
                  <a:pt x="140" y="72"/>
                </a:cubicBezTo>
                <a:cubicBezTo>
                  <a:pt x="137" y="70"/>
                  <a:pt x="142" y="69"/>
                  <a:pt x="141" y="66"/>
                </a:cubicBezTo>
                <a:cubicBezTo>
                  <a:pt x="141" y="64"/>
                  <a:pt x="141" y="62"/>
                  <a:pt x="146" y="61"/>
                </a:cubicBezTo>
                <a:cubicBezTo>
                  <a:pt x="152" y="61"/>
                  <a:pt x="151" y="57"/>
                  <a:pt x="148" y="55"/>
                </a:cubicBezTo>
                <a:cubicBezTo>
                  <a:pt x="145" y="53"/>
                  <a:pt x="149" y="49"/>
                  <a:pt x="152" y="47"/>
                </a:cubicBezTo>
                <a:cubicBezTo>
                  <a:pt x="153" y="47"/>
                  <a:pt x="155" y="45"/>
                  <a:pt x="156" y="42"/>
                </a:cubicBezTo>
                <a:cubicBezTo>
                  <a:pt x="151" y="40"/>
                  <a:pt x="143" y="40"/>
                  <a:pt x="140" y="40"/>
                </a:cubicBezTo>
                <a:cubicBezTo>
                  <a:pt x="136" y="41"/>
                  <a:pt x="143" y="36"/>
                  <a:pt x="143" y="31"/>
                </a:cubicBezTo>
                <a:cubicBezTo>
                  <a:pt x="143" y="27"/>
                  <a:pt x="131" y="26"/>
                  <a:pt x="126" y="25"/>
                </a:cubicBezTo>
                <a:cubicBezTo>
                  <a:pt x="121" y="24"/>
                  <a:pt x="123" y="19"/>
                  <a:pt x="128" y="19"/>
                </a:cubicBezTo>
                <a:cubicBezTo>
                  <a:pt x="133" y="18"/>
                  <a:pt x="125" y="15"/>
                  <a:pt x="118" y="16"/>
                </a:cubicBezTo>
                <a:cubicBezTo>
                  <a:pt x="111" y="17"/>
                  <a:pt x="102" y="21"/>
                  <a:pt x="96" y="24"/>
                </a:cubicBezTo>
                <a:cubicBezTo>
                  <a:pt x="91" y="27"/>
                  <a:pt x="81" y="15"/>
                  <a:pt x="75" y="17"/>
                </a:cubicBezTo>
                <a:cubicBezTo>
                  <a:pt x="69" y="20"/>
                  <a:pt x="60" y="20"/>
                  <a:pt x="60" y="15"/>
                </a:cubicBezTo>
                <a:cubicBezTo>
                  <a:pt x="61" y="10"/>
                  <a:pt x="58" y="6"/>
                  <a:pt x="52" y="6"/>
                </a:cubicBezTo>
                <a:cubicBezTo>
                  <a:pt x="45" y="7"/>
                  <a:pt x="47" y="0"/>
                  <a:pt x="42" y="0"/>
                </a:cubicBezTo>
                <a:cubicBezTo>
                  <a:pt x="37" y="0"/>
                  <a:pt x="42" y="6"/>
                  <a:pt x="39" y="7"/>
                </a:cubicBezTo>
                <a:cubicBezTo>
                  <a:pt x="36" y="9"/>
                  <a:pt x="24" y="11"/>
                  <a:pt x="24" y="16"/>
                </a:cubicBezTo>
                <a:cubicBezTo>
                  <a:pt x="23" y="20"/>
                  <a:pt x="30" y="28"/>
                  <a:pt x="27" y="32"/>
                </a:cubicBezTo>
                <a:cubicBezTo>
                  <a:pt x="25" y="37"/>
                  <a:pt x="18" y="33"/>
                  <a:pt x="15" y="28"/>
                </a:cubicBezTo>
                <a:cubicBezTo>
                  <a:pt x="13" y="24"/>
                  <a:pt x="22" y="16"/>
                  <a:pt x="20" y="14"/>
                </a:cubicBezTo>
                <a:cubicBezTo>
                  <a:pt x="19" y="12"/>
                  <a:pt x="18" y="8"/>
                  <a:pt x="19" y="6"/>
                </a:cubicBezTo>
                <a:cubicBezTo>
                  <a:pt x="17" y="6"/>
                  <a:pt x="16" y="7"/>
                  <a:pt x="15" y="8"/>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0" name="Freeform 117"/>
          <p:cNvSpPr/>
          <p:nvPr/>
        </p:nvSpPr>
        <p:spPr bwMode="auto">
          <a:xfrm>
            <a:off x="4443250" y="4346741"/>
            <a:ext cx="107548" cy="115617"/>
          </a:xfrm>
          <a:custGeom>
            <a:cxnLst>
              <a:cxn ang="0">
                <a:pos x="11" y="10"/>
              </a:cxn>
              <a:cxn ang="0">
                <a:pos x="6" y="16"/>
              </a:cxn>
              <a:cxn ang="0">
                <a:pos x="2" y="25"/>
              </a:cxn>
              <a:cxn ang="0">
                <a:pos x="11" y="37"/>
              </a:cxn>
              <a:cxn ang="0">
                <a:pos x="18" y="50"/>
              </a:cxn>
              <a:cxn ang="0">
                <a:pos x="23" y="50"/>
              </a:cxn>
              <a:cxn ang="0">
                <a:pos x="28" y="43"/>
              </a:cxn>
              <a:cxn ang="0">
                <a:pos x="41" y="43"/>
              </a:cxn>
              <a:cxn ang="0">
                <a:pos x="42" y="45"/>
              </a:cxn>
              <a:cxn ang="0">
                <a:pos x="45" y="39"/>
              </a:cxn>
              <a:cxn ang="0">
                <a:pos x="44" y="24"/>
              </a:cxn>
              <a:cxn ang="0">
                <a:pos x="46" y="11"/>
              </a:cxn>
              <a:cxn ang="0">
                <a:pos x="48" y="5"/>
              </a:cxn>
              <a:cxn ang="0">
                <a:pos x="37" y="3"/>
              </a:cxn>
              <a:cxn ang="0">
                <a:pos x="22" y="3"/>
              </a:cxn>
              <a:cxn ang="0">
                <a:pos x="14" y="3"/>
              </a:cxn>
              <a:cxn ang="0">
                <a:pos x="13" y="3"/>
              </a:cxn>
              <a:cxn ang="0">
                <a:pos x="11" y="10"/>
              </a:cxn>
            </a:cxnLst>
            <a:rect b="b" l="0" r="r" t="0"/>
            <a:pathLst>
              <a:path h="51" w="48">
                <a:moveTo>
                  <a:pt x="11" y="10"/>
                </a:moveTo>
                <a:cubicBezTo>
                  <a:pt x="13" y="14"/>
                  <a:pt x="9" y="15"/>
                  <a:pt x="6" y="16"/>
                </a:cubicBezTo>
                <a:cubicBezTo>
                  <a:pt x="3" y="16"/>
                  <a:pt x="4" y="23"/>
                  <a:pt x="2" y="25"/>
                </a:cubicBezTo>
                <a:cubicBezTo>
                  <a:pt x="0" y="27"/>
                  <a:pt x="9" y="33"/>
                  <a:pt x="11" y="37"/>
                </a:cubicBezTo>
                <a:cubicBezTo>
                  <a:pt x="12" y="40"/>
                  <a:pt x="15" y="45"/>
                  <a:pt x="18" y="50"/>
                </a:cubicBezTo>
                <a:cubicBezTo>
                  <a:pt x="20" y="50"/>
                  <a:pt x="22" y="51"/>
                  <a:pt x="23" y="50"/>
                </a:cubicBezTo>
                <a:cubicBezTo>
                  <a:pt x="26" y="48"/>
                  <a:pt x="24" y="43"/>
                  <a:pt x="28" y="43"/>
                </a:cubicBezTo>
                <a:cubicBezTo>
                  <a:pt x="33" y="43"/>
                  <a:pt x="39" y="41"/>
                  <a:pt x="41" y="43"/>
                </a:cubicBezTo>
                <a:cubicBezTo>
                  <a:pt x="41" y="44"/>
                  <a:pt x="41" y="44"/>
                  <a:pt x="42" y="45"/>
                </a:cubicBezTo>
                <a:cubicBezTo>
                  <a:pt x="43" y="43"/>
                  <a:pt x="45" y="40"/>
                  <a:pt x="45" y="39"/>
                </a:cubicBezTo>
                <a:cubicBezTo>
                  <a:pt x="46" y="38"/>
                  <a:pt x="46" y="29"/>
                  <a:pt x="44" y="24"/>
                </a:cubicBezTo>
                <a:cubicBezTo>
                  <a:pt x="42" y="20"/>
                  <a:pt x="43" y="13"/>
                  <a:pt x="46" y="11"/>
                </a:cubicBezTo>
                <a:cubicBezTo>
                  <a:pt x="46" y="11"/>
                  <a:pt x="47" y="8"/>
                  <a:pt x="48" y="5"/>
                </a:cubicBezTo>
                <a:cubicBezTo>
                  <a:pt x="44" y="4"/>
                  <a:pt x="40" y="2"/>
                  <a:pt x="37" y="3"/>
                </a:cubicBezTo>
                <a:cubicBezTo>
                  <a:pt x="31" y="4"/>
                  <a:pt x="25" y="6"/>
                  <a:pt x="22" y="3"/>
                </a:cubicBezTo>
                <a:cubicBezTo>
                  <a:pt x="20" y="0"/>
                  <a:pt x="17" y="0"/>
                  <a:pt x="14" y="3"/>
                </a:cubicBezTo>
                <a:cubicBezTo>
                  <a:pt x="14" y="3"/>
                  <a:pt x="13" y="3"/>
                  <a:pt x="13" y="3"/>
                </a:cubicBezTo>
                <a:cubicBezTo>
                  <a:pt x="12" y="6"/>
                  <a:pt x="11" y="9"/>
                  <a:pt x="11" y="1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1" name="Freeform 118"/>
          <p:cNvSpPr/>
          <p:nvPr/>
        </p:nvSpPr>
        <p:spPr bwMode="auto">
          <a:xfrm>
            <a:off x="4359806" y="4287985"/>
            <a:ext cx="124238" cy="189535"/>
          </a:xfrm>
          <a:custGeom>
            <a:cxnLst>
              <a:cxn ang="0">
                <a:pos x="15" y="5"/>
              </a:cxn>
              <a:cxn ang="0">
                <a:pos x="11" y="13"/>
              </a:cxn>
              <a:cxn ang="0">
                <a:pos x="9" y="19"/>
              </a:cxn>
              <a:cxn ang="0">
                <a:pos x="4" y="24"/>
              </a:cxn>
              <a:cxn ang="0">
                <a:pos x="3" y="30"/>
              </a:cxn>
              <a:cxn ang="0">
                <a:pos x="10" y="40"/>
              </a:cxn>
              <a:cxn ang="0">
                <a:pos x="14" y="37"/>
              </a:cxn>
              <a:cxn ang="0">
                <a:pos x="19" y="47"/>
              </a:cxn>
              <a:cxn ang="0">
                <a:pos x="20" y="56"/>
              </a:cxn>
              <a:cxn ang="0">
                <a:pos x="22" y="76"/>
              </a:cxn>
              <a:cxn ang="0">
                <a:pos x="35" y="80"/>
              </a:cxn>
              <a:cxn ang="0">
                <a:pos x="42" y="77"/>
              </a:cxn>
              <a:cxn ang="0">
                <a:pos x="48" y="75"/>
              </a:cxn>
              <a:cxn ang="0">
                <a:pos x="56" y="75"/>
              </a:cxn>
              <a:cxn ang="0">
                <a:pos x="49" y="62"/>
              </a:cxn>
              <a:cxn ang="0">
                <a:pos x="40" y="50"/>
              </a:cxn>
              <a:cxn ang="0">
                <a:pos x="44" y="41"/>
              </a:cxn>
              <a:cxn ang="0">
                <a:pos x="49" y="35"/>
              </a:cxn>
              <a:cxn ang="0">
                <a:pos x="51" y="28"/>
              </a:cxn>
              <a:cxn ang="0">
                <a:pos x="40" y="19"/>
              </a:cxn>
              <a:cxn ang="0">
                <a:pos x="35" y="12"/>
              </a:cxn>
              <a:cxn ang="0">
                <a:pos x="23" y="3"/>
              </a:cxn>
              <a:cxn ang="0">
                <a:pos x="19" y="0"/>
              </a:cxn>
              <a:cxn ang="0">
                <a:pos x="15" y="5"/>
              </a:cxn>
            </a:cxnLst>
            <a:rect b="b" l="0" r="r" t="0"/>
            <a:pathLst>
              <a:path h="83" w="56">
                <a:moveTo>
                  <a:pt x="15" y="5"/>
                </a:moveTo>
                <a:cubicBezTo>
                  <a:pt x="12" y="7"/>
                  <a:pt x="8" y="11"/>
                  <a:pt x="11" y="13"/>
                </a:cubicBezTo>
                <a:cubicBezTo>
                  <a:pt x="14" y="15"/>
                  <a:pt x="15" y="19"/>
                  <a:pt x="9" y="19"/>
                </a:cubicBezTo>
                <a:cubicBezTo>
                  <a:pt x="4" y="20"/>
                  <a:pt x="4" y="22"/>
                  <a:pt x="4" y="24"/>
                </a:cubicBezTo>
                <a:cubicBezTo>
                  <a:pt x="5" y="27"/>
                  <a:pt x="0" y="28"/>
                  <a:pt x="3" y="30"/>
                </a:cubicBezTo>
                <a:cubicBezTo>
                  <a:pt x="5" y="32"/>
                  <a:pt x="8" y="36"/>
                  <a:pt x="10" y="40"/>
                </a:cubicBezTo>
                <a:cubicBezTo>
                  <a:pt x="11" y="38"/>
                  <a:pt x="12" y="37"/>
                  <a:pt x="14" y="37"/>
                </a:cubicBezTo>
                <a:cubicBezTo>
                  <a:pt x="19" y="38"/>
                  <a:pt x="15" y="45"/>
                  <a:pt x="19" y="47"/>
                </a:cubicBezTo>
                <a:cubicBezTo>
                  <a:pt x="23" y="48"/>
                  <a:pt x="23" y="54"/>
                  <a:pt x="20" y="56"/>
                </a:cubicBezTo>
                <a:cubicBezTo>
                  <a:pt x="17" y="58"/>
                  <a:pt x="16" y="69"/>
                  <a:pt x="22" y="76"/>
                </a:cubicBezTo>
                <a:cubicBezTo>
                  <a:pt x="29" y="83"/>
                  <a:pt x="33" y="82"/>
                  <a:pt x="35" y="80"/>
                </a:cubicBezTo>
                <a:cubicBezTo>
                  <a:pt x="36" y="78"/>
                  <a:pt x="41" y="80"/>
                  <a:pt x="42" y="77"/>
                </a:cubicBezTo>
                <a:cubicBezTo>
                  <a:pt x="43" y="75"/>
                  <a:pt x="45" y="78"/>
                  <a:pt x="48" y="75"/>
                </a:cubicBezTo>
                <a:cubicBezTo>
                  <a:pt x="49" y="73"/>
                  <a:pt x="53" y="74"/>
                  <a:pt x="56" y="75"/>
                </a:cubicBezTo>
                <a:cubicBezTo>
                  <a:pt x="53" y="70"/>
                  <a:pt x="50" y="65"/>
                  <a:pt x="49" y="62"/>
                </a:cubicBezTo>
                <a:cubicBezTo>
                  <a:pt x="47" y="58"/>
                  <a:pt x="38" y="52"/>
                  <a:pt x="40" y="50"/>
                </a:cubicBezTo>
                <a:cubicBezTo>
                  <a:pt x="42" y="48"/>
                  <a:pt x="41" y="41"/>
                  <a:pt x="44" y="41"/>
                </a:cubicBezTo>
                <a:cubicBezTo>
                  <a:pt x="47" y="40"/>
                  <a:pt x="51" y="39"/>
                  <a:pt x="49" y="35"/>
                </a:cubicBezTo>
                <a:cubicBezTo>
                  <a:pt x="49" y="34"/>
                  <a:pt x="50" y="31"/>
                  <a:pt x="51" y="28"/>
                </a:cubicBezTo>
                <a:cubicBezTo>
                  <a:pt x="48" y="28"/>
                  <a:pt x="43" y="19"/>
                  <a:pt x="40" y="19"/>
                </a:cubicBezTo>
                <a:cubicBezTo>
                  <a:pt x="37" y="19"/>
                  <a:pt x="34" y="16"/>
                  <a:pt x="35" y="12"/>
                </a:cubicBezTo>
                <a:cubicBezTo>
                  <a:pt x="35" y="8"/>
                  <a:pt x="28" y="7"/>
                  <a:pt x="23" y="3"/>
                </a:cubicBezTo>
                <a:cubicBezTo>
                  <a:pt x="22" y="1"/>
                  <a:pt x="21" y="1"/>
                  <a:pt x="19" y="0"/>
                </a:cubicBezTo>
                <a:cubicBezTo>
                  <a:pt x="18" y="3"/>
                  <a:pt x="16" y="5"/>
                  <a:pt x="15" y="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2" name="Freeform 119"/>
          <p:cNvSpPr/>
          <p:nvPr/>
        </p:nvSpPr>
        <p:spPr bwMode="auto">
          <a:xfrm>
            <a:off x="4537817" y="4358114"/>
            <a:ext cx="77880" cy="100454"/>
          </a:xfrm>
          <a:custGeom>
            <a:cxnLst>
              <a:cxn ang="0">
                <a:pos x="2" y="19"/>
              </a:cxn>
              <a:cxn ang="0">
                <a:pos x="3" y="34"/>
              </a:cxn>
              <a:cxn ang="0">
                <a:pos x="0" y="40"/>
              </a:cxn>
              <a:cxn ang="0">
                <a:pos x="10" y="42"/>
              </a:cxn>
              <a:cxn ang="0">
                <a:pos x="22" y="37"/>
              </a:cxn>
              <a:cxn ang="0">
                <a:pos x="35" y="19"/>
              </a:cxn>
              <a:cxn ang="0">
                <a:pos x="35" y="19"/>
              </a:cxn>
              <a:cxn ang="0">
                <a:pos x="16" y="4"/>
              </a:cxn>
              <a:cxn ang="0">
                <a:pos x="6" y="0"/>
              </a:cxn>
              <a:cxn ang="0">
                <a:pos x="4" y="6"/>
              </a:cxn>
              <a:cxn ang="0">
                <a:pos x="2" y="19"/>
              </a:cxn>
            </a:cxnLst>
            <a:rect b="b" l="0" r="r" t="0"/>
            <a:pathLst>
              <a:path h="44" w="35">
                <a:moveTo>
                  <a:pt x="2" y="19"/>
                </a:moveTo>
                <a:cubicBezTo>
                  <a:pt x="4" y="24"/>
                  <a:pt x="4" y="33"/>
                  <a:pt x="3" y="34"/>
                </a:cubicBezTo>
                <a:cubicBezTo>
                  <a:pt x="3" y="35"/>
                  <a:pt x="1" y="38"/>
                  <a:pt x="0" y="40"/>
                </a:cubicBezTo>
                <a:cubicBezTo>
                  <a:pt x="2" y="42"/>
                  <a:pt x="5" y="43"/>
                  <a:pt x="10" y="42"/>
                </a:cubicBezTo>
                <a:cubicBezTo>
                  <a:pt x="16" y="40"/>
                  <a:pt x="19" y="44"/>
                  <a:pt x="22" y="37"/>
                </a:cubicBezTo>
                <a:cubicBezTo>
                  <a:pt x="24" y="31"/>
                  <a:pt x="30" y="23"/>
                  <a:pt x="35" y="19"/>
                </a:cubicBezTo>
                <a:cubicBezTo>
                  <a:pt x="35" y="19"/>
                  <a:pt x="35" y="19"/>
                  <a:pt x="35" y="19"/>
                </a:cubicBezTo>
                <a:cubicBezTo>
                  <a:pt x="30" y="17"/>
                  <a:pt x="23" y="5"/>
                  <a:pt x="16" y="4"/>
                </a:cubicBezTo>
                <a:cubicBezTo>
                  <a:pt x="12" y="3"/>
                  <a:pt x="9" y="2"/>
                  <a:pt x="6" y="0"/>
                </a:cubicBezTo>
                <a:cubicBezTo>
                  <a:pt x="5" y="3"/>
                  <a:pt x="4" y="6"/>
                  <a:pt x="4" y="6"/>
                </a:cubicBezTo>
                <a:cubicBezTo>
                  <a:pt x="1" y="8"/>
                  <a:pt x="0" y="15"/>
                  <a:pt x="2" y="1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3" name="Freeform 120"/>
          <p:cNvSpPr/>
          <p:nvPr/>
        </p:nvSpPr>
        <p:spPr bwMode="auto">
          <a:xfrm>
            <a:off x="3770144" y="3888068"/>
            <a:ext cx="265163" cy="96663"/>
          </a:xfrm>
          <a:custGeom>
            <a:cxnLst>
              <a:cxn ang="0">
                <a:pos x="96" y="27"/>
              </a:cxn>
              <a:cxn ang="0">
                <a:pos x="42" y="5"/>
              </a:cxn>
              <a:cxn ang="0">
                <a:pos x="2" y="19"/>
              </a:cxn>
              <a:cxn ang="0">
                <a:pos x="21" y="10"/>
              </a:cxn>
              <a:cxn ang="0">
                <a:pos x="32" y="15"/>
              </a:cxn>
              <a:cxn ang="0">
                <a:pos x="51" y="19"/>
              </a:cxn>
              <a:cxn ang="0">
                <a:pos x="75" y="32"/>
              </a:cxn>
              <a:cxn ang="0">
                <a:pos x="81" y="41"/>
              </a:cxn>
              <a:cxn ang="0">
                <a:pos x="117" y="40"/>
              </a:cxn>
              <a:cxn ang="0">
                <a:pos x="96" y="27"/>
              </a:cxn>
            </a:cxnLst>
            <a:rect b="b" l="0" r="r" t="0"/>
            <a:pathLst>
              <a:path h="43" w="119">
                <a:moveTo>
                  <a:pt x="96" y="27"/>
                </a:moveTo>
                <a:cubicBezTo>
                  <a:pt x="89" y="27"/>
                  <a:pt x="64" y="10"/>
                  <a:pt x="42" y="5"/>
                </a:cubicBezTo>
                <a:cubicBezTo>
                  <a:pt x="19" y="0"/>
                  <a:pt x="0" y="16"/>
                  <a:pt x="2" y="19"/>
                </a:cubicBezTo>
                <a:cubicBezTo>
                  <a:pt x="5" y="23"/>
                  <a:pt x="16" y="14"/>
                  <a:pt x="21" y="10"/>
                </a:cubicBezTo>
                <a:cubicBezTo>
                  <a:pt x="27" y="6"/>
                  <a:pt x="32" y="12"/>
                  <a:pt x="32" y="15"/>
                </a:cubicBezTo>
                <a:cubicBezTo>
                  <a:pt x="33" y="17"/>
                  <a:pt x="40" y="19"/>
                  <a:pt x="51" y="19"/>
                </a:cubicBezTo>
                <a:cubicBezTo>
                  <a:pt x="63" y="20"/>
                  <a:pt x="64" y="29"/>
                  <a:pt x="75" y="32"/>
                </a:cubicBezTo>
                <a:cubicBezTo>
                  <a:pt x="86" y="34"/>
                  <a:pt x="75" y="39"/>
                  <a:pt x="81" y="41"/>
                </a:cubicBezTo>
                <a:cubicBezTo>
                  <a:pt x="86" y="43"/>
                  <a:pt x="115" y="42"/>
                  <a:pt x="117" y="40"/>
                </a:cubicBezTo>
                <a:cubicBezTo>
                  <a:pt x="119" y="37"/>
                  <a:pt x="104" y="27"/>
                  <a:pt x="96" y="2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4" name="Freeform 121"/>
          <p:cNvSpPr/>
          <p:nvPr/>
        </p:nvSpPr>
        <p:spPr bwMode="auto">
          <a:xfrm>
            <a:off x="3922195" y="4016951"/>
            <a:ext cx="61192" cy="30326"/>
          </a:xfrm>
          <a:custGeom>
            <a:cxnLst>
              <a:cxn ang="0">
                <a:pos x="3" y="5"/>
              </a:cxn>
              <a:cxn ang="0">
                <a:pos x="26" y="9"/>
              </a:cxn>
              <a:cxn ang="0">
                <a:pos x="3" y="5"/>
              </a:cxn>
            </a:cxnLst>
            <a:rect b="b" l="0" r="r" t="0"/>
            <a:pathLst>
              <a:path h="13" w="28">
                <a:moveTo>
                  <a:pt x="3" y="5"/>
                </a:moveTo>
                <a:cubicBezTo>
                  <a:pt x="5" y="8"/>
                  <a:pt x="24" y="13"/>
                  <a:pt x="26" y="9"/>
                </a:cubicBezTo>
                <a:cubicBezTo>
                  <a:pt x="28" y="4"/>
                  <a:pt x="0" y="0"/>
                  <a:pt x="3" y="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5" name="Freeform 122"/>
          <p:cNvSpPr/>
          <p:nvPr/>
        </p:nvSpPr>
        <p:spPr bwMode="auto">
          <a:xfrm>
            <a:off x="4205901" y="4015055"/>
            <a:ext cx="55628" cy="32221"/>
          </a:xfrm>
          <a:custGeom>
            <a:cxnLst>
              <a:cxn ang="0">
                <a:pos x="4" y="7"/>
              </a:cxn>
              <a:cxn ang="0">
                <a:pos x="23" y="7"/>
              </a:cxn>
              <a:cxn ang="0">
                <a:pos x="4" y="7"/>
              </a:cxn>
            </a:cxnLst>
            <a:rect b="b" l="0" r="r" t="0"/>
            <a:pathLst>
              <a:path h="14" w="25">
                <a:moveTo>
                  <a:pt x="4" y="7"/>
                </a:moveTo>
                <a:cubicBezTo>
                  <a:pt x="9" y="14"/>
                  <a:pt x="22" y="9"/>
                  <a:pt x="23" y="7"/>
                </a:cubicBezTo>
                <a:cubicBezTo>
                  <a:pt x="25" y="2"/>
                  <a:pt x="0" y="0"/>
                  <a:pt x="4" y="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6" name="Freeform 123"/>
          <p:cNvSpPr>
            <a:spLocks noEditPoints="1"/>
          </p:cNvSpPr>
          <p:nvPr/>
        </p:nvSpPr>
        <p:spPr bwMode="auto">
          <a:xfrm>
            <a:off x="4072393" y="1556792"/>
            <a:ext cx="1544618" cy="1177011"/>
          </a:xfrm>
          <a:custGeom>
            <a:cxnLst>
              <a:cxn ang="0">
                <a:pos x="606" y="59"/>
              </a:cxn>
              <a:cxn ang="0">
                <a:pos x="555" y="83"/>
              </a:cxn>
              <a:cxn ang="0">
                <a:pos x="552" y="52"/>
              </a:cxn>
              <a:cxn ang="0">
                <a:pos x="494" y="47"/>
              </a:cxn>
              <a:cxn ang="0">
                <a:pos x="551" y="38"/>
              </a:cxn>
              <a:cxn ang="0">
                <a:pos x="546" y="17"/>
              </a:cxn>
              <a:cxn ang="0">
                <a:pos x="467" y="1"/>
              </a:cxn>
              <a:cxn ang="0">
                <a:pos x="393" y="10"/>
              </a:cxn>
              <a:cxn ang="0">
                <a:pos x="337" y="11"/>
              </a:cxn>
              <a:cxn ang="0">
                <a:pos x="291" y="31"/>
              </a:cxn>
              <a:cxn ang="0">
                <a:pos x="280" y="37"/>
              </a:cxn>
              <a:cxn ang="0">
                <a:pos x="247" y="47"/>
              </a:cxn>
              <a:cxn ang="0">
                <a:pos x="216" y="58"/>
              </a:cxn>
              <a:cxn ang="0">
                <a:pos x="162" y="47"/>
              </a:cxn>
              <a:cxn ang="0">
                <a:pos x="133" y="70"/>
              </a:cxn>
              <a:cxn ang="0">
                <a:pos x="88" y="99"/>
              </a:cxn>
              <a:cxn ang="0">
                <a:pos x="0" y="142"/>
              </a:cxn>
              <a:cxn ang="0">
                <a:pos x="56" y="158"/>
              </a:cxn>
              <a:cxn ang="0">
                <a:pos x="16" y="172"/>
              </a:cxn>
              <a:cxn ang="0">
                <a:pos x="50" y="194"/>
              </a:cxn>
              <a:cxn ang="0">
                <a:pos x="95" y="192"/>
              </a:cxn>
              <a:cxn ang="0">
                <a:pos x="163" y="211"/>
              </a:cxn>
              <a:cxn ang="0">
                <a:pos x="197" y="256"/>
              </a:cxn>
              <a:cxn ang="0">
                <a:pos x="202" y="297"/>
              </a:cxn>
              <a:cxn ang="0">
                <a:pos x="245" y="312"/>
              </a:cxn>
              <a:cxn ang="0">
                <a:pos x="240" y="328"/>
              </a:cxn>
              <a:cxn ang="0">
                <a:pos x="234" y="356"/>
              </a:cxn>
              <a:cxn ang="0">
                <a:pos x="226" y="390"/>
              </a:cxn>
              <a:cxn ang="0">
                <a:pos x="235" y="436"/>
              </a:cxn>
              <a:cxn ang="0">
                <a:pos x="256" y="463"/>
              </a:cxn>
              <a:cxn ang="0">
                <a:pos x="287" y="498"/>
              </a:cxn>
              <a:cxn ang="0">
                <a:pos x="331" y="515"/>
              </a:cxn>
              <a:cxn ang="0">
                <a:pos x="344" y="471"/>
              </a:cxn>
              <a:cxn ang="0">
                <a:pos x="363" y="449"/>
              </a:cxn>
              <a:cxn ang="0">
                <a:pos x="365" y="427"/>
              </a:cxn>
              <a:cxn ang="0">
                <a:pos x="384" y="413"/>
              </a:cxn>
              <a:cxn ang="0">
                <a:pos x="401" y="409"/>
              </a:cxn>
              <a:cxn ang="0">
                <a:pos x="461" y="369"/>
              </a:cxn>
              <a:cxn ang="0">
                <a:pos x="500" y="359"/>
              </a:cxn>
              <a:cxn ang="0">
                <a:pos x="576" y="325"/>
              </a:cxn>
              <a:cxn ang="0">
                <a:pos x="535" y="316"/>
              </a:cxn>
              <a:cxn ang="0">
                <a:pos x="577" y="319"/>
              </a:cxn>
              <a:cxn ang="0">
                <a:pos x="569" y="280"/>
              </a:cxn>
              <a:cxn ang="0">
                <a:pos x="547" y="261"/>
              </a:cxn>
              <a:cxn ang="0">
                <a:pos x="596" y="254"/>
              </a:cxn>
              <a:cxn ang="0">
                <a:pos x="609" y="230"/>
              </a:cxn>
              <a:cxn ang="0">
                <a:pos x="603" y="193"/>
              </a:cxn>
              <a:cxn ang="0">
                <a:pos x="590" y="178"/>
              </a:cxn>
              <a:cxn ang="0">
                <a:pos x="595" y="162"/>
              </a:cxn>
              <a:cxn ang="0">
                <a:pos x="578" y="154"/>
              </a:cxn>
              <a:cxn ang="0">
                <a:pos x="624" y="106"/>
              </a:cxn>
              <a:cxn ang="0">
                <a:pos x="613" y="94"/>
              </a:cxn>
              <a:cxn ang="0">
                <a:pos x="626" y="81"/>
              </a:cxn>
              <a:cxn ang="0">
                <a:pos x="691" y="58"/>
              </a:cxn>
              <a:cxn ang="0">
                <a:pos x="228" y="329"/>
              </a:cxn>
              <a:cxn ang="0">
                <a:pos x="216" y="342"/>
              </a:cxn>
            </a:cxnLst>
            <a:rect b="b" l="0" r="r" t="0"/>
            <a:pathLst>
              <a:path h="516" w="691">
                <a:moveTo>
                  <a:pt x="652" y="47"/>
                </a:moveTo>
                <a:cubicBezTo>
                  <a:pt x="640" y="47"/>
                  <a:pt x="630" y="49"/>
                  <a:pt x="629" y="58"/>
                </a:cubicBezTo>
                <a:cubicBezTo>
                  <a:pt x="628" y="67"/>
                  <a:pt x="613" y="56"/>
                  <a:pt x="606" y="59"/>
                </a:cubicBezTo>
                <a:cubicBezTo>
                  <a:pt x="599" y="62"/>
                  <a:pt x="603" y="52"/>
                  <a:pt x="596" y="56"/>
                </a:cubicBezTo>
                <a:cubicBezTo>
                  <a:pt x="589" y="59"/>
                  <a:pt x="582" y="67"/>
                  <a:pt x="574" y="70"/>
                </a:cubicBezTo>
                <a:cubicBezTo>
                  <a:pt x="566" y="74"/>
                  <a:pt x="560" y="82"/>
                  <a:pt x="555" y="83"/>
                </a:cubicBezTo>
                <a:cubicBezTo>
                  <a:pt x="550" y="83"/>
                  <a:pt x="566" y="67"/>
                  <a:pt x="574" y="59"/>
                </a:cubicBezTo>
                <a:cubicBezTo>
                  <a:pt x="582" y="51"/>
                  <a:pt x="577" y="42"/>
                  <a:pt x="567" y="43"/>
                </a:cubicBezTo>
                <a:cubicBezTo>
                  <a:pt x="556" y="44"/>
                  <a:pt x="558" y="51"/>
                  <a:pt x="552" y="52"/>
                </a:cubicBezTo>
                <a:cubicBezTo>
                  <a:pt x="546" y="53"/>
                  <a:pt x="518" y="68"/>
                  <a:pt x="516" y="63"/>
                </a:cubicBezTo>
                <a:cubicBezTo>
                  <a:pt x="515" y="59"/>
                  <a:pt x="540" y="52"/>
                  <a:pt x="540" y="49"/>
                </a:cubicBezTo>
                <a:cubicBezTo>
                  <a:pt x="539" y="46"/>
                  <a:pt x="508" y="45"/>
                  <a:pt x="494" y="47"/>
                </a:cubicBezTo>
                <a:cubicBezTo>
                  <a:pt x="480" y="49"/>
                  <a:pt x="455" y="57"/>
                  <a:pt x="455" y="53"/>
                </a:cubicBezTo>
                <a:cubicBezTo>
                  <a:pt x="455" y="49"/>
                  <a:pt x="484" y="44"/>
                  <a:pt x="498" y="42"/>
                </a:cubicBezTo>
                <a:cubicBezTo>
                  <a:pt x="513" y="40"/>
                  <a:pt x="540" y="43"/>
                  <a:pt x="551" y="38"/>
                </a:cubicBezTo>
                <a:cubicBezTo>
                  <a:pt x="563" y="34"/>
                  <a:pt x="580" y="33"/>
                  <a:pt x="583" y="30"/>
                </a:cubicBezTo>
                <a:cubicBezTo>
                  <a:pt x="586" y="26"/>
                  <a:pt x="570" y="21"/>
                  <a:pt x="562" y="21"/>
                </a:cubicBezTo>
                <a:cubicBezTo>
                  <a:pt x="554" y="22"/>
                  <a:pt x="546" y="21"/>
                  <a:pt x="546" y="17"/>
                </a:cubicBezTo>
                <a:cubicBezTo>
                  <a:pt x="547" y="13"/>
                  <a:pt x="534" y="12"/>
                  <a:pt x="533" y="9"/>
                </a:cubicBezTo>
                <a:cubicBezTo>
                  <a:pt x="531" y="6"/>
                  <a:pt x="506" y="8"/>
                  <a:pt x="501" y="5"/>
                </a:cubicBezTo>
                <a:cubicBezTo>
                  <a:pt x="496" y="1"/>
                  <a:pt x="480" y="0"/>
                  <a:pt x="467" y="1"/>
                </a:cubicBezTo>
                <a:cubicBezTo>
                  <a:pt x="453" y="2"/>
                  <a:pt x="426" y="1"/>
                  <a:pt x="420" y="2"/>
                </a:cubicBezTo>
                <a:cubicBezTo>
                  <a:pt x="413" y="3"/>
                  <a:pt x="409" y="5"/>
                  <a:pt x="404" y="5"/>
                </a:cubicBezTo>
                <a:cubicBezTo>
                  <a:pt x="398" y="4"/>
                  <a:pt x="389" y="6"/>
                  <a:pt x="393" y="10"/>
                </a:cubicBezTo>
                <a:cubicBezTo>
                  <a:pt x="399" y="16"/>
                  <a:pt x="384" y="19"/>
                  <a:pt x="385" y="14"/>
                </a:cubicBezTo>
                <a:cubicBezTo>
                  <a:pt x="386" y="9"/>
                  <a:pt x="372" y="7"/>
                  <a:pt x="367" y="11"/>
                </a:cubicBezTo>
                <a:cubicBezTo>
                  <a:pt x="362" y="15"/>
                  <a:pt x="340" y="6"/>
                  <a:pt x="337" y="11"/>
                </a:cubicBezTo>
                <a:cubicBezTo>
                  <a:pt x="333" y="15"/>
                  <a:pt x="307" y="14"/>
                  <a:pt x="299" y="15"/>
                </a:cubicBezTo>
                <a:cubicBezTo>
                  <a:pt x="292" y="16"/>
                  <a:pt x="311" y="22"/>
                  <a:pt x="311" y="25"/>
                </a:cubicBezTo>
                <a:cubicBezTo>
                  <a:pt x="310" y="29"/>
                  <a:pt x="286" y="25"/>
                  <a:pt x="291" y="31"/>
                </a:cubicBezTo>
                <a:cubicBezTo>
                  <a:pt x="296" y="37"/>
                  <a:pt x="312" y="42"/>
                  <a:pt x="319" y="49"/>
                </a:cubicBezTo>
                <a:cubicBezTo>
                  <a:pt x="327" y="57"/>
                  <a:pt x="313" y="52"/>
                  <a:pt x="305" y="47"/>
                </a:cubicBezTo>
                <a:cubicBezTo>
                  <a:pt x="296" y="41"/>
                  <a:pt x="285" y="43"/>
                  <a:pt x="280" y="37"/>
                </a:cubicBezTo>
                <a:cubicBezTo>
                  <a:pt x="274" y="32"/>
                  <a:pt x="254" y="27"/>
                  <a:pt x="249" y="31"/>
                </a:cubicBezTo>
                <a:cubicBezTo>
                  <a:pt x="243" y="34"/>
                  <a:pt x="263" y="42"/>
                  <a:pt x="263" y="46"/>
                </a:cubicBezTo>
                <a:cubicBezTo>
                  <a:pt x="263" y="51"/>
                  <a:pt x="250" y="45"/>
                  <a:pt x="247" y="47"/>
                </a:cubicBezTo>
                <a:cubicBezTo>
                  <a:pt x="245" y="49"/>
                  <a:pt x="233" y="36"/>
                  <a:pt x="227" y="36"/>
                </a:cubicBezTo>
                <a:cubicBezTo>
                  <a:pt x="220" y="36"/>
                  <a:pt x="226" y="42"/>
                  <a:pt x="226" y="50"/>
                </a:cubicBezTo>
                <a:cubicBezTo>
                  <a:pt x="226" y="58"/>
                  <a:pt x="213" y="63"/>
                  <a:pt x="216" y="58"/>
                </a:cubicBezTo>
                <a:cubicBezTo>
                  <a:pt x="220" y="52"/>
                  <a:pt x="217" y="37"/>
                  <a:pt x="210" y="35"/>
                </a:cubicBezTo>
                <a:cubicBezTo>
                  <a:pt x="203" y="32"/>
                  <a:pt x="185" y="40"/>
                  <a:pt x="176" y="40"/>
                </a:cubicBezTo>
                <a:cubicBezTo>
                  <a:pt x="167" y="40"/>
                  <a:pt x="154" y="43"/>
                  <a:pt x="162" y="47"/>
                </a:cubicBezTo>
                <a:cubicBezTo>
                  <a:pt x="170" y="52"/>
                  <a:pt x="162" y="55"/>
                  <a:pt x="155" y="50"/>
                </a:cubicBezTo>
                <a:cubicBezTo>
                  <a:pt x="148" y="45"/>
                  <a:pt x="125" y="50"/>
                  <a:pt x="130" y="53"/>
                </a:cubicBezTo>
                <a:cubicBezTo>
                  <a:pt x="134" y="56"/>
                  <a:pt x="136" y="66"/>
                  <a:pt x="133" y="70"/>
                </a:cubicBezTo>
                <a:cubicBezTo>
                  <a:pt x="130" y="74"/>
                  <a:pt x="120" y="66"/>
                  <a:pt x="111" y="67"/>
                </a:cubicBezTo>
                <a:cubicBezTo>
                  <a:pt x="102" y="67"/>
                  <a:pt x="58" y="89"/>
                  <a:pt x="60" y="94"/>
                </a:cubicBezTo>
                <a:cubicBezTo>
                  <a:pt x="63" y="100"/>
                  <a:pt x="82" y="95"/>
                  <a:pt x="88" y="99"/>
                </a:cubicBezTo>
                <a:cubicBezTo>
                  <a:pt x="94" y="102"/>
                  <a:pt x="86" y="114"/>
                  <a:pt x="79" y="119"/>
                </a:cubicBezTo>
                <a:cubicBezTo>
                  <a:pt x="71" y="124"/>
                  <a:pt x="44" y="120"/>
                  <a:pt x="43" y="126"/>
                </a:cubicBezTo>
                <a:cubicBezTo>
                  <a:pt x="43" y="132"/>
                  <a:pt x="0" y="133"/>
                  <a:pt x="0" y="142"/>
                </a:cubicBezTo>
                <a:cubicBezTo>
                  <a:pt x="0" y="146"/>
                  <a:pt x="2" y="150"/>
                  <a:pt x="7" y="151"/>
                </a:cubicBezTo>
                <a:cubicBezTo>
                  <a:pt x="13" y="152"/>
                  <a:pt x="20" y="150"/>
                  <a:pt x="26" y="156"/>
                </a:cubicBezTo>
                <a:cubicBezTo>
                  <a:pt x="31" y="162"/>
                  <a:pt x="46" y="162"/>
                  <a:pt x="56" y="158"/>
                </a:cubicBezTo>
                <a:cubicBezTo>
                  <a:pt x="67" y="154"/>
                  <a:pt x="74" y="159"/>
                  <a:pt x="74" y="165"/>
                </a:cubicBezTo>
                <a:cubicBezTo>
                  <a:pt x="74" y="171"/>
                  <a:pt x="51" y="163"/>
                  <a:pt x="44" y="167"/>
                </a:cubicBezTo>
                <a:cubicBezTo>
                  <a:pt x="37" y="171"/>
                  <a:pt x="15" y="168"/>
                  <a:pt x="16" y="172"/>
                </a:cubicBezTo>
                <a:cubicBezTo>
                  <a:pt x="17" y="177"/>
                  <a:pt x="28" y="176"/>
                  <a:pt x="36" y="178"/>
                </a:cubicBezTo>
                <a:cubicBezTo>
                  <a:pt x="45" y="179"/>
                  <a:pt x="37" y="183"/>
                  <a:pt x="37" y="187"/>
                </a:cubicBezTo>
                <a:cubicBezTo>
                  <a:pt x="36" y="190"/>
                  <a:pt x="41" y="190"/>
                  <a:pt x="50" y="194"/>
                </a:cubicBezTo>
                <a:cubicBezTo>
                  <a:pt x="59" y="198"/>
                  <a:pt x="73" y="201"/>
                  <a:pt x="68" y="196"/>
                </a:cubicBezTo>
                <a:cubicBezTo>
                  <a:pt x="64" y="191"/>
                  <a:pt x="77" y="192"/>
                  <a:pt x="80" y="195"/>
                </a:cubicBezTo>
                <a:cubicBezTo>
                  <a:pt x="82" y="198"/>
                  <a:pt x="88" y="190"/>
                  <a:pt x="95" y="192"/>
                </a:cubicBezTo>
                <a:cubicBezTo>
                  <a:pt x="101" y="194"/>
                  <a:pt x="103" y="186"/>
                  <a:pt x="108" y="189"/>
                </a:cubicBezTo>
                <a:cubicBezTo>
                  <a:pt x="113" y="193"/>
                  <a:pt x="137" y="195"/>
                  <a:pt x="145" y="199"/>
                </a:cubicBezTo>
                <a:cubicBezTo>
                  <a:pt x="153" y="203"/>
                  <a:pt x="164" y="204"/>
                  <a:pt x="163" y="211"/>
                </a:cubicBezTo>
                <a:cubicBezTo>
                  <a:pt x="162" y="217"/>
                  <a:pt x="169" y="222"/>
                  <a:pt x="178" y="226"/>
                </a:cubicBezTo>
                <a:cubicBezTo>
                  <a:pt x="187" y="230"/>
                  <a:pt x="189" y="238"/>
                  <a:pt x="189" y="244"/>
                </a:cubicBezTo>
                <a:cubicBezTo>
                  <a:pt x="188" y="250"/>
                  <a:pt x="198" y="254"/>
                  <a:pt x="197" y="256"/>
                </a:cubicBezTo>
                <a:cubicBezTo>
                  <a:pt x="195" y="259"/>
                  <a:pt x="196" y="263"/>
                  <a:pt x="202" y="268"/>
                </a:cubicBezTo>
                <a:cubicBezTo>
                  <a:pt x="208" y="273"/>
                  <a:pt x="193" y="277"/>
                  <a:pt x="197" y="282"/>
                </a:cubicBezTo>
                <a:cubicBezTo>
                  <a:pt x="200" y="287"/>
                  <a:pt x="191" y="296"/>
                  <a:pt x="202" y="297"/>
                </a:cubicBezTo>
                <a:cubicBezTo>
                  <a:pt x="213" y="299"/>
                  <a:pt x="211" y="290"/>
                  <a:pt x="219" y="290"/>
                </a:cubicBezTo>
                <a:cubicBezTo>
                  <a:pt x="227" y="290"/>
                  <a:pt x="219" y="297"/>
                  <a:pt x="223" y="301"/>
                </a:cubicBezTo>
                <a:cubicBezTo>
                  <a:pt x="227" y="306"/>
                  <a:pt x="236" y="305"/>
                  <a:pt x="245" y="312"/>
                </a:cubicBezTo>
                <a:cubicBezTo>
                  <a:pt x="253" y="319"/>
                  <a:pt x="248" y="322"/>
                  <a:pt x="240" y="316"/>
                </a:cubicBezTo>
                <a:cubicBezTo>
                  <a:pt x="232" y="311"/>
                  <a:pt x="210" y="312"/>
                  <a:pt x="210" y="314"/>
                </a:cubicBezTo>
                <a:cubicBezTo>
                  <a:pt x="210" y="316"/>
                  <a:pt x="235" y="330"/>
                  <a:pt x="240" y="328"/>
                </a:cubicBezTo>
                <a:cubicBezTo>
                  <a:pt x="246" y="326"/>
                  <a:pt x="254" y="336"/>
                  <a:pt x="250" y="340"/>
                </a:cubicBezTo>
                <a:cubicBezTo>
                  <a:pt x="247" y="343"/>
                  <a:pt x="249" y="351"/>
                  <a:pt x="248" y="355"/>
                </a:cubicBezTo>
                <a:cubicBezTo>
                  <a:pt x="247" y="359"/>
                  <a:pt x="239" y="355"/>
                  <a:pt x="234" y="356"/>
                </a:cubicBezTo>
                <a:cubicBezTo>
                  <a:pt x="228" y="357"/>
                  <a:pt x="225" y="358"/>
                  <a:pt x="225" y="364"/>
                </a:cubicBezTo>
                <a:cubicBezTo>
                  <a:pt x="225" y="370"/>
                  <a:pt x="216" y="374"/>
                  <a:pt x="215" y="381"/>
                </a:cubicBezTo>
                <a:cubicBezTo>
                  <a:pt x="214" y="388"/>
                  <a:pt x="222" y="387"/>
                  <a:pt x="226" y="390"/>
                </a:cubicBezTo>
                <a:cubicBezTo>
                  <a:pt x="231" y="393"/>
                  <a:pt x="218" y="395"/>
                  <a:pt x="218" y="400"/>
                </a:cubicBezTo>
                <a:cubicBezTo>
                  <a:pt x="217" y="405"/>
                  <a:pt x="229" y="414"/>
                  <a:pt x="233" y="417"/>
                </a:cubicBezTo>
                <a:cubicBezTo>
                  <a:pt x="238" y="419"/>
                  <a:pt x="234" y="430"/>
                  <a:pt x="235" y="436"/>
                </a:cubicBezTo>
                <a:cubicBezTo>
                  <a:pt x="237" y="442"/>
                  <a:pt x="243" y="435"/>
                  <a:pt x="242" y="442"/>
                </a:cubicBezTo>
                <a:cubicBezTo>
                  <a:pt x="241" y="449"/>
                  <a:pt x="247" y="449"/>
                  <a:pt x="248" y="453"/>
                </a:cubicBezTo>
                <a:cubicBezTo>
                  <a:pt x="248" y="458"/>
                  <a:pt x="258" y="457"/>
                  <a:pt x="256" y="463"/>
                </a:cubicBezTo>
                <a:cubicBezTo>
                  <a:pt x="254" y="469"/>
                  <a:pt x="259" y="473"/>
                  <a:pt x="262" y="477"/>
                </a:cubicBezTo>
                <a:cubicBezTo>
                  <a:pt x="264" y="480"/>
                  <a:pt x="273" y="486"/>
                  <a:pt x="274" y="490"/>
                </a:cubicBezTo>
                <a:cubicBezTo>
                  <a:pt x="276" y="494"/>
                  <a:pt x="281" y="500"/>
                  <a:pt x="287" y="498"/>
                </a:cubicBezTo>
                <a:cubicBezTo>
                  <a:pt x="293" y="497"/>
                  <a:pt x="293" y="502"/>
                  <a:pt x="298" y="502"/>
                </a:cubicBezTo>
                <a:cubicBezTo>
                  <a:pt x="303" y="501"/>
                  <a:pt x="310" y="504"/>
                  <a:pt x="311" y="507"/>
                </a:cubicBezTo>
                <a:cubicBezTo>
                  <a:pt x="313" y="511"/>
                  <a:pt x="327" y="514"/>
                  <a:pt x="331" y="515"/>
                </a:cubicBezTo>
                <a:cubicBezTo>
                  <a:pt x="335" y="516"/>
                  <a:pt x="336" y="508"/>
                  <a:pt x="339" y="506"/>
                </a:cubicBezTo>
                <a:cubicBezTo>
                  <a:pt x="343" y="504"/>
                  <a:pt x="342" y="490"/>
                  <a:pt x="345" y="489"/>
                </a:cubicBezTo>
                <a:cubicBezTo>
                  <a:pt x="348" y="488"/>
                  <a:pt x="347" y="472"/>
                  <a:pt x="344" y="471"/>
                </a:cubicBezTo>
                <a:cubicBezTo>
                  <a:pt x="341" y="470"/>
                  <a:pt x="342" y="464"/>
                  <a:pt x="350" y="465"/>
                </a:cubicBezTo>
                <a:cubicBezTo>
                  <a:pt x="357" y="466"/>
                  <a:pt x="355" y="459"/>
                  <a:pt x="358" y="458"/>
                </a:cubicBezTo>
                <a:cubicBezTo>
                  <a:pt x="362" y="457"/>
                  <a:pt x="360" y="450"/>
                  <a:pt x="363" y="449"/>
                </a:cubicBezTo>
                <a:cubicBezTo>
                  <a:pt x="366" y="448"/>
                  <a:pt x="365" y="444"/>
                  <a:pt x="363" y="441"/>
                </a:cubicBezTo>
                <a:cubicBezTo>
                  <a:pt x="361" y="438"/>
                  <a:pt x="364" y="436"/>
                  <a:pt x="368" y="436"/>
                </a:cubicBezTo>
                <a:cubicBezTo>
                  <a:pt x="372" y="435"/>
                  <a:pt x="371" y="429"/>
                  <a:pt x="365" y="427"/>
                </a:cubicBezTo>
                <a:cubicBezTo>
                  <a:pt x="360" y="425"/>
                  <a:pt x="362" y="419"/>
                  <a:pt x="367" y="423"/>
                </a:cubicBezTo>
                <a:cubicBezTo>
                  <a:pt x="372" y="427"/>
                  <a:pt x="376" y="424"/>
                  <a:pt x="373" y="420"/>
                </a:cubicBezTo>
                <a:cubicBezTo>
                  <a:pt x="370" y="416"/>
                  <a:pt x="377" y="414"/>
                  <a:pt x="384" y="413"/>
                </a:cubicBezTo>
                <a:cubicBezTo>
                  <a:pt x="391" y="413"/>
                  <a:pt x="395" y="409"/>
                  <a:pt x="393" y="404"/>
                </a:cubicBezTo>
                <a:cubicBezTo>
                  <a:pt x="392" y="398"/>
                  <a:pt x="401" y="399"/>
                  <a:pt x="399" y="403"/>
                </a:cubicBezTo>
                <a:cubicBezTo>
                  <a:pt x="397" y="408"/>
                  <a:pt x="398" y="413"/>
                  <a:pt x="401" y="409"/>
                </a:cubicBezTo>
                <a:cubicBezTo>
                  <a:pt x="405" y="406"/>
                  <a:pt x="411" y="408"/>
                  <a:pt x="422" y="405"/>
                </a:cubicBezTo>
                <a:cubicBezTo>
                  <a:pt x="434" y="402"/>
                  <a:pt x="445" y="392"/>
                  <a:pt x="447" y="383"/>
                </a:cubicBezTo>
                <a:cubicBezTo>
                  <a:pt x="450" y="374"/>
                  <a:pt x="463" y="375"/>
                  <a:pt x="461" y="369"/>
                </a:cubicBezTo>
                <a:cubicBezTo>
                  <a:pt x="460" y="363"/>
                  <a:pt x="464" y="361"/>
                  <a:pt x="472" y="365"/>
                </a:cubicBezTo>
                <a:cubicBezTo>
                  <a:pt x="480" y="369"/>
                  <a:pt x="474" y="362"/>
                  <a:pt x="483" y="362"/>
                </a:cubicBezTo>
                <a:cubicBezTo>
                  <a:pt x="492" y="362"/>
                  <a:pt x="491" y="359"/>
                  <a:pt x="500" y="359"/>
                </a:cubicBezTo>
                <a:cubicBezTo>
                  <a:pt x="509" y="358"/>
                  <a:pt x="532" y="354"/>
                  <a:pt x="540" y="348"/>
                </a:cubicBezTo>
                <a:cubicBezTo>
                  <a:pt x="548" y="341"/>
                  <a:pt x="565" y="335"/>
                  <a:pt x="572" y="331"/>
                </a:cubicBezTo>
                <a:cubicBezTo>
                  <a:pt x="579" y="327"/>
                  <a:pt x="581" y="323"/>
                  <a:pt x="576" y="325"/>
                </a:cubicBezTo>
                <a:cubicBezTo>
                  <a:pt x="572" y="328"/>
                  <a:pt x="563" y="328"/>
                  <a:pt x="556" y="326"/>
                </a:cubicBezTo>
                <a:cubicBezTo>
                  <a:pt x="550" y="325"/>
                  <a:pt x="539" y="319"/>
                  <a:pt x="531" y="323"/>
                </a:cubicBezTo>
                <a:cubicBezTo>
                  <a:pt x="524" y="328"/>
                  <a:pt x="528" y="317"/>
                  <a:pt x="535" y="316"/>
                </a:cubicBezTo>
                <a:cubicBezTo>
                  <a:pt x="541" y="315"/>
                  <a:pt x="538" y="312"/>
                  <a:pt x="537" y="305"/>
                </a:cubicBezTo>
                <a:cubicBezTo>
                  <a:pt x="535" y="299"/>
                  <a:pt x="547" y="303"/>
                  <a:pt x="553" y="311"/>
                </a:cubicBezTo>
                <a:cubicBezTo>
                  <a:pt x="558" y="318"/>
                  <a:pt x="568" y="322"/>
                  <a:pt x="577" y="319"/>
                </a:cubicBezTo>
                <a:cubicBezTo>
                  <a:pt x="586" y="316"/>
                  <a:pt x="578" y="309"/>
                  <a:pt x="581" y="304"/>
                </a:cubicBezTo>
                <a:cubicBezTo>
                  <a:pt x="585" y="299"/>
                  <a:pt x="554" y="283"/>
                  <a:pt x="552" y="278"/>
                </a:cubicBezTo>
                <a:cubicBezTo>
                  <a:pt x="550" y="273"/>
                  <a:pt x="560" y="276"/>
                  <a:pt x="569" y="280"/>
                </a:cubicBezTo>
                <a:cubicBezTo>
                  <a:pt x="577" y="284"/>
                  <a:pt x="579" y="273"/>
                  <a:pt x="579" y="268"/>
                </a:cubicBezTo>
                <a:cubicBezTo>
                  <a:pt x="579" y="264"/>
                  <a:pt x="561" y="263"/>
                  <a:pt x="552" y="268"/>
                </a:cubicBezTo>
                <a:cubicBezTo>
                  <a:pt x="544" y="273"/>
                  <a:pt x="536" y="262"/>
                  <a:pt x="547" y="261"/>
                </a:cubicBezTo>
                <a:cubicBezTo>
                  <a:pt x="559" y="259"/>
                  <a:pt x="548" y="255"/>
                  <a:pt x="552" y="251"/>
                </a:cubicBezTo>
                <a:cubicBezTo>
                  <a:pt x="555" y="248"/>
                  <a:pt x="569" y="261"/>
                  <a:pt x="577" y="259"/>
                </a:cubicBezTo>
                <a:cubicBezTo>
                  <a:pt x="584" y="256"/>
                  <a:pt x="589" y="259"/>
                  <a:pt x="596" y="254"/>
                </a:cubicBezTo>
                <a:cubicBezTo>
                  <a:pt x="602" y="249"/>
                  <a:pt x="584" y="244"/>
                  <a:pt x="581" y="240"/>
                </a:cubicBezTo>
                <a:cubicBezTo>
                  <a:pt x="577" y="236"/>
                  <a:pt x="599" y="237"/>
                  <a:pt x="606" y="238"/>
                </a:cubicBezTo>
                <a:cubicBezTo>
                  <a:pt x="612" y="238"/>
                  <a:pt x="614" y="228"/>
                  <a:pt x="609" y="230"/>
                </a:cubicBezTo>
                <a:cubicBezTo>
                  <a:pt x="603" y="232"/>
                  <a:pt x="584" y="223"/>
                  <a:pt x="588" y="217"/>
                </a:cubicBezTo>
                <a:cubicBezTo>
                  <a:pt x="592" y="211"/>
                  <a:pt x="600" y="218"/>
                  <a:pt x="608" y="214"/>
                </a:cubicBezTo>
                <a:cubicBezTo>
                  <a:pt x="616" y="210"/>
                  <a:pt x="609" y="193"/>
                  <a:pt x="603" y="193"/>
                </a:cubicBezTo>
                <a:cubicBezTo>
                  <a:pt x="597" y="193"/>
                  <a:pt x="583" y="191"/>
                  <a:pt x="583" y="188"/>
                </a:cubicBezTo>
                <a:cubicBezTo>
                  <a:pt x="583" y="185"/>
                  <a:pt x="571" y="183"/>
                  <a:pt x="574" y="180"/>
                </a:cubicBezTo>
                <a:cubicBezTo>
                  <a:pt x="578" y="177"/>
                  <a:pt x="582" y="183"/>
                  <a:pt x="590" y="178"/>
                </a:cubicBezTo>
                <a:cubicBezTo>
                  <a:pt x="597" y="172"/>
                  <a:pt x="613" y="179"/>
                  <a:pt x="620" y="178"/>
                </a:cubicBezTo>
                <a:cubicBezTo>
                  <a:pt x="627" y="176"/>
                  <a:pt x="617" y="163"/>
                  <a:pt x="613" y="166"/>
                </a:cubicBezTo>
                <a:cubicBezTo>
                  <a:pt x="609" y="168"/>
                  <a:pt x="596" y="169"/>
                  <a:pt x="595" y="162"/>
                </a:cubicBezTo>
                <a:cubicBezTo>
                  <a:pt x="594" y="155"/>
                  <a:pt x="608" y="162"/>
                  <a:pt x="610" y="158"/>
                </a:cubicBezTo>
                <a:cubicBezTo>
                  <a:pt x="612" y="155"/>
                  <a:pt x="591" y="146"/>
                  <a:pt x="587" y="153"/>
                </a:cubicBezTo>
                <a:cubicBezTo>
                  <a:pt x="584" y="160"/>
                  <a:pt x="572" y="158"/>
                  <a:pt x="578" y="154"/>
                </a:cubicBezTo>
                <a:cubicBezTo>
                  <a:pt x="585" y="150"/>
                  <a:pt x="586" y="139"/>
                  <a:pt x="585" y="133"/>
                </a:cubicBezTo>
                <a:cubicBezTo>
                  <a:pt x="585" y="127"/>
                  <a:pt x="608" y="127"/>
                  <a:pt x="605" y="118"/>
                </a:cubicBezTo>
                <a:cubicBezTo>
                  <a:pt x="603" y="108"/>
                  <a:pt x="616" y="106"/>
                  <a:pt x="624" y="106"/>
                </a:cubicBezTo>
                <a:cubicBezTo>
                  <a:pt x="632" y="106"/>
                  <a:pt x="624" y="96"/>
                  <a:pt x="616" y="97"/>
                </a:cubicBezTo>
                <a:cubicBezTo>
                  <a:pt x="609" y="98"/>
                  <a:pt x="601" y="107"/>
                  <a:pt x="598" y="103"/>
                </a:cubicBezTo>
                <a:cubicBezTo>
                  <a:pt x="594" y="100"/>
                  <a:pt x="606" y="94"/>
                  <a:pt x="613" y="94"/>
                </a:cubicBezTo>
                <a:cubicBezTo>
                  <a:pt x="620" y="94"/>
                  <a:pt x="636" y="93"/>
                  <a:pt x="641" y="90"/>
                </a:cubicBezTo>
                <a:cubicBezTo>
                  <a:pt x="647" y="87"/>
                  <a:pt x="631" y="84"/>
                  <a:pt x="621" y="85"/>
                </a:cubicBezTo>
                <a:cubicBezTo>
                  <a:pt x="610" y="86"/>
                  <a:pt x="610" y="82"/>
                  <a:pt x="626" y="81"/>
                </a:cubicBezTo>
                <a:cubicBezTo>
                  <a:pt x="642" y="81"/>
                  <a:pt x="639" y="78"/>
                  <a:pt x="651" y="76"/>
                </a:cubicBezTo>
                <a:cubicBezTo>
                  <a:pt x="662" y="75"/>
                  <a:pt x="658" y="70"/>
                  <a:pt x="665" y="70"/>
                </a:cubicBezTo>
                <a:cubicBezTo>
                  <a:pt x="672" y="70"/>
                  <a:pt x="691" y="62"/>
                  <a:pt x="691" y="58"/>
                </a:cubicBezTo>
                <a:cubicBezTo>
                  <a:pt x="691" y="55"/>
                  <a:pt x="664" y="47"/>
                  <a:pt x="652" y="47"/>
                </a:cubicBezTo>
                <a:close/>
                <a:moveTo>
                  <a:pt x="237" y="338"/>
                </a:moveTo>
                <a:cubicBezTo>
                  <a:pt x="237" y="332"/>
                  <a:pt x="231" y="336"/>
                  <a:pt x="228" y="329"/>
                </a:cubicBezTo>
                <a:cubicBezTo>
                  <a:pt x="224" y="323"/>
                  <a:pt x="207" y="320"/>
                  <a:pt x="206" y="325"/>
                </a:cubicBezTo>
                <a:cubicBezTo>
                  <a:pt x="205" y="327"/>
                  <a:pt x="200" y="330"/>
                  <a:pt x="204" y="335"/>
                </a:cubicBezTo>
                <a:cubicBezTo>
                  <a:pt x="208" y="340"/>
                  <a:pt x="211" y="338"/>
                  <a:pt x="216" y="342"/>
                </a:cubicBezTo>
                <a:cubicBezTo>
                  <a:pt x="221" y="347"/>
                  <a:pt x="236" y="343"/>
                  <a:pt x="237" y="338"/>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7" name="Freeform 124"/>
          <p:cNvSpPr>
            <a:spLocks noEditPoints="1"/>
          </p:cNvSpPr>
          <p:nvPr/>
        </p:nvSpPr>
        <p:spPr bwMode="auto">
          <a:xfrm>
            <a:off x="2342346" y="1577640"/>
            <a:ext cx="2243683" cy="1764568"/>
          </a:xfrm>
          <a:custGeom>
            <a:cxnLst>
              <a:cxn ang="0">
                <a:pos x="205" y="683"/>
              </a:cxn>
              <a:cxn ang="0">
                <a:pos x="189" y="227"/>
              </a:cxn>
              <a:cxn ang="0">
                <a:pos x="387" y="251"/>
              </a:cxn>
              <a:cxn ang="0">
                <a:pos x="257" y="269"/>
              </a:cxn>
              <a:cxn ang="0">
                <a:pos x="386" y="334"/>
              </a:cxn>
              <a:cxn ang="0">
                <a:pos x="237" y="194"/>
              </a:cxn>
              <a:cxn ang="0">
                <a:pos x="208" y="185"/>
              </a:cxn>
              <a:cxn ang="0">
                <a:pos x="369" y="213"/>
              </a:cxn>
              <a:cxn ang="0">
                <a:pos x="297" y="144"/>
              </a:cxn>
              <a:cxn ang="0">
                <a:pos x="413" y="119"/>
              </a:cxn>
              <a:cxn ang="0">
                <a:pos x="416" y="161"/>
              </a:cxn>
              <a:cxn ang="0">
                <a:pos x="420" y="185"/>
              </a:cxn>
              <a:cxn ang="0">
                <a:pos x="543" y="147"/>
              </a:cxn>
              <a:cxn ang="0">
                <a:pos x="492" y="232"/>
              </a:cxn>
              <a:cxn ang="0">
                <a:pos x="687" y="220"/>
              </a:cxn>
              <a:cxn ang="0">
                <a:pos x="580" y="151"/>
              </a:cxn>
              <a:cxn ang="0">
                <a:pos x="598" y="83"/>
              </a:cxn>
              <a:cxn ang="0">
                <a:pos x="587" y="66"/>
              </a:cxn>
              <a:cxn ang="0">
                <a:pos x="634" y="120"/>
              </a:cxn>
              <a:cxn ang="0">
                <a:pos x="698" y="180"/>
              </a:cxn>
              <a:cxn ang="0">
                <a:pos x="795" y="87"/>
              </a:cxn>
              <a:cxn ang="0">
                <a:pos x="760" y="9"/>
              </a:cxn>
              <a:cxn ang="0">
                <a:pos x="569" y="46"/>
              </a:cxn>
              <a:cxn ang="0">
                <a:pos x="624" y="440"/>
              </a:cxn>
              <a:cxn ang="0">
                <a:pos x="827" y="340"/>
              </a:cxn>
              <a:cxn ang="0">
                <a:pos x="746" y="272"/>
              </a:cxn>
              <a:cxn ang="0">
                <a:pos x="624" y="250"/>
              </a:cxn>
              <a:cxn ang="0">
                <a:pos x="704" y="309"/>
              </a:cxn>
              <a:cxn ang="0">
                <a:pos x="736" y="409"/>
              </a:cxn>
              <a:cxn ang="0">
                <a:pos x="850" y="419"/>
              </a:cxn>
              <a:cxn ang="0">
                <a:pos x="682" y="241"/>
              </a:cxn>
              <a:cxn ang="0">
                <a:pos x="963" y="641"/>
              </a:cxn>
              <a:cxn ang="0">
                <a:pos x="110" y="629"/>
              </a:cxn>
              <a:cxn ang="0">
                <a:pos x="821" y="686"/>
              </a:cxn>
              <a:cxn ang="0">
                <a:pos x="963" y="609"/>
              </a:cxn>
              <a:cxn ang="0">
                <a:pos x="895" y="560"/>
              </a:cxn>
              <a:cxn ang="0">
                <a:pos x="844" y="528"/>
              </a:cxn>
              <a:cxn ang="0">
                <a:pos x="763" y="463"/>
              </a:cxn>
              <a:cxn ang="0">
                <a:pos x="727" y="543"/>
              </a:cxn>
              <a:cxn ang="0">
                <a:pos x="666" y="617"/>
              </a:cxn>
              <a:cxn ang="0">
                <a:pos x="538" y="525"/>
              </a:cxn>
              <a:cxn ang="0">
                <a:pos x="579" y="430"/>
              </a:cxn>
              <a:cxn ang="0">
                <a:pos x="649" y="387"/>
              </a:cxn>
              <a:cxn ang="0">
                <a:pos x="636" y="339"/>
              </a:cxn>
              <a:cxn ang="0">
                <a:pos x="580" y="343"/>
              </a:cxn>
              <a:cxn ang="0">
                <a:pos x="537" y="271"/>
              </a:cxn>
              <a:cxn ang="0">
                <a:pos x="518" y="292"/>
              </a:cxn>
              <a:cxn ang="0">
                <a:pos x="508" y="364"/>
              </a:cxn>
              <a:cxn ang="0">
                <a:pos x="492" y="348"/>
              </a:cxn>
              <a:cxn ang="0">
                <a:pos x="399" y="348"/>
              </a:cxn>
              <a:cxn ang="0">
                <a:pos x="268" y="339"/>
              </a:cxn>
              <a:cxn ang="0">
                <a:pos x="97" y="340"/>
              </a:cxn>
              <a:cxn ang="0">
                <a:pos x="47" y="341"/>
              </a:cxn>
              <a:cxn ang="0">
                <a:pos x="127" y="588"/>
              </a:cxn>
              <a:cxn ang="0">
                <a:pos x="182" y="658"/>
              </a:cxn>
              <a:cxn ang="0">
                <a:pos x="623" y="689"/>
              </a:cxn>
              <a:cxn ang="0">
                <a:pos x="701" y="766"/>
              </a:cxn>
              <a:cxn ang="0">
                <a:pos x="866" y="722"/>
              </a:cxn>
              <a:cxn ang="0">
                <a:pos x="243" y="407"/>
              </a:cxn>
              <a:cxn ang="0">
                <a:pos x="241" y="392"/>
              </a:cxn>
              <a:cxn ang="0">
                <a:pos x="503" y="656"/>
              </a:cxn>
            </a:cxnLst>
            <a:rect b="b" l="0" r="r" t="0"/>
            <a:pathLst>
              <a:path h="774" w="1004">
                <a:moveTo>
                  <a:pt x="198" y="678"/>
                </a:moveTo>
                <a:cubicBezTo>
                  <a:pt x="195" y="675"/>
                  <a:pt x="187" y="676"/>
                  <a:pt x="185" y="672"/>
                </a:cubicBezTo>
                <a:cubicBezTo>
                  <a:pt x="184" y="669"/>
                  <a:pt x="176" y="657"/>
                  <a:pt x="172" y="658"/>
                </a:cubicBezTo>
                <a:cubicBezTo>
                  <a:pt x="168" y="658"/>
                  <a:pt x="162" y="658"/>
                  <a:pt x="157" y="654"/>
                </a:cubicBezTo>
                <a:cubicBezTo>
                  <a:pt x="152" y="651"/>
                  <a:pt x="149" y="650"/>
                  <a:pt x="146" y="653"/>
                </a:cubicBezTo>
                <a:cubicBezTo>
                  <a:pt x="142" y="655"/>
                  <a:pt x="149" y="655"/>
                  <a:pt x="149" y="658"/>
                </a:cubicBezTo>
                <a:cubicBezTo>
                  <a:pt x="149" y="660"/>
                  <a:pt x="151" y="662"/>
                  <a:pt x="154" y="661"/>
                </a:cubicBezTo>
                <a:cubicBezTo>
                  <a:pt x="157" y="661"/>
                  <a:pt x="159" y="667"/>
                  <a:pt x="162" y="667"/>
                </a:cubicBezTo>
                <a:cubicBezTo>
                  <a:pt x="165" y="668"/>
                  <a:pt x="166" y="672"/>
                  <a:pt x="170" y="672"/>
                </a:cubicBezTo>
                <a:cubicBezTo>
                  <a:pt x="173" y="672"/>
                  <a:pt x="174" y="676"/>
                  <a:pt x="176" y="679"/>
                </a:cubicBezTo>
                <a:cubicBezTo>
                  <a:pt x="177" y="681"/>
                  <a:pt x="181" y="679"/>
                  <a:pt x="181" y="681"/>
                </a:cubicBezTo>
                <a:cubicBezTo>
                  <a:pt x="181" y="683"/>
                  <a:pt x="185" y="685"/>
                  <a:pt x="186" y="687"/>
                </a:cubicBezTo>
                <a:cubicBezTo>
                  <a:pt x="193" y="688"/>
                  <a:pt x="199" y="689"/>
                  <a:pt x="204" y="687"/>
                </a:cubicBezTo>
                <a:cubicBezTo>
                  <a:pt x="204" y="686"/>
                  <a:pt x="205" y="684"/>
                  <a:pt x="205" y="683"/>
                </a:cubicBezTo>
                <a:cubicBezTo>
                  <a:pt x="207" y="680"/>
                  <a:pt x="202" y="682"/>
                  <a:pt x="198" y="678"/>
                </a:cubicBezTo>
                <a:close/>
                <a:moveTo>
                  <a:pt x="190" y="281"/>
                </a:moveTo>
                <a:cubicBezTo>
                  <a:pt x="199" y="283"/>
                  <a:pt x="200" y="299"/>
                  <a:pt x="206" y="299"/>
                </a:cubicBezTo>
                <a:cubicBezTo>
                  <a:pt x="210" y="299"/>
                  <a:pt x="207" y="294"/>
                  <a:pt x="213" y="294"/>
                </a:cubicBezTo>
                <a:cubicBezTo>
                  <a:pt x="220" y="294"/>
                  <a:pt x="218" y="291"/>
                  <a:pt x="224" y="291"/>
                </a:cubicBezTo>
                <a:cubicBezTo>
                  <a:pt x="230" y="292"/>
                  <a:pt x="235" y="290"/>
                  <a:pt x="235" y="283"/>
                </a:cubicBezTo>
                <a:cubicBezTo>
                  <a:pt x="235" y="276"/>
                  <a:pt x="240" y="273"/>
                  <a:pt x="246" y="272"/>
                </a:cubicBezTo>
                <a:cubicBezTo>
                  <a:pt x="252" y="270"/>
                  <a:pt x="246" y="263"/>
                  <a:pt x="255" y="261"/>
                </a:cubicBezTo>
                <a:cubicBezTo>
                  <a:pt x="263" y="259"/>
                  <a:pt x="287" y="249"/>
                  <a:pt x="291" y="246"/>
                </a:cubicBezTo>
                <a:cubicBezTo>
                  <a:pt x="295" y="243"/>
                  <a:pt x="286" y="239"/>
                  <a:pt x="277" y="233"/>
                </a:cubicBezTo>
                <a:cubicBezTo>
                  <a:pt x="268" y="228"/>
                  <a:pt x="261" y="226"/>
                  <a:pt x="254" y="231"/>
                </a:cubicBezTo>
                <a:cubicBezTo>
                  <a:pt x="247" y="235"/>
                  <a:pt x="252" y="226"/>
                  <a:pt x="247" y="228"/>
                </a:cubicBezTo>
                <a:cubicBezTo>
                  <a:pt x="241" y="231"/>
                  <a:pt x="226" y="224"/>
                  <a:pt x="224" y="222"/>
                </a:cubicBezTo>
                <a:cubicBezTo>
                  <a:pt x="222" y="219"/>
                  <a:pt x="195" y="227"/>
                  <a:pt x="189" y="227"/>
                </a:cubicBezTo>
                <a:cubicBezTo>
                  <a:pt x="182" y="227"/>
                  <a:pt x="189" y="234"/>
                  <a:pt x="194" y="238"/>
                </a:cubicBezTo>
                <a:cubicBezTo>
                  <a:pt x="198" y="241"/>
                  <a:pt x="183" y="252"/>
                  <a:pt x="186" y="255"/>
                </a:cubicBezTo>
                <a:cubicBezTo>
                  <a:pt x="189" y="257"/>
                  <a:pt x="183" y="264"/>
                  <a:pt x="176" y="272"/>
                </a:cubicBezTo>
                <a:cubicBezTo>
                  <a:pt x="169" y="280"/>
                  <a:pt x="181" y="279"/>
                  <a:pt x="190" y="281"/>
                </a:cubicBezTo>
                <a:close/>
                <a:moveTo>
                  <a:pt x="440" y="322"/>
                </a:moveTo>
                <a:cubicBezTo>
                  <a:pt x="443" y="319"/>
                  <a:pt x="455" y="329"/>
                  <a:pt x="456" y="322"/>
                </a:cubicBezTo>
                <a:cubicBezTo>
                  <a:pt x="456" y="314"/>
                  <a:pt x="442" y="311"/>
                  <a:pt x="436" y="307"/>
                </a:cubicBezTo>
                <a:cubicBezTo>
                  <a:pt x="430" y="303"/>
                  <a:pt x="427" y="305"/>
                  <a:pt x="418" y="298"/>
                </a:cubicBezTo>
                <a:cubicBezTo>
                  <a:pt x="408" y="291"/>
                  <a:pt x="420" y="287"/>
                  <a:pt x="413" y="282"/>
                </a:cubicBezTo>
                <a:cubicBezTo>
                  <a:pt x="406" y="276"/>
                  <a:pt x="404" y="261"/>
                  <a:pt x="409" y="256"/>
                </a:cubicBezTo>
                <a:cubicBezTo>
                  <a:pt x="414" y="251"/>
                  <a:pt x="419" y="244"/>
                  <a:pt x="410" y="240"/>
                </a:cubicBezTo>
                <a:cubicBezTo>
                  <a:pt x="401" y="237"/>
                  <a:pt x="387" y="243"/>
                  <a:pt x="388" y="245"/>
                </a:cubicBezTo>
                <a:cubicBezTo>
                  <a:pt x="390" y="247"/>
                  <a:pt x="402" y="254"/>
                  <a:pt x="402" y="257"/>
                </a:cubicBezTo>
                <a:cubicBezTo>
                  <a:pt x="402" y="260"/>
                  <a:pt x="391" y="249"/>
                  <a:pt x="387" y="251"/>
                </a:cubicBezTo>
                <a:cubicBezTo>
                  <a:pt x="383" y="254"/>
                  <a:pt x="378" y="246"/>
                  <a:pt x="375" y="251"/>
                </a:cubicBezTo>
                <a:cubicBezTo>
                  <a:pt x="371" y="256"/>
                  <a:pt x="379" y="274"/>
                  <a:pt x="382" y="279"/>
                </a:cubicBezTo>
                <a:cubicBezTo>
                  <a:pt x="385" y="284"/>
                  <a:pt x="379" y="284"/>
                  <a:pt x="375" y="285"/>
                </a:cubicBezTo>
                <a:cubicBezTo>
                  <a:pt x="371" y="286"/>
                  <a:pt x="371" y="271"/>
                  <a:pt x="367" y="265"/>
                </a:cubicBezTo>
                <a:cubicBezTo>
                  <a:pt x="363" y="260"/>
                  <a:pt x="347" y="253"/>
                  <a:pt x="346" y="257"/>
                </a:cubicBezTo>
                <a:cubicBezTo>
                  <a:pt x="345" y="261"/>
                  <a:pt x="356" y="261"/>
                  <a:pt x="354" y="267"/>
                </a:cubicBezTo>
                <a:cubicBezTo>
                  <a:pt x="353" y="272"/>
                  <a:pt x="347" y="263"/>
                  <a:pt x="341" y="268"/>
                </a:cubicBezTo>
                <a:cubicBezTo>
                  <a:pt x="336" y="272"/>
                  <a:pt x="337" y="269"/>
                  <a:pt x="338" y="265"/>
                </a:cubicBezTo>
                <a:cubicBezTo>
                  <a:pt x="339" y="260"/>
                  <a:pt x="330" y="255"/>
                  <a:pt x="320" y="256"/>
                </a:cubicBezTo>
                <a:cubicBezTo>
                  <a:pt x="310" y="257"/>
                  <a:pt x="315" y="264"/>
                  <a:pt x="312" y="267"/>
                </a:cubicBezTo>
                <a:cubicBezTo>
                  <a:pt x="309" y="269"/>
                  <a:pt x="294" y="265"/>
                  <a:pt x="304" y="263"/>
                </a:cubicBezTo>
                <a:cubicBezTo>
                  <a:pt x="313" y="261"/>
                  <a:pt x="309" y="256"/>
                  <a:pt x="306" y="250"/>
                </a:cubicBezTo>
                <a:cubicBezTo>
                  <a:pt x="302" y="245"/>
                  <a:pt x="293" y="251"/>
                  <a:pt x="277" y="257"/>
                </a:cubicBezTo>
                <a:cubicBezTo>
                  <a:pt x="262" y="262"/>
                  <a:pt x="255" y="268"/>
                  <a:pt x="257" y="269"/>
                </a:cubicBezTo>
                <a:cubicBezTo>
                  <a:pt x="259" y="269"/>
                  <a:pt x="259" y="272"/>
                  <a:pt x="253" y="277"/>
                </a:cubicBezTo>
                <a:cubicBezTo>
                  <a:pt x="247" y="282"/>
                  <a:pt x="253" y="286"/>
                  <a:pt x="259" y="286"/>
                </a:cubicBezTo>
                <a:cubicBezTo>
                  <a:pt x="264" y="286"/>
                  <a:pt x="260" y="290"/>
                  <a:pt x="263" y="292"/>
                </a:cubicBezTo>
                <a:cubicBezTo>
                  <a:pt x="267" y="293"/>
                  <a:pt x="285" y="285"/>
                  <a:pt x="290" y="288"/>
                </a:cubicBezTo>
                <a:cubicBezTo>
                  <a:pt x="295" y="292"/>
                  <a:pt x="260" y="294"/>
                  <a:pt x="260" y="300"/>
                </a:cubicBezTo>
                <a:cubicBezTo>
                  <a:pt x="260" y="306"/>
                  <a:pt x="279" y="309"/>
                  <a:pt x="293" y="307"/>
                </a:cubicBezTo>
                <a:cubicBezTo>
                  <a:pt x="307" y="304"/>
                  <a:pt x="332" y="309"/>
                  <a:pt x="332" y="312"/>
                </a:cubicBezTo>
                <a:cubicBezTo>
                  <a:pt x="332" y="316"/>
                  <a:pt x="315" y="315"/>
                  <a:pt x="303" y="314"/>
                </a:cubicBezTo>
                <a:cubicBezTo>
                  <a:pt x="290" y="314"/>
                  <a:pt x="269" y="318"/>
                  <a:pt x="270" y="322"/>
                </a:cubicBezTo>
                <a:cubicBezTo>
                  <a:pt x="271" y="326"/>
                  <a:pt x="272" y="326"/>
                  <a:pt x="285" y="332"/>
                </a:cubicBezTo>
                <a:cubicBezTo>
                  <a:pt x="298" y="338"/>
                  <a:pt x="312" y="329"/>
                  <a:pt x="311" y="338"/>
                </a:cubicBezTo>
                <a:cubicBezTo>
                  <a:pt x="311" y="346"/>
                  <a:pt x="318" y="348"/>
                  <a:pt x="336" y="349"/>
                </a:cubicBezTo>
                <a:cubicBezTo>
                  <a:pt x="353" y="349"/>
                  <a:pt x="361" y="341"/>
                  <a:pt x="370" y="341"/>
                </a:cubicBezTo>
                <a:cubicBezTo>
                  <a:pt x="378" y="342"/>
                  <a:pt x="382" y="340"/>
                  <a:pt x="386" y="334"/>
                </a:cubicBezTo>
                <a:cubicBezTo>
                  <a:pt x="390" y="328"/>
                  <a:pt x="394" y="332"/>
                  <a:pt x="395" y="335"/>
                </a:cubicBezTo>
                <a:cubicBezTo>
                  <a:pt x="396" y="338"/>
                  <a:pt x="407" y="337"/>
                  <a:pt x="409" y="340"/>
                </a:cubicBezTo>
                <a:cubicBezTo>
                  <a:pt x="416" y="346"/>
                  <a:pt x="437" y="344"/>
                  <a:pt x="445" y="340"/>
                </a:cubicBezTo>
                <a:cubicBezTo>
                  <a:pt x="453" y="336"/>
                  <a:pt x="441" y="325"/>
                  <a:pt x="437" y="330"/>
                </a:cubicBezTo>
                <a:cubicBezTo>
                  <a:pt x="433" y="335"/>
                  <a:pt x="430" y="332"/>
                  <a:pt x="429" y="330"/>
                </a:cubicBezTo>
                <a:cubicBezTo>
                  <a:pt x="428" y="327"/>
                  <a:pt x="437" y="326"/>
                  <a:pt x="440" y="322"/>
                </a:cubicBezTo>
                <a:close/>
                <a:moveTo>
                  <a:pt x="250" y="199"/>
                </a:moveTo>
                <a:cubicBezTo>
                  <a:pt x="259" y="200"/>
                  <a:pt x="268" y="192"/>
                  <a:pt x="267" y="188"/>
                </a:cubicBezTo>
                <a:cubicBezTo>
                  <a:pt x="267" y="183"/>
                  <a:pt x="245" y="199"/>
                  <a:pt x="250" y="199"/>
                </a:cubicBezTo>
                <a:close/>
                <a:moveTo>
                  <a:pt x="208" y="185"/>
                </a:moveTo>
                <a:cubicBezTo>
                  <a:pt x="212" y="187"/>
                  <a:pt x="208" y="194"/>
                  <a:pt x="212" y="192"/>
                </a:cubicBezTo>
                <a:cubicBezTo>
                  <a:pt x="216" y="190"/>
                  <a:pt x="217" y="189"/>
                  <a:pt x="220" y="190"/>
                </a:cubicBezTo>
                <a:cubicBezTo>
                  <a:pt x="226" y="192"/>
                  <a:pt x="227" y="187"/>
                  <a:pt x="229" y="185"/>
                </a:cubicBezTo>
                <a:cubicBezTo>
                  <a:pt x="232" y="182"/>
                  <a:pt x="231" y="194"/>
                  <a:pt x="237" y="194"/>
                </a:cubicBezTo>
                <a:cubicBezTo>
                  <a:pt x="243" y="194"/>
                  <a:pt x="242" y="182"/>
                  <a:pt x="247" y="185"/>
                </a:cubicBezTo>
                <a:cubicBezTo>
                  <a:pt x="252" y="189"/>
                  <a:pt x="253" y="184"/>
                  <a:pt x="254" y="180"/>
                </a:cubicBezTo>
                <a:cubicBezTo>
                  <a:pt x="255" y="177"/>
                  <a:pt x="255" y="171"/>
                  <a:pt x="261" y="170"/>
                </a:cubicBezTo>
                <a:cubicBezTo>
                  <a:pt x="266" y="169"/>
                  <a:pt x="262" y="175"/>
                  <a:pt x="264" y="180"/>
                </a:cubicBezTo>
                <a:cubicBezTo>
                  <a:pt x="268" y="186"/>
                  <a:pt x="274" y="180"/>
                  <a:pt x="275" y="177"/>
                </a:cubicBezTo>
                <a:cubicBezTo>
                  <a:pt x="275" y="174"/>
                  <a:pt x="284" y="176"/>
                  <a:pt x="284" y="173"/>
                </a:cubicBezTo>
                <a:cubicBezTo>
                  <a:pt x="283" y="169"/>
                  <a:pt x="286" y="168"/>
                  <a:pt x="284" y="164"/>
                </a:cubicBezTo>
                <a:cubicBezTo>
                  <a:pt x="281" y="160"/>
                  <a:pt x="288" y="161"/>
                  <a:pt x="291" y="158"/>
                </a:cubicBezTo>
                <a:cubicBezTo>
                  <a:pt x="294" y="155"/>
                  <a:pt x="287" y="158"/>
                  <a:pt x="282" y="153"/>
                </a:cubicBezTo>
                <a:cubicBezTo>
                  <a:pt x="277" y="149"/>
                  <a:pt x="275" y="155"/>
                  <a:pt x="275" y="158"/>
                </a:cubicBezTo>
                <a:cubicBezTo>
                  <a:pt x="275" y="161"/>
                  <a:pt x="265" y="158"/>
                  <a:pt x="260" y="156"/>
                </a:cubicBezTo>
                <a:cubicBezTo>
                  <a:pt x="254" y="154"/>
                  <a:pt x="247" y="163"/>
                  <a:pt x="239" y="167"/>
                </a:cubicBezTo>
                <a:cubicBezTo>
                  <a:pt x="231" y="171"/>
                  <a:pt x="231" y="178"/>
                  <a:pt x="223" y="177"/>
                </a:cubicBezTo>
                <a:cubicBezTo>
                  <a:pt x="216" y="177"/>
                  <a:pt x="205" y="184"/>
                  <a:pt x="208" y="185"/>
                </a:cubicBezTo>
                <a:close/>
                <a:moveTo>
                  <a:pt x="286" y="183"/>
                </a:moveTo>
                <a:cubicBezTo>
                  <a:pt x="279" y="183"/>
                  <a:pt x="280" y="190"/>
                  <a:pt x="288" y="190"/>
                </a:cubicBezTo>
                <a:cubicBezTo>
                  <a:pt x="296" y="190"/>
                  <a:pt x="298" y="193"/>
                  <a:pt x="287" y="192"/>
                </a:cubicBezTo>
                <a:cubicBezTo>
                  <a:pt x="275" y="192"/>
                  <a:pt x="270" y="202"/>
                  <a:pt x="278" y="200"/>
                </a:cubicBezTo>
                <a:cubicBezTo>
                  <a:pt x="286" y="198"/>
                  <a:pt x="296" y="198"/>
                  <a:pt x="290" y="200"/>
                </a:cubicBezTo>
                <a:cubicBezTo>
                  <a:pt x="284" y="202"/>
                  <a:pt x="268" y="203"/>
                  <a:pt x="270" y="206"/>
                </a:cubicBezTo>
                <a:cubicBezTo>
                  <a:pt x="271" y="208"/>
                  <a:pt x="278" y="208"/>
                  <a:pt x="284" y="210"/>
                </a:cubicBezTo>
                <a:cubicBezTo>
                  <a:pt x="291" y="213"/>
                  <a:pt x="295" y="214"/>
                  <a:pt x="300" y="209"/>
                </a:cubicBezTo>
                <a:cubicBezTo>
                  <a:pt x="305" y="203"/>
                  <a:pt x="311" y="198"/>
                  <a:pt x="309" y="205"/>
                </a:cubicBezTo>
                <a:cubicBezTo>
                  <a:pt x="306" y="213"/>
                  <a:pt x="317" y="207"/>
                  <a:pt x="330" y="207"/>
                </a:cubicBezTo>
                <a:cubicBezTo>
                  <a:pt x="344" y="206"/>
                  <a:pt x="328" y="215"/>
                  <a:pt x="314" y="216"/>
                </a:cubicBezTo>
                <a:cubicBezTo>
                  <a:pt x="300" y="217"/>
                  <a:pt x="302" y="224"/>
                  <a:pt x="313" y="226"/>
                </a:cubicBezTo>
                <a:cubicBezTo>
                  <a:pt x="324" y="229"/>
                  <a:pt x="348" y="219"/>
                  <a:pt x="353" y="214"/>
                </a:cubicBezTo>
                <a:cubicBezTo>
                  <a:pt x="359" y="208"/>
                  <a:pt x="364" y="217"/>
                  <a:pt x="369" y="213"/>
                </a:cubicBezTo>
                <a:cubicBezTo>
                  <a:pt x="375" y="209"/>
                  <a:pt x="385" y="213"/>
                  <a:pt x="395" y="211"/>
                </a:cubicBezTo>
                <a:cubicBezTo>
                  <a:pt x="404" y="209"/>
                  <a:pt x="406" y="191"/>
                  <a:pt x="399" y="188"/>
                </a:cubicBezTo>
                <a:cubicBezTo>
                  <a:pt x="392" y="185"/>
                  <a:pt x="392" y="192"/>
                  <a:pt x="386" y="193"/>
                </a:cubicBezTo>
                <a:cubicBezTo>
                  <a:pt x="381" y="194"/>
                  <a:pt x="378" y="187"/>
                  <a:pt x="373" y="182"/>
                </a:cubicBezTo>
                <a:cubicBezTo>
                  <a:pt x="369" y="178"/>
                  <a:pt x="372" y="169"/>
                  <a:pt x="365" y="170"/>
                </a:cubicBezTo>
                <a:cubicBezTo>
                  <a:pt x="359" y="171"/>
                  <a:pt x="345" y="182"/>
                  <a:pt x="353" y="183"/>
                </a:cubicBezTo>
                <a:cubicBezTo>
                  <a:pt x="362" y="184"/>
                  <a:pt x="359" y="188"/>
                  <a:pt x="354" y="190"/>
                </a:cubicBezTo>
                <a:cubicBezTo>
                  <a:pt x="350" y="192"/>
                  <a:pt x="365" y="196"/>
                  <a:pt x="363" y="199"/>
                </a:cubicBezTo>
                <a:cubicBezTo>
                  <a:pt x="361" y="202"/>
                  <a:pt x="338" y="199"/>
                  <a:pt x="337" y="194"/>
                </a:cubicBezTo>
                <a:cubicBezTo>
                  <a:pt x="336" y="189"/>
                  <a:pt x="318" y="180"/>
                  <a:pt x="310" y="182"/>
                </a:cubicBezTo>
                <a:cubicBezTo>
                  <a:pt x="303" y="184"/>
                  <a:pt x="306" y="176"/>
                  <a:pt x="298" y="176"/>
                </a:cubicBezTo>
                <a:cubicBezTo>
                  <a:pt x="291" y="175"/>
                  <a:pt x="293" y="182"/>
                  <a:pt x="286" y="183"/>
                </a:cubicBezTo>
                <a:close/>
                <a:moveTo>
                  <a:pt x="312" y="147"/>
                </a:moveTo>
                <a:cubicBezTo>
                  <a:pt x="315" y="141"/>
                  <a:pt x="296" y="142"/>
                  <a:pt x="297" y="144"/>
                </a:cubicBezTo>
                <a:cubicBezTo>
                  <a:pt x="301" y="148"/>
                  <a:pt x="310" y="153"/>
                  <a:pt x="312" y="147"/>
                </a:cubicBezTo>
                <a:close/>
                <a:moveTo>
                  <a:pt x="354" y="144"/>
                </a:moveTo>
                <a:cubicBezTo>
                  <a:pt x="360" y="143"/>
                  <a:pt x="357" y="138"/>
                  <a:pt x="347" y="140"/>
                </a:cubicBezTo>
                <a:cubicBezTo>
                  <a:pt x="336" y="141"/>
                  <a:pt x="318" y="141"/>
                  <a:pt x="318" y="149"/>
                </a:cubicBezTo>
                <a:cubicBezTo>
                  <a:pt x="318" y="155"/>
                  <a:pt x="322" y="158"/>
                  <a:pt x="333" y="159"/>
                </a:cubicBezTo>
                <a:cubicBezTo>
                  <a:pt x="345" y="160"/>
                  <a:pt x="355" y="149"/>
                  <a:pt x="349" y="149"/>
                </a:cubicBezTo>
                <a:cubicBezTo>
                  <a:pt x="344" y="149"/>
                  <a:pt x="347" y="145"/>
                  <a:pt x="354" y="144"/>
                </a:cubicBezTo>
                <a:close/>
                <a:moveTo>
                  <a:pt x="329" y="135"/>
                </a:moveTo>
                <a:cubicBezTo>
                  <a:pt x="334" y="137"/>
                  <a:pt x="339" y="130"/>
                  <a:pt x="343" y="133"/>
                </a:cubicBezTo>
                <a:cubicBezTo>
                  <a:pt x="346" y="136"/>
                  <a:pt x="362" y="139"/>
                  <a:pt x="362" y="131"/>
                </a:cubicBezTo>
                <a:cubicBezTo>
                  <a:pt x="362" y="123"/>
                  <a:pt x="342" y="122"/>
                  <a:pt x="337" y="125"/>
                </a:cubicBezTo>
                <a:cubicBezTo>
                  <a:pt x="332" y="128"/>
                  <a:pt x="309" y="129"/>
                  <a:pt x="316" y="134"/>
                </a:cubicBezTo>
                <a:cubicBezTo>
                  <a:pt x="320" y="137"/>
                  <a:pt x="324" y="133"/>
                  <a:pt x="329" y="135"/>
                </a:cubicBezTo>
                <a:close/>
                <a:moveTo>
                  <a:pt x="413" y="119"/>
                </a:moveTo>
                <a:cubicBezTo>
                  <a:pt x="419" y="115"/>
                  <a:pt x="430" y="122"/>
                  <a:pt x="428" y="126"/>
                </a:cubicBezTo>
                <a:cubicBezTo>
                  <a:pt x="426" y="131"/>
                  <a:pt x="409" y="125"/>
                  <a:pt x="410" y="129"/>
                </a:cubicBezTo>
                <a:cubicBezTo>
                  <a:pt x="410" y="131"/>
                  <a:pt x="412" y="137"/>
                  <a:pt x="424" y="133"/>
                </a:cubicBezTo>
                <a:cubicBezTo>
                  <a:pt x="436" y="130"/>
                  <a:pt x="446" y="132"/>
                  <a:pt x="454" y="139"/>
                </a:cubicBezTo>
                <a:cubicBezTo>
                  <a:pt x="462" y="145"/>
                  <a:pt x="470" y="148"/>
                  <a:pt x="475" y="141"/>
                </a:cubicBezTo>
                <a:cubicBezTo>
                  <a:pt x="481" y="135"/>
                  <a:pt x="468" y="134"/>
                  <a:pt x="471" y="129"/>
                </a:cubicBezTo>
                <a:cubicBezTo>
                  <a:pt x="473" y="124"/>
                  <a:pt x="463" y="121"/>
                  <a:pt x="457" y="121"/>
                </a:cubicBezTo>
                <a:cubicBezTo>
                  <a:pt x="452" y="121"/>
                  <a:pt x="450" y="111"/>
                  <a:pt x="445" y="113"/>
                </a:cubicBezTo>
                <a:cubicBezTo>
                  <a:pt x="441" y="115"/>
                  <a:pt x="438" y="118"/>
                  <a:pt x="438" y="112"/>
                </a:cubicBezTo>
                <a:cubicBezTo>
                  <a:pt x="438" y="105"/>
                  <a:pt x="412" y="105"/>
                  <a:pt x="405" y="107"/>
                </a:cubicBezTo>
                <a:cubicBezTo>
                  <a:pt x="399" y="110"/>
                  <a:pt x="407" y="123"/>
                  <a:pt x="413" y="119"/>
                </a:cubicBezTo>
                <a:close/>
                <a:moveTo>
                  <a:pt x="416" y="161"/>
                </a:moveTo>
                <a:cubicBezTo>
                  <a:pt x="420" y="156"/>
                  <a:pt x="400" y="140"/>
                  <a:pt x="399" y="148"/>
                </a:cubicBezTo>
                <a:cubicBezTo>
                  <a:pt x="398" y="155"/>
                  <a:pt x="412" y="166"/>
                  <a:pt x="416" y="161"/>
                </a:cubicBezTo>
                <a:close/>
                <a:moveTo>
                  <a:pt x="481" y="96"/>
                </a:moveTo>
                <a:cubicBezTo>
                  <a:pt x="485" y="90"/>
                  <a:pt x="460" y="85"/>
                  <a:pt x="466" y="90"/>
                </a:cubicBezTo>
                <a:cubicBezTo>
                  <a:pt x="470" y="93"/>
                  <a:pt x="478" y="102"/>
                  <a:pt x="481" y="96"/>
                </a:cubicBezTo>
                <a:close/>
                <a:moveTo>
                  <a:pt x="425" y="209"/>
                </a:moveTo>
                <a:cubicBezTo>
                  <a:pt x="428" y="205"/>
                  <a:pt x="417" y="197"/>
                  <a:pt x="414" y="204"/>
                </a:cubicBezTo>
                <a:cubicBezTo>
                  <a:pt x="411" y="211"/>
                  <a:pt x="421" y="213"/>
                  <a:pt x="425" y="209"/>
                </a:cubicBezTo>
                <a:close/>
                <a:moveTo>
                  <a:pt x="481" y="174"/>
                </a:moveTo>
                <a:cubicBezTo>
                  <a:pt x="481" y="179"/>
                  <a:pt x="469" y="173"/>
                  <a:pt x="460" y="170"/>
                </a:cubicBezTo>
                <a:cubicBezTo>
                  <a:pt x="451" y="166"/>
                  <a:pt x="457" y="177"/>
                  <a:pt x="464" y="183"/>
                </a:cubicBezTo>
                <a:cubicBezTo>
                  <a:pt x="471" y="189"/>
                  <a:pt x="460" y="186"/>
                  <a:pt x="451" y="179"/>
                </a:cubicBezTo>
                <a:cubicBezTo>
                  <a:pt x="441" y="173"/>
                  <a:pt x="442" y="184"/>
                  <a:pt x="447" y="187"/>
                </a:cubicBezTo>
                <a:cubicBezTo>
                  <a:pt x="451" y="191"/>
                  <a:pt x="446" y="196"/>
                  <a:pt x="440" y="188"/>
                </a:cubicBezTo>
                <a:cubicBezTo>
                  <a:pt x="434" y="180"/>
                  <a:pt x="431" y="171"/>
                  <a:pt x="421" y="171"/>
                </a:cubicBezTo>
                <a:cubicBezTo>
                  <a:pt x="412" y="170"/>
                  <a:pt x="416" y="180"/>
                  <a:pt x="420" y="185"/>
                </a:cubicBezTo>
                <a:cubicBezTo>
                  <a:pt x="425" y="191"/>
                  <a:pt x="430" y="193"/>
                  <a:pt x="438" y="197"/>
                </a:cubicBezTo>
                <a:cubicBezTo>
                  <a:pt x="446" y="202"/>
                  <a:pt x="459" y="195"/>
                  <a:pt x="465" y="197"/>
                </a:cubicBezTo>
                <a:cubicBezTo>
                  <a:pt x="471" y="198"/>
                  <a:pt x="458" y="206"/>
                  <a:pt x="462" y="211"/>
                </a:cubicBezTo>
                <a:cubicBezTo>
                  <a:pt x="466" y="216"/>
                  <a:pt x="477" y="212"/>
                  <a:pt x="486" y="212"/>
                </a:cubicBezTo>
                <a:cubicBezTo>
                  <a:pt x="494" y="211"/>
                  <a:pt x="490" y="206"/>
                  <a:pt x="495" y="203"/>
                </a:cubicBezTo>
                <a:cubicBezTo>
                  <a:pt x="500" y="199"/>
                  <a:pt x="490" y="200"/>
                  <a:pt x="494" y="191"/>
                </a:cubicBezTo>
                <a:cubicBezTo>
                  <a:pt x="498" y="183"/>
                  <a:pt x="482" y="169"/>
                  <a:pt x="481" y="174"/>
                </a:cubicBezTo>
                <a:close/>
                <a:moveTo>
                  <a:pt x="502" y="145"/>
                </a:moveTo>
                <a:cubicBezTo>
                  <a:pt x="510" y="145"/>
                  <a:pt x="516" y="144"/>
                  <a:pt x="522" y="141"/>
                </a:cubicBezTo>
                <a:cubicBezTo>
                  <a:pt x="529" y="139"/>
                  <a:pt x="519" y="139"/>
                  <a:pt x="523" y="133"/>
                </a:cubicBezTo>
                <a:cubicBezTo>
                  <a:pt x="528" y="127"/>
                  <a:pt x="512" y="126"/>
                  <a:pt x="511" y="128"/>
                </a:cubicBezTo>
                <a:cubicBezTo>
                  <a:pt x="510" y="130"/>
                  <a:pt x="491" y="116"/>
                  <a:pt x="488" y="121"/>
                </a:cubicBezTo>
                <a:cubicBezTo>
                  <a:pt x="485" y="125"/>
                  <a:pt x="495" y="145"/>
                  <a:pt x="502" y="145"/>
                </a:cubicBezTo>
                <a:close/>
                <a:moveTo>
                  <a:pt x="543" y="147"/>
                </a:moveTo>
                <a:cubicBezTo>
                  <a:pt x="542" y="144"/>
                  <a:pt x="504" y="149"/>
                  <a:pt x="510" y="153"/>
                </a:cubicBezTo>
                <a:cubicBezTo>
                  <a:pt x="520" y="161"/>
                  <a:pt x="544" y="150"/>
                  <a:pt x="543" y="147"/>
                </a:cubicBezTo>
                <a:close/>
                <a:moveTo>
                  <a:pt x="537" y="220"/>
                </a:moveTo>
                <a:cubicBezTo>
                  <a:pt x="546" y="220"/>
                  <a:pt x="542" y="209"/>
                  <a:pt x="532" y="201"/>
                </a:cubicBezTo>
                <a:cubicBezTo>
                  <a:pt x="522" y="194"/>
                  <a:pt x="499" y="209"/>
                  <a:pt x="503" y="212"/>
                </a:cubicBezTo>
                <a:cubicBezTo>
                  <a:pt x="508" y="216"/>
                  <a:pt x="528" y="221"/>
                  <a:pt x="537" y="220"/>
                </a:cubicBezTo>
                <a:close/>
                <a:moveTo>
                  <a:pt x="473" y="290"/>
                </a:moveTo>
                <a:cubicBezTo>
                  <a:pt x="484" y="298"/>
                  <a:pt x="481" y="284"/>
                  <a:pt x="493" y="285"/>
                </a:cubicBezTo>
                <a:cubicBezTo>
                  <a:pt x="506" y="285"/>
                  <a:pt x="506" y="265"/>
                  <a:pt x="508" y="257"/>
                </a:cubicBezTo>
                <a:cubicBezTo>
                  <a:pt x="510" y="250"/>
                  <a:pt x="498" y="250"/>
                  <a:pt x="501" y="256"/>
                </a:cubicBezTo>
                <a:cubicBezTo>
                  <a:pt x="504" y="261"/>
                  <a:pt x="501" y="267"/>
                  <a:pt x="500" y="260"/>
                </a:cubicBezTo>
                <a:cubicBezTo>
                  <a:pt x="499" y="254"/>
                  <a:pt x="489" y="260"/>
                  <a:pt x="486" y="255"/>
                </a:cubicBezTo>
                <a:cubicBezTo>
                  <a:pt x="482" y="250"/>
                  <a:pt x="497" y="249"/>
                  <a:pt x="500" y="243"/>
                </a:cubicBezTo>
                <a:cubicBezTo>
                  <a:pt x="504" y="236"/>
                  <a:pt x="489" y="237"/>
                  <a:pt x="492" y="232"/>
                </a:cubicBezTo>
                <a:cubicBezTo>
                  <a:pt x="496" y="227"/>
                  <a:pt x="470" y="233"/>
                  <a:pt x="478" y="236"/>
                </a:cubicBezTo>
                <a:cubicBezTo>
                  <a:pt x="485" y="239"/>
                  <a:pt x="478" y="243"/>
                  <a:pt x="471" y="238"/>
                </a:cubicBezTo>
                <a:cubicBezTo>
                  <a:pt x="464" y="233"/>
                  <a:pt x="445" y="241"/>
                  <a:pt x="452" y="247"/>
                </a:cubicBezTo>
                <a:cubicBezTo>
                  <a:pt x="457" y="251"/>
                  <a:pt x="474" y="244"/>
                  <a:pt x="464" y="257"/>
                </a:cubicBezTo>
                <a:cubicBezTo>
                  <a:pt x="455" y="270"/>
                  <a:pt x="451" y="253"/>
                  <a:pt x="442" y="255"/>
                </a:cubicBezTo>
                <a:cubicBezTo>
                  <a:pt x="433" y="256"/>
                  <a:pt x="437" y="267"/>
                  <a:pt x="450" y="271"/>
                </a:cubicBezTo>
                <a:cubicBezTo>
                  <a:pt x="464" y="275"/>
                  <a:pt x="462" y="283"/>
                  <a:pt x="473" y="290"/>
                </a:cubicBezTo>
                <a:close/>
                <a:moveTo>
                  <a:pt x="555" y="210"/>
                </a:moveTo>
                <a:cubicBezTo>
                  <a:pt x="558" y="220"/>
                  <a:pt x="562" y="213"/>
                  <a:pt x="568" y="217"/>
                </a:cubicBezTo>
                <a:cubicBezTo>
                  <a:pt x="573" y="221"/>
                  <a:pt x="582" y="224"/>
                  <a:pt x="586" y="220"/>
                </a:cubicBezTo>
                <a:cubicBezTo>
                  <a:pt x="591" y="216"/>
                  <a:pt x="593" y="213"/>
                  <a:pt x="594" y="216"/>
                </a:cubicBezTo>
                <a:cubicBezTo>
                  <a:pt x="597" y="222"/>
                  <a:pt x="608" y="223"/>
                  <a:pt x="632" y="223"/>
                </a:cubicBezTo>
                <a:cubicBezTo>
                  <a:pt x="656" y="224"/>
                  <a:pt x="650" y="213"/>
                  <a:pt x="657" y="217"/>
                </a:cubicBezTo>
                <a:cubicBezTo>
                  <a:pt x="664" y="221"/>
                  <a:pt x="680" y="221"/>
                  <a:pt x="687" y="220"/>
                </a:cubicBezTo>
                <a:cubicBezTo>
                  <a:pt x="694" y="218"/>
                  <a:pt x="697" y="207"/>
                  <a:pt x="697" y="202"/>
                </a:cubicBezTo>
                <a:cubicBezTo>
                  <a:pt x="696" y="196"/>
                  <a:pt x="643" y="192"/>
                  <a:pt x="633" y="197"/>
                </a:cubicBezTo>
                <a:cubicBezTo>
                  <a:pt x="624" y="203"/>
                  <a:pt x="609" y="195"/>
                  <a:pt x="601" y="199"/>
                </a:cubicBezTo>
                <a:cubicBezTo>
                  <a:pt x="594" y="203"/>
                  <a:pt x="596" y="194"/>
                  <a:pt x="583" y="193"/>
                </a:cubicBezTo>
                <a:cubicBezTo>
                  <a:pt x="569" y="193"/>
                  <a:pt x="584" y="186"/>
                  <a:pt x="586" y="183"/>
                </a:cubicBezTo>
                <a:cubicBezTo>
                  <a:pt x="589" y="180"/>
                  <a:pt x="566" y="172"/>
                  <a:pt x="556" y="174"/>
                </a:cubicBezTo>
                <a:cubicBezTo>
                  <a:pt x="547" y="176"/>
                  <a:pt x="541" y="171"/>
                  <a:pt x="532" y="167"/>
                </a:cubicBezTo>
                <a:cubicBezTo>
                  <a:pt x="523" y="163"/>
                  <a:pt x="499" y="163"/>
                  <a:pt x="504" y="171"/>
                </a:cubicBezTo>
                <a:cubicBezTo>
                  <a:pt x="507" y="176"/>
                  <a:pt x="536" y="186"/>
                  <a:pt x="539" y="181"/>
                </a:cubicBezTo>
                <a:cubicBezTo>
                  <a:pt x="542" y="176"/>
                  <a:pt x="550" y="187"/>
                  <a:pt x="554" y="193"/>
                </a:cubicBezTo>
                <a:cubicBezTo>
                  <a:pt x="559" y="198"/>
                  <a:pt x="551" y="200"/>
                  <a:pt x="555" y="210"/>
                </a:cubicBezTo>
                <a:close/>
                <a:moveTo>
                  <a:pt x="580" y="151"/>
                </a:moveTo>
                <a:cubicBezTo>
                  <a:pt x="571" y="147"/>
                  <a:pt x="560" y="156"/>
                  <a:pt x="569" y="160"/>
                </a:cubicBezTo>
                <a:cubicBezTo>
                  <a:pt x="577" y="163"/>
                  <a:pt x="589" y="156"/>
                  <a:pt x="580" y="151"/>
                </a:cubicBezTo>
                <a:close/>
                <a:moveTo>
                  <a:pt x="508" y="95"/>
                </a:moveTo>
                <a:cubicBezTo>
                  <a:pt x="516" y="99"/>
                  <a:pt x="511" y="104"/>
                  <a:pt x="519" y="107"/>
                </a:cubicBezTo>
                <a:cubicBezTo>
                  <a:pt x="527" y="111"/>
                  <a:pt x="550" y="103"/>
                  <a:pt x="552" y="108"/>
                </a:cubicBezTo>
                <a:cubicBezTo>
                  <a:pt x="554" y="114"/>
                  <a:pt x="529" y="114"/>
                  <a:pt x="532" y="118"/>
                </a:cubicBezTo>
                <a:cubicBezTo>
                  <a:pt x="536" y="121"/>
                  <a:pt x="550" y="127"/>
                  <a:pt x="548" y="130"/>
                </a:cubicBezTo>
                <a:cubicBezTo>
                  <a:pt x="546" y="133"/>
                  <a:pt x="572" y="141"/>
                  <a:pt x="575" y="137"/>
                </a:cubicBezTo>
                <a:cubicBezTo>
                  <a:pt x="577" y="133"/>
                  <a:pt x="584" y="134"/>
                  <a:pt x="591" y="137"/>
                </a:cubicBezTo>
                <a:cubicBezTo>
                  <a:pt x="597" y="139"/>
                  <a:pt x="598" y="121"/>
                  <a:pt x="602" y="124"/>
                </a:cubicBezTo>
                <a:cubicBezTo>
                  <a:pt x="607" y="127"/>
                  <a:pt x="606" y="118"/>
                  <a:pt x="614" y="115"/>
                </a:cubicBezTo>
                <a:cubicBezTo>
                  <a:pt x="621" y="112"/>
                  <a:pt x="632" y="111"/>
                  <a:pt x="633" y="108"/>
                </a:cubicBezTo>
                <a:cubicBezTo>
                  <a:pt x="633" y="106"/>
                  <a:pt x="631" y="102"/>
                  <a:pt x="622" y="103"/>
                </a:cubicBezTo>
                <a:cubicBezTo>
                  <a:pt x="613" y="104"/>
                  <a:pt x="607" y="101"/>
                  <a:pt x="611" y="96"/>
                </a:cubicBezTo>
                <a:cubicBezTo>
                  <a:pt x="615" y="91"/>
                  <a:pt x="601" y="89"/>
                  <a:pt x="606" y="85"/>
                </a:cubicBezTo>
                <a:cubicBezTo>
                  <a:pt x="611" y="81"/>
                  <a:pt x="596" y="77"/>
                  <a:pt x="598" y="83"/>
                </a:cubicBezTo>
                <a:cubicBezTo>
                  <a:pt x="599" y="89"/>
                  <a:pt x="589" y="84"/>
                  <a:pt x="587" y="78"/>
                </a:cubicBezTo>
                <a:cubicBezTo>
                  <a:pt x="586" y="73"/>
                  <a:pt x="565" y="71"/>
                  <a:pt x="552" y="59"/>
                </a:cubicBezTo>
                <a:cubicBezTo>
                  <a:pt x="538" y="47"/>
                  <a:pt x="524" y="55"/>
                  <a:pt x="532" y="56"/>
                </a:cubicBezTo>
                <a:cubicBezTo>
                  <a:pt x="540" y="58"/>
                  <a:pt x="540" y="62"/>
                  <a:pt x="533" y="61"/>
                </a:cubicBezTo>
                <a:cubicBezTo>
                  <a:pt x="527" y="61"/>
                  <a:pt x="515" y="62"/>
                  <a:pt x="526" y="66"/>
                </a:cubicBezTo>
                <a:cubicBezTo>
                  <a:pt x="536" y="70"/>
                  <a:pt x="525" y="71"/>
                  <a:pt x="516" y="71"/>
                </a:cubicBezTo>
                <a:cubicBezTo>
                  <a:pt x="508" y="71"/>
                  <a:pt x="507" y="82"/>
                  <a:pt x="518" y="84"/>
                </a:cubicBezTo>
                <a:cubicBezTo>
                  <a:pt x="529" y="85"/>
                  <a:pt x="521" y="92"/>
                  <a:pt x="512" y="89"/>
                </a:cubicBezTo>
                <a:cubicBezTo>
                  <a:pt x="503" y="87"/>
                  <a:pt x="500" y="91"/>
                  <a:pt x="508" y="95"/>
                </a:cubicBezTo>
                <a:close/>
                <a:moveTo>
                  <a:pt x="569" y="46"/>
                </a:moveTo>
                <a:cubicBezTo>
                  <a:pt x="576" y="41"/>
                  <a:pt x="581" y="44"/>
                  <a:pt x="575" y="47"/>
                </a:cubicBezTo>
                <a:cubicBezTo>
                  <a:pt x="569" y="50"/>
                  <a:pt x="571" y="52"/>
                  <a:pt x="580" y="52"/>
                </a:cubicBezTo>
                <a:cubicBezTo>
                  <a:pt x="588" y="51"/>
                  <a:pt x="576" y="54"/>
                  <a:pt x="576" y="59"/>
                </a:cubicBezTo>
                <a:cubicBezTo>
                  <a:pt x="576" y="64"/>
                  <a:pt x="586" y="61"/>
                  <a:pt x="587" y="66"/>
                </a:cubicBezTo>
                <a:cubicBezTo>
                  <a:pt x="587" y="71"/>
                  <a:pt x="609" y="73"/>
                  <a:pt x="615" y="67"/>
                </a:cubicBezTo>
                <a:cubicBezTo>
                  <a:pt x="622" y="61"/>
                  <a:pt x="619" y="69"/>
                  <a:pt x="619" y="73"/>
                </a:cubicBezTo>
                <a:cubicBezTo>
                  <a:pt x="618" y="77"/>
                  <a:pt x="649" y="80"/>
                  <a:pt x="651" y="75"/>
                </a:cubicBezTo>
                <a:cubicBezTo>
                  <a:pt x="652" y="70"/>
                  <a:pt x="657" y="72"/>
                  <a:pt x="663" y="74"/>
                </a:cubicBezTo>
                <a:cubicBezTo>
                  <a:pt x="669" y="75"/>
                  <a:pt x="698" y="68"/>
                  <a:pt x="699" y="62"/>
                </a:cubicBezTo>
                <a:cubicBezTo>
                  <a:pt x="699" y="56"/>
                  <a:pt x="708" y="65"/>
                  <a:pt x="699" y="72"/>
                </a:cubicBezTo>
                <a:cubicBezTo>
                  <a:pt x="689" y="78"/>
                  <a:pt x="670" y="77"/>
                  <a:pt x="662" y="80"/>
                </a:cubicBezTo>
                <a:cubicBezTo>
                  <a:pt x="653" y="82"/>
                  <a:pt x="667" y="88"/>
                  <a:pt x="676" y="95"/>
                </a:cubicBezTo>
                <a:cubicBezTo>
                  <a:pt x="684" y="101"/>
                  <a:pt x="665" y="98"/>
                  <a:pt x="657" y="89"/>
                </a:cubicBezTo>
                <a:cubicBezTo>
                  <a:pt x="649" y="81"/>
                  <a:pt x="631" y="81"/>
                  <a:pt x="621" y="81"/>
                </a:cubicBezTo>
                <a:cubicBezTo>
                  <a:pt x="612" y="82"/>
                  <a:pt x="615" y="99"/>
                  <a:pt x="622" y="99"/>
                </a:cubicBezTo>
                <a:cubicBezTo>
                  <a:pt x="629" y="99"/>
                  <a:pt x="636" y="102"/>
                  <a:pt x="643" y="113"/>
                </a:cubicBezTo>
                <a:cubicBezTo>
                  <a:pt x="650" y="124"/>
                  <a:pt x="665" y="121"/>
                  <a:pt x="665" y="126"/>
                </a:cubicBezTo>
                <a:cubicBezTo>
                  <a:pt x="665" y="131"/>
                  <a:pt x="645" y="122"/>
                  <a:pt x="634" y="120"/>
                </a:cubicBezTo>
                <a:cubicBezTo>
                  <a:pt x="623" y="118"/>
                  <a:pt x="606" y="125"/>
                  <a:pt x="605" y="133"/>
                </a:cubicBezTo>
                <a:cubicBezTo>
                  <a:pt x="605" y="141"/>
                  <a:pt x="621" y="140"/>
                  <a:pt x="632" y="134"/>
                </a:cubicBezTo>
                <a:cubicBezTo>
                  <a:pt x="643" y="127"/>
                  <a:pt x="635" y="136"/>
                  <a:pt x="630" y="141"/>
                </a:cubicBezTo>
                <a:cubicBezTo>
                  <a:pt x="624" y="146"/>
                  <a:pt x="643" y="150"/>
                  <a:pt x="643" y="156"/>
                </a:cubicBezTo>
                <a:cubicBezTo>
                  <a:pt x="643" y="162"/>
                  <a:pt x="629" y="160"/>
                  <a:pt x="628" y="154"/>
                </a:cubicBezTo>
                <a:cubicBezTo>
                  <a:pt x="626" y="149"/>
                  <a:pt x="621" y="143"/>
                  <a:pt x="608" y="144"/>
                </a:cubicBezTo>
                <a:cubicBezTo>
                  <a:pt x="595" y="145"/>
                  <a:pt x="599" y="154"/>
                  <a:pt x="607" y="155"/>
                </a:cubicBezTo>
                <a:cubicBezTo>
                  <a:pt x="615" y="156"/>
                  <a:pt x="615" y="162"/>
                  <a:pt x="606" y="162"/>
                </a:cubicBezTo>
                <a:cubicBezTo>
                  <a:pt x="597" y="162"/>
                  <a:pt x="577" y="168"/>
                  <a:pt x="583" y="174"/>
                </a:cubicBezTo>
                <a:cubicBezTo>
                  <a:pt x="590" y="180"/>
                  <a:pt x="616" y="174"/>
                  <a:pt x="620" y="178"/>
                </a:cubicBezTo>
                <a:cubicBezTo>
                  <a:pt x="625" y="182"/>
                  <a:pt x="637" y="183"/>
                  <a:pt x="640" y="179"/>
                </a:cubicBezTo>
                <a:cubicBezTo>
                  <a:pt x="643" y="174"/>
                  <a:pt x="653" y="176"/>
                  <a:pt x="663" y="176"/>
                </a:cubicBezTo>
                <a:cubicBezTo>
                  <a:pt x="673" y="176"/>
                  <a:pt x="676" y="178"/>
                  <a:pt x="680" y="182"/>
                </a:cubicBezTo>
                <a:cubicBezTo>
                  <a:pt x="685" y="186"/>
                  <a:pt x="693" y="184"/>
                  <a:pt x="698" y="180"/>
                </a:cubicBezTo>
                <a:cubicBezTo>
                  <a:pt x="704" y="176"/>
                  <a:pt x="704" y="176"/>
                  <a:pt x="711" y="176"/>
                </a:cubicBezTo>
                <a:cubicBezTo>
                  <a:pt x="718" y="176"/>
                  <a:pt x="719" y="172"/>
                  <a:pt x="716" y="166"/>
                </a:cubicBezTo>
                <a:cubicBezTo>
                  <a:pt x="712" y="161"/>
                  <a:pt x="703" y="170"/>
                  <a:pt x="702" y="166"/>
                </a:cubicBezTo>
                <a:cubicBezTo>
                  <a:pt x="701" y="161"/>
                  <a:pt x="693" y="160"/>
                  <a:pt x="679" y="162"/>
                </a:cubicBezTo>
                <a:cubicBezTo>
                  <a:pt x="665" y="164"/>
                  <a:pt x="671" y="153"/>
                  <a:pt x="679" y="155"/>
                </a:cubicBezTo>
                <a:cubicBezTo>
                  <a:pt x="688" y="158"/>
                  <a:pt x="699" y="157"/>
                  <a:pt x="709" y="154"/>
                </a:cubicBezTo>
                <a:cubicBezTo>
                  <a:pt x="718" y="152"/>
                  <a:pt x="711" y="147"/>
                  <a:pt x="711" y="143"/>
                </a:cubicBezTo>
                <a:cubicBezTo>
                  <a:pt x="711" y="139"/>
                  <a:pt x="723" y="142"/>
                  <a:pt x="732" y="142"/>
                </a:cubicBezTo>
                <a:cubicBezTo>
                  <a:pt x="741" y="142"/>
                  <a:pt x="754" y="127"/>
                  <a:pt x="754" y="119"/>
                </a:cubicBezTo>
                <a:cubicBezTo>
                  <a:pt x="755" y="110"/>
                  <a:pt x="734" y="112"/>
                  <a:pt x="724" y="112"/>
                </a:cubicBezTo>
                <a:cubicBezTo>
                  <a:pt x="714" y="112"/>
                  <a:pt x="731" y="105"/>
                  <a:pt x="750" y="106"/>
                </a:cubicBezTo>
                <a:cubicBezTo>
                  <a:pt x="769" y="107"/>
                  <a:pt x="760" y="98"/>
                  <a:pt x="764" y="95"/>
                </a:cubicBezTo>
                <a:cubicBezTo>
                  <a:pt x="767" y="92"/>
                  <a:pt x="776" y="99"/>
                  <a:pt x="786" y="97"/>
                </a:cubicBezTo>
                <a:cubicBezTo>
                  <a:pt x="795" y="95"/>
                  <a:pt x="789" y="87"/>
                  <a:pt x="795" y="87"/>
                </a:cubicBezTo>
                <a:cubicBezTo>
                  <a:pt x="800" y="87"/>
                  <a:pt x="810" y="80"/>
                  <a:pt x="831" y="68"/>
                </a:cubicBezTo>
                <a:cubicBezTo>
                  <a:pt x="851" y="57"/>
                  <a:pt x="867" y="59"/>
                  <a:pt x="868" y="52"/>
                </a:cubicBezTo>
                <a:cubicBezTo>
                  <a:pt x="869" y="46"/>
                  <a:pt x="840" y="52"/>
                  <a:pt x="835" y="50"/>
                </a:cubicBezTo>
                <a:cubicBezTo>
                  <a:pt x="830" y="48"/>
                  <a:pt x="855" y="43"/>
                  <a:pt x="861" y="44"/>
                </a:cubicBezTo>
                <a:cubicBezTo>
                  <a:pt x="867" y="46"/>
                  <a:pt x="875" y="44"/>
                  <a:pt x="896" y="34"/>
                </a:cubicBezTo>
                <a:cubicBezTo>
                  <a:pt x="916" y="24"/>
                  <a:pt x="907" y="22"/>
                  <a:pt x="899" y="23"/>
                </a:cubicBezTo>
                <a:cubicBezTo>
                  <a:pt x="890" y="25"/>
                  <a:pt x="881" y="22"/>
                  <a:pt x="881" y="16"/>
                </a:cubicBezTo>
                <a:cubicBezTo>
                  <a:pt x="882" y="11"/>
                  <a:pt x="869" y="16"/>
                  <a:pt x="868" y="13"/>
                </a:cubicBezTo>
                <a:cubicBezTo>
                  <a:pt x="868" y="10"/>
                  <a:pt x="856" y="11"/>
                  <a:pt x="843" y="16"/>
                </a:cubicBezTo>
                <a:cubicBezTo>
                  <a:pt x="830" y="21"/>
                  <a:pt x="842" y="11"/>
                  <a:pt x="847" y="9"/>
                </a:cubicBezTo>
                <a:cubicBezTo>
                  <a:pt x="853" y="7"/>
                  <a:pt x="814" y="9"/>
                  <a:pt x="808" y="5"/>
                </a:cubicBezTo>
                <a:cubicBezTo>
                  <a:pt x="801" y="0"/>
                  <a:pt x="794" y="12"/>
                  <a:pt x="788" y="6"/>
                </a:cubicBezTo>
                <a:cubicBezTo>
                  <a:pt x="782" y="0"/>
                  <a:pt x="766" y="5"/>
                  <a:pt x="768" y="10"/>
                </a:cubicBezTo>
                <a:cubicBezTo>
                  <a:pt x="770" y="14"/>
                  <a:pt x="766" y="14"/>
                  <a:pt x="760" y="9"/>
                </a:cubicBezTo>
                <a:cubicBezTo>
                  <a:pt x="754" y="4"/>
                  <a:pt x="742" y="10"/>
                  <a:pt x="732" y="8"/>
                </a:cubicBezTo>
                <a:cubicBezTo>
                  <a:pt x="721" y="7"/>
                  <a:pt x="726" y="17"/>
                  <a:pt x="714" y="12"/>
                </a:cubicBezTo>
                <a:cubicBezTo>
                  <a:pt x="703" y="7"/>
                  <a:pt x="690" y="9"/>
                  <a:pt x="694" y="11"/>
                </a:cubicBezTo>
                <a:cubicBezTo>
                  <a:pt x="697" y="12"/>
                  <a:pt x="693" y="15"/>
                  <a:pt x="688" y="14"/>
                </a:cubicBezTo>
                <a:cubicBezTo>
                  <a:pt x="683" y="12"/>
                  <a:pt x="678" y="14"/>
                  <a:pt x="681" y="19"/>
                </a:cubicBezTo>
                <a:cubicBezTo>
                  <a:pt x="683" y="24"/>
                  <a:pt x="662" y="18"/>
                  <a:pt x="662" y="23"/>
                </a:cubicBezTo>
                <a:cubicBezTo>
                  <a:pt x="662" y="29"/>
                  <a:pt x="655" y="32"/>
                  <a:pt x="649" y="27"/>
                </a:cubicBezTo>
                <a:cubicBezTo>
                  <a:pt x="643" y="22"/>
                  <a:pt x="624" y="20"/>
                  <a:pt x="629" y="25"/>
                </a:cubicBezTo>
                <a:cubicBezTo>
                  <a:pt x="635" y="29"/>
                  <a:pt x="612" y="27"/>
                  <a:pt x="618" y="31"/>
                </a:cubicBezTo>
                <a:cubicBezTo>
                  <a:pt x="624" y="36"/>
                  <a:pt x="611" y="39"/>
                  <a:pt x="611" y="37"/>
                </a:cubicBezTo>
                <a:cubicBezTo>
                  <a:pt x="611" y="34"/>
                  <a:pt x="598" y="30"/>
                  <a:pt x="593" y="34"/>
                </a:cubicBezTo>
                <a:cubicBezTo>
                  <a:pt x="588" y="39"/>
                  <a:pt x="587" y="44"/>
                  <a:pt x="584" y="41"/>
                </a:cubicBezTo>
                <a:cubicBezTo>
                  <a:pt x="582" y="38"/>
                  <a:pt x="571" y="39"/>
                  <a:pt x="560" y="43"/>
                </a:cubicBezTo>
                <a:cubicBezTo>
                  <a:pt x="550" y="47"/>
                  <a:pt x="562" y="50"/>
                  <a:pt x="569" y="46"/>
                </a:cubicBezTo>
                <a:close/>
                <a:moveTo>
                  <a:pt x="695" y="477"/>
                </a:moveTo>
                <a:cubicBezTo>
                  <a:pt x="698" y="477"/>
                  <a:pt x="705" y="464"/>
                  <a:pt x="696" y="465"/>
                </a:cubicBezTo>
                <a:cubicBezTo>
                  <a:pt x="687" y="465"/>
                  <a:pt x="689" y="478"/>
                  <a:pt x="695" y="477"/>
                </a:cubicBezTo>
                <a:close/>
                <a:moveTo>
                  <a:pt x="651" y="466"/>
                </a:moveTo>
                <a:cubicBezTo>
                  <a:pt x="659" y="471"/>
                  <a:pt x="671" y="458"/>
                  <a:pt x="670" y="454"/>
                </a:cubicBezTo>
                <a:cubicBezTo>
                  <a:pt x="669" y="450"/>
                  <a:pt x="641" y="460"/>
                  <a:pt x="651" y="466"/>
                </a:cubicBezTo>
                <a:close/>
                <a:moveTo>
                  <a:pt x="687" y="439"/>
                </a:moveTo>
                <a:cubicBezTo>
                  <a:pt x="688" y="434"/>
                  <a:pt x="670" y="432"/>
                  <a:pt x="671" y="426"/>
                </a:cubicBezTo>
                <a:cubicBezTo>
                  <a:pt x="672" y="421"/>
                  <a:pt x="655" y="416"/>
                  <a:pt x="649" y="413"/>
                </a:cubicBezTo>
                <a:cubicBezTo>
                  <a:pt x="644" y="410"/>
                  <a:pt x="635" y="409"/>
                  <a:pt x="635" y="403"/>
                </a:cubicBezTo>
                <a:cubicBezTo>
                  <a:pt x="635" y="397"/>
                  <a:pt x="623" y="401"/>
                  <a:pt x="623" y="410"/>
                </a:cubicBezTo>
                <a:cubicBezTo>
                  <a:pt x="622" y="419"/>
                  <a:pt x="617" y="417"/>
                  <a:pt x="620" y="426"/>
                </a:cubicBezTo>
                <a:cubicBezTo>
                  <a:pt x="622" y="434"/>
                  <a:pt x="609" y="436"/>
                  <a:pt x="610" y="441"/>
                </a:cubicBezTo>
                <a:cubicBezTo>
                  <a:pt x="612" y="445"/>
                  <a:pt x="618" y="440"/>
                  <a:pt x="624" y="440"/>
                </a:cubicBezTo>
                <a:cubicBezTo>
                  <a:pt x="630" y="440"/>
                  <a:pt x="623" y="448"/>
                  <a:pt x="630" y="449"/>
                </a:cubicBezTo>
                <a:cubicBezTo>
                  <a:pt x="636" y="450"/>
                  <a:pt x="647" y="443"/>
                  <a:pt x="649" y="439"/>
                </a:cubicBezTo>
                <a:cubicBezTo>
                  <a:pt x="652" y="435"/>
                  <a:pt x="657" y="433"/>
                  <a:pt x="664" y="438"/>
                </a:cubicBezTo>
                <a:cubicBezTo>
                  <a:pt x="671" y="443"/>
                  <a:pt x="686" y="444"/>
                  <a:pt x="687" y="439"/>
                </a:cubicBezTo>
                <a:close/>
                <a:moveTo>
                  <a:pt x="850" y="395"/>
                </a:moveTo>
                <a:cubicBezTo>
                  <a:pt x="856" y="395"/>
                  <a:pt x="857" y="403"/>
                  <a:pt x="867" y="411"/>
                </a:cubicBezTo>
                <a:cubicBezTo>
                  <a:pt x="876" y="419"/>
                  <a:pt x="877" y="413"/>
                  <a:pt x="879" y="408"/>
                </a:cubicBezTo>
                <a:cubicBezTo>
                  <a:pt x="880" y="402"/>
                  <a:pt x="891" y="407"/>
                  <a:pt x="890" y="401"/>
                </a:cubicBezTo>
                <a:cubicBezTo>
                  <a:pt x="890" y="396"/>
                  <a:pt x="899" y="389"/>
                  <a:pt x="905" y="387"/>
                </a:cubicBezTo>
                <a:cubicBezTo>
                  <a:pt x="911" y="384"/>
                  <a:pt x="900" y="378"/>
                  <a:pt x="892" y="379"/>
                </a:cubicBezTo>
                <a:cubicBezTo>
                  <a:pt x="884" y="379"/>
                  <a:pt x="882" y="374"/>
                  <a:pt x="882" y="370"/>
                </a:cubicBezTo>
                <a:cubicBezTo>
                  <a:pt x="882" y="367"/>
                  <a:pt x="867" y="358"/>
                  <a:pt x="862" y="360"/>
                </a:cubicBezTo>
                <a:cubicBezTo>
                  <a:pt x="857" y="361"/>
                  <a:pt x="849" y="353"/>
                  <a:pt x="842" y="353"/>
                </a:cubicBezTo>
                <a:cubicBezTo>
                  <a:pt x="836" y="352"/>
                  <a:pt x="826" y="347"/>
                  <a:pt x="827" y="340"/>
                </a:cubicBezTo>
                <a:cubicBezTo>
                  <a:pt x="828" y="333"/>
                  <a:pt x="840" y="342"/>
                  <a:pt x="843" y="337"/>
                </a:cubicBezTo>
                <a:cubicBezTo>
                  <a:pt x="845" y="331"/>
                  <a:pt x="830" y="334"/>
                  <a:pt x="830" y="330"/>
                </a:cubicBezTo>
                <a:cubicBezTo>
                  <a:pt x="829" y="326"/>
                  <a:pt x="833" y="328"/>
                  <a:pt x="836" y="325"/>
                </a:cubicBezTo>
                <a:cubicBezTo>
                  <a:pt x="839" y="323"/>
                  <a:pt x="834" y="318"/>
                  <a:pt x="830" y="316"/>
                </a:cubicBezTo>
                <a:cubicBezTo>
                  <a:pt x="827" y="314"/>
                  <a:pt x="826" y="320"/>
                  <a:pt x="822" y="320"/>
                </a:cubicBezTo>
                <a:cubicBezTo>
                  <a:pt x="819" y="320"/>
                  <a:pt x="822" y="314"/>
                  <a:pt x="824" y="311"/>
                </a:cubicBezTo>
                <a:cubicBezTo>
                  <a:pt x="827" y="307"/>
                  <a:pt x="813" y="303"/>
                  <a:pt x="807" y="305"/>
                </a:cubicBezTo>
                <a:cubicBezTo>
                  <a:pt x="801" y="307"/>
                  <a:pt x="799" y="304"/>
                  <a:pt x="799" y="300"/>
                </a:cubicBezTo>
                <a:cubicBezTo>
                  <a:pt x="799" y="296"/>
                  <a:pt x="788" y="300"/>
                  <a:pt x="784" y="303"/>
                </a:cubicBezTo>
                <a:cubicBezTo>
                  <a:pt x="780" y="306"/>
                  <a:pt x="775" y="300"/>
                  <a:pt x="780" y="299"/>
                </a:cubicBezTo>
                <a:cubicBezTo>
                  <a:pt x="785" y="299"/>
                  <a:pt x="791" y="295"/>
                  <a:pt x="790" y="290"/>
                </a:cubicBezTo>
                <a:cubicBezTo>
                  <a:pt x="788" y="286"/>
                  <a:pt x="775" y="285"/>
                  <a:pt x="773" y="291"/>
                </a:cubicBezTo>
                <a:cubicBezTo>
                  <a:pt x="770" y="296"/>
                  <a:pt x="760" y="285"/>
                  <a:pt x="760" y="280"/>
                </a:cubicBezTo>
                <a:cubicBezTo>
                  <a:pt x="760" y="276"/>
                  <a:pt x="744" y="280"/>
                  <a:pt x="746" y="272"/>
                </a:cubicBezTo>
                <a:cubicBezTo>
                  <a:pt x="748" y="265"/>
                  <a:pt x="727" y="263"/>
                  <a:pt x="722" y="263"/>
                </a:cubicBezTo>
                <a:cubicBezTo>
                  <a:pt x="716" y="263"/>
                  <a:pt x="708" y="267"/>
                  <a:pt x="709" y="272"/>
                </a:cubicBezTo>
                <a:cubicBezTo>
                  <a:pt x="710" y="277"/>
                  <a:pt x="703" y="275"/>
                  <a:pt x="702" y="270"/>
                </a:cubicBezTo>
                <a:cubicBezTo>
                  <a:pt x="701" y="264"/>
                  <a:pt x="688" y="276"/>
                  <a:pt x="684" y="276"/>
                </a:cubicBezTo>
                <a:cubicBezTo>
                  <a:pt x="680" y="276"/>
                  <a:pt x="686" y="261"/>
                  <a:pt x="684" y="257"/>
                </a:cubicBezTo>
                <a:cubicBezTo>
                  <a:pt x="682" y="252"/>
                  <a:pt x="679" y="251"/>
                  <a:pt x="676" y="243"/>
                </a:cubicBezTo>
                <a:cubicBezTo>
                  <a:pt x="673" y="236"/>
                  <a:pt x="658" y="239"/>
                  <a:pt x="654" y="243"/>
                </a:cubicBezTo>
                <a:cubicBezTo>
                  <a:pt x="650" y="248"/>
                  <a:pt x="637" y="246"/>
                  <a:pt x="630" y="253"/>
                </a:cubicBezTo>
                <a:cubicBezTo>
                  <a:pt x="623" y="260"/>
                  <a:pt x="631" y="267"/>
                  <a:pt x="634" y="269"/>
                </a:cubicBezTo>
                <a:cubicBezTo>
                  <a:pt x="637" y="272"/>
                  <a:pt x="623" y="276"/>
                  <a:pt x="628" y="280"/>
                </a:cubicBezTo>
                <a:cubicBezTo>
                  <a:pt x="632" y="284"/>
                  <a:pt x="639" y="282"/>
                  <a:pt x="640" y="288"/>
                </a:cubicBezTo>
                <a:cubicBezTo>
                  <a:pt x="640" y="295"/>
                  <a:pt x="623" y="286"/>
                  <a:pt x="621" y="281"/>
                </a:cubicBezTo>
                <a:cubicBezTo>
                  <a:pt x="618" y="275"/>
                  <a:pt x="622" y="270"/>
                  <a:pt x="618" y="266"/>
                </a:cubicBezTo>
                <a:cubicBezTo>
                  <a:pt x="615" y="262"/>
                  <a:pt x="618" y="257"/>
                  <a:pt x="624" y="250"/>
                </a:cubicBezTo>
                <a:cubicBezTo>
                  <a:pt x="631" y="243"/>
                  <a:pt x="636" y="244"/>
                  <a:pt x="636" y="240"/>
                </a:cubicBezTo>
                <a:cubicBezTo>
                  <a:pt x="636" y="236"/>
                  <a:pt x="608" y="236"/>
                  <a:pt x="591" y="251"/>
                </a:cubicBezTo>
                <a:cubicBezTo>
                  <a:pt x="575" y="266"/>
                  <a:pt x="580" y="286"/>
                  <a:pt x="581" y="290"/>
                </a:cubicBezTo>
                <a:cubicBezTo>
                  <a:pt x="582" y="294"/>
                  <a:pt x="596" y="292"/>
                  <a:pt x="605" y="295"/>
                </a:cubicBezTo>
                <a:cubicBezTo>
                  <a:pt x="613" y="297"/>
                  <a:pt x="609" y="301"/>
                  <a:pt x="602" y="300"/>
                </a:cubicBezTo>
                <a:cubicBezTo>
                  <a:pt x="596" y="299"/>
                  <a:pt x="585" y="297"/>
                  <a:pt x="585" y="301"/>
                </a:cubicBezTo>
                <a:cubicBezTo>
                  <a:pt x="586" y="306"/>
                  <a:pt x="599" y="314"/>
                  <a:pt x="607" y="312"/>
                </a:cubicBezTo>
                <a:cubicBezTo>
                  <a:pt x="615" y="310"/>
                  <a:pt x="615" y="310"/>
                  <a:pt x="619" y="315"/>
                </a:cubicBezTo>
                <a:cubicBezTo>
                  <a:pt x="622" y="319"/>
                  <a:pt x="632" y="318"/>
                  <a:pt x="641" y="318"/>
                </a:cubicBezTo>
                <a:cubicBezTo>
                  <a:pt x="651" y="319"/>
                  <a:pt x="662" y="322"/>
                  <a:pt x="666" y="323"/>
                </a:cubicBezTo>
                <a:cubicBezTo>
                  <a:pt x="671" y="323"/>
                  <a:pt x="676" y="320"/>
                  <a:pt x="678" y="318"/>
                </a:cubicBezTo>
                <a:cubicBezTo>
                  <a:pt x="679" y="315"/>
                  <a:pt x="698" y="322"/>
                  <a:pt x="703" y="321"/>
                </a:cubicBezTo>
                <a:cubicBezTo>
                  <a:pt x="709" y="321"/>
                  <a:pt x="705" y="316"/>
                  <a:pt x="702" y="314"/>
                </a:cubicBezTo>
                <a:cubicBezTo>
                  <a:pt x="698" y="313"/>
                  <a:pt x="700" y="306"/>
                  <a:pt x="704" y="309"/>
                </a:cubicBezTo>
                <a:cubicBezTo>
                  <a:pt x="709" y="311"/>
                  <a:pt x="716" y="313"/>
                  <a:pt x="718" y="317"/>
                </a:cubicBezTo>
                <a:cubicBezTo>
                  <a:pt x="719" y="321"/>
                  <a:pt x="723" y="319"/>
                  <a:pt x="724" y="323"/>
                </a:cubicBezTo>
                <a:cubicBezTo>
                  <a:pt x="724" y="326"/>
                  <a:pt x="740" y="330"/>
                  <a:pt x="741" y="334"/>
                </a:cubicBezTo>
                <a:cubicBezTo>
                  <a:pt x="741" y="338"/>
                  <a:pt x="725" y="340"/>
                  <a:pt x="730" y="344"/>
                </a:cubicBezTo>
                <a:cubicBezTo>
                  <a:pt x="734" y="347"/>
                  <a:pt x="741" y="339"/>
                  <a:pt x="747" y="339"/>
                </a:cubicBezTo>
                <a:cubicBezTo>
                  <a:pt x="753" y="338"/>
                  <a:pt x="753" y="352"/>
                  <a:pt x="758" y="350"/>
                </a:cubicBezTo>
                <a:cubicBezTo>
                  <a:pt x="764" y="347"/>
                  <a:pt x="769" y="352"/>
                  <a:pt x="775" y="361"/>
                </a:cubicBezTo>
                <a:cubicBezTo>
                  <a:pt x="781" y="369"/>
                  <a:pt x="774" y="377"/>
                  <a:pt x="775" y="380"/>
                </a:cubicBezTo>
                <a:cubicBezTo>
                  <a:pt x="775" y="383"/>
                  <a:pt x="787" y="382"/>
                  <a:pt x="793" y="379"/>
                </a:cubicBezTo>
                <a:cubicBezTo>
                  <a:pt x="800" y="375"/>
                  <a:pt x="806" y="383"/>
                  <a:pt x="811" y="387"/>
                </a:cubicBezTo>
                <a:cubicBezTo>
                  <a:pt x="816" y="392"/>
                  <a:pt x="792" y="399"/>
                  <a:pt x="794" y="395"/>
                </a:cubicBezTo>
                <a:cubicBezTo>
                  <a:pt x="796" y="391"/>
                  <a:pt x="780" y="379"/>
                  <a:pt x="766" y="385"/>
                </a:cubicBezTo>
                <a:cubicBezTo>
                  <a:pt x="751" y="390"/>
                  <a:pt x="761" y="399"/>
                  <a:pt x="763" y="404"/>
                </a:cubicBezTo>
                <a:cubicBezTo>
                  <a:pt x="764" y="409"/>
                  <a:pt x="750" y="414"/>
                  <a:pt x="736" y="409"/>
                </a:cubicBezTo>
                <a:cubicBezTo>
                  <a:pt x="723" y="405"/>
                  <a:pt x="727" y="412"/>
                  <a:pt x="721" y="412"/>
                </a:cubicBezTo>
                <a:cubicBezTo>
                  <a:pt x="716" y="412"/>
                  <a:pt x="710" y="421"/>
                  <a:pt x="715" y="426"/>
                </a:cubicBezTo>
                <a:cubicBezTo>
                  <a:pt x="720" y="432"/>
                  <a:pt x="731" y="427"/>
                  <a:pt x="740" y="427"/>
                </a:cubicBezTo>
                <a:cubicBezTo>
                  <a:pt x="749" y="428"/>
                  <a:pt x="750" y="430"/>
                  <a:pt x="751" y="425"/>
                </a:cubicBezTo>
                <a:cubicBezTo>
                  <a:pt x="752" y="420"/>
                  <a:pt x="761" y="423"/>
                  <a:pt x="768" y="424"/>
                </a:cubicBezTo>
                <a:cubicBezTo>
                  <a:pt x="774" y="426"/>
                  <a:pt x="773" y="435"/>
                  <a:pt x="781" y="436"/>
                </a:cubicBezTo>
                <a:cubicBezTo>
                  <a:pt x="789" y="437"/>
                  <a:pt x="782" y="445"/>
                  <a:pt x="787" y="450"/>
                </a:cubicBezTo>
                <a:cubicBezTo>
                  <a:pt x="792" y="456"/>
                  <a:pt x="808" y="453"/>
                  <a:pt x="814" y="459"/>
                </a:cubicBezTo>
                <a:cubicBezTo>
                  <a:pt x="820" y="465"/>
                  <a:pt x="846" y="476"/>
                  <a:pt x="849" y="472"/>
                </a:cubicBezTo>
                <a:cubicBezTo>
                  <a:pt x="853" y="467"/>
                  <a:pt x="827" y="444"/>
                  <a:pt x="820" y="442"/>
                </a:cubicBezTo>
                <a:cubicBezTo>
                  <a:pt x="812" y="440"/>
                  <a:pt x="827" y="438"/>
                  <a:pt x="837" y="445"/>
                </a:cubicBezTo>
                <a:cubicBezTo>
                  <a:pt x="846" y="453"/>
                  <a:pt x="860" y="456"/>
                  <a:pt x="867" y="447"/>
                </a:cubicBezTo>
                <a:cubicBezTo>
                  <a:pt x="874" y="438"/>
                  <a:pt x="861" y="441"/>
                  <a:pt x="861" y="434"/>
                </a:cubicBezTo>
                <a:cubicBezTo>
                  <a:pt x="861" y="428"/>
                  <a:pt x="857" y="419"/>
                  <a:pt x="850" y="419"/>
                </a:cubicBezTo>
                <a:cubicBezTo>
                  <a:pt x="843" y="419"/>
                  <a:pt x="825" y="405"/>
                  <a:pt x="831" y="402"/>
                </a:cubicBezTo>
                <a:cubicBezTo>
                  <a:pt x="838" y="399"/>
                  <a:pt x="829" y="395"/>
                  <a:pt x="834" y="389"/>
                </a:cubicBezTo>
                <a:cubicBezTo>
                  <a:pt x="839" y="384"/>
                  <a:pt x="844" y="394"/>
                  <a:pt x="850" y="395"/>
                </a:cubicBezTo>
                <a:close/>
                <a:moveTo>
                  <a:pt x="745" y="371"/>
                </a:moveTo>
                <a:cubicBezTo>
                  <a:pt x="751" y="370"/>
                  <a:pt x="750" y="360"/>
                  <a:pt x="746" y="356"/>
                </a:cubicBezTo>
                <a:cubicBezTo>
                  <a:pt x="744" y="352"/>
                  <a:pt x="737" y="352"/>
                  <a:pt x="732" y="352"/>
                </a:cubicBezTo>
                <a:cubicBezTo>
                  <a:pt x="726" y="353"/>
                  <a:pt x="717" y="361"/>
                  <a:pt x="722" y="370"/>
                </a:cubicBezTo>
                <a:cubicBezTo>
                  <a:pt x="727" y="378"/>
                  <a:pt x="739" y="372"/>
                  <a:pt x="745" y="371"/>
                </a:cubicBezTo>
                <a:close/>
                <a:moveTo>
                  <a:pt x="682" y="241"/>
                </a:moveTo>
                <a:cubicBezTo>
                  <a:pt x="679" y="247"/>
                  <a:pt x="689" y="247"/>
                  <a:pt x="689" y="255"/>
                </a:cubicBezTo>
                <a:cubicBezTo>
                  <a:pt x="690" y="262"/>
                  <a:pt x="699" y="265"/>
                  <a:pt x="706" y="260"/>
                </a:cubicBezTo>
                <a:cubicBezTo>
                  <a:pt x="713" y="256"/>
                  <a:pt x="733" y="261"/>
                  <a:pt x="733" y="256"/>
                </a:cubicBezTo>
                <a:cubicBezTo>
                  <a:pt x="733" y="250"/>
                  <a:pt x="712" y="240"/>
                  <a:pt x="705" y="242"/>
                </a:cubicBezTo>
                <a:cubicBezTo>
                  <a:pt x="697" y="243"/>
                  <a:pt x="685" y="234"/>
                  <a:pt x="682" y="241"/>
                </a:cubicBezTo>
                <a:close/>
                <a:moveTo>
                  <a:pt x="870" y="666"/>
                </a:moveTo>
                <a:cubicBezTo>
                  <a:pt x="871" y="670"/>
                  <a:pt x="900" y="682"/>
                  <a:pt x="901" y="677"/>
                </a:cubicBezTo>
                <a:cubicBezTo>
                  <a:pt x="902" y="671"/>
                  <a:pt x="869" y="663"/>
                  <a:pt x="870" y="666"/>
                </a:cubicBezTo>
                <a:close/>
                <a:moveTo>
                  <a:pt x="997" y="696"/>
                </a:moveTo>
                <a:cubicBezTo>
                  <a:pt x="995" y="700"/>
                  <a:pt x="992" y="693"/>
                  <a:pt x="996" y="690"/>
                </a:cubicBezTo>
                <a:cubicBezTo>
                  <a:pt x="1000" y="687"/>
                  <a:pt x="995" y="685"/>
                  <a:pt x="991" y="687"/>
                </a:cubicBezTo>
                <a:cubicBezTo>
                  <a:pt x="987" y="689"/>
                  <a:pt x="988" y="678"/>
                  <a:pt x="992" y="676"/>
                </a:cubicBezTo>
                <a:cubicBezTo>
                  <a:pt x="996" y="674"/>
                  <a:pt x="983" y="670"/>
                  <a:pt x="983" y="674"/>
                </a:cubicBezTo>
                <a:cubicBezTo>
                  <a:pt x="983" y="678"/>
                  <a:pt x="974" y="675"/>
                  <a:pt x="973" y="672"/>
                </a:cubicBezTo>
                <a:cubicBezTo>
                  <a:pt x="972" y="669"/>
                  <a:pt x="966" y="668"/>
                  <a:pt x="968" y="665"/>
                </a:cubicBezTo>
                <a:cubicBezTo>
                  <a:pt x="970" y="663"/>
                  <a:pt x="960" y="662"/>
                  <a:pt x="959" y="666"/>
                </a:cubicBezTo>
                <a:cubicBezTo>
                  <a:pt x="958" y="670"/>
                  <a:pt x="955" y="663"/>
                  <a:pt x="960" y="658"/>
                </a:cubicBezTo>
                <a:cubicBezTo>
                  <a:pt x="965" y="652"/>
                  <a:pt x="964" y="648"/>
                  <a:pt x="968" y="645"/>
                </a:cubicBezTo>
                <a:cubicBezTo>
                  <a:pt x="973" y="642"/>
                  <a:pt x="968" y="639"/>
                  <a:pt x="963" y="641"/>
                </a:cubicBezTo>
                <a:cubicBezTo>
                  <a:pt x="958" y="643"/>
                  <a:pt x="945" y="662"/>
                  <a:pt x="945" y="667"/>
                </a:cubicBezTo>
                <a:cubicBezTo>
                  <a:pt x="945" y="672"/>
                  <a:pt x="944" y="678"/>
                  <a:pt x="940" y="677"/>
                </a:cubicBezTo>
                <a:cubicBezTo>
                  <a:pt x="935" y="677"/>
                  <a:pt x="930" y="681"/>
                  <a:pt x="933" y="684"/>
                </a:cubicBezTo>
                <a:cubicBezTo>
                  <a:pt x="937" y="687"/>
                  <a:pt x="924" y="694"/>
                  <a:pt x="930" y="698"/>
                </a:cubicBezTo>
                <a:cubicBezTo>
                  <a:pt x="934" y="700"/>
                  <a:pt x="941" y="697"/>
                  <a:pt x="947" y="697"/>
                </a:cubicBezTo>
                <a:cubicBezTo>
                  <a:pt x="953" y="698"/>
                  <a:pt x="958" y="698"/>
                  <a:pt x="963" y="695"/>
                </a:cubicBezTo>
                <a:cubicBezTo>
                  <a:pt x="968" y="691"/>
                  <a:pt x="968" y="698"/>
                  <a:pt x="974" y="697"/>
                </a:cubicBezTo>
                <a:cubicBezTo>
                  <a:pt x="979" y="697"/>
                  <a:pt x="971" y="702"/>
                  <a:pt x="971" y="705"/>
                </a:cubicBezTo>
                <a:cubicBezTo>
                  <a:pt x="971" y="709"/>
                  <a:pt x="977" y="703"/>
                  <a:pt x="981" y="701"/>
                </a:cubicBezTo>
                <a:cubicBezTo>
                  <a:pt x="985" y="699"/>
                  <a:pt x="990" y="701"/>
                  <a:pt x="988" y="705"/>
                </a:cubicBezTo>
                <a:cubicBezTo>
                  <a:pt x="986" y="708"/>
                  <a:pt x="999" y="711"/>
                  <a:pt x="1002" y="706"/>
                </a:cubicBezTo>
                <a:cubicBezTo>
                  <a:pt x="1005" y="701"/>
                  <a:pt x="999" y="692"/>
                  <a:pt x="997" y="696"/>
                </a:cubicBezTo>
                <a:close/>
                <a:moveTo>
                  <a:pt x="93" y="604"/>
                </a:moveTo>
                <a:cubicBezTo>
                  <a:pt x="84" y="609"/>
                  <a:pt x="106" y="632"/>
                  <a:pt x="110" y="629"/>
                </a:cubicBezTo>
                <a:cubicBezTo>
                  <a:pt x="113" y="627"/>
                  <a:pt x="105" y="617"/>
                  <a:pt x="105" y="611"/>
                </a:cubicBezTo>
                <a:cubicBezTo>
                  <a:pt x="105" y="605"/>
                  <a:pt x="102" y="599"/>
                  <a:pt x="93" y="604"/>
                </a:cubicBezTo>
                <a:close/>
                <a:moveTo>
                  <a:pt x="917" y="718"/>
                </a:moveTo>
                <a:cubicBezTo>
                  <a:pt x="913" y="719"/>
                  <a:pt x="916" y="713"/>
                  <a:pt x="917" y="710"/>
                </a:cubicBezTo>
                <a:cubicBezTo>
                  <a:pt x="917" y="708"/>
                  <a:pt x="909" y="712"/>
                  <a:pt x="909" y="715"/>
                </a:cubicBezTo>
                <a:cubicBezTo>
                  <a:pt x="909" y="718"/>
                  <a:pt x="903" y="719"/>
                  <a:pt x="903" y="721"/>
                </a:cubicBezTo>
                <a:cubicBezTo>
                  <a:pt x="903" y="727"/>
                  <a:pt x="902" y="724"/>
                  <a:pt x="898" y="726"/>
                </a:cubicBezTo>
                <a:cubicBezTo>
                  <a:pt x="894" y="728"/>
                  <a:pt x="879" y="726"/>
                  <a:pt x="878" y="723"/>
                </a:cubicBezTo>
                <a:cubicBezTo>
                  <a:pt x="878" y="719"/>
                  <a:pt x="867" y="717"/>
                  <a:pt x="866" y="713"/>
                </a:cubicBezTo>
                <a:cubicBezTo>
                  <a:pt x="866" y="708"/>
                  <a:pt x="860" y="706"/>
                  <a:pt x="865" y="701"/>
                </a:cubicBezTo>
                <a:cubicBezTo>
                  <a:pt x="869" y="696"/>
                  <a:pt x="864" y="693"/>
                  <a:pt x="860" y="697"/>
                </a:cubicBezTo>
                <a:cubicBezTo>
                  <a:pt x="855" y="701"/>
                  <a:pt x="853" y="695"/>
                  <a:pt x="859" y="693"/>
                </a:cubicBezTo>
                <a:cubicBezTo>
                  <a:pt x="864" y="691"/>
                  <a:pt x="875" y="688"/>
                  <a:pt x="870" y="678"/>
                </a:cubicBezTo>
                <a:cubicBezTo>
                  <a:pt x="864" y="668"/>
                  <a:pt x="830" y="681"/>
                  <a:pt x="821" y="686"/>
                </a:cubicBezTo>
                <a:cubicBezTo>
                  <a:pt x="812" y="691"/>
                  <a:pt x="801" y="707"/>
                  <a:pt x="796" y="707"/>
                </a:cubicBezTo>
                <a:cubicBezTo>
                  <a:pt x="792" y="707"/>
                  <a:pt x="805" y="699"/>
                  <a:pt x="807" y="696"/>
                </a:cubicBezTo>
                <a:cubicBezTo>
                  <a:pt x="809" y="692"/>
                  <a:pt x="806" y="689"/>
                  <a:pt x="809" y="690"/>
                </a:cubicBezTo>
                <a:cubicBezTo>
                  <a:pt x="812" y="692"/>
                  <a:pt x="819" y="680"/>
                  <a:pt x="825" y="676"/>
                </a:cubicBezTo>
                <a:cubicBezTo>
                  <a:pt x="830" y="672"/>
                  <a:pt x="836" y="675"/>
                  <a:pt x="836" y="672"/>
                </a:cubicBezTo>
                <a:cubicBezTo>
                  <a:pt x="837" y="669"/>
                  <a:pt x="840" y="667"/>
                  <a:pt x="845" y="662"/>
                </a:cubicBezTo>
                <a:cubicBezTo>
                  <a:pt x="850" y="658"/>
                  <a:pt x="909" y="658"/>
                  <a:pt x="915" y="659"/>
                </a:cubicBezTo>
                <a:cubicBezTo>
                  <a:pt x="921" y="659"/>
                  <a:pt x="932" y="651"/>
                  <a:pt x="935" y="646"/>
                </a:cubicBezTo>
                <a:cubicBezTo>
                  <a:pt x="939" y="641"/>
                  <a:pt x="943" y="641"/>
                  <a:pt x="951" y="642"/>
                </a:cubicBezTo>
                <a:cubicBezTo>
                  <a:pt x="959" y="642"/>
                  <a:pt x="963" y="635"/>
                  <a:pt x="967" y="632"/>
                </a:cubicBezTo>
                <a:cubicBezTo>
                  <a:pt x="971" y="629"/>
                  <a:pt x="969" y="628"/>
                  <a:pt x="966" y="627"/>
                </a:cubicBezTo>
                <a:cubicBezTo>
                  <a:pt x="962" y="627"/>
                  <a:pt x="959" y="624"/>
                  <a:pt x="962" y="624"/>
                </a:cubicBezTo>
                <a:cubicBezTo>
                  <a:pt x="966" y="624"/>
                  <a:pt x="968" y="622"/>
                  <a:pt x="969" y="617"/>
                </a:cubicBezTo>
                <a:cubicBezTo>
                  <a:pt x="971" y="613"/>
                  <a:pt x="968" y="615"/>
                  <a:pt x="963" y="609"/>
                </a:cubicBezTo>
                <a:cubicBezTo>
                  <a:pt x="958" y="602"/>
                  <a:pt x="956" y="611"/>
                  <a:pt x="951" y="610"/>
                </a:cubicBezTo>
                <a:cubicBezTo>
                  <a:pt x="946" y="610"/>
                  <a:pt x="954" y="604"/>
                  <a:pt x="950" y="601"/>
                </a:cubicBezTo>
                <a:cubicBezTo>
                  <a:pt x="946" y="599"/>
                  <a:pt x="939" y="600"/>
                  <a:pt x="933" y="605"/>
                </a:cubicBezTo>
                <a:cubicBezTo>
                  <a:pt x="927" y="610"/>
                  <a:pt x="927" y="605"/>
                  <a:pt x="922" y="610"/>
                </a:cubicBezTo>
                <a:cubicBezTo>
                  <a:pt x="917" y="615"/>
                  <a:pt x="917" y="608"/>
                  <a:pt x="919" y="606"/>
                </a:cubicBezTo>
                <a:cubicBezTo>
                  <a:pt x="922" y="604"/>
                  <a:pt x="924" y="606"/>
                  <a:pt x="926" y="603"/>
                </a:cubicBezTo>
                <a:cubicBezTo>
                  <a:pt x="928" y="600"/>
                  <a:pt x="930" y="603"/>
                  <a:pt x="936" y="599"/>
                </a:cubicBezTo>
                <a:cubicBezTo>
                  <a:pt x="942" y="595"/>
                  <a:pt x="947" y="597"/>
                  <a:pt x="949" y="594"/>
                </a:cubicBezTo>
                <a:cubicBezTo>
                  <a:pt x="950" y="592"/>
                  <a:pt x="946" y="588"/>
                  <a:pt x="940" y="589"/>
                </a:cubicBezTo>
                <a:cubicBezTo>
                  <a:pt x="935" y="590"/>
                  <a:pt x="931" y="582"/>
                  <a:pt x="928" y="584"/>
                </a:cubicBezTo>
                <a:cubicBezTo>
                  <a:pt x="924" y="587"/>
                  <a:pt x="925" y="580"/>
                  <a:pt x="921" y="583"/>
                </a:cubicBezTo>
                <a:cubicBezTo>
                  <a:pt x="917" y="585"/>
                  <a:pt x="915" y="582"/>
                  <a:pt x="913" y="577"/>
                </a:cubicBezTo>
                <a:cubicBezTo>
                  <a:pt x="911" y="573"/>
                  <a:pt x="900" y="565"/>
                  <a:pt x="894" y="563"/>
                </a:cubicBezTo>
                <a:cubicBezTo>
                  <a:pt x="887" y="561"/>
                  <a:pt x="892" y="557"/>
                  <a:pt x="895" y="560"/>
                </a:cubicBezTo>
                <a:cubicBezTo>
                  <a:pt x="899" y="562"/>
                  <a:pt x="903" y="557"/>
                  <a:pt x="904" y="555"/>
                </a:cubicBezTo>
                <a:cubicBezTo>
                  <a:pt x="906" y="552"/>
                  <a:pt x="902" y="550"/>
                  <a:pt x="900" y="550"/>
                </a:cubicBezTo>
                <a:cubicBezTo>
                  <a:pt x="898" y="550"/>
                  <a:pt x="898" y="546"/>
                  <a:pt x="898" y="544"/>
                </a:cubicBezTo>
                <a:cubicBezTo>
                  <a:pt x="899" y="541"/>
                  <a:pt x="891" y="538"/>
                  <a:pt x="891" y="536"/>
                </a:cubicBezTo>
                <a:cubicBezTo>
                  <a:pt x="891" y="533"/>
                  <a:pt x="886" y="531"/>
                  <a:pt x="887" y="529"/>
                </a:cubicBezTo>
                <a:cubicBezTo>
                  <a:pt x="887" y="527"/>
                  <a:pt x="882" y="524"/>
                  <a:pt x="882" y="521"/>
                </a:cubicBezTo>
                <a:cubicBezTo>
                  <a:pt x="882" y="518"/>
                  <a:pt x="875" y="512"/>
                  <a:pt x="875" y="508"/>
                </a:cubicBezTo>
                <a:cubicBezTo>
                  <a:pt x="874" y="505"/>
                  <a:pt x="870" y="502"/>
                  <a:pt x="869" y="498"/>
                </a:cubicBezTo>
                <a:cubicBezTo>
                  <a:pt x="867" y="494"/>
                  <a:pt x="865" y="496"/>
                  <a:pt x="864" y="502"/>
                </a:cubicBezTo>
                <a:cubicBezTo>
                  <a:pt x="862" y="508"/>
                  <a:pt x="857" y="507"/>
                  <a:pt x="859" y="509"/>
                </a:cubicBezTo>
                <a:cubicBezTo>
                  <a:pt x="862" y="513"/>
                  <a:pt x="859" y="514"/>
                  <a:pt x="857" y="516"/>
                </a:cubicBezTo>
                <a:cubicBezTo>
                  <a:pt x="855" y="519"/>
                  <a:pt x="859" y="522"/>
                  <a:pt x="855" y="522"/>
                </a:cubicBezTo>
                <a:cubicBezTo>
                  <a:pt x="851" y="522"/>
                  <a:pt x="853" y="530"/>
                  <a:pt x="851" y="527"/>
                </a:cubicBezTo>
                <a:cubicBezTo>
                  <a:pt x="849" y="523"/>
                  <a:pt x="844" y="524"/>
                  <a:pt x="844" y="528"/>
                </a:cubicBezTo>
                <a:cubicBezTo>
                  <a:pt x="844" y="531"/>
                  <a:pt x="836" y="534"/>
                  <a:pt x="833" y="534"/>
                </a:cubicBezTo>
                <a:cubicBezTo>
                  <a:pt x="830" y="534"/>
                  <a:pt x="830" y="527"/>
                  <a:pt x="827" y="529"/>
                </a:cubicBezTo>
                <a:cubicBezTo>
                  <a:pt x="824" y="531"/>
                  <a:pt x="825" y="523"/>
                  <a:pt x="820" y="524"/>
                </a:cubicBezTo>
                <a:cubicBezTo>
                  <a:pt x="816" y="524"/>
                  <a:pt x="813" y="523"/>
                  <a:pt x="814" y="520"/>
                </a:cubicBezTo>
                <a:cubicBezTo>
                  <a:pt x="816" y="516"/>
                  <a:pt x="807" y="514"/>
                  <a:pt x="810" y="512"/>
                </a:cubicBezTo>
                <a:cubicBezTo>
                  <a:pt x="813" y="510"/>
                  <a:pt x="809" y="506"/>
                  <a:pt x="809" y="499"/>
                </a:cubicBezTo>
                <a:cubicBezTo>
                  <a:pt x="808" y="493"/>
                  <a:pt x="812" y="492"/>
                  <a:pt x="812" y="490"/>
                </a:cubicBezTo>
                <a:cubicBezTo>
                  <a:pt x="812" y="487"/>
                  <a:pt x="809" y="487"/>
                  <a:pt x="806" y="489"/>
                </a:cubicBezTo>
                <a:cubicBezTo>
                  <a:pt x="803" y="491"/>
                  <a:pt x="803" y="486"/>
                  <a:pt x="800" y="487"/>
                </a:cubicBezTo>
                <a:cubicBezTo>
                  <a:pt x="797" y="487"/>
                  <a:pt x="787" y="486"/>
                  <a:pt x="787" y="482"/>
                </a:cubicBezTo>
                <a:cubicBezTo>
                  <a:pt x="786" y="477"/>
                  <a:pt x="783" y="480"/>
                  <a:pt x="781" y="475"/>
                </a:cubicBezTo>
                <a:cubicBezTo>
                  <a:pt x="780" y="471"/>
                  <a:pt x="776" y="474"/>
                  <a:pt x="776" y="471"/>
                </a:cubicBezTo>
                <a:cubicBezTo>
                  <a:pt x="776" y="468"/>
                  <a:pt x="774" y="467"/>
                  <a:pt x="771" y="467"/>
                </a:cubicBezTo>
                <a:cubicBezTo>
                  <a:pt x="768" y="467"/>
                  <a:pt x="767" y="463"/>
                  <a:pt x="763" y="463"/>
                </a:cubicBezTo>
                <a:cubicBezTo>
                  <a:pt x="759" y="462"/>
                  <a:pt x="754" y="466"/>
                  <a:pt x="752" y="467"/>
                </a:cubicBezTo>
                <a:cubicBezTo>
                  <a:pt x="750" y="468"/>
                  <a:pt x="744" y="463"/>
                  <a:pt x="742" y="465"/>
                </a:cubicBezTo>
                <a:cubicBezTo>
                  <a:pt x="739" y="467"/>
                  <a:pt x="739" y="464"/>
                  <a:pt x="733" y="462"/>
                </a:cubicBezTo>
                <a:cubicBezTo>
                  <a:pt x="726" y="460"/>
                  <a:pt x="718" y="460"/>
                  <a:pt x="718" y="462"/>
                </a:cubicBezTo>
                <a:cubicBezTo>
                  <a:pt x="717" y="464"/>
                  <a:pt x="712" y="465"/>
                  <a:pt x="713" y="470"/>
                </a:cubicBezTo>
                <a:cubicBezTo>
                  <a:pt x="714" y="475"/>
                  <a:pt x="719" y="474"/>
                  <a:pt x="720" y="478"/>
                </a:cubicBezTo>
                <a:cubicBezTo>
                  <a:pt x="721" y="481"/>
                  <a:pt x="718" y="480"/>
                  <a:pt x="717" y="483"/>
                </a:cubicBezTo>
                <a:cubicBezTo>
                  <a:pt x="717" y="487"/>
                  <a:pt x="714" y="486"/>
                  <a:pt x="714" y="489"/>
                </a:cubicBezTo>
                <a:cubicBezTo>
                  <a:pt x="714" y="491"/>
                  <a:pt x="716" y="490"/>
                  <a:pt x="717" y="495"/>
                </a:cubicBezTo>
                <a:cubicBezTo>
                  <a:pt x="719" y="499"/>
                  <a:pt x="721" y="499"/>
                  <a:pt x="722" y="505"/>
                </a:cubicBezTo>
                <a:cubicBezTo>
                  <a:pt x="723" y="511"/>
                  <a:pt x="720" y="510"/>
                  <a:pt x="717" y="511"/>
                </a:cubicBezTo>
                <a:cubicBezTo>
                  <a:pt x="715" y="511"/>
                  <a:pt x="718" y="514"/>
                  <a:pt x="714" y="518"/>
                </a:cubicBezTo>
                <a:cubicBezTo>
                  <a:pt x="711" y="522"/>
                  <a:pt x="708" y="527"/>
                  <a:pt x="710" y="529"/>
                </a:cubicBezTo>
                <a:cubicBezTo>
                  <a:pt x="713" y="532"/>
                  <a:pt x="723" y="536"/>
                  <a:pt x="727" y="543"/>
                </a:cubicBezTo>
                <a:cubicBezTo>
                  <a:pt x="731" y="549"/>
                  <a:pt x="731" y="560"/>
                  <a:pt x="730" y="567"/>
                </a:cubicBezTo>
                <a:cubicBezTo>
                  <a:pt x="729" y="575"/>
                  <a:pt x="720" y="577"/>
                  <a:pt x="714" y="583"/>
                </a:cubicBezTo>
                <a:cubicBezTo>
                  <a:pt x="708" y="590"/>
                  <a:pt x="701" y="589"/>
                  <a:pt x="698" y="589"/>
                </a:cubicBezTo>
                <a:cubicBezTo>
                  <a:pt x="695" y="589"/>
                  <a:pt x="697" y="595"/>
                  <a:pt x="701" y="600"/>
                </a:cubicBezTo>
                <a:cubicBezTo>
                  <a:pt x="705" y="605"/>
                  <a:pt x="702" y="606"/>
                  <a:pt x="704" y="611"/>
                </a:cubicBezTo>
                <a:cubicBezTo>
                  <a:pt x="706" y="616"/>
                  <a:pt x="704" y="620"/>
                  <a:pt x="707" y="625"/>
                </a:cubicBezTo>
                <a:cubicBezTo>
                  <a:pt x="711" y="629"/>
                  <a:pt x="709" y="631"/>
                  <a:pt x="705" y="634"/>
                </a:cubicBezTo>
                <a:cubicBezTo>
                  <a:pt x="701" y="637"/>
                  <a:pt x="706" y="636"/>
                  <a:pt x="707" y="640"/>
                </a:cubicBezTo>
                <a:cubicBezTo>
                  <a:pt x="707" y="644"/>
                  <a:pt x="705" y="642"/>
                  <a:pt x="702" y="639"/>
                </a:cubicBezTo>
                <a:cubicBezTo>
                  <a:pt x="698" y="637"/>
                  <a:pt x="695" y="644"/>
                  <a:pt x="695" y="646"/>
                </a:cubicBezTo>
                <a:cubicBezTo>
                  <a:pt x="695" y="649"/>
                  <a:pt x="688" y="643"/>
                  <a:pt x="686" y="643"/>
                </a:cubicBezTo>
                <a:cubicBezTo>
                  <a:pt x="684" y="643"/>
                  <a:pt x="686" y="639"/>
                  <a:pt x="682" y="635"/>
                </a:cubicBezTo>
                <a:cubicBezTo>
                  <a:pt x="677" y="632"/>
                  <a:pt x="674" y="631"/>
                  <a:pt x="674" y="627"/>
                </a:cubicBezTo>
                <a:cubicBezTo>
                  <a:pt x="674" y="624"/>
                  <a:pt x="666" y="621"/>
                  <a:pt x="666" y="617"/>
                </a:cubicBezTo>
                <a:cubicBezTo>
                  <a:pt x="666" y="613"/>
                  <a:pt x="667" y="603"/>
                  <a:pt x="665" y="600"/>
                </a:cubicBezTo>
                <a:cubicBezTo>
                  <a:pt x="664" y="597"/>
                  <a:pt x="665" y="594"/>
                  <a:pt x="667" y="591"/>
                </a:cubicBezTo>
                <a:cubicBezTo>
                  <a:pt x="668" y="588"/>
                  <a:pt x="665" y="584"/>
                  <a:pt x="660" y="584"/>
                </a:cubicBezTo>
                <a:cubicBezTo>
                  <a:pt x="656" y="584"/>
                  <a:pt x="650" y="583"/>
                  <a:pt x="643" y="583"/>
                </a:cubicBezTo>
                <a:cubicBezTo>
                  <a:pt x="637" y="584"/>
                  <a:pt x="634" y="583"/>
                  <a:pt x="632" y="581"/>
                </a:cubicBezTo>
                <a:cubicBezTo>
                  <a:pt x="630" y="579"/>
                  <a:pt x="624" y="575"/>
                  <a:pt x="616" y="573"/>
                </a:cubicBezTo>
                <a:cubicBezTo>
                  <a:pt x="608" y="571"/>
                  <a:pt x="605" y="567"/>
                  <a:pt x="604" y="565"/>
                </a:cubicBezTo>
                <a:cubicBezTo>
                  <a:pt x="603" y="563"/>
                  <a:pt x="596" y="561"/>
                  <a:pt x="594" y="559"/>
                </a:cubicBezTo>
                <a:cubicBezTo>
                  <a:pt x="592" y="557"/>
                  <a:pt x="585" y="555"/>
                  <a:pt x="582" y="556"/>
                </a:cubicBezTo>
                <a:cubicBezTo>
                  <a:pt x="579" y="556"/>
                  <a:pt x="571" y="550"/>
                  <a:pt x="567" y="550"/>
                </a:cubicBezTo>
                <a:cubicBezTo>
                  <a:pt x="562" y="550"/>
                  <a:pt x="552" y="555"/>
                  <a:pt x="550" y="555"/>
                </a:cubicBezTo>
                <a:cubicBezTo>
                  <a:pt x="548" y="555"/>
                  <a:pt x="550" y="551"/>
                  <a:pt x="551" y="549"/>
                </a:cubicBezTo>
                <a:cubicBezTo>
                  <a:pt x="553" y="548"/>
                  <a:pt x="548" y="540"/>
                  <a:pt x="546" y="535"/>
                </a:cubicBezTo>
                <a:cubicBezTo>
                  <a:pt x="545" y="530"/>
                  <a:pt x="543" y="525"/>
                  <a:pt x="538" y="525"/>
                </a:cubicBezTo>
                <a:cubicBezTo>
                  <a:pt x="533" y="526"/>
                  <a:pt x="527" y="523"/>
                  <a:pt x="526" y="522"/>
                </a:cubicBezTo>
                <a:cubicBezTo>
                  <a:pt x="524" y="521"/>
                  <a:pt x="524" y="507"/>
                  <a:pt x="525" y="501"/>
                </a:cubicBezTo>
                <a:cubicBezTo>
                  <a:pt x="526" y="495"/>
                  <a:pt x="533" y="486"/>
                  <a:pt x="533" y="482"/>
                </a:cubicBezTo>
                <a:cubicBezTo>
                  <a:pt x="533" y="479"/>
                  <a:pt x="537" y="477"/>
                  <a:pt x="541" y="476"/>
                </a:cubicBezTo>
                <a:cubicBezTo>
                  <a:pt x="545" y="475"/>
                  <a:pt x="542" y="468"/>
                  <a:pt x="545" y="467"/>
                </a:cubicBezTo>
                <a:cubicBezTo>
                  <a:pt x="549" y="467"/>
                  <a:pt x="549" y="465"/>
                  <a:pt x="550" y="462"/>
                </a:cubicBezTo>
                <a:cubicBezTo>
                  <a:pt x="551" y="459"/>
                  <a:pt x="555" y="461"/>
                  <a:pt x="553" y="459"/>
                </a:cubicBezTo>
                <a:cubicBezTo>
                  <a:pt x="550" y="456"/>
                  <a:pt x="552" y="455"/>
                  <a:pt x="558" y="455"/>
                </a:cubicBezTo>
                <a:cubicBezTo>
                  <a:pt x="564" y="455"/>
                  <a:pt x="572" y="453"/>
                  <a:pt x="571" y="448"/>
                </a:cubicBezTo>
                <a:cubicBezTo>
                  <a:pt x="570" y="442"/>
                  <a:pt x="555" y="446"/>
                  <a:pt x="555" y="441"/>
                </a:cubicBezTo>
                <a:cubicBezTo>
                  <a:pt x="555" y="437"/>
                  <a:pt x="536" y="436"/>
                  <a:pt x="537" y="434"/>
                </a:cubicBezTo>
                <a:cubicBezTo>
                  <a:pt x="538" y="431"/>
                  <a:pt x="556" y="436"/>
                  <a:pt x="563" y="438"/>
                </a:cubicBezTo>
                <a:cubicBezTo>
                  <a:pt x="569" y="441"/>
                  <a:pt x="571" y="440"/>
                  <a:pt x="576" y="440"/>
                </a:cubicBezTo>
                <a:cubicBezTo>
                  <a:pt x="581" y="440"/>
                  <a:pt x="578" y="433"/>
                  <a:pt x="579" y="430"/>
                </a:cubicBezTo>
                <a:cubicBezTo>
                  <a:pt x="580" y="428"/>
                  <a:pt x="590" y="435"/>
                  <a:pt x="596" y="433"/>
                </a:cubicBezTo>
                <a:cubicBezTo>
                  <a:pt x="601" y="432"/>
                  <a:pt x="607" y="420"/>
                  <a:pt x="612" y="417"/>
                </a:cubicBezTo>
                <a:cubicBezTo>
                  <a:pt x="616" y="413"/>
                  <a:pt x="612" y="410"/>
                  <a:pt x="603" y="411"/>
                </a:cubicBezTo>
                <a:cubicBezTo>
                  <a:pt x="594" y="412"/>
                  <a:pt x="588" y="408"/>
                  <a:pt x="583" y="405"/>
                </a:cubicBezTo>
                <a:cubicBezTo>
                  <a:pt x="578" y="401"/>
                  <a:pt x="579" y="398"/>
                  <a:pt x="584" y="398"/>
                </a:cubicBezTo>
                <a:cubicBezTo>
                  <a:pt x="589" y="399"/>
                  <a:pt x="602" y="409"/>
                  <a:pt x="607" y="409"/>
                </a:cubicBezTo>
                <a:cubicBezTo>
                  <a:pt x="611" y="410"/>
                  <a:pt x="620" y="400"/>
                  <a:pt x="624" y="397"/>
                </a:cubicBezTo>
                <a:cubicBezTo>
                  <a:pt x="628" y="394"/>
                  <a:pt x="620" y="393"/>
                  <a:pt x="617" y="391"/>
                </a:cubicBezTo>
                <a:cubicBezTo>
                  <a:pt x="614" y="388"/>
                  <a:pt x="622" y="387"/>
                  <a:pt x="626" y="387"/>
                </a:cubicBezTo>
                <a:cubicBezTo>
                  <a:pt x="630" y="387"/>
                  <a:pt x="632" y="390"/>
                  <a:pt x="633" y="392"/>
                </a:cubicBezTo>
                <a:cubicBezTo>
                  <a:pt x="635" y="394"/>
                  <a:pt x="642" y="391"/>
                  <a:pt x="645" y="391"/>
                </a:cubicBezTo>
                <a:cubicBezTo>
                  <a:pt x="649" y="391"/>
                  <a:pt x="645" y="385"/>
                  <a:pt x="639" y="383"/>
                </a:cubicBezTo>
                <a:cubicBezTo>
                  <a:pt x="633" y="381"/>
                  <a:pt x="639" y="376"/>
                  <a:pt x="641" y="380"/>
                </a:cubicBezTo>
                <a:cubicBezTo>
                  <a:pt x="643" y="383"/>
                  <a:pt x="647" y="383"/>
                  <a:pt x="649" y="387"/>
                </a:cubicBezTo>
                <a:cubicBezTo>
                  <a:pt x="652" y="392"/>
                  <a:pt x="653" y="389"/>
                  <a:pt x="658" y="387"/>
                </a:cubicBezTo>
                <a:cubicBezTo>
                  <a:pt x="663" y="385"/>
                  <a:pt x="666" y="382"/>
                  <a:pt x="669" y="379"/>
                </a:cubicBezTo>
                <a:cubicBezTo>
                  <a:pt x="671" y="376"/>
                  <a:pt x="672" y="380"/>
                  <a:pt x="675" y="375"/>
                </a:cubicBezTo>
                <a:cubicBezTo>
                  <a:pt x="678" y="370"/>
                  <a:pt x="674" y="366"/>
                  <a:pt x="670" y="363"/>
                </a:cubicBezTo>
                <a:cubicBezTo>
                  <a:pt x="666" y="360"/>
                  <a:pt x="670" y="357"/>
                  <a:pt x="666" y="355"/>
                </a:cubicBezTo>
                <a:cubicBezTo>
                  <a:pt x="662" y="353"/>
                  <a:pt x="661" y="349"/>
                  <a:pt x="666" y="350"/>
                </a:cubicBezTo>
                <a:cubicBezTo>
                  <a:pt x="671" y="351"/>
                  <a:pt x="675" y="349"/>
                  <a:pt x="677" y="346"/>
                </a:cubicBezTo>
                <a:cubicBezTo>
                  <a:pt x="680" y="342"/>
                  <a:pt x="670" y="342"/>
                  <a:pt x="674" y="339"/>
                </a:cubicBezTo>
                <a:cubicBezTo>
                  <a:pt x="679" y="337"/>
                  <a:pt x="675" y="334"/>
                  <a:pt x="671" y="334"/>
                </a:cubicBezTo>
                <a:cubicBezTo>
                  <a:pt x="666" y="334"/>
                  <a:pt x="662" y="332"/>
                  <a:pt x="662" y="328"/>
                </a:cubicBezTo>
                <a:cubicBezTo>
                  <a:pt x="662" y="324"/>
                  <a:pt x="654" y="327"/>
                  <a:pt x="649" y="325"/>
                </a:cubicBezTo>
                <a:cubicBezTo>
                  <a:pt x="645" y="322"/>
                  <a:pt x="634" y="323"/>
                  <a:pt x="632" y="323"/>
                </a:cubicBezTo>
                <a:cubicBezTo>
                  <a:pt x="629" y="323"/>
                  <a:pt x="629" y="334"/>
                  <a:pt x="633" y="334"/>
                </a:cubicBezTo>
                <a:cubicBezTo>
                  <a:pt x="636" y="334"/>
                  <a:pt x="639" y="338"/>
                  <a:pt x="636" y="339"/>
                </a:cubicBezTo>
                <a:cubicBezTo>
                  <a:pt x="633" y="341"/>
                  <a:pt x="637" y="345"/>
                  <a:pt x="634" y="344"/>
                </a:cubicBezTo>
                <a:cubicBezTo>
                  <a:pt x="632" y="344"/>
                  <a:pt x="628" y="343"/>
                  <a:pt x="627" y="349"/>
                </a:cubicBezTo>
                <a:cubicBezTo>
                  <a:pt x="626" y="356"/>
                  <a:pt x="626" y="358"/>
                  <a:pt x="621" y="361"/>
                </a:cubicBezTo>
                <a:cubicBezTo>
                  <a:pt x="617" y="363"/>
                  <a:pt x="620" y="353"/>
                  <a:pt x="616" y="354"/>
                </a:cubicBezTo>
                <a:cubicBezTo>
                  <a:pt x="612" y="354"/>
                  <a:pt x="612" y="362"/>
                  <a:pt x="615" y="362"/>
                </a:cubicBezTo>
                <a:cubicBezTo>
                  <a:pt x="618" y="363"/>
                  <a:pt x="618" y="366"/>
                  <a:pt x="619" y="369"/>
                </a:cubicBezTo>
                <a:cubicBezTo>
                  <a:pt x="620" y="373"/>
                  <a:pt x="614" y="370"/>
                  <a:pt x="611" y="375"/>
                </a:cubicBezTo>
                <a:cubicBezTo>
                  <a:pt x="609" y="379"/>
                  <a:pt x="608" y="373"/>
                  <a:pt x="605" y="370"/>
                </a:cubicBezTo>
                <a:cubicBezTo>
                  <a:pt x="601" y="367"/>
                  <a:pt x="597" y="362"/>
                  <a:pt x="597" y="358"/>
                </a:cubicBezTo>
                <a:cubicBezTo>
                  <a:pt x="598" y="355"/>
                  <a:pt x="599" y="354"/>
                  <a:pt x="602" y="353"/>
                </a:cubicBezTo>
                <a:cubicBezTo>
                  <a:pt x="605" y="353"/>
                  <a:pt x="602" y="350"/>
                  <a:pt x="602" y="346"/>
                </a:cubicBezTo>
                <a:cubicBezTo>
                  <a:pt x="602" y="341"/>
                  <a:pt x="598" y="343"/>
                  <a:pt x="594" y="338"/>
                </a:cubicBezTo>
                <a:cubicBezTo>
                  <a:pt x="590" y="333"/>
                  <a:pt x="586" y="333"/>
                  <a:pt x="584" y="335"/>
                </a:cubicBezTo>
                <a:cubicBezTo>
                  <a:pt x="582" y="338"/>
                  <a:pt x="583" y="342"/>
                  <a:pt x="580" y="343"/>
                </a:cubicBezTo>
                <a:cubicBezTo>
                  <a:pt x="576" y="345"/>
                  <a:pt x="578" y="352"/>
                  <a:pt x="575" y="352"/>
                </a:cubicBezTo>
                <a:cubicBezTo>
                  <a:pt x="572" y="353"/>
                  <a:pt x="573" y="340"/>
                  <a:pt x="571" y="339"/>
                </a:cubicBezTo>
                <a:cubicBezTo>
                  <a:pt x="568" y="338"/>
                  <a:pt x="569" y="335"/>
                  <a:pt x="572" y="334"/>
                </a:cubicBezTo>
                <a:cubicBezTo>
                  <a:pt x="576" y="334"/>
                  <a:pt x="578" y="330"/>
                  <a:pt x="575" y="330"/>
                </a:cubicBezTo>
                <a:cubicBezTo>
                  <a:pt x="572" y="330"/>
                  <a:pt x="566" y="326"/>
                  <a:pt x="564" y="325"/>
                </a:cubicBezTo>
                <a:cubicBezTo>
                  <a:pt x="562" y="324"/>
                  <a:pt x="558" y="329"/>
                  <a:pt x="555" y="327"/>
                </a:cubicBezTo>
                <a:cubicBezTo>
                  <a:pt x="553" y="325"/>
                  <a:pt x="556" y="320"/>
                  <a:pt x="556" y="318"/>
                </a:cubicBezTo>
                <a:cubicBezTo>
                  <a:pt x="556" y="315"/>
                  <a:pt x="560" y="319"/>
                  <a:pt x="562" y="315"/>
                </a:cubicBezTo>
                <a:cubicBezTo>
                  <a:pt x="565" y="312"/>
                  <a:pt x="555" y="312"/>
                  <a:pt x="555" y="308"/>
                </a:cubicBezTo>
                <a:cubicBezTo>
                  <a:pt x="555" y="304"/>
                  <a:pt x="548" y="303"/>
                  <a:pt x="545" y="302"/>
                </a:cubicBezTo>
                <a:cubicBezTo>
                  <a:pt x="543" y="301"/>
                  <a:pt x="547" y="295"/>
                  <a:pt x="546" y="292"/>
                </a:cubicBezTo>
                <a:cubicBezTo>
                  <a:pt x="545" y="290"/>
                  <a:pt x="535" y="281"/>
                  <a:pt x="531" y="282"/>
                </a:cubicBezTo>
                <a:cubicBezTo>
                  <a:pt x="527" y="283"/>
                  <a:pt x="526" y="277"/>
                  <a:pt x="529" y="277"/>
                </a:cubicBezTo>
                <a:cubicBezTo>
                  <a:pt x="531" y="277"/>
                  <a:pt x="533" y="276"/>
                  <a:pt x="537" y="271"/>
                </a:cubicBezTo>
                <a:cubicBezTo>
                  <a:pt x="541" y="266"/>
                  <a:pt x="542" y="265"/>
                  <a:pt x="539" y="264"/>
                </a:cubicBezTo>
                <a:cubicBezTo>
                  <a:pt x="536" y="263"/>
                  <a:pt x="534" y="260"/>
                  <a:pt x="539" y="260"/>
                </a:cubicBezTo>
                <a:cubicBezTo>
                  <a:pt x="545" y="260"/>
                  <a:pt x="554" y="264"/>
                  <a:pt x="557" y="262"/>
                </a:cubicBezTo>
                <a:cubicBezTo>
                  <a:pt x="560" y="259"/>
                  <a:pt x="569" y="245"/>
                  <a:pt x="573" y="239"/>
                </a:cubicBezTo>
                <a:cubicBezTo>
                  <a:pt x="577" y="234"/>
                  <a:pt x="570" y="234"/>
                  <a:pt x="561" y="234"/>
                </a:cubicBezTo>
                <a:cubicBezTo>
                  <a:pt x="552" y="235"/>
                  <a:pt x="550" y="231"/>
                  <a:pt x="543" y="230"/>
                </a:cubicBezTo>
                <a:cubicBezTo>
                  <a:pt x="535" y="230"/>
                  <a:pt x="521" y="232"/>
                  <a:pt x="519" y="234"/>
                </a:cubicBezTo>
                <a:cubicBezTo>
                  <a:pt x="517" y="236"/>
                  <a:pt x="523" y="238"/>
                  <a:pt x="522" y="241"/>
                </a:cubicBezTo>
                <a:cubicBezTo>
                  <a:pt x="522" y="243"/>
                  <a:pt x="517" y="239"/>
                  <a:pt x="515" y="240"/>
                </a:cubicBezTo>
                <a:cubicBezTo>
                  <a:pt x="513" y="241"/>
                  <a:pt x="516" y="244"/>
                  <a:pt x="515" y="253"/>
                </a:cubicBezTo>
                <a:cubicBezTo>
                  <a:pt x="514" y="262"/>
                  <a:pt x="517" y="262"/>
                  <a:pt x="519" y="266"/>
                </a:cubicBezTo>
                <a:cubicBezTo>
                  <a:pt x="522" y="269"/>
                  <a:pt x="521" y="273"/>
                  <a:pt x="521" y="279"/>
                </a:cubicBezTo>
                <a:cubicBezTo>
                  <a:pt x="521" y="284"/>
                  <a:pt x="516" y="284"/>
                  <a:pt x="514" y="285"/>
                </a:cubicBezTo>
                <a:cubicBezTo>
                  <a:pt x="513" y="286"/>
                  <a:pt x="519" y="288"/>
                  <a:pt x="518" y="292"/>
                </a:cubicBezTo>
                <a:cubicBezTo>
                  <a:pt x="517" y="295"/>
                  <a:pt x="512" y="290"/>
                  <a:pt x="509" y="291"/>
                </a:cubicBezTo>
                <a:cubicBezTo>
                  <a:pt x="506" y="292"/>
                  <a:pt x="503" y="300"/>
                  <a:pt x="506" y="303"/>
                </a:cubicBezTo>
                <a:cubicBezTo>
                  <a:pt x="510" y="306"/>
                  <a:pt x="511" y="305"/>
                  <a:pt x="508" y="309"/>
                </a:cubicBezTo>
                <a:cubicBezTo>
                  <a:pt x="506" y="312"/>
                  <a:pt x="503" y="317"/>
                  <a:pt x="509" y="321"/>
                </a:cubicBezTo>
                <a:cubicBezTo>
                  <a:pt x="515" y="326"/>
                  <a:pt x="526" y="326"/>
                  <a:pt x="532" y="329"/>
                </a:cubicBezTo>
                <a:cubicBezTo>
                  <a:pt x="538" y="333"/>
                  <a:pt x="529" y="331"/>
                  <a:pt x="532" y="335"/>
                </a:cubicBezTo>
                <a:cubicBezTo>
                  <a:pt x="534" y="339"/>
                  <a:pt x="528" y="341"/>
                  <a:pt x="528" y="344"/>
                </a:cubicBezTo>
                <a:cubicBezTo>
                  <a:pt x="528" y="347"/>
                  <a:pt x="531" y="346"/>
                  <a:pt x="534" y="340"/>
                </a:cubicBezTo>
                <a:cubicBezTo>
                  <a:pt x="537" y="335"/>
                  <a:pt x="539" y="342"/>
                  <a:pt x="539" y="346"/>
                </a:cubicBezTo>
                <a:cubicBezTo>
                  <a:pt x="538" y="351"/>
                  <a:pt x="534" y="348"/>
                  <a:pt x="531" y="353"/>
                </a:cubicBezTo>
                <a:cubicBezTo>
                  <a:pt x="528" y="358"/>
                  <a:pt x="525" y="359"/>
                  <a:pt x="520" y="358"/>
                </a:cubicBezTo>
                <a:cubicBezTo>
                  <a:pt x="515" y="357"/>
                  <a:pt x="518" y="364"/>
                  <a:pt x="520" y="369"/>
                </a:cubicBezTo>
                <a:cubicBezTo>
                  <a:pt x="522" y="373"/>
                  <a:pt x="519" y="374"/>
                  <a:pt x="514" y="373"/>
                </a:cubicBezTo>
                <a:cubicBezTo>
                  <a:pt x="508" y="371"/>
                  <a:pt x="505" y="368"/>
                  <a:pt x="508" y="364"/>
                </a:cubicBezTo>
                <a:cubicBezTo>
                  <a:pt x="511" y="359"/>
                  <a:pt x="513" y="354"/>
                  <a:pt x="509" y="355"/>
                </a:cubicBezTo>
                <a:cubicBezTo>
                  <a:pt x="506" y="355"/>
                  <a:pt x="499" y="355"/>
                  <a:pt x="496" y="351"/>
                </a:cubicBezTo>
                <a:cubicBezTo>
                  <a:pt x="494" y="348"/>
                  <a:pt x="498" y="349"/>
                  <a:pt x="505" y="350"/>
                </a:cubicBezTo>
                <a:cubicBezTo>
                  <a:pt x="511" y="351"/>
                  <a:pt x="506" y="345"/>
                  <a:pt x="511" y="345"/>
                </a:cubicBezTo>
                <a:cubicBezTo>
                  <a:pt x="516" y="345"/>
                  <a:pt x="519" y="348"/>
                  <a:pt x="524" y="344"/>
                </a:cubicBezTo>
                <a:cubicBezTo>
                  <a:pt x="528" y="341"/>
                  <a:pt x="521" y="333"/>
                  <a:pt x="517" y="335"/>
                </a:cubicBezTo>
                <a:cubicBezTo>
                  <a:pt x="514" y="336"/>
                  <a:pt x="508" y="337"/>
                  <a:pt x="508" y="334"/>
                </a:cubicBezTo>
                <a:cubicBezTo>
                  <a:pt x="508" y="330"/>
                  <a:pt x="514" y="333"/>
                  <a:pt x="518" y="332"/>
                </a:cubicBezTo>
                <a:cubicBezTo>
                  <a:pt x="521" y="331"/>
                  <a:pt x="516" y="327"/>
                  <a:pt x="511" y="328"/>
                </a:cubicBezTo>
                <a:cubicBezTo>
                  <a:pt x="506" y="329"/>
                  <a:pt x="502" y="330"/>
                  <a:pt x="498" y="325"/>
                </a:cubicBezTo>
                <a:cubicBezTo>
                  <a:pt x="494" y="321"/>
                  <a:pt x="487" y="319"/>
                  <a:pt x="485" y="328"/>
                </a:cubicBezTo>
                <a:cubicBezTo>
                  <a:pt x="484" y="338"/>
                  <a:pt x="477" y="333"/>
                  <a:pt x="474" y="336"/>
                </a:cubicBezTo>
                <a:cubicBezTo>
                  <a:pt x="471" y="339"/>
                  <a:pt x="477" y="342"/>
                  <a:pt x="484" y="342"/>
                </a:cubicBezTo>
                <a:cubicBezTo>
                  <a:pt x="491" y="342"/>
                  <a:pt x="496" y="348"/>
                  <a:pt x="492" y="348"/>
                </a:cubicBezTo>
                <a:cubicBezTo>
                  <a:pt x="489" y="348"/>
                  <a:pt x="491" y="353"/>
                  <a:pt x="487" y="351"/>
                </a:cubicBezTo>
                <a:cubicBezTo>
                  <a:pt x="484" y="350"/>
                  <a:pt x="480" y="351"/>
                  <a:pt x="483" y="354"/>
                </a:cubicBezTo>
                <a:cubicBezTo>
                  <a:pt x="485" y="357"/>
                  <a:pt x="482" y="359"/>
                  <a:pt x="482" y="362"/>
                </a:cubicBezTo>
                <a:cubicBezTo>
                  <a:pt x="482" y="365"/>
                  <a:pt x="477" y="362"/>
                  <a:pt x="471" y="361"/>
                </a:cubicBezTo>
                <a:cubicBezTo>
                  <a:pt x="466" y="361"/>
                  <a:pt x="456" y="363"/>
                  <a:pt x="449" y="364"/>
                </a:cubicBezTo>
                <a:cubicBezTo>
                  <a:pt x="442" y="366"/>
                  <a:pt x="435" y="363"/>
                  <a:pt x="432" y="360"/>
                </a:cubicBezTo>
                <a:cubicBezTo>
                  <a:pt x="429" y="357"/>
                  <a:pt x="425" y="357"/>
                  <a:pt x="420" y="357"/>
                </a:cubicBezTo>
                <a:cubicBezTo>
                  <a:pt x="415" y="357"/>
                  <a:pt x="416" y="352"/>
                  <a:pt x="410" y="352"/>
                </a:cubicBezTo>
                <a:cubicBezTo>
                  <a:pt x="403" y="352"/>
                  <a:pt x="405" y="346"/>
                  <a:pt x="404" y="343"/>
                </a:cubicBezTo>
                <a:cubicBezTo>
                  <a:pt x="403" y="340"/>
                  <a:pt x="390" y="341"/>
                  <a:pt x="385" y="344"/>
                </a:cubicBezTo>
                <a:cubicBezTo>
                  <a:pt x="381" y="347"/>
                  <a:pt x="371" y="346"/>
                  <a:pt x="369" y="351"/>
                </a:cubicBezTo>
                <a:cubicBezTo>
                  <a:pt x="366" y="357"/>
                  <a:pt x="371" y="356"/>
                  <a:pt x="374" y="356"/>
                </a:cubicBezTo>
                <a:cubicBezTo>
                  <a:pt x="378" y="356"/>
                  <a:pt x="377" y="351"/>
                  <a:pt x="384" y="352"/>
                </a:cubicBezTo>
                <a:cubicBezTo>
                  <a:pt x="391" y="353"/>
                  <a:pt x="396" y="345"/>
                  <a:pt x="399" y="348"/>
                </a:cubicBezTo>
                <a:cubicBezTo>
                  <a:pt x="402" y="351"/>
                  <a:pt x="387" y="357"/>
                  <a:pt x="381" y="358"/>
                </a:cubicBezTo>
                <a:cubicBezTo>
                  <a:pt x="374" y="359"/>
                  <a:pt x="376" y="364"/>
                  <a:pt x="382" y="373"/>
                </a:cubicBezTo>
                <a:cubicBezTo>
                  <a:pt x="388" y="383"/>
                  <a:pt x="379" y="377"/>
                  <a:pt x="379" y="382"/>
                </a:cubicBezTo>
                <a:cubicBezTo>
                  <a:pt x="379" y="386"/>
                  <a:pt x="368" y="380"/>
                  <a:pt x="372" y="379"/>
                </a:cubicBezTo>
                <a:cubicBezTo>
                  <a:pt x="377" y="377"/>
                  <a:pt x="375" y="373"/>
                  <a:pt x="371" y="370"/>
                </a:cubicBezTo>
                <a:cubicBezTo>
                  <a:pt x="367" y="367"/>
                  <a:pt x="365" y="370"/>
                  <a:pt x="365" y="366"/>
                </a:cubicBezTo>
                <a:cubicBezTo>
                  <a:pt x="366" y="363"/>
                  <a:pt x="361" y="367"/>
                  <a:pt x="358" y="364"/>
                </a:cubicBezTo>
                <a:cubicBezTo>
                  <a:pt x="354" y="361"/>
                  <a:pt x="353" y="359"/>
                  <a:pt x="348" y="361"/>
                </a:cubicBezTo>
                <a:cubicBezTo>
                  <a:pt x="343" y="364"/>
                  <a:pt x="338" y="363"/>
                  <a:pt x="327" y="365"/>
                </a:cubicBezTo>
                <a:cubicBezTo>
                  <a:pt x="317" y="367"/>
                  <a:pt x="297" y="366"/>
                  <a:pt x="294" y="363"/>
                </a:cubicBezTo>
                <a:cubicBezTo>
                  <a:pt x="290" y="359"/>
                  <a:pt x="303" y="353"/>
                  <a:pt x="307" y="354"/>
                </a:cubicBezTo>
                <a:cubicBezTo>
                  <a:pt x="310" y="355"/>
                  <a:pt x="308" y="350"/>
                  <a:pt x="302" y="345"/>
                </a:cubicBezTo>
                <a:cubicBezTo>
                  <a:pt x="297" y="341"/>
                  <a:pt x="284" y="338"/>
                  <a:pt x="284" y="341"/>
                </a:cubicBezTo>
                <a:cubicBezTo>
                  <a:pt x="284" y="344"/>
                  <a:pt x="277" y="341"/>
                  <a:pt x="268" y="339"/>
                </a:cubicBezTo>
                <a:cubicBezTo>
                  <a:pt x="258" y="338"/>
                  <a:pt x="257" y="334"/>
                  <a:pt x="251" y="334"/>
                </a:cubicBezTo>
                <a:cubicBezTo>
                  <a:pt x="245" y="334"/>
                  <a:pt x="236" y="332"/>
                  <a:pt x="229" y="327"/>
                </a:cubicBezTo>
                <a:cubicBezTo>
                  <a:pt x="222" y="321"/>
                  <a:pt x="206" y="323"/>
                  <a:pt x="204" y="328"/>
                </a:cubicBezTo>
                <a:cubicBezTo>
                  <a:pt x="202" y="333"/>
                  <a:pt x="196" y="332"/>
                  <a:pt x="191" y="332"/>
                </a:cubicBezTo>
                <a:cubicBezTo>
                  <a:pt x="185" y="332"/>
                  <a:pt x="193" y="326"/>
                  <a:pt x="191" y="325"/>
                </a:cubicBezTo>
                <a:cubicBezTo>
                  <a:pt x="188" y="324"/>
                  <a:pt x="191" y="317"/>
                  <a:pt x="187" y="316"/>
                </a:cubicBezTo>
                <a:cubicBezTo>
                  <a:pt x="183" y="316"/>
                  <a:pt x="180" y="333"/>
                  <a:pt x="172" y="332"/>
                </a:cubicBezTo>
                <a:cubicBezTo>
                  <a:pt x="165" y="332"/>
                  <a:pt x="161" y="314"/>
                  <a:pt x="155" y="310"/>
                </a:cubicBezTo>
                <a:cubicBezTo>
                  <a:pt x="149" y="305"/>
                  <a:pt x="143" y="305"/>
                  <a:pt x="148" y="312"/>
                </a:cubicBezTo>
                <a:cubicBezTo>
                  <a:pt x="154" y="319"/>
                  <a:pt x="144" y="314"/>
                  <a:pt x="144" y="318"/>
                </a:cubicBezTo>
                <a:cubicBezTo>
                  <a:pt x="145" y="323"/>
                  <a:pt x="136" y="328"/>
                  <a:pt x="136" y="326"/>
                </a:cubicBezTo>
                <a:cubicBezTo>
                  <a:pt x="136" y="323"/>
                  <a:pt x="131" y="320"/>
                  <a:pt x="125" y="327"/>
                </a:cubicBezTo>
                <a:cubicBezTo>
                  <a:pt x="119" y="334"/>
                  <a:pt x="115" y="333"/>
                  <a:pt x="114" y="331"/>
                </a:cubicBezTo>
                <a:cubicBezTo>
                  <a:pt x="114" y="328"/>
                  <a:pt x="96" y="337"/>
                  <a:pt x="97" y="340"/>
                </a:cubicBezTo>
                <a:cubicBezTo>
                  <a:pt x="98" y="343"/>
                  <a:pt x="94" y="346"/>
                  <a:pt x="89" y="345"/>
                </a:cubicBezTo>
                <a:cubicBezTo>
                  <a:pt x="85" y="345"/>
                  <a:pt x="88" y="341"/>
                  <a:pt x="92" y="339"/>
                </a:cubicBezTo>
                <a:cubicBezTo>
                  <a:pt x="96" y="337"/>
                  <a:pt x="108" y="328"/>
                  <a:pt x="114" y="327"/>
                </a:cubicBezTo>
                <a:cubicBezTo>
                  <a:pt x="120" y="326"/>
                  <a:pt x="131" y="321"/>
                  <a:pt x="132" y="318"/>
                </a:cubicBezTo>
                <a:cubicBezTo>
                  <a:pt x="132" y="315"/>
                  <a:pt x="126" y="318"/>
                  <a:pt x="122" y="317"/>
                </a:cubicBezTo>
                <a:cubicBezTo>
                  <a:pt x="118" y="316"/>
                  <a:pt x="111" y="321"/>
                  <a:pt x="104" y="324"/>
                </a:cubicBezTo>
                <a:cubicBezTo>
                  <a:pt x="97" y="327"/>
                  <a:pt x="90" y="326"/>
                  <a:pt x="92" y="330"/>
                </a:cubicBezTo>
                <a:cubicBezTo>
                  <a:pt x="94" y="334"/>
                  <a:pt x="85" y="329"/>
                  <a:pt x="84" y="332"/>
                </a:cubicBezTo>
                <a:cubicBezTo>
                  <a:pt x="82" y="335"/>
                  <a:pt x="79" y="332"/>
                  <a:pt x="81" y="330"/>
                </a:cubicBezTo>
                <a:cubicBezTo>
                  <a:pt x="84" y="329"/>
                  <a:pt x="75" y="326"/>
                  <a:pt x="75" y="328"/>
                </a:cubicBezTo>
                <a:cubicBezTo>
                  <a:pt x="75" y="329"/>
                  <a:pt x="74" y="332"/>
                  <a:pt x="68" y="332"/>
                </a:cubicBezTo>
                <a:cubicBezTo>
                  <a:pt x="62" y="332"/>
                  <a:pt x="56" y="336"/>
                  <a:pt x="60" y="339"/>
                </a:cubicBezTo>
                <a:cubicBezTo>
                  <a:pt x="64" y="342"/>
                  <a:pt x="66" y="343"/>
                  <a:pt x="64" y="345"/>
                </a:cubicBezTo>
                <a:cubicBezTo>
                  <a:pt x="62" y="347"/>
                  <a:pt x="56" y="340"/>
                  <a:pt x="47" y="341"/>
                </a:cubicBezTo>
                <a:cubicBezTo>
                  <a:pt x="38" y="342"/>
                  <a:pt x="21" y="331"/>
                  <a:pt x="21" y="329"/>
                </a:cubicBezTo>
                <a:cubicBezTo>
                  <a:pt x="21" y="326"/>
                  <a:pt x="9" y="328"/>
                  <a:pt x="0" y="327"/>
                </a:cubicBezTo>
                <a:cubicBezTo>
                  <a:pt x="0" y="500"/>
                  <a:pt x="0" y="500"/>
                  <a:pt x="0" y="500"/>
                </a:cubicBezTo>
                <a:cubicBezTo>
                  <a:pt x="0" y="500"/>
                  <a:pt x="4" y="503"/>
                  <a:pt x="6" y="501"/>
                </a:cubicBezTo>
                <a:cubicBezTo>
                  <a:pt x="8" y="499"/>
                  <a:pt x="11" y="502"/>
                  <a:pt x="16" y="499"/>
                </a:cubicBezTo>
                <a:cubicBezTo>
                  <a:pt x="22" y="496"/>
                  <a:pt x="24" y="502"/>
                  <a:pt x="24" y="505"/>
                </a:cubicBezTo>
                <a:cubicBezTo>
                  <a:pt x="24" y="507"/>
                  <a:pt x="32" y="512"/>
                  <a:pt x="35" y="516"/>
                </a:cubicBezTo>
                <a:cubicBezTo>
                  <a:pt x="39" y="520"/>
                  <a:pt x="40" y="524"/>
                  <a:pt x="44" y="522"/>
                </a:cubicBezTo>
                <a:cubicBezTo>
                  <a:pt x="48" y="519"/>
                  <a:pt x="54" y="518"/>
                  <a:pt x="54" y="514"/>
                </a:cubicBezTo>
                <a:cubicBezTo>
                  <a:pt x="54" y="509"/>
                  <a:pt x="70" y="509"/>
                  <a:pt x="70" y="514"/>
                </a:cubicBezTo>
                <a:cubicBezTo>
                  <a:pt x="70" y="520"/>
                  <a:pt x="85" y="527"/>
                  <a:pt x="94" y="542"/>
                </a:cubicBezTo>
                <a:cubicBezTo>
                  <a:pt x="103" y="557"/>
                  <a:pt x="101" y="561"/>
                  <a:pt x="114" y="566"/>
                </a:cubicBezTo>
                <a:cubicBezTo>
                  <a:pt x="127" y="571"/>
                  <a:pt x="126" y="573"/>
                  <a:pt x="125" y="578"/>
                </a:cubicBezTo>
                <a:cubicBezTo>
                  <a:pt x="123" y="582"/>
                  <a:pt x="132" y="584"/>
                  <a:pt x="127" y="588"/>
                </a:cubicBezTo>
                <a:cubicBezTo>
                  <a:pt x="125" y="589"/>
                  <a:pt x="122" y="591"/>
                  <a:pt x="119" y="593"/>
                </a:cubicBezTo>
                <a:cubicBezTo>
                  <a:pt x="120" y="595"/>
                  <a:pt x="122" y="597"/>
                  <a:pt x="124" y="599"/>
                </a:cubicBezTo>
                <a:cubicBezTo>
                  <a:pt x="127" y="602"/>
                  <a:pt x="119" y="602"/>
                  <a:pt x="121" y="604"/>
                </a:cubicBezTo>
                <a:cubicBezTo>
                  <a:pt x="124" y="606"/>
                  <a:pt x="121" y="610"/>
                  <a:pt x="123" y="612"/>
                </a:cubicBezTo>
                <a:cubicBezTo>
                  <a:pt x="126" y="615"/>
                  <a:pt x="130" y="614"/>
                  <a:pt x="133" y="612"/>
                </a:cubicBezTo>
                <a:cubicBezTo>
                  <a:pt x="136" y="610"/>
                  <a:pt x="138" y="615"/>
                  <a:pt x="135" y="618"/>
                </a:cubicBezTo>
                <a:cubicBezTo>
                  <a:pt x="133" y="622"/>
                  <a:pt x="138" y="625"/>
                  <a:pt x="140" y="622"/>
                </a:cubicBezTo>
                <a:cubicBezTo>
                  <a:pt x="142" y="619"/>
                  <a:pt x="147" y="627"/>
                  <a:pt x="149" y="628"/>
                </a:cubicBezTo>
                <a:cubicBezTo>
                  <a:pt x="152" y="629"/>
                  <a:pt x="154" y="633"/>
                  <a:pt x="150" y="633"/>
                </a:cubicBezTo>
                <a:cubicBezTo>
                  <a:pt x="146" y="633"/>
                  <a:pt x="147" y="639"/>
                  <a:pt x="150" y="640"/>
                </a:cubicBezTo>
                <a:cubicBezTo>
                  <a:pt x="152" y="640"/>
                  <a:pt x="152" y="643"/>
                  <a:pt x="152" y="646"/>
                </a:cubicBezTo>
                <a:cubicBezTo>
                  <a:pt x="152" y="648"/>
                  <a:pt x="161" y="651"/>
                  <a:pt x="164" y="650"/>
                </a:cubicBezTo>
                <a:cubicBezTo>
                  <a:pt x="167" y="649"/>
                  <a:pt x="170" y="652"/>
                  <a:pt x="172" y="655"/>
                </a:cubicBezTo>
                <a:cubicBezTo>
                  <a:pt x="173" y="658"/>
                  <a:pt x="179" y="660"/>
                  <a:pt x="182" y="658"/>
                </a:cubicBezTo>
                <a:cubicBezTo>
                  <a:pt x="184" y="656"/>
                  <a:pt x="185" y="661"/>
                  <a:pt x="186" y="665"/>
                </a:cubicBezTo>
                <a:cubicBezTo>
                  <a:pt x="186" y="668"/>
                  <a:pt x="191" y="666"/>
                  <a:pt x="194" y="666"/>
                </a:cubicBezTo>
                <a:cubicBezTo>
                  <a:pt x="197" y="666"/>
                  <a:pt x="199" y="670"/>
                  <a:pt x="201" y="669"/>
                </a:cubicBezTo>
                <a:cubicBezTo>
                  <a:pt x="206" y="667"/>
                  <a:pt x="207" y="675"/>
                  <a:pt x="210" y="680"/>
                </a:cubicBezTo>
                <a:cubicBezTo>
                  <a:pt x="520" y="678"/>
                  <a:pt x="520" y="678"/>
                  <a:pt x="520" y="678"/>
                </a:cubicBezTo>
                <a:cubicBezTo>
                  <a:pt x="520" y="678"/>
                  <a:pt x="521" y="670"/>
                  <a:pt x="524" y="673"/>
                </a:cubicBezTo>
                <a:cubicBezTo>
                  <a:pt x="528" y="676"/>
                  <a:pt x="525" y="680"/>
                  <a:pt x="529" y="682"/>
                </a:cubicBezTo>
                <a:cubicBezTo>
                  <a:pt x="533" y="683"/>
                  <a:pt x="536" y="686"/>
                  <a:pt x="539" y="685"/>
                </a:cubicBezTo>
                <a:cubicBezTo>
                  <a:pt x="541" y="684"/>
                  <a:pt x="545" y="681"/>
                  <a:pt x="549" y="685"/>
                </a:cubicBezTo>
                <a:cubicBezTo>
                  <a:pt x="553" y="690"/>
                  <a:pt x="556" y="686"/>
                  <a:pt x="558" y="689"/>
                </a:cubicBezTo>
                <a:cubicBezTo>
                  <a:pt x="561" y="692"/>
                  <a:pt x="565" y="694"/>
                  <a:pt x="568" y="691"/>
                </a:cubicBezTo>
                <a:cubicBezTo>
                  <a:pt x="570" y="688"/>
                  <a:pt x="580" y="691"/>
                  <a:pt x="584" y="693"/>
                </a:cubicBezTo>
                <a:cubicBezTo>
                  <a:pt x="590" y="688"/>
                  <a:pt x="594" y="679"/>
                  <a:pt x="599" y="679"/>
                </a:cubicBezTo>
                <a:cubicBezTo>
                  <a:pt x="605" y="679"/>
                  <a:pt x="622" y="681"/>
                  <a:pt x="623" y="689"/>
                </a:cubicBezTo>
                <a:cubicBezTo>
                  <a:pt x="624" y="698"/>
                  <a:pt x="634" y="690"/>
                  <a:pt x="635" y="698"/>
                </a:cubicBezTo>
                <a:cubicBezTo>
                  <a:pt x="636" y="704"/>
                  <a:pt x="642" y="710"/>
                  <a:pt x="641" y="713"/>
                </a:cubicBezTo>
                <a:cubicBezTo>
                  <a:pt x="643" y="714"/>
                  <a:pt x="645" y="716"/>
                  <a:pt x="648" y="718"/>
                </a:cubicBezTo>
                <a:cubicBezTo>
                  <a:pt x="651" y="717"/>
                  <a:pt x="659" y="718"/>
                  <a:pt x="665" y="720"/>
                </a:cubicBezTo>
                <a:cubicBezTo>
                  <a:pt x="672" y="723"/>
                  <a:pt x="682" y="717"/>
                  <a:pt x="686" y="726"/>
                </a:cubicBezTo>
                <a:cubicBezTo>
                  <a:pt x="689" y="734"/>
                  <a:pt x="697" y="740"/>
                  <a:pt x="690" y="741"/>
                </a:cubicBezTo>
                <a:cubicBezTo>
                  <a:pt x="683" y="742"/>
                  <a:pt x="675" y="733"/>
                  <a:pt x="675" y="738"/>
                </a:cubicBezTo>
                <a:cubicBezTo>
                  <a:pt x="676" y="743"/>
                  <a:pt x="672" y="740"/>
                  <a:pt x="672" y="748"/>
                </a:cubicBezTo>
                <a:cubicBezTo>
                  <a:pt x="672" y="755"/>
                  <a:pt x="667" y="766"/>
                  <a:pt x="664" y="765"/>
                </a:cubicBezTo>
                <a:cubicBezTo>
                  <a:pt x="664" y="765"/>
                  <a:pt x="664" y="765"/>
                  <a:pt x="664" y="765"/>
                </a:cubicBezTo>
                <a:cubicBezTo>
                  <a:pt x="663" y="768"/>
                  <a:pt x="663" y="771"/>
                  <a:pt x="665" y="774"/>
                </a:cubicBezTo>
                <a:cubicBezTo>
                  <a:pt x="669" y="771"/>
                  <a:pt x="675" y="766"/>
                  <a:pt x="679" y="767"/>
                </a:cubicBezTo>
                <a:cubicBezTo>
                  <a:pt x="687" y="767"/>
                  <a:pt x="689" y="772"/>
                  <a:pt x="694" y="768"/>
                </a:cubicBezTo>
                <a:cubicBezTo>
                  <a:pt x="699" y="765"/>
                  <a:pt x="700" y="763"/>
                  <a:pt x="701" y="766"/>
                </a:cubicBezTo>
                <a:cubicBezTo>
                  <a:pt x="701" y="766"/>
                  <a:pt x="701" y="766"/>
                  <a:pt x="701" y="767"/>
                </a:cubicBezTo>
                <a:cubicBezTo>
                  <a:pt x="703" y="766"/>
                  <a:pt x="704" y="765"/>
                  <a:pt x="704" y="764"/>
                </a:cubicBezTo>
                <a:cubicBezTo>
                  <a:pt x="704" y="763"/>
                  <a:pt x="704" y="761"/>
                  <a:pt x="703" y="759"/>
                </a:cubicBezTo>
                <a:cubicBezTo>
                  <a:pt x="698" y="760"/>
                  <a:pt x="697" y="760"/>
                  <a:pt x="695" y="757"/>
                </a:cubicBezTo>
                <a:cubicBezTo>
                  <a:pt x="693" y="752"/>
                  <a:pt x="710" y="747"/>
                  <a:pt x="718" y="748"/>
                </a:cubicBezTo>
                <a:cubicBezTo>
                  <a:pt x="726" y="749"/>
                  <a:pt x="731" y="744"/>
                  <a:pt x="734" y="747"/>
                </a:cubicBezTo>
                <a:cubicBezTo>
                  <a:pt x="739" y="743"/>
                  <a:pt x="747" y="736"/>
                  <a:pt x="749" y="736"/>
                </a:cubicBezTo>
                <a:cubicBezTo>
                  <a:pt x="752" y="736"/>
                  <a:pt x="788" y="735"/>
                  <a:pt x="788" y="735"/>
                </a:cubicBezTo>
                <a:cubicBezTo>
                  <a:pt x="788" y="735"/>
                  <a:pt x="800" y="728"/>
                  <a:pt x="802" y="721"/>
                </a:cubicBezTo>
                <a:cubicBezTo>
                  <a:pt x="803" y="714"/>
                  <a:pt x="811" y="697"/>
                  <a:pt x="816" y="701"/>
                </a:cubicBezTo>
                <a:cubicBezTo>
                  <a:pt x="821" y="704"/>
                  <a:pt x="831" y="702"/>
                  <a:pt x="831" y="705"/>
                </a:cubicBezTo>
                <a:cubicBezTo>
                  <a:pt x="831" y="708"/>
                  <a:pt x="828" y="719"/>
                  <a:pt x="841" y="736"/>
                </a:cubicBezTo>
                <a:cubicBezTo>
                  <a:pt x="845" y="733"/>
                  <a:pt x="850" y="731"/>
                  <a:pt x="852" y="731"/>
                </a:cubicBezTo>
                <a:cubicBezTo>
                  <a:pt x="857" y="732"/>
                  <a:pt x="864" y="726"/>
                  <a:pt x="866" y="722"/>
                </a:cubicBezTo>
                <a:cubicBezTo>
                  <a:pt x="868" y="718"/>
                  <a:pt x="870" y="725"/>
                  <a:pt x="866" y="727"/>
                </a:cubicBezTo>
                <a:cubicBezTo>
                  <a:pt x="862" y="728"/>
                  <a:pt x="870" y="731"/>
                  <a:pt x="877" y="731"/>
                </a:cubicBezTo>
                <a:cubicBezTo>
                  <a:pt x="884" y="730"/>
                  <a:pt x="873" y="733"/>
                  <a:pt x="868" y="733"/>
                </a:cubicBezTo>
                <a:cubicBezTo>
                  <a:pt x="863" y="733"/>
                  <a:pt x="861" y="733"/>
                  <a:pt x="854" y="740"/>
                </a:cubicBezTo>
                <a:cubicBezTo>
                  <a:pt x="847" y="747"/>
                  <a:pt x="848" y="749"/>
                  <a:pt x="852" y="753"/>
                </a:cubicBezTo>
                <a:cubicBezTo>
                  <a:pt x="856" y="756"/>
                  <a:pt x="862" y="755"/>
                  <a:pt x="867" y="750"/>
                </a:cubicBezTo>
                <a:cubicBezTo>
                  <a:pt x="873" y="745"/>
                  <a:pt x="872" y="741"/>
                  <a:pt x="878" y="741"/>
                </a:cubicBezTo>
                <a:cubicBezTo>
                  <a:pt x="883" y="741"/>
                  <a:pt x="898" y="736"/>
                  <a:pt x="904" y="734"/>
                </a:cubicBezTo>
                <a:cubicBezTo>
                  <a:pt x="910" y="732"/>
                  <a:pt x="906" y="731"/>
                  <a:pt x="906" y="728"/>
                </a:cubicBezTo>
                <a:cubicBezTo>
                  <a:pt x="906" y="725"/>
                  <a:pt x="917" y="725"/>
                  <a:pt x="921" y="723"/>
                </a:cubicBezTo>
                <a:cubicBezTo>
                  <a:pt x="925" y="720"/>
                  <a:pt x="920" y="718"/>
                  <a:pt x="917" y="718"/>
                </a:cubicBezTo>
                <a:close/>
                <a:moveTo>
                  <a:pt x="266" y="394"/>
                </a:moveTo>
                <a:cubicBezTo>
                  <a:pt x="260" y="402"/>
                  <a:pt x="257" y="403"/>
                  <a:pt x="251" y="402"/>
                </a:cubicBezTo>
                <a:cubicBezTo>
                  <a:pt x="244" y="401"/>
                  <a:pt x="240" y="404"/>
                  <a:pt x="243" y="407"/>
                </a:cubicBezTo>
                <a:cubicBezTo>
                  <a:pt x="246" y="409"/>
                  <a:pt x="247" y="411"/>
                  <a:pt x="240" y="413"/>
                </a:cubicBezTo>
                <a:cubicBezTo>
                  <a:pt x="233" y="414"/>
                  <a:pt x="228" y="420"/>
                  <a:pt x="225" y="419"/>
                </a:cubicBezTo>
                <a:cubicBezTo>
                  <a:pt x="223" y="418"/>
                  <a:pt x="237" y="408"/>
                  <a:pt x="234" y="405"/>
                </a:cubicBezTo>
                <a:cubicBezTo>
                  <a:pt x="230" y="402"/>
                  <a:pt x="220" y="410"/>
                  <a:pt x="220" y="413"/>
                </a:cubicBezTo>
                <a:cubicBezTo>
                  <a:pt x="220" y="417"/>
                  <a:pt x="214" y="417"/>
                  <a:pt x="210" y="417"/>
                </a:cubicBezTo>
                <a:cubicBezTo>
                  <a:pt x="206" y="416"/>
                  <a:pt x="201" y="413"/>
                  <a:pt x="205" y="412"/>
                </a:cubicBezTo>
                <a:cubicBezTo>
                  <a:pt x="209" y="412"/>
                  <a:pt x="206" y="408"/>
                  <a:pt x="211" y="406"/>
                </a:cubicBezTo>
                <a:cubicBezTo>
                  <a:pt x="217" y="404"/>
                  <a:pt x="210" y="401"/>
                  <a:pt x="212" y="399"/>
                </a:cubicBezTo>
                <a:cubicBezTo>
                  <a:pt x="214" y="397"/>
                  <a:pt x="224" y="401"/>
                  <a:pt x="224" y="397"/>
                </a:cubicBezTo>
                <a:cubicBezTo>
                  <a:pt x="225" y="393"/>
                  <a:pt x="214" y="390"/>
                  <a:pt x="210" y="392"/>
                </a:cubicBezTo>
                <a:cubicBezTo>
                  <a:pt x="207" y="394"/>
                  <a:pt x="198" y="400"/>
                  <a:pt x="188" y="396"/>
                </a:cubicBezTo>
                <a:cubicBezTo>
                  <a:pt x="185" y="394"/>
                  <a:pt x="213" y="391"/>
                  <a:pt x="218" y="387"/>
                </a:cubicBezTo>
                <a:cubicBezTo>
                  <a:pt x="223" y="382"/>
                  <a:pt x="244" y="377"/>
                  <a:pt x="246" y="381"/>
                </a:cubicBezTo>
                <a:cubicBezTo>
                  <a:pt x="248" y="385"/>
                  <a:pt x="235" y="388"/>
                  <a:pt x="241" y="392"/>
                </a:cubicBezTo>
                <a:cubicBezTo>
                  <a:pt x="247" y="395"/>
                  <a:pt x="258" y="393"/>
                  <a:pt x="260" y="389"/>
                </a:cubicBezTo>
                <a:cubicBezTo>
                  <a:pt x="262" y="385"/>
                  <a:pt x="273" y="386"/>
                  <a:pt x="266" y="394"/>
                </a:cubicBezTo>
                <a:close/>
                <a:moveTo>
                  <a:pt x="329" y="474"/>
                </a:moveTo>
                <a:cubicBezTo>
                  <a:pt x="322" y="481"/>
                  <a:pt x="322" y="479"/>
                  <a:pt x="315" y="480"/>
                </a:cubicBezTo>
                <a:cubicBezTo>
                  <a:pt x="309" y="482"/>
                  <a:pt x="314" y="488"/>
                  <a:pt x="306" y="489"/>
                </a:cubicBezTo>
                <a:cubicBezTo>
                  <a:pt x="298" y="490"/>
                  <a:pt x="278" y="490"/>
                  <a:pt x="275" y="486"/>
                </a:cubicBezTo>
                <a:cubicBezTo>
                  <a:pt x="274" y="484"/>
                  <a:pt x="286" y="485"/>
                  <a:pt x="287" y="482"/>
                </a:cubicBezTo>
                <a:cubicBezTo>
                  <a:pt x="288" y="479"/>
                  <a:pt x="291" y="473"/>
                  <a:pt x="296" y="473"/>
                </a:cubicBezTo>
                <a:cubicBezTo>
                  <a:pt x="301" y="473"/>
                  <a:pt x="300" y="467"/>
                  <a:pt x="292" y="463"/>
                </a:cubicBezTo>
                <a:cubicBezTo>
                  <a:pt x="284" y="459"/>
                  <a:pt x="304" y="456"/>
                  <a:pt x="308" y="463"/>
                </a:cubicBezTo>
                <a:cubicBezTo>
                  <a:pt x="313" y="469"/>
                  <a:pt x="321" y="473"/>
                  <a:pt x="326" y="469"/>
                </a:cubicBezTo>
                <a:cubicBezTo>
                  <a:pt x="330" y="464"/>
                  <a:pt x="356" y="452"/>
                  <a:pt x="356" y="458"/>
                </a:cubicBezTo>
                <a:cubicBezTo>
                  <a:pt x="356" y="464"/>
                  <a:pt x="337" y="468"/>
                  <a:pt x="329" y="474"/>
                </a:cubicBezTo>
                <a:close/>
                <a:moveTo>
                  <a:pt x="503" y="656"/>
                </a:moveTo>
                <a:cubicBezTo>
                  <a:pt x="498" y="657"/>
                  <a:pt x="504" y="642"/>
                  <a:pt x="494" y="636"/>
                </a:cubicBezTo>
                <a:cubicBezTo>
                  <a:pt x="482" y="630"/>
                  <a:pt x="477" y="618"/>
                  <a:pt x="477" y="611"/>
                </a:cubicBezTo>
                <a:cubicBezTo>
                  <a:pt x="477" y="605"/>
                  <a:pt x="487" y="602"/>
                  <a:pt x="491" y="607"/>
                </a:cubicBezTo>
                <a:cubicBezTo>
                  <a:pt x="495" y="612"/>
                  <a:pt x="501" y="632"/>
                  <a:pt x="504" y="639"/>
                </a:cubicBezTo>
                <a:cubicBezTo>
                  <a:pt x="508" y="645"/>
                  <a:pt x="508" y="656"/>
                  <a:pt x="503" y="65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8" name="Freeform 125"/>
          <p:cNvSpPr>
            <a:spLocks noEditPoints="1"/>
          </p:cNvSpPr>
          <p:nvPr/>
        </p:nvSpPr>
        <p:spPr bwMode="auto">
          <a:xfrm>
            <a:off x="1659970" y="2242907"/>
            <a:ext cx="2560766" cy="1607253"/>
          </a:xfrm>
          <a:custGeom>
            <a:cxnLst>
              <a:cxn ang="0">
                <a:pos x="350" y="230"/>
              </a:cxn>
              <a:cxn ang="0">
                <a:pos x="306" y="35"/>
              </a:cxn>
              <a:cxn ang="0">
                <a:pos x="185" y="21"/>
              </a:cxn>
              <a:cxn ang="0">
                <a:pos x="135" y="10"/>
              </a:cxn>
              <a:cxn ang="0">
                <a:pos x="93" y="21"/>
              </a:cxn>
              <a:cxn ang="0">
                <a:pos x="19" y="59"/>
              </a:cxn>
              <a:cxn ang="0">
                <a:pos x="71" y="103"/>
              </a:cxn>
              <a:cxn ang="0">
                <a:pos x="17" y="106"/>
              </a:cxn>
              <a:cxn ang="0">
                <a:pos x="59" y="136"/>
              </a:cxn>
              <a:cxn ang="0">
                <a:pos x="43" y="158"/>
              </a:cxn>
              <a:cxn ang="0">
                <a:pos x="45" y="219"/>
              </a:cxn>
              <a:cxn ang="0">
                <a:pos x="96" y="236"/>
              </a:cxn>
              <a:cxn ang="0">
                <a:pos x="102" y="269"/>
              </a:cxn>
              <a:cxn ang="0">
                <a:pos x="84" y="287"/>
              </a:cxn>
              <a:cxn ang="0">
                <a:pos x="147" y="250"/>
              </a:cxn>
              <a:cxn ang="0">
                <a:pos x="173" y="213"/>
              </a:cxn>
              <a:cxn ang="0">
                <a:pos x="191" y="201"/>
              </a:cxn>
              <a:cxn ang="0">
                <a:pos x="226" y="215"/>
              </a:cxn>
              <a:cxn ang="0">
                <a:pos x="248" y="202"/>
              </a:cxn>
              <a:cxn ang="0">
                <a:pos x="276" y="213"/>
              </a:cxn>
              <a:cxn ang="0">
                <a:pos x="340" y="232"/>
              </a:cxn>
              <a:cxn ang="0">
                <a:pos x="375" y="248"/>
              </a:cxn>
              <a:cxn ang="0">
                <a:pos x="376" y="261"/>
              </a:cxn>
              <a:cxn ang="0">
                <a:pos x="389" y="263"/>
              </a:cxn>
              <a:cxn ang="0">
                <a:pos x="401" y="274"/>
              </a:cxn>
              <a:cxn ang="0">
                <a:pos x="396" y="300"/>
              </a:cxn>
              <a:cxn ang="0">
                <a:pos x="421" y="299"/>
              </a:cxn>
              <a:cxn ang="0">
                <a:pos x="15" y="313"/>
              </a:cxn>
              <a:cxn ang="0">
                <a:pos x="178" y="240"/>
              </a:cxn>
              <a:cxn ang="0">
                <a:pos x="177" y="256"/>
              </a:cxn>
              <a:cxn ang="0">
                <a:pos x="25" y="219"/>
              </a:cxn>
              <a:cxn ang="0">
                <a:pos x="1094" y="443"/>
              </a:cxn>
              <a:cxn ang="0">
                <a:pos x="1010" y="472"/>
              </a:cxn>
              <a:cxn ang="0">
                <a:pos x="970" y="473"/>
              </a:cxn>
              <a:cxn ang="0">
                <a:pos x="926" y="471"/>
              </a:cxn>
              <a:cxn ang="0">
                <a:pos x="954" y="426"/>
              </a:cxn>
              <a:cxn ang="0">
                <a:pos x="902" y="410"/>
              </a:cxn>
              <a:cxn ang="0">
                <a:pos x="864" y="397"/>
              </a:cxn>
              <a:cxn ang="0">
                <a:pos x="516" y="388"/>
              </a:cxn>
              <a:cxn ang="0">
                <a:pos x="510" y="395"/>
              </a:cxn>
              <a:cxn ang="0">
                <a:pos x="501" y="436"/>
              </a:cxn>
              <a:cxn ang="0">
                <a:pos x="513" y="539"/>
              </a:cxn>
              <a:cxn ang="0">
                <a:pos x="557" y="590"/>
              </a:cxn>
              <a:cxn ang="0">
                <a:pos x="647" y="625"/>
              </a:cxn>
              <a:cxn ang="0">
                <a:pos x="724" y="647"/>
              </a:cxn>
              <a:cxn ang="0">
                <a:pos x="783" y="685"/>
              </a:cxn>
              <a:cxn ang="0">
                <a:pos x="818" y="658"/>
              </a:cxn>
              <a:cxn ang="0">
                <a:pos x="862" y="644"/>
              </a:cxn>
              <a:cxn ang="0">
                <a:pos x="889" y="641"/>
              </a:cxn>
              <a:cxn ang="0">
                <a:pos x="944" y="645"/>
              </a:cxn>
              <a:cxn ang="0">
                <a:pos x="983" y="699"/>
              </a:cxn>
              <a:cxn ang="0">
                <a:pos x="994" y="608"/>
              </a:cxn>
              <a:cxn ang="0">
                <a:pos x="1036" y="571"/>
              </a:cxn>
              <a:cxn ang="0">
                <a:pos x="1032" y="539"/>
              </a:cxn>
              <a:cxn ang="0">
                <a:pos x="1049" y="541"/>
              </a:cxn>
              <a:cxn ang="0">
                <a:pos x="1088" y="499"/>
              </a:cxn>
              <a:cxn ang="0">
                <a:pos x="1102" y="475"/>
              </a:cxn>
              <a:cxn ang="0">
                <a:pos x="1137" y="413"/>
              </a:cxn>
            </a:cxnLst>
            <a:rect b="b" l="0" r="r" t="0"/>
            <a:pathLst>
              <a:path h="705" w="1147">
                <a:moveTo>
                  <a:pt x="431" y="286"/>
                </a:moveTo>
                <a:cubicBezTo>
                  <a:pt x="432" y="281"/>
                  <a:pt x="433" y="279"/>
                  <a:pt x="420" y="274"/>
                </a:cubicBezTo>
                <a:cubicBezTo>
                  <a:pt x="407" y="269"/>
                  <a:pt x="409" y="265"/>
                  <a:pt x="400" y="250"/>
                </a:cubicBezTo>
                <a:cubicBezTo>
                  <a:pt x="391" y="235"/>
                  <a:pt x="376" y="228"/>
                  <a:pt x="376" y="222"/>
                </a:cubicBezTo>
                <a:cubicBezTo>
                  <a:pt x="376" y="217"/>
                  <a:pt x="360" y="217"/>
                  <a:pt x="360" y="222"/>
                </a:cubicBezTo>
                <a:cubicBezTo>
                  <a:pt x="360" y="226"/>
                  <a:pt x="354" y="227"/>
                  <a:pt x="350" y="230"/>
                </a:cubicBezTo>
                <a:cubicBezTo>
                  <a:pt x="346" y="232"/>
                  <a:pt x="345" y="228"/>
                  <a:pt x="341" y="224"/>
                </a:cubicBezTo>
                <a:cubicBezTo>
                  <a:pt x="338" y="220"/>
                  <a:pt x="330" y="215"/>
                  <a:pt x="330" y="213"/>
                </a:cubicBezTo>
                <a:cubicBezTo>
                  <a:pt x="330" y="210"/>
                  <a:pt x="328" y="204"/>
                  <a:pt x="322" y="207"/>
                </a:cubicBezTo>
                <a:cubicBezTo>
                  <a:pt x="317" y="210"/>
                  <a:pt x="314" y="207"/>
                  <a:pt x="312" y="209"/>
                </a:cubicBezTo>
                <a:cubicBezTo>
                  <a:pt x="310" y="211"/>
                  <a:pt x="306" y="208"/>
                  <a:pt x="306" y="208"/>
                </a:cubicBezTo>
                <a:cubicBezTo>
                  <a:pt x="306" y="35"/>
                  <a:pt x="306" y="35"/>
                  <a:pt x="306" y="35"/>
                </a:cubicBezTo>
                <a:cubicBezTo>
                  <a:pt x="304" y="35"/>
                  <a:pt x="302" y="34"/>
                  <a:pt x="301" y="34"/>
                </a:cubicBezTo>
                <a:cubicBezTo>
                  <a:pt x="294" y="31"/>
                  <a:pt x="283" y="26"/>
                  <a:pt x="277" y="27"/>
                </a:cubicBezTo>
                <a:cubicBezTo>
                  <a:pt x="271" y="29"/>
                  <a:pt x="260" y="30"/>
                  <a:pt x="256" y="28"/>
                </a:cubicBezTo>
                <a:cubicBezTo>
                  <a:pt x="252" y="26"/>
                  <a:pt x="246" y="24"/>
                  <a:pt x="238" y="26"/>
                </a:cubicBezTo>
                <a:cubicBezTo>
                  <a:pt x="230" y="27"/>
                  <a:pt x="225" y="21"/>
                  <a:pt x="214" y="19"/>
                </a:cubicBezTo>
                <a:cubicBezTo>
                  <a:pt x="204" y="16"/>
                  <a:pt x="189" y="19"/>
                  <a:pt x="185" y="21"/>
                </a:cubicBezTo>
                <a:cubicBezTo>
                  <a:pt x="182" y="22"/>
                  <a:pt x="183" y="17"/>
                  <a:pt x="178" y="17"/>
                </a:cubicBezTo>
                <a:cubicBezTo>
                  <a:pt x="174" y="18"/>
                  <a:pt x="177" y="15"/>
                  <a:pt x="175" y="12"/>
                </a:cubicBezTo>
                <a:cubicBezTo>
                  <a:pt x="172" y="8"/>
                  <a:pt x="160" y="11"/>
                  <a:pt x="155" y="12"/>
                </a:cubicBezTo>
                <a:cubicBezTo>
                  <a:pt x="151" y="12"/>
                  <a:pt x="149" y="10"/>
                  <a:pt x="150" y="7"/>
                </a:cubicBezTo>
                <a:cubicBezTo>
                  <a:pt x="150" y="5"/>
                  <a:pt x="146" y="6"/>
                  <a:pt x="144" y="9"/>
                </a:cubicBezTo>
                <a:cubicBezTo>
                  <a:pt x="142" y="12"/>
                  <a:pt x="137" y="12"/>
                  <a:pt x="135" y="10"/>
                </a:cubicBezTo>
                <a:cubicBezTo>
                  <a:pt x="133" y="8"/>
                  <a:pt x="139" y="8"/>
                  <a:pt x="140" y="5"/>
                </a:cubicBezTo>
                <a:cubicBezTo>
                  <a:pt x="140" y="3"/>
                  <a:pt x="133" y="2"/>
                  <a:pt x="131" y="1"/>
                </a:cubicBezTo>
                <a:cubicBezTo>
                  <a:pt x="128" y="0"/>
                  <a:pt x="124" y="4"/>
                  <a:pt x="119" y="8"/>
                </a:cubicBezTo>
                <a:cubicBezTo>
                  <a:pt x="114" y="13"/>
                  <a:pt x="106" y="13"/>
                  <a:pt x="101" y="12"/>
                </a:cubicBezTo>
                <a:cubicBezTo>
                  <a:pt x="96" y="12"/>
                  <a:pt x="90" y="13"/>
                  <a:pt x="91" y="15"/>
                </a:cubicBezTo>
                <a:cubicBezTo>
                  <a:pt x="91" y="18"/>
                  <a:pt x="97" y="18"/>
                  <a:pt x="93" y="21"/>
                </a:cubicBezTo>
                <a:cubicBezTo>
                  <a:pt x="90" y="25"/>
                  <a:pt x="88" y="17"/>
                  <a:pt x="85" y="20"/>
                </a:cubicBezTo>
                <a:cubicBezTo>
                  <a:pt x="81" y="24"/>
                  <a:pt x="71" y="24"/>
                  <a:pt x="68" y="23"/>
                </a:cubicBezTo>
                <a:cubicBezTo>
                  <a:pt x="66" y="23"/>
                  <a:pt x="58" y="32"/>
                  <a:pt x="55" y="34"/>
                </a:cubicBezTo>
                <a:cubicBezTo>
                  <a:pt x="53" y="37"/>
                  <a:pt x="57" y="39"/>
                  <a:pt x="50" y="46"/>
                </a:cubicBezTo>
                <a:cubicBezTo>
                  <a:pt x="44" y="54"/>
                  <a:pt x="26" y="52"/>
                  <a:pt x="22" y="52"/>
                </a:cubicBezTo>
                <a:cubicBezTo>
                  <a:pt x="18" y="52"/>
                  <a:pt x="21" y="56"/>
                  <a:pt x="19" y="59"/>
                </a:cubicBezTo>
                <a:cubicBezTo>
                  <a:pt x="17" y="62"/>
                  <a:pt x="21" y="64"/>
                  <a:pt x="31" y="67"/>
                </a:cubicBezTo>
                <a:cubicBezTo>
                  <a:pt x="42" y="70"/>
                  <a:pt x="49" y="83"/>
                  <a:pt x="50" y="87"/>
                </a:cubicBezTo>
                <a:cubicBezTo>
                  <a:pt x="51" y="90"/>
                  <a:pt x="64" y="86"/>
                  <a:pt x="69" y="87"/>
                </a:cubicBezTo>
                <a:cubicBezTo>
                  <a:pt x="74" y="88"/>
                  <a:pt x="68" y="95"/>
                  <a:pt x="73" y="97"/>
                </a:cubicBezTo>
                <a:cubicBezTo>
                  <a:pt x="77" y="99"/>
                  <a:pt x="83" y="96"/>
                  <a:pt x="85" y="99"/>
                </a:cubicBezTo>
                <a:cubicBezTo>
                  <a:pt x="86" y="103"/>
                  <a:pt x="76" y="99"/>
                  <a:pt x="71" y="103"/>
                </a:cubicBezTo>
                <a:cubicBezTo>
                  <a:pt x="66" y="107"/>
                  <a:pt x="64" y="109"/>
                  <a:pt x="62" y="106"/>
                </a:cubicBezTo>
                <a:cubicBezTo>
                  <a:pt x="60" y="103"/>
                  <a:pt x="51" y="105"/>
                  <a:pt x="47" y="105"/>
                </a:cubicBezTo>
                <a:cubicBezTo>
                  <a:pt x="43" y="106"/>
                  <a:pt x="47" y="100"/>
                  <a:pt x="47" y="98"/>
                </a:cubicBezTo>
                <a:cubicBezTo>
                  <a:pt x="47" y="95"/>
                  <a:pt x="41" y="93"/>
                  <a:pt x="33" y="98"/>
                </a:cubicBezTo>
                <a:cubicBezTo>
                  <a:pt x="25" y="103"/>
                  <a:pt x="28" y="101"/>
                  <a:pt x="27" y="105"/>
                </a:cubicBezTo>
                <a:cubicBezTo>
                  <a:pt x="26" y="109"/>
                  <a:pt x="22" y="103"/>
                  <a:pt x="17" y="106"/>
                </a:cubicBezTo>
                <a:cubicBezTo>
                  <a:pt x="12" y="109"/>
                  <a:pt x="3" y="111"/>
                  <a:pt x="2" y="115"/>
                </a:cubicBezTo>
                <a:cubicBezTo>
                  <a:pt x="0" y="118"/>
                  <a:pt x="13" y="120"/>
                  <a:pt x="18" y="121"/>
                </a:cubicBezTo>
                <a:cubicBezTo>
                  <a:pt x="23" y="122"/>
                  <a:pt x="12" y="125"/>
                  <a:pt x="16" y="127"/>
                </a:cubicBezTo>
                <a:cubicBezTo>
                  <a:pt x="20" y="128"/>
                  <a:pt x="18" y="132"/>
                  <a:pt x="25" y="135"/>
                </a:cubicBezTo>
                <a:cubicBezTo>
                  <a:pt x="31" y="138"/>
                  <a:pt x="45" y="135"/>
                  <a:pt x="49" y="135"/>
                </a:cubicBezTo>
                <a:cubicBezTo>
                  <a:pt x="52" y="135"/>
                  <a:pt x="56" y="139"/>
                  <a:pt x="59" y="136"/>
                </a:cubicBezTo>
                <a:cubicBezTo>
                  <a:pt x="62" y="133"/>
                  <a:pt x="73" y="124"/>
                  <a:pt x="79" y="129"/>
                </a:cubicBezTo>
                <a:cubicBezTo>
                  <a:pt x="85" y="134"/>
                  <a:pt x="73" y="134"/>
                  <a:pt x="76" y="137"/>
                </a:cubicBezTo>
                <a:cubicBezTo>
                  <a:pt x="79" y="140"/>
                  <a:pt x="82" y="148"/>
                  <a:pt x="77" y="152"/>
                </a:cubicBezTo>
                <a:cubicBezTo>
                  <a:pt x="71" y="156"/>
                  <a:pt x="66" y="153"/>
                  <a:pt x="63" y="153"/>
                </a:cubicBezTo>
                <a:cubicBezTo>
                  <a:pt x="60" y="153"/>
                  <a:pt x="62" y="158"/>
                  <a:pt x="57" y="162"/>
                </a:cubicBezTo>
                <a:cubicBezTo>
                  <a:pt x="52" y="166"/>
                  <a:pt x="49" y="158"/>
                  <a:pt x="43" y="158"/>
                </a:cubicBezTo>
                <a:cubicBezTo>
                  <a:pt x="37" y="158"/>
                  <a:pt x="38" y="166"/>
                  <a:pt x="38" y="170"/>
                </a:cubicBezTo>
                <a:cubicBezTo>
                  <a:pt x="39" y="173"/>
                  <a:pt x="29" y="169"/>
                  <a:pt x="27" y="178"/>
                </a:cubicBezTo>
                <a:cubicBezTo>
                  <a:pt x="25" y="187"/>
                  <a:pt x="15" y="179"/>
                  <a:pt x="22" y="188"/>
                </a:cubicBezTo>
                <a:cubicBezTo>
                  <a:pt x="28" y="197"/>
                  <a:pt x="27" y="191"/>
                  <a:pt x="32" y="195"/>
                </a:cubicBezTo>
                <a:cubicBezTo>
                  <a:pt x="37" y="198"/>
                  <a:pt x="26" y="204"/>
                  <a:pt x="31" y="205"/>
                </a:cubicBezTo>
                <a:cubicBezTo>
                  <a:pt x="36" y="206"/>
                  <a:pt x="42" y="215"/>
                  <a:pt x="45" y="219"/>
                </a:cubicBezTo>
                <a:cubicBezTo>
                  <a:pt x="49" y="222"/>
                  <a:pt x="53" y="217"/>
                  <a:pt x="59" y="217"/>
                </a:cubicBezTo>
                <a:cubicBezTo>
                  <a:pt x="64" y="216"/>
                  <a:pt x="61" y="209"/>
                  <a:pt x="64" y="212"/>
                </a:cubicBezTo>
                <a:cubicBezTo>
                  <a:pt x="67" y="215"/>
                  <a:pt x="72" y="223"/>
                  <a:pt x="69" y="225"/>
                </a:cubicBezTo>
                <a:cubicBezTo>
                  <a:pt x="66" y="227"/>
                  <a:pt x="68" y="233"/>
                  <a:pt x="68" y="236"/>
                </a:cubicBezTo>
                <a:cubicBezTo>
                  <a:pt x="67" y="239"/>
                  <a:pt x="79" y="238"/>
                  <a:pt x="80" y="234"/>
                </a:cubicBezTo>
                <a:cubicBezTo>
                  <a:pt x="81" y="231"/>
                  <a:pt x="90" y="230"/>
                  <a:pt x="96" y="236"/>
                </a:cubicBezTo>
                <a:cubicBezTo>
                  <a:pt x="101" y="241"/>
                  <a:pt x="103" y="242"/>
                  <a:pt x="103" y="238"/>
                </a:cubicBezTo>
                <a:cubicBezTo>
                  <a:pt x="103" y="233"/>
                  <a:pt x="107" y="228"/>
                  <a:pt x="107" y="232"/>
                </a:cubicBezTo>
                <a:cubicBezTo>
                  <a:pt x="108" y="236"/>
                  <a:pt x="112" y="237"/>
                  <a:pt x="120" y="233"/>
                </a:cubicBezTo>
                <a:cubicBezTo>
                  <a:pt x="127" y="230"/>
                  <a:pt x="124" y="234"/>
                  <a:pt x="120" y="239"/>
                </a:cubicBezTo>
                <a:cubicBezTo>
                  <a:pt x="114" y="245"/>
                  <a:pt x="120" y="256"/>
                  <a:pt x="116" y="257"/>
                </a:cubicBezTo>
                <a:cubicBezTo>
                  <a:pt x="112" y="258"/>
                  <a:pt x="109" y="268"/>
                  <a:pt x="102" y="269"/>
                </a:cubicBezTo>
                <a:cubicBezTo>
                  <a:pt x="96" y="269"/>
                  <a:pt x="85" y="282"/>
                  <a:pt x="83" y="284"/>
                </a:cubicBezTo>
                <a:cubicBezTo>
                  <a:pt x="82" y="286"/>
                  <a:pt x="68" y="280"/>
                  <a:pt x="66" y="285"/>
                </a:cubicBezTo>
                <a:cubicBezTo>
                  <a:pt x="64" y="291"/>
                  <a:pt x="55" y="295"/>
                  <a:pt x="57" y="298"/>
                </a:cubicBezTo>
                <a:cubicBezTo>
                  <a:pt x="59" y="299"/>
                  <a:pt x="70" y="293"/>
                  <a:pt x="71" y="290"/>
                </a:cubicBezTo>
                <a:cubicBezTo>
                  <a:pt x="71" y="287"/>
                  <a:pt x="73" y="288"/>
                  <a:pt x="75" y="290"/>
                </a:cubicBezTo>
                <a:cubicBezTo>
                  <a:pt x="77" y="292"/>
                  <a:pt x="82" y="289"/>
                  <a:pt x="84" y="287"/>
                </a:cubicBezTo>
                <a:cubicBezTo>
                  <a:pt x="86" y="285"/>
                  <a:pt x="90" y="286"/>
                  <a:pt x="92" y="286"/>
                </a:cubicBezTo>
                <a:cubicBezTo>
                  <a:pt x="95" y="286"/>
                  <a:pt x="96" y="283"/>
                  <a:pt x="102" y="282"/>
                </a:cubicBezTo>
                <a:cubicBezTo>
                  <a:pt x="109" y="281"/>
                  <a:pt x="108" y="279"/>
                  <a:pt x="109" y="275"/>
                </a:cubicBezTo>
                <a:cubicBezTo>
                  <a:pt x="111" y="272"/>
                  <a:pt x="127" y="264"/>
                  <a:pt x="130" y="264"/>
                </a:cubicBezTo>
                <a:cubicBezTo>
                  <a:pt x="133" y="263"/>
                  <a:pt x="131" y="258"/>
                  <a:pt x="134" y="258"/>
                </a:cubicBezTo>
                <a:cubicBezTo>
                  <a:pt x="137" y="257"/>
                  <a:pt x="142" y="253"/>
                  <a:pt x="147" y="250"/>
                </a:cubicBezTo>
                <a:cubicBezTo>
                  <a:pt x="151" y="246"/>
                  <a:pt x="152" y="248"/>
                  <a:pt x="155" y="247"/>
                </a:cubicBezTo>
                <a:cubicBezTo>
                  <a:pt x="158" y="245"/>
                  <a:pt x="156" y="239"/>
                  <a:pt x="159" y="238"/>
                </a:cubicBezTo>
                <a:cubicBezTo>
                  <a:pt x="162" y="238"/>
                  <a:pt x="165" y="235"/>
                  <a:pt x="165" y="233"/>
                </a:cubicBezTo>
                <a:cubicBezTo>
                  <a:pt x="165" y="230"/>
                  <a:pt x="157" y="230"/>
                  <a:pt x="156" y="228"/>
                </a:cubicBezTo>
                <a:cubicBezTo>
                  <a:pt x="155" y="226"/>
                  <a:pt x="162" y="220"/>
                  <a:pt x="165" y="220"/>
                </a:cubicBezTo>
                <a:cubicBezTo>
                  <a:pt x="168" y="220"/>
                  <a:pt x="172" y="217"/>
                  <a:pt x="173" y="213"/>
                </a:cubicBezTo>
                <a:cubicBezTo>
                  <a:pt x="173" y="209"/>
                  <a:pt x="177" y="209"/>
                  <a:pt x="180" y="205"/>
                </a:cubicBezTo>
                <a:cubicBezTo>
                  <a:pt x="183" y="202"/>
                  <a:pt x="183" y="199"/>
                  <a:pt x="186" y="198"/>
                </a:cubicBezTo>
                <a:cubicBezTo>
                  <a:pt x="189" y="198"/>
                  <a:pt x="192" y="194"/>
                  <a:pt x="196" y="192"/>
                </a:cubicBezTo>
                <a:cubicBezTo>
                  <a:pt x="199" y="190"/>
                  <a:pt x="196" y="194"/>
                  <a:pt x="202" y="194"/>
                </a:cubicBezTo>
                <a:cubicBezTo>
                  <a:pt x="209" y="195"/>
                  <a:pt x="208" y="201"/>
                  <a:pt x="203" y="199"/>
                </a:cubicBezTo>
                <a:cubicBezTo>
                  <a:pt x="198" y="196"/>
                  <a:pt x="195" y="197"/>
                  <a:pt x="191" y="201"/>
                </a:cubicBezTo>
                <a:cubicBezTo>
                  <a:pt x="186" y="205"/>
                  <a:pt x="190" y="206"/>
                  <a:pt x="186" y="211"/>
                </a:cubicBezTo>
                <a:cubicBezTo>
                  <a:pt x="183" y="216"/>
                  <a:pt x="183" y="219"/>
                  <a:pt x="187" y="219"/>
                </a:cubicBezTo>
                <a:cubicBezTo>
                  <a:pt x="192" y="220"/>
                  <a:pt x="187" y="223"/>
                  <a:pt x="183" y="224"/>
                </a:cubicBezTo>
                <a:cubicBezTo>
                  <a:pt x="179" y="226"/>
                  <a:pt x="182" y="228"/>
                  <a:pt x="188" y="228"/>
                </a:cubicBezTo>
                <a:cubicBezTo>
                  <a:pt x="193" y="228"/>
                  <a:pt x="202" y="220"/>
                  <a:pt x="210" y="216"/>
                </a:cubicBezTo>
                <a:cubicBezTo>
                  <a:pt x="218" y="212"/>
                  <a:pt x="224" y="216"/>
                  <a:pt x="226" y="215"/>
                </a:cubicBezTo>
                <a:cubicBezTo>
                  <a:pt x="228" y="214"/>
                  <a:pt x="224" y="211"/>
                  <a:pt x="226" y="209"/>
                </a:cubicBezTo>
                <a:cubicBezTo>
                  <a:pt x="229" y="208"/>
                  <a:pt x="223" y="207"/>
                  <a:pt x="221" y="203"/>
                </a:cubicBezTo>
                <a:cubicBezTo>
                  <a:pt x="220" y="198"/>
                  <a:pt x="224" y="201"/>
                  <a:pt x="225" y="197"/>
                </a:cubicBezTo>
                <a:cubicBezTo>
                  <a:pt x="226" y="193"/>
                  <a:pt x="229" y="195"/>
                  <a:pt x="231" y="197"/>
                </a:cubicBezTo>
                <a:cubicBezTo>
                  <a:pt x="234" y="198"/>
                  <a:pt x="237" y="195"/>
                  <a:pt x="240" y="200"/>
                </a:cubicBezTo>
                <a:cubicBezTo>
                  <a:pt x="242" y="204"/>
                  <a:pt x="244" y="198"/>
                  <a:pt x="248" y="202"/>
                </a:cubicBezTo>
                <a:cubicBezTo>
                  <a:pt x="252" y="205"/>
                  <a:pt x="248" y="204"/>
                  <a:pt x="243" y="205"/>
                </a:cubicBezTo>
                <a:cubicBezTo>
                  <a:pt x="239" y="206"/>
                  <a:pt x="241" y="212"/>
                  <a:pt x="245" y="209"/>
                </a:cubicBezTo>
                <a:cubicBezTo>
                  <a:pt x="248" y="207"/>
                  <a:pt x="251" y="205"/>
                  <a:pt x="254" y="208"/>
                </a:cubicBezTo>
                <a:cubicBezTo>
                  <a:pt x="257" y="210"/>
                  <a:pt x="258" y="209"/>
                  <a:pt x="260" y="207"/>
                </a:cubicBezTo>
                <a:cubicBezTo>
                  <a:pt x="263" y="204"/>
                  <a:pt x="263" y="207"/>
                  <a:pt x="263" y="209"/>
                </a:cubicBezTo>
                <a:cubicBezTo>
                  <a:pt x="263" y="211"/>
                  <a:pt x="268" y="212"/>
                  <a:pt x="276" y="213"/>
                </a:cubicBezTo>
                <a:cubicBezTo>
                  <a:pt x="283" y="214"/>
                  <a:pt x="297" y="212"/>
                  <a:pt x="300" y="212"/>
                </a:cubicBezTo>
                <a:cubicBezTo>
                  <a:pt x="304" y="212"/>
                  <a:pt x="302" y="217"/>
                  <a:pt x="310" y="219"/>
                </a:cubicBezTo>
                <a:cubicBezTo>
                  <a:pt x="318" y="220"/>
                  <a:pt x="320" y="211"/>
                  <a:pt x="324" y="214"/>
                </a:cubicBezTo>
                <a:cubicBezTo>
                  <a:pt x="328" y="218"/>
                  <a:pt x="324" y="219"/>
                  <a:pt x="322" y="221"/>
                </a:cubicBezTo>
                <a:cubicBezTo>
                  <a:pt x="319" y="224"/>
                  <a:pt x="324" y="224"/>
                  <a:pt x="327" y="225"/>
                </a:cubicBezTo>
                <a:cubicBezTo>
                  <a:pt x="330" y="227"/>
                  <a:pt x="337" y="229"/>
                  <a:pt x="340" y="232"/>
                </a:cubicBezTo>
                <a:cubicBezTo>
                  <a:pt x="344" y="235"/>
                  <a:pt x="346" y="239"/>
                  <a:pt x="354" y="243"/>
                </a:cubicBezTo>
                <a:cubicBezTo>
                  <a:pt x="362" y="247"/>
                  <a:pt x="354" y="233"/>
                  <a:pt x="360" y="237"/>
                </a:cubicBezTo>
                <a:cubicBezTo>
                  <a:pt x="366" y="242"/>
                  <a:pt x="364" y="237"/>
                  <a:pt x="369" y="242"/>
                </a:cubicBezTo>
                <a:cubicBezTo>
                  <a:pt x="374" y="246"/>
                  <a:pt x="372" y="240"/>
                  <a:pt x="370" y="232"/>
                </a:cubicBezTo>
                <a:cubicBezTo>
                  <a:pt x="368" y="225"/>
                  <a:pt x="372" y="230"/>
                  <a:pt x="375" y="233"/>
                </a:cubicBezTo>
                <a:cubicBezTo>
                  <a:pt x="377" y="237"/>
                  <a:pt x="377" y="244"/>
                  <a:pt x="375" y="248"/>
                </a:cubicBezTo>
                <a:cubicBezTo>
                  <a:pt x="374" y="253"/>
                  <a:pt x="366" y="249"/>
                  <a:pt x="367" y="246"/>
                </a:cubicBezTo>
                <a:cubicBezTo>
                  <a:pt x="368" y="244"/>
                  <a:pt x="360" y="245"/>
                  <a:pt x="359" y="248"/>
                </a:cubicBezTo>
                <a:cubicBezTo>
                  <a:pt x="359" y="252"/>
                  <a:pt x="365" y="259"/>
                  <a:pt x="369" y="259"/>
                </a:cubicBezTo>
                <a:cubicBezTo>
                  <a:pt x="373" y="260"/>
                  <a:pt x="370" y="266"/>
                  <a:pt x="372" y="267"/>
                </a:cubicBezTo>
                <a:cubicBezTo>
                  <a:pt x="376" y="268"/>
                  <a:pt x="375" y="275"/>
                  <a:pt x="377" y="274"/>
                </a:cubicBezTo>
                <a:cubicBezTo>
                  <a:pt x="379" y="273"/>
                  <a:pt x="379" y="265"/>
                  <a:pt x="376" y="261"/>
                </a:cubicBezTo>
                <a:cubicBezTo>
                  <a:pt x="374" y="258"/>
                  <a:pt x="375" y="253"/>
                  <a:pt x="378" y="254"/>
                </a:cubicBezTo>
                <a:cubicBezTo>
                  <a:pt x="381" y="255"/>
                  <a:pt x="378" y="260"/>
                  <a:pt x="380" y="262"/>
                </a:cubicBezTo>
                <a:cubicBezTo>
                  <a:pt x="381" y="264"/>
                  <a:pt x="383" y="260"/>
                  <a:pt x="386" y="258"/>
                </a:cubicBezTo>
                <a:cubicBezTo>
                  <a:pt x="390" y="256"/>
                  <a:pt x="385" y="250"/>
                  <a:pt x="386" y="247"/>
                </a:cubicBezTo>
                <a:cubicBezTo>
                  <a:pt x="387" y="244"/>
                  <a:pt x="391" y="250"/>
                  <a:pt x="393" y="255"/>
                </a:cubicBezTo>
                <a:cubicBezTo>
                  <a:pt x="394" y="260"/>
                  <a:pt x="389" y="260"/>
                  <a:pt x="389" y="263"/>
                </a:cubicBezTo>
                <a:cubicBezTo>
                  <a:pt x="389" y="266"/>
                  <a:pt x="384" y="264"/>
                  <a:pt x="383" y="266"/>
                </a:cubicBezTo>
                <a:cubicBezTo>
                  <a:pt x="381" y="267"/>
                  <a:pt x="382" y="277"/>
                  <a:pt x="384" y="278"/>
                </a:cubicBezTo>
                <a:cubicBezTo>
                  <a:pt x="386" y="278"/>
                  <a:pt x="387" y="269"/>
                  <a:pt x="389" y="274"/>
                </a:cubicBezTo>
                <a:cubicBezTo>
                  <a:pt x="390" y="278"/>
                  <a:pt x="395" y="268"/>
                  <a:pt x="396" y="272"/>
                </a:cubicBezTo>
                <a:cubicBezTo>
                  <a:pt x="397" y="276"/>
                  <a:pt x="403" y="281"/>
                  <a:pt x="405" y="280"/>
                </a:cubicBezTo>
                <a:cubicBezTo>
                  <a:pt x="408" y="279"/>
                  <a:pt x="404" y="274"/>
                  <a:pt x="401" y="274"/>
                </a:cubicBezTo>
                <a:cubicBezTo>
                  <a:pt x="397" y="274"/>
                  <a:pt x="398" y="268"/>
                  <a:pt x="401" y="268"/>
                </a:cubicBezTo>
                <a:cubicBezTo>
                  <a:pt x="404" y="268"/>
                  <a:pt x="410" y="276"/>
                  <a:pt x="410" y="279"/>
                </a:cubicBezTo>
                <a:cubicBezTo>
                  <a:pt x="410" y="282"/>
                  <a:pt x="407" y="282"/>
                  <a:pt x="404" y="285"/>
                </a:cubicBezTo>
                <a:cubicBezTo>
                  <a:pt x="401" y="288"/>
                  <a:pt x="398" y="280"/>
                  <a:pt x="394" y="280"/>
                </a:cubicBezTo>
                <a:cubicBezTo>
                  <a:pt x="391" y="280"/>
                  <a:pt x="394" y="285"/>
                  <a:pt x="396" y="289"/>
                </a:cubicBezTo>
                <a:cubicBezTo>
                  <a:pt x="397" y="292"/>
                  <a:pt x="392" y="297"/>
                  <a:pt x="396" y="300"/>
                </a:cubicBezTo>
                <a:cubicBezTo>
                  <a:pt x="400" y="303"/>
                  <a:pt x="399" y="298"/>
                  <a:pt x="400" y="296"/>
                </a:cubicBezTo>
                <a:cubicBezTo>
                  <a:pt x="401" y="294"/>
                  <a:pt x="404" y="297"/>
                  <a:pt x="406" y="298"/>
                </a:cubicBezTo>
                <a:cubicBezTo>
                  <a:pt x="408" y="300"/>
                  <a:pt x="409" y="294"/>
                  <a:pt x="409" y="292"/>
                </a:cubicBezTo>
                <a:cubicBezTo>
                  <a:pt x="409" y="290"/>
                  <a:pt x="412" y="291"/>
                  <a:pt x="414" y="294"/>
                </a:cubicBezTo>
                <a:cubicBezTo>
                  <a:pt x="416" y="297"/>
                  <a:pt x="417" y="291"/>
                  <a:pt x="420" y="291"/>
                </a:cubicBezTo>
                <a:cubicBezTo>
                  <a:pt x="423" y="292"/>
                  <a:pt x="421" y="297"/>
                  <a:pt x="421" y="299"/>
                </a:cubicBezTo>
                <a:cubicBezTo>
                  <a:pt x="421" y="302"/>
                  <a:pt x="426" y="297"/>
                  <a:pt x="425" y="300"/>
                </a:cubicBezTo>
                <a:cubicBezTo>
                  <a:pt x="425" y="300"/>
                  <a:pt x="425" y="301"/>
                  <a:pt x="425" y="301"/>
                </a:cubicBezTo>
                <a:cubicBezTo>
                  <a:pt x="428" y="299"/>
                  <a:pt x="431" y="297"/>
                  <a:pt x="433" y="296"/>
                </a:cubicBezTo>
                <a:cubicBezTo>
                  <a:pt x="438" y="292"/>
                  <a:pt x="429" y="290"/>
                  <a:pt x="431" y="286"/>
                </a:cubicBezTo>
                <a:close/>
                <a:moveTo>
                  <a:pt x="9" y="321"/>
                </a:moveTo>
                <a:cubicBezTo>
                  <a:pt x="15" y="319"/>
                  <a:pt x="17" y="316"/>
                  <a:pt x="15" y="313"/>
                </a:cubicBezTo>
                <a:cubicBezTo>
                  <a:pt x="12" y="310"/>
                  <a:pt x="4" y="323"/>
                  <a:pt x="9" y="321"/>
                </a:cubicBezTo>
                <a:close/>
                <a:moveTo>
                  <a:pt x="51" y="299"/>
                </a:moveTo>
                <a:cubicBezTo>
                  <a:pt x="46" y="297"/>
                  <a:pt x="31" y="305"/>
                  <a:pt x="36" y="306"/>
                </a:cubicBezTo>
                <a:cubicBezTo>
                  <a:pt x="40" y="307"/>
                  <a:pt x="41" y="303"/>
                  <a:pt x="45" y="303"/>
                </a:cubicBezTo>
                <a:cubicBezTo>
                  <a:pt x="49" y="303"/>
                  <a:pt x="57" y="301"/>
                  <a:pt x="51" y="299"/>
                </a:cubicBezTo>
                <a:close/>
                <a:moveTo>
                  <a:pt x="178" y="240"/>
                </a:moveTo>
                <a:cubicBezTo>
                  <a:pt x="178" y="237"/>
                  <a:pt x="174" y="237"/>
                  <a:pt x="169" y="243"/>
                </a:cubicBezTo>
                <a:cubicBezTo>
                  <a:pt x="164" y="249"/>
                  <a:pt x="160" y="252"/>
                  <a:pt x="159" y="255"/>
                </a:cubicBezTo>
                <a:cubicBezTo>
                  <a:pt x="159" y="257"/>
                  <a:pt x="153" y="254"/>
                  <a:pt x="151" y="258"/>
                </a:cubicBezTo>
                <a:cubicBezTo>
                  <a:pt x="149" y="261"/>
                  <a:pt x="152" y="269"/>
                  <a:pt x="156" y="266"/>
                </a:cubicBezTo>
                <a:cubicBezTo>
                  <a:pt x="159" y="264"/>
                  <a:pt x="160" y="266"/>
                  <a:pt x="162" y="266"/>
                </a:cubicBezTo>
                <a:cubicBezTo>
                  <a:pt x="164" y="266"/>
                  <a:pt x="174" y="259"/>
                  <a:pt x="177" y="256"/>
                </a:cubicBezTo>
                <a:cubicBezTo>
                  <a:pt x="179" y="252"/>
                  <a:pt x="173" y="251"/>
                  <a:pt x="172" y="249"/>
                </a:cubicBezTo>
                <a:cubicBezTo>
                  <a:pt x="172" y="247"/>
                  <a:pt x="178" y="247"/>
                  <a:pt x="180" y="245"/>
                </a:cubicBezTo>
                <a:cubicBezTo>
                  <a:pt x="183" y="244"/>
                  <a:pt x="178" y="243"/>
                  <a:pt x="178" y="240"/>
                </a:cubicBezTo>
                <a:close/>
                <a:moveTo>
                  <a:pt x="19" y="210"/>
                </a:moveTo>
                <a:cubicBezTo>
                  <a:pt x="18" y="206"/>
                  <a:pt x="8" y="210"/>
                  <a:pt x="9" y="214"/>
                </a:cubicBezTo>
                <a:cubicBezTo>
                  <a:pt x="10" y="218"/>
                  <a:pt x="20" y="220"/>
                  <a:pt x="25" y="219"/>
                </a:cubicBezTo>
                <a:cubicBezTo>
                  <a:pt x="28" y="217"/>
                  <a:pt x="30" y="213"/>
                  <a:pt x="27" y="211"/>
                </a:cubicBezTo>
                <a:cubicBezTo>
                  <a:pt x="24" y="208"/>
                  <a:pt x="19" y="214"/>
                  <a:pt x="19" y="210"/>
                </a:cubicBezTo>
                <a:close/>
                <a:moveTo>
                  <a:pt x="1137" y="413"/>
                </a:moveTo>
                <a:cubicBezTo>
                  <a:pt x="1137" y="410"/>
                  <a:pt x="1127" y="412"/>
                  <a:pt x="1122" y="409"/>
                </a:cubicBezTo>
                <a:cubicBezTo>
                  <a:pt x="1117" y="405"/>
                  <a:pt x="1109" y="422"/>
                  <a:pt x="1108" y="429"/>
                </a:cubicBezTo>
                <a:cubicBezTo>
                  <a:pt x="1106" y="436"/>
                  <a:pt x="1094" y="443"/>
                  <a:pt x="1094" y="443"/>
                </a:cubicBezTo>
                <a:cubicBezTo>
                  <a:pt x="1094" y="443"/>
                  <a:pt x="1058" y="444"/>
                  <a:pt x="1055" y="444"/>
                </a:cubicBezTo>
                <a:cubicBezTo>
                  <a:pt x="1053" y="444"/>
                  <a:pt x="1045" y="451"/>
                  <a:pt x="1040" y="455"/>
                </a:cubicBezTo>
                <a:cubicBezTo>
                  <a:pt x="1040" y="455"/>
                  <a:pt x="1040" y="455"/>
                  <a:pt x="1040" y="456"/>
                </a:cubicBezTo>
                <a:cubicBezTo>
                  <a:pt x="1044" y="462"/>
                  <a:pt x="1031" y="466"/>
                  <a:pt x="1018" y="467"/>
                </a:cubicBezTo>
                <a:cubicBezTo>
                  <a:pt x="1015" y="467"/>
                  <a:pt x="1012" y="467"/>
                  <a:pt x="1009" y="467"/>
                </a:cubicBezTo>
                <a:cubicBezTo>
                  <a:pt x="1010" y="469"/>
                  <a:pt x="1010" y="471"/>
                  <a:pt x="1010" y="472"/>
                </a:cubicBezTo>
                <a:cubicBezTo>
                  <a:pt x="1010" y="473"/>
                  <a:pt x="1009" y="474"/>
                  <a:pt x="1007" y="475"/>
                </a:cubicBezTo>
                <a:cubicBezTo>
                  <a:pt x="1005" y="479"/>
                  <a:pt x="989" y="486"/>
                  <a:pt x="981" y="491"/>
                </a:cubicBezTo>
                <a:cubicBezTo>
                  <a:pt x="971" y="496"/>
                  <a:pt x="958" y="493"/>
                  <a:pt x="958" y="486"/>
                </a:cubicBezTo>
                <a:cubicBezTo>
                  <a:pt x="958" y="478"/>
                  <a:pt x="965" y="480"/>
                  <a:pt x="967" y="483"/>
                </a:cubicBezTo>
                <a:cubicBezTo>
                  <a:pt x="967" y="484"/>
                  <a:pt x="969" y="483"/>
                  <a:pt x="971" y="482"/>
                </a:cubicBezTo>
                <a:cubicBezTo>
                  <a:pt x="969" y="479"/>
                  <a:pt x="969" y="476"/>
                  <a:pt x="970" y="473"/>
                </a:cubicBezTo>
                <a:cubicBezTo>
                  <a:pt x="967" y="472"/>
                  <a:pt x="971" y="460"/>
                  <a:pt x="965" y="459"/>
                </a:cubicBezTo>
                <a:cubicBezTo>
                  <a:pt x="959" y="457"/>
                  <a:pt x="952" y="467"/>
                  <a:pt x="953" y="461"/>
                </a:cubicBezTo>
                <a:cubicBezTo>
                  <a:pt x="954" y="454"/>
                  <a:pt x="963" y="449"/>
                  <a:pt x="958" y="440"/>
                </a:cubicBezTo>
                <a:cubicBezTo>
                  <a:pt x="952" y="432"/>
                  <a:pt x="942" y="432"/>
                  <a:pt x="940" y="438"/>
                </a:cubicBezTo>
                <a:cubicBezTo>
                  <a:pt x="938" y="445"/>
                  <a:pt x="931" y="442"/>
                  <a:pt x="929" y="447"/>
                </a:cubicBezTo>
                <a:cubicBezTo>
                  <a:pt x="926" y="452"/>
                  <a:pt x="924" y="463"/>
                  <a:pt x="926" y="471"/>
                </a:cubicBezTo>
                <a:cubicBezTo>
                  <a:pt x="928" y="479"/>
                  <a:pt x="925" y="483"/>
                  <a:pt x="918" y="487"/>
                </a:cubicBezTo>
                <a:cubicBezTo>
                  <a:pt x="910" y="492"/>
                  <a:pt x="906" y="480"/>
                  <a:pt x="909" y="466"/>
                </a:cubicBezTo>
                <a:cubicBezTo>
                  <a:pt x="911" y="456"/>
                  <a:pt x="917" y="446"/>
                  <a:pt x="912" y="446"/>
                </a:cubicBezTo>
                <a:cubicBezTo>
                  <a:pt x="907" y="446"/>
                  <a:pt x="918" y="434"/>
                  <a:pt x="929" y="432"/>
                </a:cubicBezTo>
                <a:cubicBezTo>
                  <a:pt x="939" y="429"/>
                  <a:pt x="952" y="430"/>
                  <a:pt x="952" y="427"/>
                </a:cubicBezTo>
                <a:cubicBezTo>
                  <a:pt x="952" y="426"/>
                  <a:pt x="953" y="426"/>
                  <a:pt x="954" y="426"/>
                </a:cubicBezTo>
                <a:cubicBezTo>
                  <a:pt x="951" y="424"/>
                  <a:pt x="949" y="422"/>
                  <a:pt x="947" y="421"/>
                </a:cubicBezTo>
                <a:cubicBezTo>
                  <a:pt x="947" y="422"/>
                  <a:pt x="947" y="422"/>
                  <a:pt x="946" y="423"/>
                </a:cubicBezTo>
                <a:cubicBezTo>
                  <a:pt x="942" y="426"/>
                  <a:pt x="943" y="419"/>
                  <a:pt x="935" y="419"/>
                </a:cubicBezTo>
                <a:cubicBezTo>
                  <a:pt x="928" y="419"/>
                  <a:pt x="920" y="426"/>
                  <a:pt x="914" y="423"/>
                </a:cubicBezTo>
                <a:cubicBezTo>
                  <a:pt x="908" y="420"/>
                  <a:pt x="911" y="416"/>
                  <a:pt x="906" y="416"/>
                </a:cubicBezTo>
                <a:cubicBezTo>
                  <a:pt x="900" y="416"/>
                  <a:pt x="910" y="405"/>
                  <a:pt x="902" y="410"/>
                </a:cubicBezTo>
                <a:cubicBezTo>
                  <a:pt x="894" y="414"/>
                  <a:pt x="882" y="425"/>
                  <a:pt x="876" y="420"/>
                </a:cubicBezTo>
                <a:cubicBezTo>
                  <a:pt x="871" y="415"/>
                  <a:pt x="866" y="422"/>
                  <a:pt x="862" y="418"/>
                </a:cubicBezTo>
                <a:cubicBezTo>
                  <a:pt x="858" y="414"/>
                  <a:pt x="876" y="403"/>
                  <a:pt x="884" y="403"/>
                </a:cubicBezTo>
                <a:cubicBezTo>
                  <a:pt x="886" y="403"/>
                  <a:pt x="888" y="402"/>
                  <a:pt x="890" y="401"/>
                </a:cubicBezTo>
                <a:cubicBezTo>
                  <a:pt x="886" y="399"/>
                  <a:pt x="876" y="396"/>
                  <a:pt x="874" y="399"/>
                </a:cubicBezTo>
                <a:cubicBezTo>
                  <a:pt x="871" y="402"/>
                  <a:pt x="867" y="400"/>
                  <a:pt x="864" y="397"/>
                </a:cubicBezTo>
                <a:cubicBezTo>
                  <a:pt x="862" y="394"/>
                  <a:pt x="859" y="398"/>
                  <a:pt x="855" y="393"/>
                </a:cubicBezTo>
                <a:cubicBezTo>
                  <a:pt x="851" y="389"/>
                  <a:pt x="847" y="392"/>
                  <a:pt x="845" y="393"/>
                </a:cubicBezTo>
                <a:cubicBezTo>
                  <a:pt x="842" y="394"/>
                  <a:pt x="839" y="391"/>
                  <a:pt x="835" y="390"/>
                </a:cubicBezTo>
                <a:cubicBezTo>
                  <a:pt x="831" y="388"/>
                  <a:pt x="834" y="384"/>
                  <a:pt x="830" y="381"/>
                </a:cubicBezTo>
                <a:cubicBezTo>
                  <a:pt x="827" y="378"/>
                  <a:pt x="826" y="386"/>
                  <a:pt x="826" y="386"/>
                </a:cubicBezTo>
                <a:cubicBezTo>
                  <a:pt x="516" y="388"/>
                  <a:pt x="516" y="388"/>
                  <a:pt x="516" y="388"/>
                </a:cubicBezTo>
                <a:cubicBezTo>
                  <a:pt x="516" y="388"/>
                  <a:pt x="516" y="389"/>
                  <a:pt x="517" y="389"/>
                </a:cubicBezTo>
                <a:cubicBezTo>
                  <a:pt x="521" y="393"/>
                  <a:pt x="518" y="396"/>
                  <a:pt x="519" y="401"/>
                </a:cubicBezTo>
                <a:cubicBezTo>
                  <a:pt x="520" y="406"/>
                  <a:pt x="519" y="412"/>
                  <a:pt x="515" y="412"/>
                </a:cubicBezTo>
                <a:cubicBezTo>
                  <a:pt x="512" y="412"/>
                  <a:pt x="511" y="408"/>
                  <a:pt x="514" y="407"/>
                </a:cubicBezTo>
                <a:cubicBezTo>
                  <a:pt x="517" y="405"/>
                  <a:pt x="515" y="400"/>
                  <a:pt x="512" y="400"/>
                </a:cubicBezTo>
                <a:cubicBezTo>
                  <a:pt x="511" y="400"/>
                  <a:pt x="510" y="398"/>
                  <a:pt x="510" y="395"/>
                </a:cubicBezTo>
                <a:cubicBezTo>
                  <a:pt x="505" y="397"/>
                  <a:pt x="499" y="396"/>
                  <a:pt x="492" y="395"/>
                </a:cubicBezTo>
                <a:cubicBezTo>
                  <a:pt x="492" y="396"/>
                  <a:pt x="493" y="396"/>
                  <a:pt x="493" y="396"/>
                </a:cubicBezTo>
                <a:cubicBezTo>
                  <a:pt x="493" y="399"/>
                  <a:pt x="494" y="406"/>
                  <a:pt x="498" y="411"/>
                </a:cubicBezTo>
                <a:cubicBezTo>
                  <a:pt x="502" y="417"/>
                  <a:pt x="500" y="420"/>
                  <a:pt x="503" y="422"/>
                </a:cubicBezTo>
                <a:cubicBezTo>
                  <a:pt x="507" y="424"/>
                  <a:pt x="507" y="426"/>
                  <a:pt x="503" y="426"/>
                </a:cubicBezTo>
                <a:cubicBezTo>
                  <a:pt x="500" y="425"/>
                  <a:pt x="502" y="428"/>
                  <a:pt x="501" y="436"/>
                </a:cubicBezTo>
                <a:cubicBezTo>
                  <a:pt x="500" y="443"/>
                  <a:pt x="500" y="459"/>
                  <a:pt x="499" y="464"/>
                </a:cubicBezTo>
                <a:cubicBezTo>
                  <a:pt x="499" y="468"/>
                  <a:pt x="493" y="476"/>
                  <a:pt x="496" y="481"/>
                </a:cubicBezTo>
                <a:cubicBezTo>
                  <a:pt x="500" y="486"/>
                  <a:pt x="502" y="493"/>
                  <a:pt x="500" y="499"/>
                </a:cubicBezTo>
                <a:cubicBezTo>
                  <a:pt x="498" y="506"/>
                  <a:pt x="499" y="509"/>
                  <a:pt x="501" y="514"/>
                </a:cubicBezTo>
                <a:cubicBezTo>
                  <a:pt x="504" y="519"/>
                  <a:pt x="502" y="527"/>
                  <a:pt x="505" y="529"/>
                </a:cubicBezTo>
                <a:cubicBezTo>
                  <a:pt x="508" y="531"/>
                  <a:pt x="511" y="534"/>
                  <a:pt x="513" y="539"/>
                </a:cubicBezTo>
                <a:cubicBezTo>
                  <a:pt x="516" y="543"/>
                  <a:pt x="519" y="540"/>
                  <a:pt x="519" y="545"/>
                </a:cubicBezTo>
                <a:cubicBezTo>
                  <a:pt x="520" y="549"/>
                  <a:pt x="520" y="550"/>
                  <a:pt x="524" y="552"/>
                </a:cubicBezTo>
                <a:cubicBezTo>
                  <a:pt x="528" y="554"/>
                  <a:pt x="525" y="558"/>
                  <a:pt x="525" y="561"/>
                </a:cubicBezTo>
                <a:cubicBezTo>
                  <a:pt x="525" y="563"/>
                  <a:pt x="530" y="568"/>
                  <a:pt x="537" y="573"/>
                </a:cubicBezTo>
                <a:cubicBezTo>
                  <a:pt x="543" y="579"/>
                  <a:pt x="538" y="584"/>
                  <a:pt x="543" y="584"/>
                </a:cubicBezTo>
                <a:cubicBezTo>
                  <a:pt x="547" y="584"/>
                  <a:pt x="552" y="587"/>
                  <a:pt x="557" y="590"/>
                </a:cubicBezTo>
                <a:cubicBezTo>
                  <a:pt x="561" y="593"/>
                  <a:pt x="563" y="591"/>
                  <a:pt x="566" y="592"/>
                </a:cubicBezTo>
                <a:cubicBezTo>
                  <a:pt x="569" y="592"/>
                  <a:pt x="575" y="599"/>
                  <a:pt x="577" y="604"/>
                </a:cubicBezTo>
                <a:cubicBezTo>
                  <a:pt x="577" y="606"/>
                  <a:pt x="578" y="609"/>
                  <a:pt x="579" y="611"/>
                </a:cubicBezTo>
                <a:cubicBezTo>
                  <a:pt x="605" y="608"/>
                  <a:pt x="605" y="608"/>
                  <a:pt x="605" y="608"/>
                </a:cubicBezTo>
                <a:cubicBezTo>
                  <a:pt x="605" y="608"/>
                  <a:pt x="613" y="613"/>
                  <a:pt x="618" y="614"/>
                </a:cubicBezTo>
                <a:cubicBezTo>
                  <a:pt x="622" y="615"/>
                  <a:pt x="647" y="625"/>
                  <a:pt x="647" y="625"/>
                </a:cubicBezTo>
                <a:cubicBezTo>
                  <a:pt x="679" y="624"/>
                  <a:pt x="679" y="624"/>
                  <a:pt x="679" y="624"/>
                </a:cubicBezTo>
                <a:cubicBezTo>
                  <a:pt x="683" y="619"/>
                  <a:pt x="683" y="619"/>
                  <a:pt x="683" y="619"/>
                </a:cubicBezTo>
                <a:cubicBezTo>
                  <a:pt x="700" y="619"/>
                  <a:pt x="700" y="619"/>
                  <a:pt x="700" y="619"/>
                </a:cubicBezTo>
                <a:cubicBezTo>
                  <a:pt x="700" y="619"/>
                  <a:pt x="711" y="630"/>
                  <a:pt x="713" y="631"/>
                </a:cubicBezTo>
                <a:cubicBezTo>
                  <a:pt x="715" y="632"/>
                  <a:pt x="720" y="637"/>
                  <a:pt x="720" y="640"/>
                </a:cubicBezTo>
                <a:cubicBezTo>
                  <a:pt x="720" y="643"/>
                  <a:pt x="722" y="646"/>
                  <a:pt x="724" y="647"/>
                </a:cubicBezTo>
                <a:cubicBezTo>
                  <a:pt x="727" y="648"/>
                  <a:pt x="736" y="654"/>
                  <a:pt x="737" y="654"/>
                </a:cubicBezTo>
                <a:cubicBezTo>
                  <a:pt x="739" y="653"/>
                  <a:pt x="741" y="643"/>
                  <a:pt x="746" y="643"/>
                </a:cubicBezTo>
                <a:cubicBezTo>
                  <a:pt x="751" y="644"/>
                  <a:pt x="764" y="647"/>
                  <a:pt x="766" y="655"/>
                </a:cubicBezTo>
                <a:cubicBezTo>
                  <a:pt x="768" y="662"/>
                  <a:pt x="775" y="668"/>
                  <a:pt x="777" y="670"/>
                </a:cubicBezTo>
                <a:cubicBezTo>
                  <a:pt x="779" y="672"/>
                  <a:pt x="778" y="676"/>
                  <a:pt x="779" y="679"/>
                </a:cubicBezTo>
                <a:cubicBezTo>
                  <a:pt x="781" y="681"/>
                  <a:pt x="781" y="685"/>
                  <a:pt x="783" y="685"/>
                </a:cubicBezTo>
                <a:cubicBezTo>
                  <a:pt x="785" y="685"/>
                  <a:pt x="794" y="691"/>
                  <a:pt x="798" y="691"/>
                </a:cubicBezTo>
                <a:cubicBezTo>
                  <a:pt x="800" y="691"/>
                  <a:pt x="801" y="692"/>
                  <a:pt x="803" y="693"/>
                </a:cubicBezTo>
                <a:cubicBezTo>
                  <a:pt x="804" y="684"/>
                  <a:pt x="794" y="682"/>
                  <a:pt x="800" y="678"/>
                </a:cubicBezTo>
                <a:cubicBezTo>
                  <a:pt x="806" y="674"/>
                  <a:pt x="800" y="670"/>
                  <a:pt x="803" y="668"/>
                </a:cubicBezTo>
                <a:cubicBezTo>
                  <a:pt x="806" y="666"/>
                  <a:pt x="811" y="664"/>
                  <a:pt x="811" y="661"/>
                </a:cubicBezTo>
                <a:cubicBezTo>
                  <a:pt x="811" y="658"/>
                  <a:pt x="814" y="658"/>
                  <a:pt x="818" y="658"/>
                </a:cubicBezTo>
                <a:cubicBezTo>
                  <a:pt x="822" y="659"/>
                  <a:pt x="829" y="652"/>
                  <a:pt x="829" y="649"/>
                </a:cubicBezTo>
                <a:cubicBezTo>
                  <a:pt x="828" y="646"/>
                  <a:pt x="829" y="646"/>
                  <a:pt x="834" y="647"/>
                </a:cubicBezTo>
                <a:cubicBezTo>
                  <a:pt x="839" y="648"/>
                  <a:pt x="838" y="641"/>
                  <a:pt x="841" y="642"/>
                </a:cubicBezTo>
                <a:cubicBezTo>
                  <a:pt x="844" y="643"/>
                  <a:pt x="847" y="645"/>
                  <a:pt x="847" y="643"/>
                </a:cubicBezTo>
                <a:cubicBezTo>
                  <a:pt x="847" y="640"/>
                  <a:pt x="850" y="641"/>
                  <a:pt x="852" y="644"/>
                </a:cubicBezTo>
                <a:cubicBezTo>
                  <a:pt x="855" y="647"/>
                  <a:pt x="861" y="648"/>
                  <a:pt x="862" y="644"/>
                </a:cubicBezTo>
                <a:cubicBezTo>
                  <a:pt x="862" y="641"/>
                  <a:pt x="866" y="644"/>
                  <a:pt x="869" y="648"/>
                </a:cubicBezTo>
                <a:cubicBezTo>
                  <a:pt x="872" y="651"/>
                  <a:pt x="874" y="650"/>
                  <a:pt x="879" y="650"/>
                </a:cubicBezTo>
                <a:cubicBezTo>
                  <a:pt x="883" y="651"/>
                  <a:pt x="883" y="649"/>
                  <a:pt x="884" y="646"/>
                </a:cubicBezTo>
                <a:cubicBezTo>
                  <a:pt x="884" y="643"/>
                  <a:pt x="889" y="653"/>
                  <a:pt x="894" y="653"/>
                </a:cubicBezTo>
                <a:cubicBezTo>
                  <a:pt x="898" y="654"/>
                  <a:pt x="895" y="650"/>
                  <a:pt x="891" y="648"/>
                </a:cubicBezTo>
                <a:cubicBezTo>
                  <a:pt x="888" y="645"/>
                  <a:pt x="892" y="644"/>
                  <a:pt x="889" y="641"/>
                </a:cubicBezTo>
                <a:cubicBezTo>
                  <a:pt x="886" y="639"/>
                  <a:pt x="893" y="636"/>
                  <a:pt x="899" y="636"/>
                </a:cubicBezTo>
                <a:cubicBezTo>
                  <a:pt x="905" y="637"/>
                  <a:pt x="904" y="638"/>
                  <a:pt x="907" y="635"/>
                </a:cubicBezTo>
                <a:cubicBezTo>
                  <a:pt x="909" y="631"/>
                  <a:pt x="911" y="635"/>
                  <a:pt x="911" y="638"/>
                </a:cubicBezTo>
                <a:cubicBezTo>
                  <a:pt x="911" y="641"/>
                  <a:pt x="921" y="636"/>
                  <a:pt x="926" y="636"/>
                </a:cubicBezTo>
                <a:cubicBezTo>
                  <a:pt x="931" y="636"/>
                  <a:pt x="936" y="640"/>
                  <a:pt x="937" y="643"/>
                </a:cubicBezTo>
                <a:cubicBezTo>
                  <a:pt x="937" y="646"/>
                  <a:pt x="941" y="648"/>
                  <a:pt x="944" y="645"/>
                </a:cubicBezTo>
                <a:cubicBezTo>
                  <a:pt x="948" y="641"/>
                  <a:pt x="951" y="638"/>
                  <a:pt x="955" y="641"/>
                </a:cubicBezTo>
                <a:cubicBezTo>
                  <a:pt x="958" y="645"/>
                  <a:pt x="962" y="649"/>
                  <a:pt x="966" y="654"/>
                </a:cubicBezTo>
                <a:cubicBezTo>
                  <a:pt x="970" y="658"/>
                  <a:pt x="964" y="663"/>
                  <a:pt x="966" y="666"/>
                </a:cubicBezTo>
                <a:cubicBezTo>
                  <a:pt x="969" y="670"/>
                  <a:pt x="966" y="674"/>
                  <a:pt x="971" y="678"/>
                </a:cubicBezTo>
                <a:cubicBezTo>
                  <a:pt x="976" y="681"/>
                  <a:pt x="972" y="688"/>
                  <a:pt x="976" y="689"/>
                </a:cubicBezTo>
                <a:cubicBezTo>
                  <a:pt x="980" y="690"/>
                  <a:pt x="983" y="697"/>
                  <a:pt x="983" y="699"/>
                </a:cubicBezTo>
                <a:cubicBezTo>
                  <a:pt x="984" y="702"/>
                  <a:pt x="991" y="705"/>
                  <a:pt x="992" y="701"/>
                </a:cubicBezTo>
                <a:cubicBezTo>
                  <a:pt x="992" y="696"/>
                  <a:pt x="996" y="691"/>
                  <a:pt x="997" y="687"/>
                </a:cubicBezTo>
                <a:cubicBezTo>
                  <a:pt x="997" y="683"/>
                  <a:pt x="994" y="669"/>
                  <a:pt x="991" y="665"/>
                </a:cubicBezTo>
                <a:cubicBezTo>
                  <a:pt x="987" y="660"/>
                  <a:pt x="991" y="659"/>
                  <a:pt x="987" y="654"/>
                </a:cubicBezTo>
                <a:cubicBezTo>
                  <a:pt x="983" y="649"/>
                  <a:pt x="981" y="639"/>
                  <a:pt x="981" y="632"/>
                </a:cubicBezTo>
                <a:cubicBezTo>
                  <a:pt x="981" y="624"/>
                  <a:pt x="990" y="612"/>
                  <a:pt x="994" y="608"/>
                </a:cubicBezTo>
                <a:cubicBezTo>
                  <a:pt x="999" y="605"/>
                  <a:pt x="1003" y="607"/>
                  <a:pt x="1004" y="603"/>
                </a:cubicBezTo>
                <a:cubicBezTo>
                  <a:pt x="1005" y="599"/>
                  <a:pt x="1011" y="594"/>
                  <a:pt x="1014" y="594"/>
                </a:cubicBezTo>
                <a:cubicBezTo>
                  <a:pt x="1017" y="594"/>
                  <a:pt x="1020" y="594"/>
                  <a:pt x="1020" y="591"/>
                </a:cubicBezTo>
                <a:cubicBezTo>
                  <a:pt x="1021" y="588"/>
                  <a:pt x="1026" y="584"/>
                  <a:pt x="1032" y="583"/>
                </a:cubicBezTo>
                <a:cubicBezTo>
                  <a:pt x="1039" y="582"/>
                  <a:pt x="1035" y="578"/>
                  <a:pt x="1033" y="575"/>
                </a:cubicBezTo>
                <a:cubicBezTo>
                  <a:pt x="1032" y="572"/>
                  <a:pt x="1035" y="569"/>
                  <a:pt x="1036" y="571"/>
                </a:cubicBezTo>
                <a:cubicBezTo>
                  <a:pt x="1037" y="573"/>
                  <a:pt x="1041" y="574"/>
                  <a:pt x="1044" y="572"/>
                </a:cubicBezTo>
                <a:cubicBezTo>
                  <a:pt x="1046" y="570"/>
                  <a:pt x="1052" y="565"/>
                  <a:pt x="1047" y="565"/>
                </a:cubicBezTo>
                <a:cubicBezTo>
                  <a:pt x="1041" y="565"/>
                  <a:pt x="1040" y="563"/>
                  <a:pt x="1043" y="561"/>
                </a:cubicBezTo>
                <a:cubicBezTo>
                  <a:pt x="1046" y="560"/>
                  <a:pt x="1044" y="554"/>
                  <a:pt x="1039" y="554"/>
                </a:cubicBezTo>
                <a:cubicBezTo>
                  <a:pt x="1035" y="553"/>
                  <a:pt x="1036" y="551"/>
                  <a:pt x="1039" y="548"/>
                </a:cubicBezTo>
                <a:cubicBezTo>
                  <a:pt x="1042" y="545"/>
                  <a:pt x="1035" y="541"/>
                  <a:pt x="1032" y="539"/>
                </a:cubicBezTo>
                <a:cubicBezTo>
                  <a:pt x="1028" y="536"/>
                  <a:pt x="1034" y="535"/>
                  <a:pt x="1036" y="535"/>
                </a:cubicBezTo>
                <a:cubicBezTo>
                  <a:pt x="1039" y="534"/>
                  <a:pt x="1037" y="523"/>
                  <a:pt x="1038" y="520"/>
                </a:cubicBezTo>
                <a:cubicBezTo>
                  <a:pt x="1039" y="517"/>
                  <a:pt x="1043" y="517"/>
                  <a:pt x="1042" y="520"/>
                </a:cubicBezTo>
                <a:cubicBezTo>
                  <a:pt x="1040" y="523"/>
                  <a:pt x="1037" y="527"/>
                  <a:pt x="1041" y="531"/>
                </a:cubicBezTo>
                <a:cubicBezTo>
                  <a:pt x="1044" y="535"/>
                  <a:pt x="1045" y="539"/>
                  <a:pt x="1044" y="544"/>
                </a:cubicBezTo>
                <a:cubicBezTo>
                  <a:pt x="1042" y="550"/>
                  <a:pt x="1045" y="549"/>
                  <a:pt x="1049" y="541"/>
                </a:cubicBezTo>
                <a:cubicBezTo>
                  <a:pt x="1052" y="534"/>
                  <a:pt x="1053" y="527"/>
                  <a:pt x="1050" y="526"/>
                </a:cubicBezTo>
                <a:cubicBezTo>
                  <a:pt x="1048" y="526"/>
                  <a:pt x="1048" y="518"/>
                  <a:pt x="1051" y="522"/>
                </a:cubicBezTo>
                <a:cubicBezTo>
                  <a:pt x="1054" y="525"/>
                  <a:pt x="1055" y="526"/>
                  <a:pt x="1059" y="521"/>
                </a:cubicBezTo>
                <a:cubicBezTo>
                  <a:pt x="1063" y="517"/>
                  <a:pt x="1068" y="509"/>
                  <a:pt x="1065" y="507"/>
                </a:cubicBezTo>
                <a:cubicBezTo>
                  <a:pt x="1062" y="505"/>
                  <a:pt x="1066" y="504"/>
                  <a:pt x="1071" y="504"/>
                </a:cubicBezTo>
                <a:cubicBezTo>
                  <a:pt x="1076" y="504"/>
                  <a:pt x="1087" y="501"/>
                  <a:pt x="1088" y="499"/>
                </a:cubicBezTo>
                <a:cubicBezTo>
                  <a:pt x="1090" y="494"/>
                  <a:pt x="1070" y="502"/>
                  <a:pt x="1070" y="499"/>
                </a:cubicBezTo>
                <a:cubicBezTo>
                  <a:pt x="1070" y="496"/>
                  <a:pt x="1083" y="493"/>
                  <a:pt x="1089" y="493"/>
                </a:cubicBezTo>
                <a:cubicBezTo>
                  <a:pt x="1094" y="493"/>
                  <a:pt x="1092" y="485"/>
                  <a:pt x="1094" y="488"/>
                </a:cubicBezTo>
                <a:cubicBezTo>
                  <a:pt x="1097" y="492"/>
                  <a:pt x="1100" y="491"/>
                  <a:pt x="1104" y="489"/>
                </a:cubicBezTo>
                <a:cubicBezTo>
                  <a:pt x="1107" y="487"/>
                  <a:pt x="1104" y="481"/>
                  <a:pt x="1101" y="480"/>
                </a:cubicBezTo>
                <a:cubicBezTo>
                  <a:pt x="1097" y="479"/>
                  <a:pt x="1103" y="477"/>
                  <a:pt x="1102" y="475"/>
                </a:cubicBezTo>
                <a:cubicBezTo>
                  <a:pt x="1101" y="472"/>
                  <a:pt x="1105" y="463"/>
                  <a:pt x="1109" y="462"/>
                </a:cubicBezTo>
                <a:cubicBezTo>
                  <a:pt x="1114" y="461"/>
                  <a:pt x="1112" y="458"/>
                  <a:pt x="1116" y="458"/>
                </a:cubicBezTo>
                <a:cubicBezTo>
                  <a:pt x="1120" y="458"/>
                  <a:pt x="1121" y="454"/>
                  <a:pt x="1124" y="450"/>
                </a:cubicBezTo>
                <a:cubicBezTo>
                  <a:pt x="1128" y="447"/>
                  <a:pt x="1133" y="456"/>
                  <a:pt x="1138" y="451"/>
                </a:cubicBezTo>
                <a:cubicBezTo>
                  <a:pt x="1140" y="448"/>
                  <a:pt x="1143" y="446"/>
                  <a:pt x="1147" y="444"/>
                </a:cubicBezTo>
                <a:cubicBezTo>
                  <a:pt x="1134" y="427"/>
                  <a:pt x="1137" y="416"/>
                  <a:pt x="1137" y="413"/>
                </a:cubicBezTo>
                <a:close/>
              </a:path>
            </a:pathLst>
          </a:custGeom>
          <a:solidFill>
            <a:srgbClr val="E00024"/>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29" name="Freeform 126"/>
          <p:cNvSpPr>
            <a:spLocks noEditPoints="1"/>
          </p:cNvSpPr>
          <p:nvPr/>
        </p:nvSpPr>
        <p:spPr bwMode="auto">
          <a:xfrm>
            <a:off x="5683764" y="3294824"/>
            <a:ext cx="322645" cy="235023"/>
          </a:xfrm>
          <a:custGeom>
            <a:cxnLst>
              <a:cxn ang="0">
                <a:pos x="143" y="18"/>
              </a:cxn>
              <a:cxn ang="0">
                <a:pos x="132" y="18"/>
              </a:cxn>
              <a:cxn ang="0">
                <a:pos x="118" y="15"/>
              </a:cxn>
              <a:cxn ang="0">
                <a:pos x="113" y="13"/>
              </a:cxn>
              <a:cxn ang="0">
                <a:pos x="104" y="14"/>
              </a:cxn>
              <a:cxn ang="0">
                <a:pos x="93" y="9"/>
              </a:cxn>
              <a:cxn ang="0">
                <a:pos x="87" y="6"/>
              </a:cxn>
              <a:cxn ang="0">
                <a:pos x="67" y="4"/>
              </a:cxn>
              <a:cxn ang="0">
                <a:pos x="30" y="3"/>
              </a:cxn>
              <a:cxn ang="0">
                <a:pos x="16" y="0"/>
              </a:cxn>
              <a:cxn ang="0">
                <a:pos x="7" y="6"/>
              </a:cxn>
              <a:cxn ang="0">
                <a:pos x="5" y="14"/>
              </a:cxn>
              <a:cxn ang="0">
                <a:pos x="7" y="25"/>
              </a:cxn>
              <a:cxn ang="0">
                <a:pos x="10" y="23"/>
              </a:cxn>
              <a:cxn ang="0">
                <a:pos x="14" y="24"/>
              </a:cxn>
              <a:cxn ang="0">
                <a:pos x="21" y="25"/>
              </a:cxn>
              <a:cxn ang="0">
                <a:pos x="25" y="25"/>
              </a:cxn>
              <a:cxn ang="0">
                <a:pos x="32" y="27"/>
              </a:cxn>
              <a:cxn ang="0">
                <a:pos x="35" y="31"/>
              </a:cxn>
              <a:cxn ang="0">
                <a:pos x="27" y="38"/>
              </a:cxn>
              <a:cxn ang="0">
                <a:pos x="28" y="48"/>
              </a:cxn>
              <a:cxn ang="0">
                <a:pos x="26" y="56"/>
              </a:cxn>
              <a:cxn ang="0">
                <a:pos x="23" y="60"/>
              </a:cxn>
              <a:cxn ang="0">
                <a:pos x="27" y="66"/>
              </a:cxn>
              <a:cxn ang="0">
                <a:pos x="24" y="73"/>
              </a:cxn>
              <a:cxn ang="0">
                <a:pos x="26" y="78"/>
              </a:cxn>
              <a:cxn ang="0">
                <a:pos x="22" y="85"/>
              </a:cxn>
              <a:cxn ang="0">
                <a:pos x="23" y="89"/>
              </a:cxn>
              <a:cxn ang="0">
                <a:pos x="29" y="89"/>
              </a:cxn>
              <a:cxn ang="0">
                <a:pos x="43" y="102"/>
              </a:cxn>
              <a:cxn ang="0">
                <a:pos x="46" y="99"/>
              </a:cxn>
              <a:cxn ang="0">
                <a:pos x="52" y="98"/>
              </a:cxn>
              <a:cxn ang="0">
                <a:pos x="63" y="94"/>
              </a:cxn>
              <a:cxn ang="0">
                <a:pos x="77" y="94"/>
              </a:cxn>
              <a:cxn ang="0">
                <a:pos x="85" y="90"/>
              </a:cxn>
              <a:cxn ang="0">
                <a:pos x="94" y="84"/>
              </a:cxn>
              <a:cxn ang="0">
                <a:pos x="98" y="76"/>
              </a:cxn>
              <a:cxn ang="0">
                <a:pos x="106" y="67"/>
              </a:cxn>
              <a:cxn ang="0">
                <a:pos x="107" y="51"/>
              </a:cxn>
              <a:cxn ang="0">
                <a:pos x="116" y="40"/>
              </a:cxn>
              <a:cxn ang="0">
                <a:pos x="126" y="34"/>
              </a:cxn>
              <a:cxn ang="0">
                <a:pos x="139" y="28"/>
              </a:cxn>
              <a:cxn ang="0">
                <a:pos x="143" y="18"/>
              </a:cxn>
              <a:cxn ang="0">
                <a:pos x="144" y="55"/>
              </a:cxn>
              <a:cxn ang="0">
                <a:pos x="134" y="58"/>
              </a:cxn>
              <a:cxn ang="0">
                <a:pos x="144" y="55"/>
              </a:cxn>
            </a:cxnLst>
            <a:rect b="b" l="0" r="r" t="0"/>
            <a:pathLst>
              <a:path h="103" w="145">
                <a:moveTo>
                  <a:pt x="143" y="18"/>
                </a:moveTo>
                <a:cubicBezTo>
                  <a:pt x="139" y="18"/>
                  <a:pt x="135" y="18"/>
                  <a:pt x="132" y="18"/>
                </a:cubicBezTo>
                <a:cubicBezTo>
                  <a:pt x="128" y="17"/>
                  <a:pt x="120" y="17"/>
                  <a:pt x="118" y="15"/>
                </a:cubicBezTo>
                <a:cubicBezTo>
                  <a:pt x="116" y="12"/>
                  <a:pt x="113" y="11"/>
                  <a:pt x="113" y="13"/>
                </a:cubicBezTo>
                <a:cubicBezTo>
                  <a:pt x="113" y="16"/>
                  <a:pt x="107" y="16"/>
                  <a:pt x="104" y="14"/>
                </a:cubicBezTo>
                <a:cubicBezTo>
                  <a:pt x="101" y="12"/>
                  <a:pt x="96" y="10"/>
                  <a:pt x="93" y="9"/>
                </a:cubicBezTo>
                <a:cubicBezTo>
                  <a:pt x="92" y="8"/>
                  <a:pt x="89" y="7"/>
                  <a:pt x="87" y="6"/>
                </a:cubicBezTo>
                <a:cubicBezTo>
                  <a:pt x="83" y="6"/>
                  <a:pt x="74" y="3"/>
                  <a:pt x="67" y="4"/>
                </a:cubicBezTo>
                <a:cubicBezTo>
                  <a:pt x="60" y="4"/>
                  <a:pt x="39" y="3"/>
                  <a:pt x="30" y="3"/>
                </a:cubicBezTo>
                <a:cubicBezTo>
                  <a:pt x="22" y="4"/>
                  <a:pt x="21" y="0"/>
                  <a:pt x="16" y="0"/>
                </a:cubicBezTo>
                <a:cubicBezTo>
                  <a:pt x="12" y="0"/>
                  <a:pt x="14" y="5"/>
                  <a:pt x="7" y="6"/>
                </a:cubicBezTo>
                <a:cubicBezTo>
                  <a:pt x="0" y="6"/>
                  <a:pt x="0" y="10"/>
                  <a:pt x="5" y="14"/>
                </a:cubicBezTo>
                <a:cubicBezTo>
                  <a:pt x="7" y="16"/>
                  <a:pt x="7" y="20"/>
                  <a:pt x="7" y="25"/>
                </a:cubicBezTo>
                <a:cubicBezTo>
                  <a:pt x="8" y="25"/>
                  <a:pt x="9" y="24"/>
                  <a:pt x="10" y="23"/>
                </a:cubicBezTo>
                <a:cubicBezTo>
                  <a:pt x="12" y="21"/>
                  <a:pt x="14" y="21"/>
                  <a:pt x="14" y="24"/>
                </a:cubicBezTo>
                <a:cubicBezTo>
                  <a:pt x="14" y="26"/>
                  <a:pt x="18" y="25"/>
                  <a:pt x="21" y="25"/>
                </a:cubicBezTo>
                <a:cubicBezTo>
                  <a:pt x="23" y="25"/>
                  <a:pt x="22" y="27"/>
                  <a:pt x="25" y="25"/>
                </a:cubicBezTo>
                <a:cubicBezTo>
                  <a:pt x="28" y="23"/>
                  <a:pt x="32" y="24"/>
                  <a:pt x="32" y="27"/>
                </a:cubicBezTo>
                <a:cubicBezTo>
                  <a:pt x="32" y="29"/>
                  <a:pt x="38" y="28"/>
                  <a:pt x="35" y="31"/>
                </a:cubicBezTo>
                <a:cubicBezTo>
                  <a:pt x="31" y="34"/>
                  <a:pt x="27" y="35"/>
                  <a:pt x="27" y="38"/>
                </a:cubicBezTo>
                <a:cubicBezTo>
                  <a:pt x="27" y="40"/>
                  <a:pt x="31" y="45"/>
                  <a:pt x="28" y="48"/>
                </a:cubicBezTo>
                <a:cubicBezTo>
                  <a:pt x="25" y="51"/>
                  <a:pt x="29" y="56"/>
                  <a:pt x="26" y="56"/>
                </a:cubicBezTo>
                <a:cubicBezTo>
                  <a:pt x="23" y="56"/>
                  <a:pt x="20" y="57"/>
                  <a:pt x="23" y="60"/>
                </a:cubicBezTo>
                <a:cubicBezTo>
                  <a:pt x="27" y="64"/>
                  <a:pt x="29" y="66"/>
                  <a:pt x="27" y="66"/>
                </a:cubicBezTo>
                <a:cubicBezTo>
                  <a:pt x="24" y="66"/>
                  <a:pt x="23" y="71"/>
                  <a:pt x="24" y="73"/>
                </a:cubicBezTo>
                <a:cubicBezTo>
                  <a:pt x="25" y="74"/>
                  <a:pt x="31" y="77"/>
                  <a:pt x="26" y="78"/>
                </a:cubicBezTo>
                <a:cubicBezTo>
                  <a:pt x="22" y="79"/>
                  <a:pt x="22" y="83"/>
                  <a:pt x="22" y="85"/>
                </a:cubicBezTo>
                <a:cubicBezTo>
                  <a:pt x="22" y="86"/>
                  <a:pt x="22" y="87"/>
                  <a:pt x="23" y="89"/>
                </a:cubicBezTo>
                <a:cubicBezTo>
                  <a:pt x="25" y="88"/>
                  <a:pt x="27" y="88"/>
                  <a:pt x="29" y="89"/>
                </a:cubicBezTo>
                <a:cubicBezTo>
                  <a:pt x="34" y="91"/>
                  <a:pt x="37" y="103"/>
                  <a:pt x="43" y="102"/>
                </a:cubicBezTo>
                <a:cubicBezTo>
                  <a:pt x="46" y="102"/>
                  <a:pt x="44" y="100"/>
                  <a:pt x="46" y="99"/>
                </a:cubicBezTo>
                <a:cubicBezTo>
                  <a:pt x="47" y="97"/>
                  <a:pt x="50" y="98"/>
                  <a:pt x="52" y="98"/>
                </a:cubicBezTo>
                <a:cubicBezTo>
                  <a:pt x="55" y="98"/>
                  <a:pt x="56" y="94"/>
                  <a:pt x="63" y="94"/>
                </a:cubicBezTo>
                <a:cubicBezTo>
                  <a:pt x="69" y="94"/>
                  <a:pt x="73" y="94"/>
                  <a:pt x="77" y="94"/>
                </a:cubicBezTo>
                <a:cubicBezTo>
                  <a:pt x="81" y="94"/>
                  <a:pt x="84" y="93"/>
                  <a:pt x="85" y="90"/>
                </a:cubicBezTo>
                <a:cubicBezTo>
                  <a:pt x="86" y="87"/>
                  <a:pt x="89" y="84"/>
                  <a:pt x="94" y="84"/>
                </a:cubicBezTo>
                <a:cubicBezTo>
                  <a:pt x="98" y="83"/>
                  <a:pt x="98" y="78"/>
                  <a:pt x="98" y="76"/>
                </a:cubicBezTo>
                <a:cubicBezTo>
                  <a:pt x="98" y="73"/>
                  <a:pt x="106" y="69"/>
                  <a:pt x="106" y="67"/>
                </a:cubicBezTo>
                <a:cubicBezTo>
                  <a:pt x="107" y="65"/>
                  <a:pt x="102" y="57"/>
                  <a:pt x="107" y="51"/>
                </a:cubicBezTo>
                <a:cubicBezTo>
                  <a:pt x="111" y="44"/>
                  <a:pt x="116" y="43"/>
                  <a:pt x="116" y="40"/>
                </a:cubicBezTo>
                <a:cubicBezTo>
                  <a:pt x="116" y="36"/>
                  <a:pt x="121" y="35"/>
                  <a:pt x="126" y="34"/>
                </a:cubicBezTo>
                <a:cubicBezTo>
                  <a:pt x="132" y="33"/>
                  <a:pt x="134" y="30"/>
                  <a:pt x="139" y="28"/>
                </a:cubicBezTo>
                <a:cubicBezTo>
                  <a:pt x="143" y="26"/>
                  <a:pt x="144" y="23"/>
                  <a:pt x="143" y="18"/>
                </a:cubicBezTo>
                <a:close/>
                <a:moveTo>
                  <a:pt x="144" y="55"/>
                </a:moveTo>
                <a:cubicBezTo>
                  <a:pt x="143" y="49"/>
                  <a:pt x="132" y="56"/>
                  <a:pt x="134" y="58"/>
                </a:cubicBezTo>
                <a:cubicBezTo>
                  <a:pt x="139" y="61"/>
                  <a:pt x="145" y="60"/>
                  <a:pt x="144" y="5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0" name="Freeform 127"/>
          <p:cNvSpPr>
            <a:spLocks noEditPoints="1"/>
          </p:cNvSpPr>
          <p:nvPr/>
        </p:nvSpPr>
        <p:spPr bwMode="auto">
          <a:xfrm>
            <a:off x="6419915" y="3355475"/>
            <a:ext cx="159468" cy="202803"/>
          </a:xfrm>
          <a:custGeom>
            <a:cxnLst>
              <a:cxn ang="0">
                <a:pos x="70" y="0"/>
              </a:cxn>
              <a:cxn ang="0">
                <a:pos x="65" y="2"/>
              </a:cxn>
              <a:cxn ang="0">
                <a:pos x="61" y="5"/>
              </a:cxn>
              <a:cxn ang="0">
                <a:pos x="49" y="3"/>
              </a:cxn>
              <a:cxn ang="0">
                <a:pos x="34" y="3"/>
              </a:cxn>
              <a:cxn ang="0">
                <a:pos x="33" y="3"/>
              </a:cxn>
              <a:cxn ang="0">
                <a:pos x="23" y="8"/>
              </a:cxn>
              <a:cxn ang="0">
                <a:pos x="18" y="11"/>
              </a:cxn>
              <a:cxn ang="0">
                <a:pos x="10" y="12"/>
              </a:cxn>
              <a:cxn ang="0">
                <a:pos x="6" y="19"/>
              </a:cxn>
              <a:cxn ang="0">
                <a:pos x="3" y="23"/>
              </a:cxn>
              <a:cxn ang="0">
                <a:pos x="0" y="29"/>
              </a:cxn>
              <a:cxn ang="0">
                <a:pos x="0" y="29"/>
              </a:cxn>
              <a:cxn ang="0">
                <a:pos x="6" y="39"/>
              </a:cxn>
              <a:cxn ang="0">
                <a:pos x="14" y="42"/>
              </a:cxn>
              <a:cxn ang="0">
                <a:pos x="25" y="45"/>
              </a:cxn>
              <a:cxn ang="0">
                <a:pos x="13" y="46"/>
              </a:cxn>
              <a:cxn ang="0">
                <a:pos x="15" y="56"/>
              </a:cxn>
              <a:cxn ang="0">
                <a:pos x="21" y="64"/>
              </a:cxn>
              <a:cxn ang="0">
                <a:pos x="31" y="69"/>
              </a:cxn>
              <a:cxn ang="0">
                <a:pos x="29" y="57"/>
              </a:cxn>
              <a:cxn ang="0">
                <a:pos x="37" y="57"/>
              </a:cxn>
              <a:cxn ang="0">
                <a:pos x="32" y="53"/>
              </a:cxn>
              <a:cxn ang="0">
                <a:pos x="36" y="50"/>
              </a:cxn>
              <a:cxn ang="0">
                <a:pos x="44" y="49"/>
              </a:cxn>
              <a:cxn ang="0">
                <a:pos x="40" y="40"/>
              </a:cxn>
              <a:cxn ang="0">
                <a:pos x="31" y="41"/>
              </a:cxn>
              <a:cxn ang="0">
                <a:pos x="35" y="35"/>
              </a:cxn>
              <a:cxn ang="0">
                <a:pos x="26" y="22"/>
              </a:cxn>
              <a:cxn ang="0">
                <a:pos x="31" y="19"/>
              </a:cxn>
              <a:cxn ang="0">
                <a:pos x="40" y="20"/>
              </a:cxn>
              <a:cxn ang="0">
                <a:pos x="43" y="12"/>
              </a:cxn>
              <a:cxn ang="0">
                <a:pos x="49" y="14"/>
              </a:cxn>
              <a:cxn ang="0">
                <a:pos x="58" y="10"/>
              </a:cxn>
              <a:cxn ang="0">
                <a:pos x="65" y="13"/>
              </a:cxn>
              <a:cxn ang="0">
                <a:pos x="68" y="9"/>
              </a:cxn>
              <a:cxn ang="0">
                <a:pos x="71" y="4"/>
              </a:cxn>
              <a:cxn ang="0">
                <a:pos x="70" y="0"/>
              </a:cxn>
              <a:cxn ang="0">
                <a:pos x="61" y="84"/>
              </a:cxn>
              <a:cxn ang="0">
                <a:pos x="43" y="82"/>
              </a:cxn>
              <a:cxn ang="0">
                <a:pos x="36" y="85"/>
              </a:cxn>
              <a:cxn ang="0">
                <a:pos x="53" y="89"/>
              </a:cxn>
              <a:cxn ang="0">
                <a:pos x="68" y="84"/>
              </a:cxn>
              <a:cxn ang="0">
                <a:pos x="61" y="84"/>
              </a:cxn>
            </a:cxnLst>
            <a:rect b="b" l="0" r="r" t="0"/>
            <a:pathLst>
              <a:path h="89" w="71">
                <a:moveTo>
                  <a:pt x="70" y="0"/>
                </a:moveTo>
                <a:cubicBezTo>
                  <a:pt x="68" y="0"/>
                  <a:pt x="64" y="1"/>
                  <a:pt x="65" y="2"/>
                </a:cubicBezTo>
                <a:cubicBezTo>
                  <a:pt x="66" y="4"/>
                  <a:pt x="63" y="5"/>
                  <a:pt x="61" y="5"/>
                </a:cubicBezTo>
                <a:cubicBezTo>
                  <a:pt x="61" y="5"/>
                  <a:pt x="51" y="4"/>
                  <a:pt x="49" y="3"/>
                </a:cubicBezTo>
                <a:cubicBezTo>
                  <a:pt x="47" y="2"/>
                  <a:pt x="38" y="2"/>
                  <a:pt x="34" y="3"/>
                </a:cubicBezTo>
                <a:cubicBezTo>
                  <a:pt x="34" y="3"/>
                  <a:pt x="33" y="3"/>
                  <a:pt x="33" y="3"/>
                </a:cubicBezTo>
                <a:cubicBezTo>
                  <a:pt x="32" y="5"/>
                  <a:pt x="24" y="9"/>
                  <a:pt x="23" y="8"/>
                </a:cubicBezTo>
                <a:cubicBezTo>
                  <a:pt x="21" y="7"/>
                  <a:pt x="21" y="11"/>
                  <a:pt x="18" y="11"/>
                </a:cubicBezTo>
                <a:cubicBezTo>
                  <a:pt x="15" y="12"/>
                  <a:pt x="10" y="11"/>
                  <a:pt x="10" y="12"/>
                </a:cubicBezTo>
                <a:cubicBezTo>
                  <a:pt x="10" y="14"/>
                  <a:pt x="8" y="17"/>
                  <a:pt x="6" y="19"/>
                </a:cubicBezTo>
                <a:cubicBezTo>
                  <a:pt x="4" y="21"/>
                  <a:pt x="6" y="23"/>
                  <a:pt x="3" y="23"/>
                </a:cubicBezTo>
                <a:cubicBezTo>
                  <a:pt x="1" y="23"/>
                  <a:pt x="1" y="26"/>
                  <a:pt x="0" y="29"/>
                </a:cubicBezTo>
                <a:cubicBezTo>
                  <a:pt x="0" y="29"/>
                  <a:pt x="0" y="29"/>
                  <a:pt x="0" y="29"/>
                </a:cubicBezTo>
                <a:cubicBezTo>
                  <a:pt x="4" y="31"/>
                  <a:pt x="7" y="35"/>
                  <a:pt x="6" y="39"/>
                </a:cubicBezTo>
                <a:cubicBezTo>
                  <a:pt x="6" y="43"/>
                  <a:pt x="12" y="45"/>
                  <a:pt x="14" y="42"/>
                </a:cubicBezTo>
                <a:cubicBezTo>
                  <a:pt x="17" y="39"/>
                  <a:pt x="25" y="43"/>
                  <a:pt x="25" y="45"/>
                </a:cubicBezTo>
                <a:cubicBezTo>
                  <a:pt x="25" y="47"/>
                  <a:pt x="17" y="43"/>
                  <a:pt x="13" y="46"/>
                </a:cubicBezTo>
                <a:cubicBezTo>
                  <a:pt x="8" y="50"/>
                  <a:pt x="16" y="53"/>
                  <a:pt x="15" y="56"/>
                </a:cubicBezTo>
                <a:cubicBezTo>
                  <a:pt x="14" y="59"/>
                  <a:pt x="17" y="64"/>
                  <a:pt x="21" y="64"/>
                </a:cubicBezTo>
                <a:cubicBezTo>
                  <a:pt x="25" y="64"/>
                  <a:pt x="29" y="70"/>
                  <a:pt x="31" y="69"/>
                </a:cubicBezTo>
                <a:cubicBezTo>
                  <a:pt x="34" y="68"/>
                  <a:pt x="28" y="59"/>
                  <a:pt x="29" y="57"/>
                </a:cubicBezTo>
                <a:cubicBezTo>
                  <a:pt x="30" y="56"/>
                  <a:pt x="35" y="60"/>
                  <a:pt x="37" y="57"/>
                </a:cubicBezTo>
                <a:cubicBezTo>
                  <a:pt x="39" y="54"/>
                  <a:pt x="35" y="52"/>
                  <a:pt x="32" y="53"/>
                </a:cubicBezTo>
                <a:cubicBezTo>
                  <a:pt x="28" y="53"/>
                  <a:pt x="32" y="48"/>
                  <a:pt x="36" y="50"/>
                </a:cubicBezTo>
                <a:cubicBezTo>
                  <a:pt x="40" y="53"/>
                  <a:pt x="42" y="50"/>
                  <a:pt x="44" y="49"/>
                </a:cubicBezTo>
                <a:cubicBezTo>
                  <a:pt x="46" y="49"/>
                  <a:pt x="47" y="42"/>
                  <a:pt x="40" y="40"/>
                </a:cubicBezTo>
                <a:cubicBezTo>
                  <a:pt x="34" y="39"/>
                  <a:pt x="35" y="45"/>
                  <a:pt x="31" y="41"/>
                </a:cubicBezTo>
                <a:cubicBezTo>
                  <a:pt x="27" y="36"/>
                  <a:pt x="35" y="38"/>
                  <a:pt x="35" y="35"/>
                </a:cubicBezTo>
                <a:cubicBezTo>
                  <a:pt x="35" y="31"/>
                  <a:pt x="29" y="26"/>
                  <a:pt x="26" y="22"/>
                </a:cubicBezTo>
                <a:cubicBezTo>
                  <a:pt x="23" y="18"/>
                  <a:pt x="30" y="16"/>
                  <a:pt x="31" y="19"/>
                </a:cubicBezTo>
                <a:cubicBezTo>
                  <a:pt x="33" y="22"/>
                  <a:pt x="38" y="21"/>
                  <a:pt x="40" y="20"/>
                </a:cubicBezTo>
                <a:cubicBezTo>
                  <a:pt x="43" y="19"/>
                  <a:pt x="37" y="14"/>
                  <a:pt x="43" y="12"/>
                </a:cubicBezTo>
                <a:cubicBezTo>
                  <a:pt x="48" y="10"/>
                  <a:pt x="48" y="13"/>
                  <a:pt x="49" y="14"/>
                </a:cubicBezTo>
                <a:cubicBezTo>
                  <a:pt x="51" y="14"/>
                  <a:pt x="53" y="10"/>
                  <a:pt x="58" y="10"/>
                </a:cubicBezTo>
                <a:cubicBezTo>
                  <a:pt x="61" y="10"/>
                  <a:pt x="63" y="11"/>
                  <a:pt x="65" y="13"/>
                </a:cubicBezTo>
                <a:cubicBezTo>
                  <a:pt x="67" y="12"/>
                  <a:pt x="68" y="11"/>
                  <a:pt x="68" y="9"/>
                </a:cubicBezTo>
                <a:cubicBezTo>
                  <a:pt x="68" y="8"/>
                  <a:pt x="71" y="7"/>
                  <a:pt x="71" y="4"/>
                </a:cubicBezTo>
                <a:cubicBezTo>
                  <a:pt x="71" y="3"/>
                  <a:pt x="71" y="1"/>
                  <a:pt x="70" y="0"/>
                </a:cubicBezTo>
                <a:close/>
                <a:moveTo>
                  <a:pt x="61" y="84"/>
                </a:moveTo>
                <a:cubicBezTo>
                  <a:pt x="58" y="82"/>
                  <a:pt x="46" y="85"/>
                  <a:pt x="43" y="82"/>
                </a:cubicBezTo>
                <a:cubicBezTo>
                  <a:pt x="40" y="79"/>
                  <a:pt x="34" y="84"/>
                  <a:pt x="36" y="85"/>
                </a:cubicBezTo>
                <a:cubicBezTo>
                  <a:pt x="40" y="85"/>
                  <a:pt x="46" y="89"/>
                  <a:pt x="53" y="89"/>
                </a:cubicBezTo>
                <a:cubicBezTo>
                  <a:pt x="59" y="89"/>
                  <a:pt x="68" y="86"/>
                  <a:pt x="68" y="84"/>
                </a:cubicBezTo>
                <a:cubicBezTo>
                  <a:pt x="68" y="83"/>
                  <a:pt x="64" y="85"/>
                  <a:pt x="61" y="8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1" name="Freeform 128"/>
          <p:cNvSpPr/>
          <p:nvPr/>
        </p:nvSpPr>
        <p:spPr bwMode="auto">
          <a:xfrm>
            <a:off x="6716601" y="3531743"/>
            <a:ext cx="64900" cy="41698"/>
          </a:xfrm>
          <a:custGeom>
            <a:cxnLst>
              <a:cxn ang="0">
                <a:pos x="20" y="11"/>
              </a:cxn>
              <a:cxn ang="0">
                <a:pos x="26" y="4"/>
              </a:cxn>
              <a:cxn ang="0">
                <a:pos x="25" y="2"/>
              </a:cxn>
              <a:cxn ang="0">
                <a:pos x="9" y="7"/>
              </a:cxn>
              <a:cxn ang="0">
                <a:pos x="4" y="15"/>
              </a:cxn>
              <a:cxn ang="0">
                <a:pos x="20" y="11"/>
              </a:cxn>
            </a:cxnLst>
            <a:rect b="b" l="0" r="r" t="0"/>
            <a:pathLst>
              <a:path h="18" w="28">
                <a:moveTo>
                  <a:pt x="20" y="11"/>
                </a:moveTo>
                <a:cubicBezTo>
                  <a:pt x="19" y="10"/>
                  <a:pt x="22" y="6"/>
                  <a:pt x="26" y="4"/>
                </a:cubicBezTo>
                <a:cubicBezTo>
                  <a:pt x="29" y="3"/>
                  <a:pt x="28" y="0"/>
                  <a:pt x="25" y="2"/>
                </a:cubicBezTo>
                <a:cubicBezTo>
                  <a:pt x="23" y="4"/>
                  <a:pt x="17" y="7"/>
                  <a:pt x="9" y="7"/>
                </a:cubicBezTo>
                <a:cubicBezTo>
                  <a:pt x="2" y="7"/>
                  <a:pt x="0" y="12"/>
                  <a:pt x="4" y="15"/>
                </a:cubicBezTo>
                <a:cubicBezTo>
                  <a:pt x="10" y="18"/>
                  <a:pt x="20" y="13"/>
                  <a:pt x="20" y="1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2" name="Freeform 129"/>
          <p:cNvSpPr/>
          <p:nvPr/>
        </p:nvSpPr>
        <p:spPr bwMode="auto">
          <a:xfrm>
            <a:off x="5307346" y="2457081"/>
            <a:ext cx="270725" cy="140256"/>
          </a:xfrm>
          <a:custGeom>
            <a:cxnLst>
              <a:cxn ang="0">
                <a:pos x="102" y="44"/>
              </a:cxn>
              <a:cxn ang="0">
                <a:pos x="111" y="36"/>
              </a:cxn>
              <a:cxn ang="0">
                <a:pos x="120" y="28"/>
              </a:cxn>
              <a:cxn ang="0">
                <a:pos x="114" y="19"/>
              </a:cxn>
              <a:cxn ang="0">
                <a:pos x="108" y="13"/>
              </a:cxn>
              <a:cxn ang="0">
                <a:pos x="106" y="6"/>
              </a:cxn>
              <a:cxn ang="0">
                <a:pos x="98" y="7"/>
              </a:cxn>
              <a:cxn ang="0">
                <a:pos x="87" y="2"/>
              </a:cxn>
              <a:cxn ang="0">
                <a:pos x="86" y="8"/>
              </a:cxn>
              <a:cxn ang="0">
                <a:pos x="79" y="9"/>
              </a:cxn>
              <a:cxn ang="0">
                <a:pos x="75" y="9"/>
              </a:cxn>
              <a:cxn ang="0">
                <a:pos x="68" y="10"/>
              </a:cxn>
              <a:cxn ang="0">
                <a:pos x="62" y="8"/>
              </a:cxn>
              <a:cxn ang="0">
                <a:pos x="55" y="13"/>
              </a:cxn>
              <a:cxn ang="0">
                <a:pos x="50" y="11"/>
              </a:cxn>
              <a:cxn ang="0">
                <a:pos x="45" y="14"/>
              </a:cxn>
              <a:cxn ang="0">
                <a:pos x="44" y="20"/>
              </a:cxn>
              <a:cxn ang="0">
                <a:pos x="36" y="23"/>
              </a:cxn>
              <a:cxn ang="0">
                <a:pos x="33" y="14"/>
              </a:cxn>
              <a:cxn ang="0">
                <a:pos x="16" y="3"/>
              </a:cxn>
              <a:cxn ang="0">
                <a:pos x="18" y="9"/>
              </a:cxn>
              <a:cxn ang="0">
                <a:pos x="14" y="9"/>
              </a:cxn>
              <a:cxn ang="0">
                <a:pos x="6" y="11"/>
              </a:cxn>
              <a:cxn ang="0">
                <a:pos x="1" y="19"/>
              </a:cxn>
              <a:cxn ang="0">
                <a:pos x="12" y="22"/>
              </a:cxn>
              <a:cxn ang="0">
                <a:pos x="25" y="22"/>
              </a:cxn>
              <a:cxn ang="0">
                <a:pos x="23" y="27"/>
              </a:cxn>
              <a:cxn ang="0">
                <a:pos x="17" y="30"/>
              </a:cxn>
              <a:cxn ang="0">
                <a:pos x="4" y="34"/>
              </a:cxn>
              <a:cxn ang="0">
                <a:pos x="21" y="34"/>
              </a:cxn>
              <a:cxn ang="0">
                <a:pos x="25" y="38"/>
              </a:cxn>
              <a:cxn ang="0">
                <a:pos x="28" y="42"/>
              </a:cxn>
              <a:cxn ang="0">
                <a:pos x="24" y="47"/>
              </a:cxn>
              <a:cxn ang="0">
                <a:pos x="19" y="51"/>
              </a:cxn>
              <a:cxn ang="0">
                <a:pos x="33" y="50"/>
              </a:cxn>
              <a:cxn ang="0">
                <a:pos x="53" y="59"/>
              </a:cxn>
              <a:cxn ang="0">
                <a:pos x="73" y="54"/>
              </a:cxn>
              <a:cxn ang="0">
                <a:pos x="87" y="49"/>
              </a:cxn>
              <a:cxn ang="0">
                <a:pos x="102" y="44"/>
              </a:cxn>
            </a:cxnLst>
            <a:rect b="b" l="0" r="r" t="0"/>
            <a:pathLst>
              <a:path h="61" w="120">
                <a:moveTo>
                  <a:pt x="102" y="44"/>
                </a:moveTo>
                <a:cubicBezTo>
                  <a:pt x="109" y="43"/>
                  <a:pt x="108" y="36"/>
                  <a:pt x="111" y="36"/>
                </a:cubicBezTo>
                <a:cubicBezTo>
                  <a:pt x="114" y="37"/>
                  <a:pt x="118" y="31"/>
                  <a:pt x="120" y="28"/>
                </a:cubicBezTo>
                <a:cubicBezTo>
                  <a:pt x="121" y="25"/>
                  <a:pt x="118" y="19"/>
                  <a:pt x="114" y="19"/>
                </a:cubicBezTo>
                <a:cubicBezTo>
                  <a:pt x="110" y="19"/>
                  <a:pt x="107" y="16"/>
                  <a:pt x="108" y="13"/>
                </a:cubicBezTo>
                <a:cubicBezTo>
                  <a:pt x="109" y="11"/>
                  <a:pt x="106" y="8"/>
                  <a:pt x="106" y="6"/>
                </a:cubicBezTo>
                <a:cubicBezTo>
                  <a:pt x="106" y="5"/>
                  <a:pt x="101" y="6"/>
                  <a:pt x="98" y="7"/>
                </a:cubicBezTo>
                <a:cubicBezTo>
                  <a:pt x="95" y="7"/>
                  <a:pt x="90" y="0"/>
                  <a:pt x="87" y="2"/>
                </a:cubicBezTo>
                <a:cubicBezTo>
                  <a:pt x="85" y="3"/>
                  <a:pt x="87" y="6"/>
                  <a:pt x="86" y="8"/>
                </a:cubicBezTo>
                <a:cubicBezTo>
                  <a:pt x="85" y="10"/>
                  <a:pt x="79" y="7"/>
                  <a:pt x="79" y="9"/>
                </a:cubicBezTo>
                <a:cubicBezTo>
                  <a:pt x="79" y="11"/>
                  <a:pt x="77" y="12"/>
                  <a:pt x="75" y="9"/>
                </a:cubicBezTo>
                <a:cubicBezTo>
                  <a:pt x="73" y="7"/>
                  <a:pt x="68" y="8"/>
                  <a:pt x="68" y="10"/>
                </a:cubicBezTo>
                <a:cubicBezTo>
                  <a:pt x="68" y="12"/>
                  <a:pt x="66" y="10"/>
                  <a:pt x="62" y="8"/>
                </a:cubicBezTo>
                <a:cubicBezTo>
                  <a:pt x="59" y="6"/>
                  <a:pt x="55" y="11"/>
                  <a:pt x="55" y="13"/>
                </a:cubicBezTo>
                <a:cubicBezTo>
                  <a:pt x="55" y="16"/>
                  <a:pt x="54" y="16"/>
                  <a:pt x="50" y="11"/>
                </a:cubicBezTo>
                <a:cubicBezTo>
                  <a:pt x="47" y="5"/>
                  <a:pt x="44" y="11"/>
                  <a:pt x="45" y="14"/>
                </a:cubicBezTo>
                <a:cubicBezTo>
                  <a:pt x="47" y="17"/>
                  <a:pt x="46" y="21"/>
                  <a:pt x="44" y="20"/>
                </a:cubicBezTo>
                <a:cubicBezTo>
                  <a:pt x="41" y="18"/>
                  <a:pt x="38" y="21"/>
                  <a:pt x="36" y="23"/>
                </a:cubicBezTo>
                <a:cubicBezTo>
                  <a:pt x="35" y="25"/>
                  <a:pt x="30" y="16"/>
                  <a:pt x="33" y="14"/>
                </a:cubicBezTo>
                <a:cubicBezTo>
                  <a:pt x="37" y="12"/>
                  <a:pt x="21" y="3"/>
                  <a:pt x="16" y="3"/>
                </a:cubicBezTo>
                <a:cubicBezTo>
                  <a:pt x="11" y="3"/>
                  <a:pt x="15" y="6"/>
                  <a:pt x="18" y="9"/>
                </a:cubicBezTo>
                <a:cubicBezTo>
                  <a:pt x="21" y="12"/>
                  <a:pt x="16" y="11"/>
                  <a:pt x="14" y="9"/>
                </a:cubicBezTo>
                <a:cubicBezTo>
                  <a:pt x="12" y="6"/>
                  <a:pt x="8" y="8"/>
                  <a:pt x="6" y="11"/>
                </a:cubicBezTo>
                <a:cubicBezTo>
                  <a:pt x="4" y="15"/>
                  <a:pt x="1" y="17"/>
                  <a:pt x="1" y="19"/>
                </a:cubicBezTo>
                <a:cubicBezTo>
                  <a:pt x="0" y="21"/>
                  <a:pt x="6" y="24"/>
                  <a:pt x="12" y="22"/>
                </a:cubicBezTo>
                <a:cubicBezTo>
                  <a:pt x="17" y="19"/>
                  <a:pt x="23" y="19"/>
                  <a:pt x="25" y="22"/>
                </a:cubicBezTo>
                <a:cubicBezTo>
                  <a:pt x="28" y="24"/>
                  <a:pt x="20" y="25"/>
                  <a:pt x="23" y="27"/>
                </a:cubicBezTo>
                <a:cubicBezTo>
                  <a:pt x="26" y="29"/>
                  <a:pt x="24" y="31"/>
                  <a:pt x="17" y="30"/>
                </a:cubicBezTo>
                <a:cubicBezTo>
                  <a:pt x="11" y="30"/>
                  <a:pt x="3" y="32"/>
                  <a:pt x="4" y="34"/>
                </a:cubicBezTo>
                <a:cubicBezTo>
                  <a:pt x="6" y="36"/>
                  <a:pt x="21" y="32"/>
                  <a:pt x="21" y="34"/>
                </a:cubicBezTo>
                <a:cubicBezTo>
                  <a:pt x="21" y="36"/>
                  <a:pt x="21" y="40"/>
                  <a:pt x="25" y="38"/>
                </a:cubicBezTo>
                <a:cubicBezTo>
                  <a:pt x="29" y="37"/>
                  <a:pt x="26" y="41"/>
                  <a:pt x="28" y="42"/>
                </a:cubicBezTo>
                <a:cubicBezTo>
                  <a:pt x="30" y="43"/>
                  <a:pt x="30" y="47"/>
                  <a:pt x="24" y="47"/>
                </a:cubicBezTo>
                <a:cubicBezTo>
                  <a:pt x="19" y="48"/>
                  <a:pt x="16" y="49"/>
                  <a:pt x="19" y="51"/>
                </a:cubicBezTo>
                <a:cubicBezTo>
                  <a:pt x="21" y="54"/>
                  <a:pt x="27" y="52"/>
                  <a:pt x="33" y="50"/>
                </a:cubicBezTo>
                <a:cubicBezTo>
                  <a:pt x="39" y="49"/>
                  <a:pt x="47" y="56"/>
                  <a:pt x="53" y="59"/>
                </a:cubicBezTo>
                <a:cubicBezTo>
                  <a:pt x="60" y="61"/>
                  <a:pt x="72" y="58"/>
                  <a:pt x="73" y="54"/>
                </a:cubicBezTo>
                <a:cubicBezTo>
                  <a:pt x="74" y="51"/>
                  <a:pt x="83" y="52"/>
                  <a:pt x="87" y="49"/>
                </a:cubicBezTo>
                <a:cubicBezTo>
                  <a:pt x="91" y="47"/>
                  <a:pt x="96" y="44"/>
                  <a:pt x="102" y="4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3" name="Freeform 130"/>
          <p:cNvSpPr/>
          <p:nvPr/>
        </p:nvSpPr>
        <p:spPr bwMode="auto">
          <a:xfrm>
            <a:off x="5655951" y="2908173"/>
            <a:ext cx="114966" cy="128884"/>
          </a:xfrm>
          <a:custGeom>
            <a:cxnLst>
              <a:cxn ang="0">
                <a:pos x="45" y="17"/>
              </a:cxn>
              <a:cxn ang="0">
                <a:pos x="42" y="14"/>
              </a:cxn>
              <a:cxn ang="0">
                <a:pos x="35" y="16"/>
              </a:cxn>
              <a:cxn ang="0">
                <a:pos x="28" y="15"/>
              </a:cxn>
              <a:cxn ang="0">
                <a:pos x="31" y="8"/>
              </a:cxn>
              <a:cxn ang="0">
                <a:pos x="34" y="2"/>
              </a:cxn>
              <a:cxn ang="0">
                <a:pos x="32" y="1"/>
              </a:cxn>
              <a:cxn ang="0">
                <a:pos x="21" y="4"/>
              </a:cxn>
              <a:cxn ang="0">
                <a:pos x="26" y="9"/>
              </a:cxn>
              <a:cxn ang="0">
                <a:pos x="17" y="14"/>
              </a:cxn>
              <a:cxn ang="0">
                <a:pos x="5" y="14"/>
              </a:cxn>
              <a:cxn ang="0">
                <a:pos x="6" y="22"/>
              </a:cxn>
              <a:cxn ang="0">
                <a:pos x="12" y="30"/>
              </a:cxn>
              <a:cxn ang="0">
                <a:pos x="9" y="40"/>
              </a:cxn>
              <a:cxn ang="0">
                <a:pos x="1" y="47"/>
              </a:cxn>
              <a:cxn ang="0">
                <a:pos x="12" y="56"/>
              </a:cxn>
              <a:cxn ang="0">
                <a:pos x="32" y="48"/>
              </a:cxn>
              <a:cxn ang="0">
                <a:pos x="46" y="45"/>
              </a:cxn>
              <a:cxn ang="0">
                <a:pos x="46" y="19"/>
              </a:cxn>
              <a:cxn ang="0">
                <a:pos x="45" y="17"/>
              </a:cxn>
            </a:cxnLst>
            <a:rect b="b" l="0" r="r" t="0"/>
            <a:pathLst>
              <a:path h="56" w="51">
                <a:moveTo>
                  <a:pt x="45" y="17"/>
                </a:moveTo>
                <a:cubicBezTo>
                  <a:pt x="44" y="16"/>
                  <a:pt x="43" y="15"/>
                  <a:pt x="42" y="14"/>
                </a:cubicBezTo>
                <a:cubicBezTo>
                  <a:pt x="37" y="9"/>
                  <a:pt x="36" y="13"/>
                  <a:pt x="35" y="16"/>
                </a:cubicBezTo>
                <a:cubicBezTo>
                  <a:pt x="35" y="19"/>
                  <a:pt x="31" y="15"/>
                  <a:pt x="28" y="15"/>
                </a:cubicBezTo>
                <a:cubicBezTo>
                  <a:pt x="25" y="14"/>
                  <a:pt x="29" y="9"/>
                  <a:pt x="31" y="8"/>
                </a:cubicBezTo>
                <a:cubicBezTo>
                  <a:pt x="32" y="7"/>
                  <a:pt x="33" y="5"/>
                  <a:pt x="34" y="2"/>
                </a:cubicBezTo>
                <a:cubicBezTo>
                  <a:pt x="33" y="2"/>
                  <a:pt x="33" y="2"/>
                  <a:pt x="32" y="1"/>
                </a:cubicBezTo>
                <a:cubicBezTo>
                  <a:pt x="28" y="0"/>
                  <a:pt x="21" y="0"/>
                  <a:pt x="21" y="4"/>
                </a:cubicBezTo>
                <a:cubicBezTo>
                  <a:pt x="21" y="8"/>
                  <a:pt x="26" y="6"/>
                  <a:pt x="26" y="9"/>
                </a:cubicBezTo>
                <a:cubicBezTo>
                  <a:pt x="26" y="12"/>
                  <a:pt x="21" y="11"/>
                  <a:pt x="17" y="14"/>
                </a:cubicBezTo>
                <a:cubicBezTo>
                  <a:pt x="13" y="16"/>
                  <a:pt x="9" y="12"/>
                  <a:pt x="5" y="14"/>
                </a:cubicBezTo>
                <a:cubicBezTo>
                  <a:pt x="1" y="16"/>
                  <a:pt x="9" y="18"/>
                  <a:pt x="6" y="22"/>
                </a:cubicBezTo>
                <a:cubicBezTo>
                  <a:pt x="3" y="27"/>
                  <a:pt x="7" y="26"/>
                  <a:pt x="12" y="30"/>
                </a:cubicBezTo>
                <a:cubicBezTo>
                  <a:pt x="17" y="34"/>
                  <a:pt x="9" y="35"/>
                  <a:pt x="9" y="40"/>
                </a:cubicBezTo>
                <a:cubicBezTo>
                  <a:pt x="9" y="44"/>
                  <a:pt x="2" y="44"/>
                  <a:pt x="1" y="47"/>
                </a:cubicBezTo>
                <a:cubicBezTo>
                  <a:pt x="0" y="50"/>
                  <a:pt x="6" y="56"/>
                  <a:pt x="12" y="56"/>
                </a:cubicBezTo>
                <a:cubicBezTo>
                  <a:pt x="16" y="56"/>
                  <a:pt x="26" y="54"/>
                  <a:pt x="32" y="48"/>
                </a:cubicBezTo>
                <a:cubicBezTo>
                  <a:pt x="37" y="43"/>
                  <a:pt x="40" y="48"/>
                  <a:pt x="46" y="45"/>
                </a:cubicBezTo>
                <a:cubicBezTo>
                  <a:pt x="51" y="43"/>
                  <a:pt x="48" y="23"/>
                  <a:pt x="46" y="19"/>
                </a:cubicBezTo>
                <a:cubicBezTo>
                  <a:pt x="45" y="18"/>
                  <a:pt x="45" y="18"/>
                  <a:pt x="45" y="1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4" name="Freeform 131"/>
          <p:cNvSpPr>
            <a:spLocks noEditPoints="1"/>
          </p:cNvSpPr>
          <p:nvPr/>
        </p:nvSpPr>
        <p:spPr bwMode="auto">
          <a:xfrm>
            <a:off x="5711579" y="2695894"/>
            <a:ext cx="255891" cy="398023"/>
          </a:xfrm>
          <a:custGeom>
            <a:cxnLst>
              <a:cxn ang="0">
                <a:pos x="9" y="95"/>
              </a:cxn>
              <a:cxn ang="0">
                <a:pos x="3" y="108"/>
              </a:cxn>
              <a:cxn ang="0">
                <a:pos x="17" y="107"/>
              </a:cxn>
              <a:cxn ang="0">
                <a:pos x="29" y="105"/>
              </a:cxn>
              <a:cxn ang="0">
                <a:pos x="114" y="134"/>
              </a:cxn>
              <a:cxn ang="0">
                <a:pos x="97" y="127"/>
              </a:cxn>
              <a:cxn ang="0">
                <a:pos x="93" y="115"/>
              </a:cxn>
              <a:cxn ang="0">
                <a:pos x="77" y="88"/>
              </a:cxn>
              <a:cxn ang="0">
                <a:pos x="59" y="80"/>
              </a:cxn>
              <a:cxn ang="0">
                <a:pos x="72" y="53"/>
              </a:cxn>
              <a:cxn ang="0">
                <a:pos x="47" y="49"/>
              </a:cxn>
              <a:cxn ang="0">
                <a:pos x="57" y="33"/>
              </a:cxn>
              <a:cxn ang="0">
                <a:pos x="40" y="37"/>
              </a:cxn>
              <a:cxn ang="0">
                <a:pos x="28" y="54"/>
              </a:cxn>
              <a:cxn ang="0">
                <a:pos x="18" y="55"/>
              </a:cxn>
              <a:cxn ang="0">
                <a:pos x="22" y="70"/>
              </a:cxn>
              <a:cxn ang="0">
                <a:pos x="19" y="83"/>
              </a:cxn>
              <a:cxn ang="0">
                <a:pos x="32" y="87"/>
              </a:cxn>
              <a:cxn ang="0">
                <a:pos x="39" y="86"/>
              </a:cxn>
              <a:cxn ang="0">
                <a:pos x="51" y="96"/>
              </a:cxn>
              <a:cxn ang="0">
                <a:pos x="56" y="106"/>
              </a:cxn>
              <a:cxn ang="0">
                <a:pos x="58" y="121"/>
              </a:cxn>
              <a:cxn ang="0">
                <a:pos x="43" y="123"/>
              </a:cxn>
              <a:cxn ang="0">
                <a:pos x="46" y="134"/>
              </a:cxn>
              <a:cxn ang="0">
                <a:pos x="40" y="147"/>
              </a:cxn>
              <a:cxn ang="0">
                <a:pos x="58" y="150"/>
              </a:cxn>
              <a:cxn ang="0">
                <a:pos x="47" y="154"/>
              </a:cxn>
              <a:cxn ang="0">
                <a:pos x="41" y="167"/>
              </a:cxn>
              <a:cxn ang="0">
                <a:pos x="54" y="164"/>
              </a:cxn>
              <a:cxn ang="0">
                <a:pos x="71" y="160"/>
              </a:cxn>
              <a:cxn ang="0">
                <a:pos x="93" y="160"/>
              </a:cxn>
              <a:cxn ang="0">
                <a:pos x="104" y="151"/>
              </a:cxn>
              <a:cxn ang="0">
                <a:pos x="114" y="134"/>
              </a:cxn>
              <a:cxn ang="0">
                <a:pos x="21" y="40"/>
              </a:cxn>
              <a:cxn ang="0">
                <a:pos x="78" y="14"/>
              </a:cxn>
              <a:cxn ang="0">
                <a:pos x="78" y="14"/>
              </a:cxn>
            </a:cxnLst>
            <a:rect b="b" l="0" r="r" t="0"/>
            <a:pathLst>
              <a:path h="174" w="114">
                <a:moveTo>
                  <a:pt x="23" y="92"/>
                </a:moveTo>
                <a:cubicBezTo>
                  <a:pt x="18" y="88"/>
                  <a:pt x="13" y="95"/>
                  <a:pt x="9" y="95"/>
                </a:cubicBezTo>
                <a:cubicBezTo>
                  <a:pt x="8" y="98"/>
                  <a:pt x="7" y="100"/>
                  <a:pt x="6" y="101"/>
                </a:cubicBezTo>
                <a:cubicBezTo>
                  <a:pt x="4" y="102"/>
                  <a:pt x="0" y="107"/>
                  <a:pt x="3" y="108"/>
                </a:cubicBezTo>
                <a:cubicBezTo>
                  <a:pt x="6" y="108"/>
                  <a:pt x="10" y="112"/>
                  <a:pt x="10" y="109"/>
                </a:cubicBezTo>
                <a:cubicBezTo>
                  <a:pt x="11" y="106"/>
                  <a:pt x="12" y="102"/>
                  <a:pt x="17" y="107"/>
                </a:cubicBezTo>
                <a:cubicBezTo>
                  <a:pt x="18" y="108"/>
                  <a:pt x="19" y="109"/>
                  <a:pt x="20" y="110"/>
                </a:cubicBezTo>
                <a:cubicBezTo>
                  <a:pt x="21" y="108"/>
                  <a:pt x="26" y="108"/>
                  <a:pt x="29" y="105"/>
                </a:cubicBezTo>
                <a:cubicBezTo>
                  <a:pt x="32" y="102"/>
                  <a:pt x="27" y="97"/>
                  <a:pt x="23" y="92"/>
                </a:cubicBezTo>
                <a:close/>
                <a:moveTo>
                  <a:pt x="114" y="134"/>
                </a:moveTo>
                <a:cubicBezTo>
                  <a:pt x="114" y="129"/>
                  <a:pt x="103" y="125"/>
                  <a:pt x="102" y="128"/>
                </a:cubicBezTo>
                <a:cubicBezTo>
                  <a:pt x="101" y="131"/>
                  <a:pt x="98" y="130"/>
                  <a:pt x="97" y="127"/>
                </a:cubicBezTo>
                <a:cubicBezTo>
                  <a:pt x="95" y="124"/>
                  <a:pt x="98" y="121"/>
                  <a:pt x="96" y="121"/>
                </a:cubicBezTo>
                <a:cubicBezTo>
                  <a:pt x="95" y="121"/>
                  <a:pt x="92" y="117"/>
                  <a:pt x="93" y="115"/>
                </a:cubicBezTo>
                <a:cubicBezTo>
                  <a:pt x="93" y="113"/>
                  <a:pt x="90" y="103"/>
                  <a:pt x="84" y="101"/>
                </a:cubicBezTo>
                <a:cubicBezTo>
                  <a:pt x="79" y="100"/>
                  <a:pt x="78" y="92"/>
                  <a:pt x="77" y="88"/>
                </a:cubicBezTo>
                <a:cubicBezTo>
                  <a:pt x="76" y="83"/>
                  <a:pt x="72" y="86"/>
                  <a:pt x="69" y="82"/>
                </a:cubicBezTo>
                <a:cubicBezTo>
                  <a:pt x="66" y="78"/>
                  <a:pt x="62" y="80"/>
                  <a:pt x="59" y="80"/>
                </a:cubicBezTo>
                <a:cubicBezTo>
                  <a:pt x="57" y="80"/>
                  <a:pt x="59" y="76"/>
                  <a:pt x="63" y="73"/>
                </a:cubicBezTo>
                <a:cubicBezTo>
                  <a:pt x="67" y="70"/>
                  <a:pt x="72" y="56"/>
                  <a:pt x="72" y="53"/>
                </a:cubicBezTo>
                <a:cubicBezTo>
                  <a:pt x="72" y="50"/>
                  <a:pt x="54" y="51"/>
                  <a:pt x="51" y="52"/>
                </a:cubicBezTo>
                <a:cubicBezTo>
                  <a:pt x="48" y="54"/>
                  <a:pt x="44" y="50"/>
                  <a:pt x="47" y="49"/>
                </a:cubicBezTo>
                <a:cubicBezTo>
                  <a:pt x="50" y="47"/>
                  <a:pt x="56" y="42"/>
                  <a:pt x="56" y="39"/>
                </a:cubicBezTo>
                <a:cubicBezTo>
                  <a:pt x="55" y="37"/>
                  <a:pt x="60" y="35"/>
                  <a:pt x="57" y="33"/>
                </a:cubicBezTo>
                <a:cubicBezTo>
                  <a:pt x="55" y="30"/>
                  <a:pt x="54" y="35"/>
                  <a:pt x="52" y="37"/>
                </a:cubicBezTo>
                <a:cubicBezTo>
                  <a:pt x="50" y="39"/>
                  <a:pt x="45" y="38"/>
                  <a:pt x="40" y="37"/>
                </a:cubicBezTo>
                <a:cubicBezTo>
                  <a:pt x="35" y="36"/>
                  <a:pt x="33" y="44"/>
                  <a:pt x="33" y="47"/>
                </a:cubicBezTo>
                <a:cubicBezTo>
                  <a:pt x="33" y="50"/>
                  <a:pt x="27" y="52"/>
                  <a:pt x="28" y="54"/>
                </a:cubicBezTo>
                <a:cubicBezTo>
                  <a:pt x="29" y="57"/>
                  <a:pt x="27" y="59"/>
                  <a:pt x="25" y="58"/>
                </a:cubicBezTo>
                <a:cubicBezTo>
                  <a:pt x="24" y="56"/>
                  <a:pt x="22" y="52"/>
                  <a:pt x="18" y="55"/>
                </a:cubicBezTo>
                <a:cubicBezTo>
                  <a:pt x="15" y="58"/>
                  <a:pt x="22" y="61"/>
                  <a:pt x="27" y="62"/>
                </a:cubicBezTo>
                <a:cubicBezTo>
                  <a:pt x="31" y="62"/>
                  <a:pt x="23" y="65"/>
                  <a:pt x="22" y="70"/>
                </a:cubicBezTo>
                <a:cubicBezTo>
                  <a:pt x="22" y="75"/>
                  <a:pt x="28" y="73"/>
                  <a:pt x="28" y="76"/>
                </a:cubicBezTo>
                <a:cubicBezTo>
                  <a:pt x="29" y="79"/>
                  <a:pt x="19" y="80"/>
                  <a:pt x="19" y="83"/>
                </a:cubicBezTo>
                <a:cubicBezTo>
                  <a:pt x="19" y="86"/>
                  <a:pt x="25" y="82"/>
                  <a:pt x="27" y="80"/>
                </a:cubicBezTo>
                <a:cubicBezTo>
                  <a:pt x="30" y="79"/>
                  <a:pt x="26" y="88"/>
                  <a:pt x="32" y="87"/>
                </a:cubicBezTo>
                <a:cubicBezTo>
                  <a:pt x="38" y="86"/>
                  <a:pt x="36" y="78"/>
                  <a:pt x="38" y="78"/>
                </a:cubicBezTo>
                <a:cubicBezTo>
                  <a:pt x="40" y="79"/>
                  <a:pt x="37" y="83"/>
                  <a:pt x="39" y="86"/>
                </a:cubicBezTo>
                <a:cubicBezTo>
                  <a:pt x="41" y="90"/>
                  <a:pt x="35" y="95"/>
                  <a:pt x="35" y="97"/>
                </a:cubicBezTo>
                <a:cubicBezTo>
                  <a:pt x="35" y="100"/>
                  <a:pt x="47" y="100"/>
                  <a:pt x="51" y="96"/>
                </a:cubicBezTo>
                <a:cubicBezTo>
                  <a:pt x="55" y="92"/>
                  <a:pt x="57" y="96"/>
                  <a:pt x="54" y="99"/>
                </a:cubicBezTo>
                <a:cubicBezTo>
                  <a:pt x="52" y="102"/>
                  <a:pt x="53" y="105"/>
                  <a:pt x="56" y="106"/>
                </a:cubicBezTo>
                <a:cubicBezTo>
                  <a:pt x="59" y="107"/>
                  <a:pt x="61" y="108"/>
                  <a:pt x="59" y="110"/>
                </a:cubicBezTo>
                <a:cubicBezTo>
                  <a:pt x="58" y="113"/>
                  <a:pt x="59" y="118"/>
                  <a:pt x="58" y="121"/>
                </a:cubicBezTo>
                <a:cubicBezTo>
                  <a:pt x="57" y="123"/>
                  <a:pt x="47" y="123"/>
                  <a:pt x="47" y="121"/>
                </a:cubicBezTo>
                <a:cubicBezTo>
                  <a:pt x="46" y="119"/>
                  <a:pt x="42" y="121"/>
                  <a:pt x="43" y="123"/>
                </a:cubicBezTo>
                <a:cubicBezTo>
                  <a:pt x="44" y="125"/>
                  <a:pt x="39" y="128"/>
                  <a:pt x="40" y="130"/>
                </a:cubicBezTo>
                <a:cubicBezTo>
                  <a:pt x="40" y="132"/>
                  <a:pt x="46" y="132"/>
                  <a:pt x="46" y="134"/>
                </a:cubicBezTo>
                <a:cubicBezTo>
                  <a:pt x="47" y="137"/>
                  <a:pt x="42" y="140"/>
                  <a:pt x="36" y="142"/>
                </a:cubicBezTo>
                <a:cubicBezTo>
                  <a:pt x="29" y="144"/>
                  <a:pt x="37" y="149"/>
                  <a:pt x="40" y="147"/>
                </a:cubicBezTo>
                <a:cubicBezTo>
                  <a:pt x="43" y="144"/>
                  <a:pt x="42" y="148"/>
                  <a:pt x="47" y="148"/>
                </a:cubicBezTo>
                <a:cubicBezTo>
                  <a:pt x="51" y="148"/>
                  <a:pt x="54" y="152"/>
                  <a:pt x="58" y="150"/>
                </a:cubicBezTo>
                <a:cubicBezTo>
                  <a:pt x="63" y="148"/>
                  <a:pt x="63" y="150"/>
                  <a:pt x="59" y="153"/>
                </a:cubicBezTo>
                <a:cubicBezTo>
                  <a:pt x="56" y="155"/>
                  <a:pt x="50" y="152"/>
                  <a:pt x="47" y="154"/>
                </a:cubicBezTo>
                <a:cubicBezTo>
                  <a:pt x="44" y="156"/>
                  <a:pt x="30" y="169"/>
                  <a:pt x="33" y="172"/>
                </a:cubicBezTo>
                <a:cubicBezTo>
                  <a:pt x="34" y="174"/>
                  <a:pt x="36" y="169"/>
                  <a:pt x="41" y="167"/>
                </a:cubicBezTo>
                <a:cubicBezTo>
                  <a:pt x="46" y="165"/>
                  <a:pt x="47" y="169"/>
                  <a:pt x="49" y="169"/>
                </a:cubicBezTo>
                <a:cubicBezTo>
                  <a:pt x="52" y="169"/>
                  <a:pt x="52" y="163"/>
                  <a:pt x="54" y="164"/>
                </a:cubicBezTo>
                <a:cubicBezTo>
                  <a:pt x="56" y="164"/>
                  <a:pt x="58" y="162"/>
                  <a:pt x="62" y="163"/>
                </a:cubicBezTo>
                <a:cubicBezTo>
                  <a:pt x="66" y="163"/>
                  <a:pt x="69" y="162"/>
                  <a:pt x="71" y="160"/>
                </a:cubicBezTo>
                <a:cubicBezTo>
                  <a:pt x="73" y="159"/>
                  <a:pt x="79" y="164"/>
                  <a:pt x="80" y="162"/>
                </a:cubicBezTo>
                <a:cubicBezTo>
                  <a:pt x="82" y="161"/>
                  <a:pt x="89" y="160"/>
                  <a:pt x="93" y="160"/>
                </a:cubicBezTo>
                <a:cubicBezTo>
                  <a:pt x="97" y="160"/>
                  <a:pt x="106" y="156"/>
                  <a:pt x="109" y="154"/>
                </a:cubicBezTo>
                <a:cubicBezTo>
                  <a:pt x="111" y="151"/>
                  <a:pt x="107" y="151"/>
                  <a:pt x="104" y="151"/>
                </a:cubicBezTo>
                <a:cubicBezTo>
                  <a:pt x="100" y="152"/>
                  <a:pt x="101" y="148"/>
                  <a:pt x="105" y="145"/>
                </a:cubicBezTo>
                <a:cubicBezTo>
                  <a:pt x="108" y="141"/>
                  <a:pt x="114" y="139"/>
                  <a:pt x="114" y="134"/>
                </a:cubicBezTo>
                <a:close/>
                <a:moveTo>
                  <a:pt x="14" y="50"/>
                </a:moveTo>
                <a:cubicBezTo>
                  <a:pt x="18" y="50"/>
                  <a:pt x="23" y="42"/>
                  <a:pt x="21" y="40"/>
                </a:cubicBezTo>
                <a:cubicBezTo>
                  <a:pt x="19" y="38"/>
                  <a:pt x="10" y="50"/>
                  <a:pt x="14" y="50"/>
                </a:cubicBezTo>
                <a:close/>
                <a:moveTo>
                  <a:pt x="78" y="14"/>
                </a:moveTo>
                <a:cubicBezTo>
                  <a:pt x="81" y="11"/>
                  <a:pt x="84" y="0"/>
                  <a:pt x="80" y="1"/>
                </a:cubicBezTo>
                <a:cubicBezTo>
                  <a:pt x="76" y="3"/>
                  <a:pt x="77" y="15"/>
                  <a:pt x="78" y="14"/>
                </a:cubicBezTo>
                <a:close/>
              </a:path>
            </a:pathLst>
          </a:custGeom>
          <a:solidFill>
            <a:srgbClr val="BFBFBF"/>
          </a:solidFill>
          <a:ln w="9525">
            <a:noFill/>
            <a:round/>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5" name="Freeform 132"/>
          <p:cNvSpPr>
            <a:spLocks noEditPoints="1"/>
          </p:cNvSpPr>
          <p:nvPr/>
        </p:nvSpPr>
        <p:spPr bwMode="auto">
          <a:xfrm>
            <a:off x="5711579" y="2695894"/>
            <a:ext cx="255891" cy="398023"/>
          </a:xfrm>
          <a:custGeom>
            <a:cxnLst>
              <a:cxn ang="0">
                <a:pos x="9" y="95"/>
              </a:cxn>
              <a:cxn ang="0">
                <a:pos x="3" y="108"/>
              </a:cxn>
              <a:cxn ang="0">
                <a:pos x="17" y="107"/>
              </a:cxn>
              <a:cxn ang="0">
                <a:pos x="29" y="105"/>
              </a:cxn>
              <a:cxn ang="0">
                <a:pos x="114" y="134"/>
              </a:cxn>
              <a:cxn ang="0">
                <a:pos x="97" y="127"/>
              </a:cxn>
              <a:cxn ang="0">
                <a:pos x="93" y="115"/>
              </a:cxn>
              <a:cxn ang="0">
                <a:pos x="77" y="88"/>
              </a:cxn>
              <a:cxn ang="0">
                <a:pos x="59" y="80"/>
              </a:cxn>
              <a:cxn ang="0">
                <a:pos x="72" y="53"/>
              </a:cxn>
              <a:cxn ang="0">
                <a:pos x="47" y="49"/>
              </a:cxn>
              <a:cxn ang="0">
                <a:pos x="57" y="33"/>
              </a:cxn>
              <a:cxn ang="0">
                <a:pos x="40" y="37"/>
              </a:cxn>
              <a:cxn ang="0">
                <a:pos x="28" y="54"/>
              </a:cxn>
              <a:cxn ang="0">
                <a:pos x="18" y="55"/>
              </a:cxn>
              <a:cxn ang="0">
                <a:pos x="22" y="70"/>
              </a:cxn>
              <a:cxn ang="0">
                <a:pos x="19" y="83"/>
              </a:cxn>
              <a:cxn ang="0">
                <a:pos x="32" y="87"/>
              </a:cxn>
              <a:cxn ang="0">
                <a:pos x="39" y="86"/>
              </a:cxn>
              <a:cxn ang="0">
                <a:pos x="51" y="96"/>
              </a:cxn>
              <a:cxn ang="0">
                <a:pos x="56" y="106"/>
              </a:cxn>
              <a:cxn ang="0">
                <a:pos x="58" y="121"/>
              </a:cxn>
              <a:cxn ang="0">
                <a:pos x="43" y="123"/>
              </a:cxn>
              <a:cxn ang="0">
                <a:pos x="46" y="134"/>
              </a:cxn>
              <a:cxn ang="0">
                <a:pos x="40" y="147"/>
              </a:cxn>
              <a:cxn ang="0">
                <a:pos x="58" y="150"/>
              </a:cxn>
              <a:cxn ang="0">
                <a:pos x="47" y="154"/>
              </a:cxn>
              <a:cxn ang="0">
                <a:pos x="41" y="167"/>
              </a:cxn>
              <a:cxn ang="0">
                <a:pos x="54" y="164"/>
              </a:cxn>
              <a:cxn ang="0">
                <a:pos x="71" y="160"/>
              </a:cxn>
              <a:cxn ang="0">
                <a:pos x="93" y="160"/>
              </a:cxn>
              <a:cxn ang="0">
                <a:pos x="104" y="151"/>
              </a:cxn>
              <a:cxn ang="0">
                <a:pos x="114" y="134"/>
              </a:cxn>
              <a:cxn ang="0">
                <a:pos x="21" y="40"/>
              </a:cxn>
              <a:cxn ang="0">
                <a:pos x="78" y="14"/>
              </a:cxn>
              <a:cxn ang="0">
                <a:pos x="78" y="14"/>
              </a:cxn>
            </a:cxnLst>
            <a:rect b="b" l="0" r="r" t="0"/>
            <a:pathLst>
              <a:path h="174" w="114">
                <a:moveTo>
                  <a:pt x="23" y="92"/>
                </a:moveTo>
                <a:cubicBezTo>
                  <a:pt x="18" y="88"/>
                  <a:pt x="13" y="95"/>
                  <a:pt x="9" y="95"/>
                </a:cubicBezTo>
                <a:cubicBezTo>
                  <a:pt x="8" y="98"/>
                  <a:pt x="7" y="100"/>
                  <a:pt x="6" y="101"/>
                </a:cubicBezTo>
                <a:cubicBezTo>
                  <a:pt x="4" y="102"/>
                  <a:pt x="0" y="107"/>
                  <a:pt x="3" y="108"/>
                </a:cubicBezTo>
                <a:cubicBezTo>
                  <a:pt x="6" y="108"/>
                  <a:pt x="10" y="112"/>
                  <a:pt x="10" y="109"/>
                </a:cubicBezTo>
                <a:cubicBezTo>
                  <a:pt x="11" y="106"/>
                  <a:pt x="12" y="102"/>
                  <a:pt x="17" y="107"/>
                </a:cubicBezTo>
                <a:cubicBezTo>
                  <a:pt x="18" y="108"/>
                  <a:pt x="19" y="109"/>
                  <a:pt x="20" y="110"/>
                </a:cubicBezTo>
                <a:cubicBezTo>
                  <a:pt x="21" y="108"/>
                  <a:pt x="26" y="108"/>
                  <a:pt x="29" y="105"/>
                </a:cubicBezTo>
                <a:cubicBezTo>
                  <a:pt x="32" y="102"/>
                  <a:pt x="27" y="97"/>
                  <a:pt x="23" y="92"/>
                </a:cubicBezTo>
                <a:close/>
                <a:moveTo>
                  <a:pt x="114" y="134"/>
                </a:moveTo>
                <a:cubicBezTo>
                  <a:pt x="114" y="129"/>
                  <a:pt x="103" y="125"/>
                  <a:pt x="102" y="128"/>
                </a:cubicBezTo>
                <a:cubicBezTo>
                  <a:pt x="101" y="131"/>
                  <a:pt x="98" y="130"/>
                  <a:pt x="97" y="127"/>
                </a:cubicBezTo>
                <a:cubicBezTo>
                  <a:pt x="95" y="124"/>
                  <a:pt x="98" y="121"/>
                  <a:pt x="96" y="121"/>
                </a:cubicBezTo>
                <a:cubicBezTo>
                  <a:pt x="95" y="121"/>
                  <a:pt x="92" y="117"/>
                  <a:pt x="93" y="115"/>
                </a:cubicBezTo>
                <a:cubicBezTo>
                  <a:pt x="93" y="113"/>
                  <a:pt x="90" y="103"/>
                  <a:pt x="84" y="101"/>
                </a:cubicBezTo>
                <a:cubicBezTo>
                  <a:pt x="79" y="100"/>
                  <a:pt x="78" y="92"/>
                  <a:pt x="77" y="88"/>
                </a:cubicBezTo>
                <a:cubicBezTo>
                  <a:pt x="76" y="83"/>
                  <a:pt x="72" y="86"/>
                  <a:pt x="69" y="82"/>
                </a:cubicBezTo>
                <a:cubicBezTo>
                  <a:pt x="66" y="78"/>
                  <a:pt x="62" y="80"/>
                  <a:pt x="59" y="80"/>
                </a:cubicBezTo>
                <a:cubicBezTo>
                  <a:pt x="57" y="80"/>
                  <a:pt x="59" y="76"/>
                  <a:pt x="63" y="73"/>
                </a:cubicBezTo>
                <a:cubicBezTo>
                  <a:pt x="67" y="70"/>
                  <a:pt x="72" y="56"/>
                  <a:pt x="72" y="53"/>
                </a:cubicBezTo>
                <a:cubicBezTo>
                  <a:pt x="72" y="50"/>
                  <a:pt x="54" y="51"/>
                  <a:pt x="51" y="52"/>
                </a:cubicBezTo>
                <a:cubicBezTo>
                  <a:pt x="48" y="54"/>
                  <a:pt x="44" y="50"/>
                  <a:pt x="47" y="49"/>
                </a:cubicBezTo>
                <a:cubicBezTo>
                  <a:pt x="50" y="47"/>
                  <a:pt x="56" y="42"/>
                  <a:pt x="56" y="39"/>
                </a:cubicBezTo>
                <a:cubicBezTo>
                  <a:pt x="55" y="37"/>
                  <a:pt x="60" y="35"/>
                  <a:pt x="57" y="33"/>
                </a:cubicBezTo>
                <a:cubicBezTo>
                  <a:pt x="55" y="30"/>
                  <a:pt x="54" y="35"/>
                  <a:pt x="52" y="37"/>
                </a:cubicBezTo>
                <a:cubicBezTo>
                  <a:pt x="50" y="39"/>
                  <a:pt x="45" y="38"/>
                  <a:pt x="40" y="37"/>
                </a:cubicBezTo>
                <a:cubicBezTo>
                  <a:pt x="35" y="36"/>
                  <a:pt x="33" y="44"/>
                  <a:pt x="33" y="47"/>
                </a:cubicBezTo>
                <a:cubicBezTo>
                  <a:pt x="33" y="50"/>
                  <a:pt x="27" y="52"/>
                  <a:pt x="28" y="54"/>
                </a:cubicBezTo>
                <a:cubicBezTo>
                  <a:pt x="29" y="57"/>
                  <a:pt x="27" y="59"/>
                  <a:pt x="25" y="58"/>
                </a:cubicBezTo>
                <a:cubicBezTo>
                  <a:pt x="24" y="56"/>
                  <a:pt x="22" y="52"/>
                  <a:pt x="18" y="55"/>
                </a:cubicBezTo>
                <a:cubicBezTo>
                  <a:pt x="15" y="58"/>
                  <a:pt x="22" y="61"/>
                  <a:pt x="27" y="62"/>
                </a:cubicBezTo>
                <a:cubicBezTo>
                  <a:pt x="31" y="62"/>
                  <a:pt x="23" y="65"/>
                  <a:pt x="22" y="70"/>
                </a:cubicBezTo>
                <a:cubicBezTo>
                  <a:pt x="22" y="75"/>
                  <a:pt x="28" y="73"/>
                  <a:pt x="28" y="76"/>
                </a:cubicBezTo>
                <a:cubicBezTo>
                  <a:pt x="29" y="79"/>
                  <a:pt x="19" y="80"/>
                  <a:pt x="19" y="83"/>
                </a:cubicBezTo>
                <a:cubicBezTo>
                  <a:pt x="19" y="86"/>
                  <a:pt x="25" y="82"/>
                  <a:pt x="27" y="80"/>
                </a:cubicBezTo>
                <a:cubicBezTo>
                  <a:pt x="30" y="79"/>
                  <a:pt x="26" y="88"/>
                  <a:pt x="32" y="87"/>
                </a:cubicBezTo>
                <a:cubicBezTo>
                  <a:pt x="38" y="86"/>
                  <a:pt x="36" y="78"/>
                  <a:pt x="38" y="78"/>
                </a:cubicBezTo>
                <a:cubicBezTo>
                  <a:pt x="40" y="79"/>
                  <a:pt x="37" y="83"/>
                  <a:pt x="39" y="86"/>
                </a:cubicBezTo>
                <a:cubicBezTo>
                  <a:pt x="41" y="90"/>
                  <a:pt x="35" y="95"/>
                  <a:pt x="35" y="97"/>
                </a:cubicBezTo>
                <a:cubicBezTo>
                  <a:pt x="35" y="100"/>
                  <a:pt x="47" y="100"/>
                  <a:pt x="51" y="96"/>
                </a:cubicBezTo>
                <a:cubicBezTo>
                  <a:pt x="55" y="92"/>
                  <a:pt x="57" y="96"/>
                  <a:pt x="54" y="99"/>
                </a:cubicBezTo>
                <a:cubicBezTo>
                  <a:pt x="52" y="102"/>
                  <a:pt x="53" y="105"/>
                  <a:pt x="56" y="106"/>
                </a:cubicBezTo>
                <a:cubicBezTo>
                  <a:pt x="59" y="107"/>
                  <a:pt x="61" y="108"/>
                  <a:pt x="59" y="110"/>
                </a:cubicBezTo>
                <a:cubicBezTo>
                  <a:pt x="58" y="113"/>
                  <a:pt x="59" y="118"/>
                  <a:pt x="58" y="121"/>
                </a:cubicBezTo>
                <a:cubicBezTo>
                  <a:pt x="57" y="123"/>
                  <a:pt x="47" y="123"/>
                  <a:pt x="47" y="121"/>
                </a:cubicBezTo>
                <a:cubicBezTo>
                  <a:pt x="46" y="119"/>
                  <a:pt x="42" y="121"/>
                  <a:pt x="43" y="123"/>
                </a:cubicBezTo>
                <a:cubicBezTo>
                  <a:pt x="44" y="125"/>
                  <a:pt x="39" y="128"/>
                  <a:pt x="40" y="130"/>
                </a:cubicBezTo>
                <a:cubicBezTo>
                  <a:pt x="40" y="132"/>
                  <a:pt x="46" y="132"/>
                  <a:pt x="46" y="134"/>
                </a:cubicBezTo>
                <a:cubicBezTo>
                  <a:pt x="47" y="137"/>
                  <a:pt x="42" y="140"/>
                  <a:pt x="36" y="142"/>
                </a:cubicBezTo>
                <a:cubicBezTo>
                  <a:pt x="29" y="144"/>
                  <a:pt x="37" y="149"/>
                  <a:pt x="40" y="147"/>
                </a:cubicBezTo>
                <a:cubicBezTo>
                  <a:pt x="43" y="144"/>
                  <a:pt x="42" y="148"/>
                  <a:pt x="47" y="148"/>
                </a:cubicBezTo>
                <a:cubicBezTo>
                  <a:pt x="51" y="148"/>
                  <a:pt x="54" y="152"/>
                  <a:pt x="58" y="150"/>
                </a:cubicBezTo>
                <a:cubicBezTo>
                  <a:pt x="63" y="148"/>
                  <a:pt x="63" y="150"/>
                  <a:pt x="59" y="153"/>
                </a:cubicBezTo>
                <a:cubicBezTo>
                  <a:pt x="56" y="155"/>
                  <a:pt x="50" y="152"/>
                  <a:pt x="47" y="154"/>
                </a:cubicBezTo>
                <a:cubicBezTo>
                  <a:pt x="44" y="156"/>
                  <a:pt x="30" y="169"/>
                  <a:pt x="33" y="172"/>
                </a:cubicBezTo>
                <a:cubicBezTo>
                  <a:pt x="34" y="174"/>
                  <a:pt x="36" y="169"/>
                  <a:pt x="41" y="167"/>
                </a:cubicBezTo>
                <a:cubicBezTo>
                  <a:pt x="46" y="165"/>
                  <a:pt x="47" y="169"/>
                  <a:pt x="49" y="169"/>
                </a:cubicBezTo>
                <a:cubicBezTo>
                  <a:pt x="52" y="169"/>
                  <a:pt x="52" y="163"/>
                  <a:pt x="54" y="164"/>
                </a:cubicBezTo>
                <a:cubicBezTo>
                  <a:pt x="56" y="164"/>
                  <a:pt x="58" y="162"/>
                  <a:pt x="62" y="163"/>
                </a:cubicBezTo>
                <a:cubicBezTo>
                  <a:pt x="66" y="163"/>
                  <a:pt x="69" y="162"/>
                  <a:pt x="71" y="160"/>
                </a:cubicBezTo>
                <a:cubicBezTo>
                  <a:pt x="73" y="159"/>
                  <a:pt x="79" y="164"/>
                  <a:pt x="80" y="162"/>
                </a:cubicBezTo>
                <a:cubicBezTo>
                  <a:pt x="82" y="161"/>
                  <a:pt x="89" y="160"/>
                  <a:pt x="93" y="160"/>
                </a:cubicBezTo>
                <a:cubicBezTo>
                  <a:pt x="97" y="160"/>
                  <a:pt x="106" y="156"/>
                  <a:pt x="109" y="154"/>
                </a:cubicBezTo>
                <a:cubicBezTo>
                  <a:pt x="111" y="151"/>
                  <a:pt x="107" y="151"/>
                  <a:pt x="104" y="151"/>
                </a:cubicBezTo>
                <a:cubicBezTo>
                  <a:pt x="100" y="152"/>
                  <a:pt x="101" y="148"/>
                  <a:pt x="105" y="145"/>
                </a:cubicBezTo>
                <a:cubicBezTo>
                  <a:pt x="108" y="141"/>
                  <a:pt x="114" y="139"/>
                  <a:pt x="114" y="134"/>
                </a:cubicBezTo>
                <a:close/>
                <a:moveTo>
                  <a:pt x="14" y="50"/>
                </a:moveTo>
                <a:cubicBezTo>
                  <a:pt x="18" y="50"/>
                  <a:pt x="23" y="42"/>
                  <a:pt x="21" y="40"/>
                </a:cubicBezTo>
                <a:cubicBezTo>
                  <a:pt x="19" y="38"/>
                  <a:pt x="10" y="50"/>
                  <a:pt x="14" y="50"/>
                </a:cubicBezTo>
                <a:close/>
                <a:moveTo>
                  <a:pt x="78" y="14"/>
                </a:moveTo>
                <a:cubicBezTo>
                  <a:pt x="81" y="11"/>
                  <a:pt x="84" y="0"/>
                  <a:pt x="80" y="1"/>
                </a:cubicBezTo>
                <a:cubicBezTo>
                  <a:pt x="76" y="3"/>
                  <a:pt x="77" y="15"/>
                  <a:pt x="78" y="1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6" name="Freeform 133"/>
          <p:cNvSpPr>
            <a:spLocks noEditPoints="1"/>
          </p:cNvSpPr>
          <p:nvPr/>
        </p:nvSpPr>
        <p:spPr bwMode="auto">
          <a:xfrm>
            <a:off x="6123230" y="2811511"/>
            <a:ext cx="120529" cy="117511"/>
          </a:xfrm>
          <a:custGeom>
            <a:cxnLst>
              <a:cxn ang="0">
                <a:pos x="27" y="20"/>
              </a:cxn>
              <a:cxn ang="0">
                <a:pos x="27" y="12"/>
              </a:cxn>
              <a:cxn ang="0">
                <a:pos x="28" y="2"/>
              </a:cxn>
              <a:cxn ang="0">
                <a:pos x="20" y="7"/>
              </a:cxn>
              <a:cxn ang="0">
                <a:pos x="13" y="10"/>
              </a:cxn>
              <a:cxn ang="0">
                <a:pos x="14" y="15"/>
              </a:cxn>
              <a:cxn ang="0">
                <a:pos x="7" y="12"/>
              </a:cxn>
              <a:cxn ang="0">
                <a:pos x="2" y="20"/>
              </a:cxn>
              <a:cxn ang="0">
                <a:pos x="2" y="33"/>
              </a:cxn>
              <a:cxn ang="0">
                <a:pos x="6" y="43"/>
              </a:cxn>
              <a:cxn ang="0">
                <a:pos x="8" y="48"/>
              </a:cxn>
              <a:cxn ang="0">
                <a:pos x="18" y="49"/>
              </a:cxn>
              <a:cxn ang="0">
                <a:pos x="22" y="48"/>
              </a:cxn>
              <a:cxn ang="0">
                <a:pos x="18" y="42"/>
              </a:cxn>
              <a:cxn ang="0">
                <a:pos x="24" y="44"/>
              </a:cxn>
              <a:cxn ang="0">
                <a:pos x="32" y="43"/>
              </a:cxn>
              <a:cxn ang="0">
                <a:pos x="28" y="36"/>
              </a:cxn>
              <a:cxn ang="0">
                <a:pos x="22" y="36"/>
              </a:cxn>
              <a:cxn ang="0">
                <a:pos x="26" y="29"/>
              </a:cxn>
              <a:cxn ang="0">
                <a:pos x="33" y="25"/>
              </a:cxn>
              <a:cxn ang="0">
                <a:pos x="27" y="20"/>
              </a:cxn>
              <a:cxn ang="0">
                <a:pos x="53" y="30"/>
              </a:cxn>
              <a:cxn ang="0">
                <a:pos x="49" y="32"/>
              </a:cxn>
              <a:cxn ang="0">
                <a:pos x="45" y="30"/>
              </a:cxn>
              <a:cxn ang="0">
                <a:pos x="38" y="33"/>
              </a:cxn>
              <a:cxn ang="0">
                <a:pos x="42" y="43"/>
              </a:cxn>
              <a:cxn ang="0">
                <a:pos x="39" y="46"/>
              </a:cxn>
              <a:cxn ang="0">
                <a:pos x="42" y="51"/>
              </a:cxn>
              <a:cxn ang="0">
                <a:pos x="50" y="42"/>
              </a:cxn>
              <a:cxn ang="0">
                <a:pos x="53" y="30"/>
              </a:cxn>
            </a:cxnLst>
            <a:rect b="b" l="0" r="r" t="0"/>
            <a:pathLst>
              <a:path h="52" w="54">
                <a:moveTo>
                  <a:pt x="27" y="20"/>
                </a:moveTo>
                <a:cubicBezTo>
                  <a:pt x="26" y="19"/>
                  <a:pt x="25" y="13"/>
                  <a:pt x="27" y="12"/>
                </a:cubicBezTo>
                <a:cubicBezTo>
                  <a:pt x="29" y="10"/>
                  <a:pt x="30" y="4"/>
                  <a:pt x="28" y="2"/>
                </a:cubicBezTo>
                <a:cubicBezTo>
                  <a:pt x="27" y="0"/>
                  <a:pt x="21" y="2"/>
                  <a:pt x="20" y="7"/>
                </a:cubicBezTo>
                <a:cubicBezTo>
                  <a:pt x="20" y="11"/>
                  <a:pt x="15" y="9"/>
                  <a:pt x="13" y="10"/>
                </a:cubicBezTo>
                <a:cubicBezTo>
                  <a:pt x="12" y="11"/>
                  <a:pt x="16" y="13"/>
                  <a:pt x="14" y="15"/>
                </a:cubicBezTo>
                <a:cubicBezTo>
                  <a:pt x="12" y="17"/>
                  <a:pt x="11" y="12"/>
                  <a:pt x="7" y="12"/>
                </a:cubicBezTo>
                <a:cubicBezTo>
                  <a:pt x="4" y="11"/>
                  <a:pt x="4" y="17"/>
                  <a:pt x="2" y="20"/>
                </a:cubicBezTo>
                <a:cubicBezTo>
                  <a:pt x="0" y="23"/>
                  <a:pt x="1" y="29"/>
                  <a:pt x="2" y="33"/>
                </a:cubicBezTo>
                <a:cubicBezTo>
                  <a:pt x="2" y="37"/>
                  <a:pt x="7" y="39"/>
                  <a:pt x="6" y="43"/>
                </a:cubicBezTo>
                <a:cubicBezTo>
                  <a:pt x="5" y="44"/>
                  <a:pt x="7" y="46"/>
                  <a:pt x="8" y="48"/>
                </a:cubicBezTo>
                <a:cubicBezTo>
                  <a:pt x="12" y="48"/>
                  <a:pt x="16" y="48"/>
                  <a:pt x="18" y="49"/>
                </a:cubicBezTo>
                <a:cubicBezTo>
                  <a:pt x="19" y="49"/>
                  <a:pt x="20" y="49"/>
                  <a:pt x="22" y="48"/>
                </a:cubicBezTo>
                <a:cubicBezTo>
                  <a:pt x="21" y="46"/>
                  <a:pt x="17" y="44"/>
                  <a:pt x="18" y="42"/>
                </a:cubicBezTo>
                <a:cubicBezTo>
                  <a:pt x="18" y="40"/>
                  <a:pt x="21" y="42"/>
                  <a:pt x="24" y="44"/>
                </a:cubicBezTo>
                <a:cubicBezTo>
                  <a:pt x="26" y="46"/>
                  <a:pt x="31" y="46"/>
                  <a:pt x="32" y="43"/>
                </a:cubicBezTo>
                <a:cubicBezTo>
                  <a:pt x="32" y="42"/>
                  <a:pt x="31" y="35"/>
                  <a:pt x="28" y="36"/>
                </a:cubicBezTo>
                <a:cubicBezTo>
                  <a:pt x="24" y="38"/>
                  <a:pt x="24" y="37"/>
                  <a:pt x="22" y="36"/>
                </a:cubicBezTo>
                <a:cubicBezTo>
                  <a:pt x="21" y="34"/>
                  <a:pt x="25" y="31"/>
                  <a:pt x="26" y="29"/>
                </a:cubicBezTo>
                <a:cubicBezTo>
                  <a:pt x="26" y="26"/>
                  <a:pt x="32" y="27"/>
                  <a:pt x="33" y="25"/>
                </a:cubicBezTo>
                <a:cubicBezTo>
                  <a:pt x="34" y="23"/>
                  <a:pt x="29" y="20"/>
                  <a:pt x="27" y="20"/>
                </a:cubicBezTo>
                <a:close/>
                <a:moveTo>
                  <a:pt x="53" y="30"/>
                </a:moveTo>
                <a:cubicBezTo>
                  <a:pt x="51" y="29"/>
                  <a:pt x="50" y="32"/>
                  <a:pt x="49" y="32"/>
                </a:cubicBezTo>
                <a:cubicBezTo>
                  <a:pt x="47" y="33"/>
                  <a:pt x="46" y="26"/>
                  <a:pt x="45" y="30"/>
                </a:cubicBezTo>
                <a:cubicBezTo>
                  <a:pt x="44" y="33"/>
                  <a:pt x="41" y="28"/>
                  <a:pt x="38" y="33"/>
                </a:cubicBezTo>
                <a:cubicBezTo>
                  <a:pt x="34" y="38"/>
                  <a:pt x="40" y="42"/>
                  <a:pt x="42" y="43"/>
                </a:cubicBezTo>
                <a:cubicBezTo>
                  <a:pt x="44" y="45"/>
                  <a:pt x="42" y="47"/>
                  <a:pt x="39" y="46"/>
                </a:cubicBezTo>
                <a:cubicBezTo>
                  <a:pt x="36" y="46"/>
                  <a:pt x="38" y="51"/>
                  <a:pt x="42" y="51"/>
                </a:cubicBezTo>
                <a:cubicBezTo>
                  <a:pt x="46" y="52"/>
                  <a:pt x="50" y="44"/>
                  <a:pt x="50" y="42"/>
                </a:cubicBezTo>
                <a:cubicBezTo>
                  <a:pt x="49" y="40"/>
                  <a:pt x="54" y="31"/>
                  <a:pt x="53" y="3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7" name="Freeform 134"/>
          <p:cNvSpPr>
            <a:spLocks noEditPoints="1"/>
          </p:cNvSpPr>
          <p:nvPr/>
        </p:nvSpPr>
        <p:spPr bwMode="auto">
          <a:xfrm>
            <a:off x="6206672" y="2341465"/>
            <a:ext cx="311520" cy="562918"/>
          </a:xfrm>
          <a:custGeom>
            <a:cxnLst>
              <a:cxn ang="0">
                <a:pos x="137" y="53"/>
              </a:cxn>
              <a:cxn ang="0">
                <a:pos x="135" y="33"/>
              </a:cxn>
              <a:cxn ang="0">
                <a:pos x="118" y="12"/>
              </a:cxn>
              <a:cxn ang="0">
                <a:pos x="98" y="11"/>
              </a:cxn>
              <a:cxn ang="0">
                <a:pos x="79" y="11"/>
              </a:cxn>
              <a:cxn ang="0">
                <a:pos x="68" y="23"/>
              </a:cxn>
              <a:cxn ang="0">
                <a:pos x="56" y="37"/>
              </a:cxn>
              <a:cxn ang="0">
                <a:pos x="47" y="51"/>
              </a:cxn>
              <a:cxn ang="0">
                <a:pos x="37" y="60"/>
              </a:cxn>
              <a:cxn ang="0">
                <a:pos x="29" y="85"/>
              </a:cxn>
              <a:cxn ang="0">
                <a:pos x="31" y="97"/>
              </a:cxn>
              <a:cxn ang="0">
                <a:pos x="12" y="105"/>
              </a:cxn>
              <a:cxn ang="0">
                <a:pos x="11" y="127"/>
              </a:cxn>
              <a:cxn ang="0">
                <a:pos x="18" y="146"/>
              </a:cxn>
              <a:cxn ang="0">
                <a:pos x="15" y="157"/>
              </a:cxn>
              <a:cxn ang="0">
                <a:pos x="8" y="171"/>
              </a:cxn>
              <a:cxn ang="0">
                <a:pos x="3" y="187"/>
              </a:cxn>
              <a:cxn ang="0">
                <a:pos x="0" y="188"/>
              </a:cxn>
              <a:cxn ang="0">
                <a:pos x="9" y="211"/>
              </a:cxn>
              <a:cxn ang="0">
                <a:pos x="17" y="230"/>
              </a:cxn>
              <a:cxn ang="0">
                <a:pos x="20" y="244"/>
              </a:cxn>
              <a:cxn ang="0">
                <a:pos x="33" y="238"/>
              </a:cxn>
              <a:cxn ang="0">
                <a:pos x="46" y="233"/>
              </a:cxn>
              <a:cxn ang="0">
                <a:pos x="57" y="230"/>
              </a:cxn>
              <a:cxn ang="0">
                <a:pos x="59" y="220"/>
              </a:cxn>
              <a:cxn ang="0">
                <a:pos x="61" y="196"/>
              </a:cxn>
              <a:cxn ang="0">
                <a:pos x="77" y="179"/>
              </a:cxn>
              <a:cxn ang="0">
                <a:pos x="73" y="158"/>
              </a:cxn>
              <a:cxn ang="0">
                <a:pos x="64" y="144"/>
              </a:cxn>
              <a:cxn ang="0">
                <a:pos x="71" y="124"/>
              </a:cxn>
              <a:cxn ang="0">
                <a:pos x="84" y="110"/>
              </a:cxn>
              <a:cxn ang="0">
                <a:pos x="112" y="91"/>
              </a:cxn>
              <a:cxn ang="0">
                <a:pos x="115" y="71"/>
              </a:cxn>
              <a:cxn ang="0">
                <a:pos x="134" y="64"/>
              </a:cxn>
              <a:cxn ang="0">
                <a:pos x="139" y="58"/>
              </a:cxn>
              <a:cxn ang="0">
                <a:pos x="75" y="220"/>
              </a:cxn>
            </a:cxnLst>
            <a:rect b="b" l="0" r="r" t="0"/>
            <a:pathLst>
              <a:path h="246" w="140">
                <a:moveTo>
                  <a:pt x="139" y="58"/>
                </a:moveTo>
                <a:cubicBezTo>
                  <a:pt x="137" y="57"/>
                  <a:pt x="134" y="53"/>
                  <a:pt x="137" y="53"/>
                </a:cubicBezTo>
                <a:cubicBezTo>
                  <a:pt x="139" y="53"/>
                  <a:pt x="140" y="44"/>
                  <a:pt x="137" y="43"/>
                </a:cubicBezTo>
                <a:cubicBezTo>
                  <a:pt x="134" y="41"/>
                  <a:pt x="137" y="34"/>
                  <a:pt x="135" y="33"/>
                </a:cubicBezTo>
                <a:cubicBezTo>
                  <a:pt x="132" y="31"/>
                  <a:pt x="134" y="26"/>
                  <a:pt x="134" y="22"/>
                </a:cubicBezTo>
                <a:cubicBezTo>
                  <a:pt x="135" y="18"/>
                  <a:pt x="124" y="15"/>
                  <a:pt x="118" y="12"/>
                </a:cubicBezTo>
                <a:cubicBezTo>
                  <a:pt x="112" y="10"/>
                  <a:pt x="109" y="5"/>
                  <a:pt x="105" y="3"/>
                </a:cubicBezTo>
                <a:cubicBezTo>
                  <a:pt x="100" y="0"/>
                  <a:pt x="98" y="7"/>
                  <a:pt x="98" y="11"/>
                </a:cubicBezTo>
                <a:cubicBezTo>
                  <a:pt x="98" y="16"/>
                  <a:pt x="94" y="16"/>
                  <a:pt x="91" y="13"/>
                </a:cubicBezTo>
                <a:cubicBezTo>
                  <a:pt x="87" y="11"/>
                  <a:pt x="84" y="13"/>
                  <a:pt x="79" y="11"/>
                </a:cubicBezTo>
                <a:cubicBezTo>
                  <a:pt x="74" y="9"/>
                  <a:pt x="76" y="16"/>
                  <a:pt x="76" y="19"/>
                </a:cubicBezTo>
                <a:cubicBezTo>
                  <a:pt x="76" y="23"/>
                  <a:pt x="71" y="23"/>
                  <a:pt x="68" y="23"/>
                </a:cubicBezTo>
                <a:cubicBezTo>
                  <a:pt x="64" y="23"/>
                  <a:pt x="59" y="25"/>
                  <a:pt x="59" y="29"/>
                </a:cubicBezTo>
                <a:cubicBezTo>
                  <a:pt x="59" y="33"/>
                  <a:pt x="54" y="35"/>
                  <a:pt x="56" y="37"/>
                </a:cubicBezTo>
                <a:cubicBezTo>
                  <a:pt x="57" y="39"/>
                  <a:pt x="55" y="41"/>
                  <a:pt x="53" y="43"/>
                </a:cubicBezTo>
                <a:cubicBezTo>
                  <a:pt x="51" y="44"/>
                  <a:pt x="49" y="50"/>
                  <a:pt x="47" y="51"/>
                </a:cubicBezTo>
                <a:cubicBezTo>
                  <a:pt x="46" y="53"/>
                  <a:pt x="48" y="56"/>
                  <a:pt x="45" y="58"/>
                </a:cubicBezTo>
                <a:cubicBezTo>
                  <a:pt x="42" y="60"/>
                  <a:pt x="38" y="58"/>
                  <a:pt x="37" y="60"/>
                </a:cubicBezTo>
                <a:cubicBezTo>
                  <a:pt x="35" y="62"/>
                  <a:pt x="37" y="65"/>
                  <a:pt x="36" y="70"/>
                </a:cubicBezTo>
                <a:cubicBezTo>
                  <a:pt x="36" y="75"/>
                  <a:pt x="32" y="80"/>
                  <a:pt x="29" y="85"/>
                </a:cubicBezTo>
                <a:cubicBezTo>
                  <a:pt x="25" y="89"/>
                  <a:pt x="30" y="90"/>
                  <a:pt x="31" y="91"/>
                </a:cubicBezTo>
                <a:cubicBezTo>
                  <a:pt x="33" y="91"/>
                  <a:pt x="33" y="94"/>
                  <a:pt x="31" y="97"/>
                </a:cubicBezTo>
                <a:cubicBezTo>
                  <a:pt x="30" y="100"/>
                  <a:pt x="26" y="98"/>
                  <a:pt x="24" y="97"/>
                </a:cubicBezTo>
                <a:cubicBezTo>
                  <a:pt x="22" y="97"/>
                  <a:pt x="16" y="100"/>
                  <a:pt x="12" y="105"/>
                </a:cubicBezTo>
                <a:cubicBezTo>
                  <a:pt x="9" y="110"/>
                  <a:pt x="10" y="114"/>
                  <a:pt x="11" y="116"/>
                </a:cubicBezTo>
                <a:cubicBezTo>
                  <a:pt x="12" y="119"/>
                  <a:pt x="9" y="122"/>
                  <a:pt x="11" y="127"/>
                </a:cubicBezTo>
                <a:cubicBezTo>
                  <a:pt x="14" y="133"/>
                  <a:pt x="10" y="134"/>
                  <a:pt x="11" y="138"/>
                </a:cubicBezTo>
                <a:cubicBezTo>
                  <a:pt x="11" y="142"/>
                  <a:pt x="18" y="142"/>
                  <a:pt x="18" y="146"/>
                </a:cubicBezTo>
                <a:cubicBezTo>
                  <a:pt x="19" y="151"/>
                  <a:pt x="16" y="152"/>
                  <a:pt x="14" y="152"/>
                </a:cubicBezTo>
                <a:cubicBezTo>
                  <a:pt x="12" y="152"/>
                  <a:pt x="12" y="156"/>
                  <a:pt x="15" y="157"/>
                </a:cubicBezTo>
                <a:cubicBezTo>
                  <a:pt x="17" y="159"/>
                  <a:pt x="16" y="166"/>
                  <a:pt x="15" y="168"/>
                </a:cubicBezTo>
                <a:cubicBezTo>
                  <a:pt x="14" y="170"/>
                  <a:pt x="7" y="168"/>
                  <a:pt x="8" y="171"/>
                </a:cubicBezTo>
                <a:cubicBezTo>
                  <a:pt x="8" y="174"/>
                  <a:pt x="6" y="178"/>
                  <a:pt x="6" y="180"/>
                </a:cubicBezTo>
                <a:cubicBezTo>
                  <a:pt x="6" y="182"/>
                  <a:pt x="6" y="189"/>
                  <a:pt x="3" y="187"/>
                </a:cubicBezTo>
                <a:cubicBezTo>
                  <a:pt x="3" y="187"/>
                  <a:pt x="1" y="187"/>
                  <a:pt x="0" y="187"/>
                </a:cubicBezTo>
                <a:cubicBezTo>
                  <a:pt x="0" y="187"/>
                  <a:pt x="0" y="188"/>
                  <a:pt x="0" y="188"/>
                </a:cubicBezTo>
                <a:cubicBezTo>
                  <a:pt x="0" y="192"/>
                  <a:pt x="1" y="196"/>
                  <a:pt x="5" y="199"/>
                </a:cubicBezTo>
                <a:cubicBezTo>
                  <a:pt x="9" y="202"/>
                  <a:pt x="6" y="207"/>
                  <a:pt x="9" y="211"/>
                </a:cubicBezTo>
                <a:cubicBezTo>
                  <a:pt x="12" y="215"/>
                  <a:pt x="11" y="218"/>
                  <a:pt x="15" y="221"/>
                </a:cubicBezTo>
                <a:cubicBezTo>
                  <a:pt x="18" y="224"/>
                  <a:pt x="18" y="226"/>
                  <a:pt x="17" y="230"/>
                </a:cubicBezTo>
                <a:cubicBezTo>
                  <a:pt x="15" y="234"/>
                  <a:pt x="20" y="233"/>
                  <a:pt x="20" y="235"/>
                </a:cubicBezTo>
                <a:cubicBezTo>
                  <a:pt x="20" y="237"/>
                  <a:pt x="19" y="242"/>
                  <a:pt x="20" y="244"/>
                </a:cubicBezTo>
                <a:cubicBezTo>
                  <a:pt x="21" y="247"/>
                  <a:pt x="24" y="244"/>
                  <a:pt x="29" y="244"/>
                </a:cubicBezTo>
                <a:cubicBezTo>
                  <a:pt x="34" y="244"/>
                  <a:pt x="33" y="241"/>
                  <a:pt x="33" y="238"/>
                </a:cubicBezTo>
                <a:cubicBezTo>
                  <a:pt x="33" y="234"/>
                  <a:pt x="36" y="236"/>
                  <a:pt x="37" y="234"/>
                </a:cubicBezTo>
                <a:cubicBezTo>
                  <a:pt x="37" y="232"/>
                  <a:pt x="42" y="231"/>
                  <a:pt x="46" y="233"/>
                </a:cubicBezTo>
                <a:cubicBezTo>
                  <a:pt x="50" y="235"/>
                  <a:pt x="52" y="232"/>
                  <a:pt x="53" y="228"/>
                </a:cubicBezTo>
                <a:cubicBezTo>
                  <a:pt x="53" y="224"/>
                  <a:pt x="55" y="229"/>
                  <a:pt x="57" y="230"/>
                </a:cubicBezTo>
                <a:cubicBezTo>
                  <a:pt x="58" y="230"/>
                  <a:pt x="61" y="223"/>
                  <a:pt x="63" y="219"/>
                </a:cubicBezTo>
                <a:cubicBezTo>
                  <a:pt x="65" y="214"/>
                  <a:pt x="63" y="215"/>
                  <a:pt x="59" y="220"/>
                </a:cubicBezTo>
                <a:cubicBezTo>
                  <a:pt x="55" y="224"/>
                  <a:pt x="57" y="215"/>
                  <a:pt x="59" y="212"/>
                </a:cubicBezTo>
                <a:cubicBezTo>
                  <a:pt x="60" y="208"/>
                  <a:pt x="60" y="198"/>
                  <a:pt x="61" y="196"/>
                </a:cubicBezTo>
                <a:cubicBezTo>
                  <a:pt x="61" y="193"/>
                  <a:pt x="62" y="190"/>
                  <a:pt x="67" y="189"/>
                </a:cubicBezTo>
                <a:cubicBezTo>
                  <a:pt x="72" y="188"/>
                  <a:pt x="78" y="182"/>
                  <a:pt x="77" y="179"/>
                </a:cubicBezTo>
                <a:cubicBezTo>
                  <a:pt x="76" y="177"/>
                  <a:pt x="84" y="173"/>
                  <a:pt x="84" y="170"/>
                </a:cubicBezTo>
                <a:cubicBezTo>
                  <a:pt x="84" y="168"/>
                  <a:pt x="76" y="160"/>
                  <a:pt x="73" y="158"/>
                </a:cubicBezTo>
                <a:cubicBezTo>
                  <a:pt x="70" y="157"/>
                  <a:pt x="65" y="158"/>
                  <a:pt x="65" y="156"/>
                </a:cubicBezTo>
                <a:cubicBezTo>
                  <a:pt x="66" y="154"/>
                  <a:pt x="64" y="147"/>
                  <a:pt x="64" y="144"/>
                </a:cubicBezTo>
                <a:cubicBezTo>
                  <a:pt x="63" y="140"/>
                  <a:pt x="68" y="136"/>
                  <a:pt x="68" y="133"/>
                </a:cubicBezTo>
                <a:cubicBezTo>
                  <a:pt x="68" y="129"/>
                  <a:pt x="68" y="125"/>
                  <a:pt x="71" y="124"/>
                </a:cubicBezTo>
                <a:cubicBezTo>
                  <a:pt x="74" y="123"/>
                  <a:pt x="72" y="120"/>
                  <a:pt x="76" y="119"/>
                </a:cubicBezTo>
                <a:cubicBezTo>
                  <a:pt x="80" y="118"/>
                  <a:pt x="80" y="112"/>
                  <a:pt x="84" y="110"/>
                </a:cubicBezTo>
                <a:cubicBezTo>
                  <a:pt x="89" y="108"/>
                  <a:pt x="89" y="107"/>
                  <a:pt x="95" y="104"/>
                </a:cubicBezTo>
                <a:cubicBezTo>
                  <a:pt x="101" y="101"/>
                  <a:pt x="110" y="94"/>
                  <a:pt x="112" y="91"/>
                </a:cubicBezTo>
                <a:cubicBezTo>
                  <a:pt x="114" y="87"/>
                  <a:pt x="106" y="84"/>
                  <a:pt x="111" y="80"/>
                </a:cubicBezTo>
                <a:cubicBezTo>
                  <a:pt x="116" y="76"/>
                  <a:pt x="112" y="72"/>
                  <a:pt x="115" y="71"/>
                </a:cubicBezTo>
                <a:cubicBezTo>
                  <a:pt x="119" y="69"/>
                  <a:pt x="120" y="68"/>
                  <a:pt x="123" y="65"/>
                </a:cubicBezTo>
                <a:cubicBezTo>
                  <a:pt x="125" y="62"/>
                  <a:pt x="128" y="65"/>
                  <a:pt x="134" y="64"/>
                </a:cubicBezTo>
                <a:cubicBezTo>
                  <a:pt x="137" y="63"/>
                  <a:pt x="139" y="63"/>
                  <a:pt x="140" y="64"/>
                </a:cubicBezTo>
                <a:cubicBezTo>
                  <a:pt x="140" y="61"/>
                  <a:pt x="140" y="59"/>
                  <a:pt x="139" y="58"/>
                </a:cubicBezTo>
                <a:close/>
                <a:moveTo>
                  <a:pt x="83" y="205"/>
                </a:moveTo>
                <a:cubicBezTo>
                  <a:pt x="76" y="205"/>
                  <a:pt x="73" y="218"/>
                  <a:pt x="75" y="220"/>
                </a:cubicBezTo>
                <a:cubicBezTo>
                  <a:pt x="76" y="221"/>
                  <a:pt x="89" y="205"/>
                  <a:pt x="83" y="20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8" name="Freeform 135"/>
          <p:cNvSpPr>
            <a:spLocks noEditPoints="1"/>
          </p:cNvSpPr>
          <p:nvPr/>
        </p:nvSpPr>
        <p:spPr bwMode="auto">
          <a:xfrm>
            <a:off x="6462563" y="2737592"/>
            <a:ext cx="159468" cy="79605"/>
          </a:xfrm>
          <a:custGeom>
            <a:cxnLst>
              <a:cxn ang="0">
                <a:pos x="66" y="10"/>
              </a:cxn>
              <a:cxn ang="0">
                <a:pos x="69" y="2"/>
              </a:cxn>
              <a:cxn ang="0">
                <a:pos x="66" y="4"/>
              </a:cxn>
              <a:cxn ang="0">
                <a:pos x="45" y="1"/>
              </a:cxn>
              <a:cxn ang="0">
                <a:pos x="24" y="6"/>
              </a:cxn>
              <a:cxn ang="0">
                <a:pos x="17" y="12"/>
              </a:cxn>
              <a:cxn ang="0">
                <a:pos x="19" y="19"/>
              </a:cxn>
              <a:cxn ang="0">
                <a:pos x="26" y="23"/>
              </a:cxn>
              <a:cxn ang="0">
                <a:pos x="28" y="28"/>
              </a:cxn>
              <a:cxn ang="0">
                <a:pos x="28" y="28"/>
              </a:cxn>
              <a:cxn ang="0">
                <a:pos x="40" y="28"/>
              </a:cxn>
              <a:cxn ang="0">
                <a:pos x="52" y="34"/>
              </a:cxn>
              <a:cxn ang="0">
                <a:pos x="62" y="35"/>
              </a:cxn>
              <a:cxn ang="0">
                <a:pos x="63" y="32"/>
              </a:cxn>
              <a:cxn ang="0">
                <a:pos x="66" y="28"/>
              </a:cxn>
              <a:cxn ang="0">
                <a:pos x="63" y="22"/>
              </a:cxn>
              <a:cxn ang="0">
                <a:pos x="63" y="16"/>
              </a:cxn>
              <a:cxn ang="0">
                <a:pos x="66" y="10"/>
              </a:cxn>
              <a:cxn ang="0">
                <a:pos x="7" y="18"/>
              </a:cxn>
              <a:cxn ang="0">
                <a:pos x="3" y="28"/>
              </a:cxn>
              <a:cxn ang="0">
                <a:pos x="15" y="20"/>
              </a:cxn>
              <a:cxn ang="0">
                <a:pos x="7" y="18"/>
              </a:cxn>
              <a:cxn ang="0">
                <a:pos x="12" y="13"/>
              </a:cxn>
              <a:cxn ang="0">
                <a:pos x="5" y="14"/>
              </a:cxn>
              <a:cxn ang="0">
                <a:pos x="12" y="13"/>
              </a:cxn>
            </a:cxnLst>
            <a:rect b="b" l="0" r="r" t="0"/>
            <a:pathLst>
              <a:path h="35" w="71">
                <a:moveTo>
                  <a:pt x="66" y="10"/>
                </a:moveTo>
                <a:cubicBezTo>
                  <a:pt x="68" y="7"/>
                  <a:pt x="71" y="6"/>
                  <a:pt x="69" y="2"/>
                </a:cubicBezTo>
                <a:cubicBezTo>
                  <a:pt x="68" y="3"/>
                  <a:pt x="67" y="3"/>
                  <a:pt x="66" y="4"/>
                </a:cubicBezTo>
                <a:cubicBezTo>
                  <a:pt x="61" y="5"/>
                  <a:pt x="51" y="0"/>
                  <a:pt x="45" y="1"/>
                </a:cubicBezTo>
                <a:cubicBezTo>
                  <a:pt x="39" y="3"/>
                  <a:pt x="27" y="3"/>
                  <a:pt x="24" y="6"/>
                </a:cubicBezTo>
                <a:cubicBezTo>
                  <a:pt x="21" y="9"/>
                  <a:pt x="14" y="9"/>
                  <a:pt x="17" y="12"/>
                </a:cubicBezTo>
                <a:cubicBezTo>
                  <a:pt x="20" y="15"/>
                  <a:pt x="17" y="16"/>
                  <a:pt x="19" y="19"/>
                </a:cubicBezTo>
                <a:cubicBezTo>
                  <a:pt x="22" y="22"/>
                  <a:pt x="23" y="24"/>
                  <a:pt x="26" y="23"/>
                </a:cubicBezTo>
                <a:cubicBezTo>
                  <a:pt x="29" y="22"/>
                  <a:pt x="32" y="24"/>
                  <a:pt x="28" y="28"/>
                </a:cubicBezTo>
                <a:cubicBezTo>
                  <a:pt x="28" y="28"/>
                  <a:pt x="28" y="28"/>
                  <a:pt x="28" y="28"/>
                </a:cubicBezTo>
                <a:cubicBezTo>
                  <a:pt x="34" y="27"/>
                  <a:pt x="39" y="27"/>
                  <a:pt x="40" y="28"/>
                </a:cubicBezTo>
                <a:cubicBezTo>
                  <a:pt x="42" y="29"/>
                  <a:pt x="50" y="35"/>
                  <a:pt x="52" y="34"/>
                </a:cubicBezTo>
                <a:cubicBezTo>
                  <a:pt x="53" y="34"/>
                  <a:pt x="58" y="34"/>
                  <a:pt x="62" y="35"/>
                </a:cubicBezTo>
                <a:cubicBezTo>
                  <a:pt x="62" y="34"/>
                  <a:pt x="62" y="32"/>
                  <a:pt x="63" y="32"/>
                </a:cubicBezTo>
                <a:cubicBezTo>
                  <a:pt x="64" y="31"/>
                  <a:pt x="68" y="31"/>
                  <a:pt x="66" y="28"/>
                </a:cubicBezTo>
                <a:cubicBezTo>
                  <a:pt x="64" y="26"/>
                  <a:pt x="64" y="25"/>
                  <a:pt x="63" y="22"/>
                </a:cubicBezTo>
                <a:cubicBezTo>
                  <a:pt x="63" y="19"/>
                  <a:pt x="62" y="18"/>
                  <a:pt x="63" y="16"/>
                </a:cubicBezTo>
                <a:cubicBezTo>
                  <a:pt x="63" y="14"/>
                  <a:pt x="65" y="13"/>
                  <a:pt x="66" y="10"/>
                </a:cubicBezTo>
                <a:close/>
                <a:moveTo>
                  <a:pt x="7" y="18"/>
                </a:moveTo>
                <a:cubicBezTo>
                  <a:pt x="1" y="20"/>
                  <a:pt x="0" y="28"/>
                  <a:pt x="3" y="28"/>
                </a:cubicBezTo>
                <a:cubicBezTo>
                  <a:pt x="6" y="28"/>
                  <a:pt x="13" y="22"/>
                  <a:pt x="15" y="20"/>
                </a:cubicBezTo>
                <a:cubicBezTo>
                  <a:pt x="16" y="18"/>
                  <a:pt x="13" y="16"/>
                  <a:pt x="7" y="18"/>
                </a:cubicBezTo>
                <a:close/>
                <a:moveTo>
                  <a:pt x="12" y="13"/>
                </a:moveTo>
                <a:cubicBezTo>
                  <a:pt x="14" y="11"/>
                  <a:pt x="3" y="12"/>
                  <a:pt x="5" y="14"/>
                </a:cubicBezTo>
                <a:cubicBezTo>
                  <a:pt x="7" y="16"/>
                  <a:pt x="11" y="16"/>
                  <a:pt x="12" y="1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39" name="Freeform 136"/>
          <p:cNvSpPr/>
          <p:nvPr/>
        </p:nvSpPr>
        <p:spPr bwMode="auto">
          <a:xfrm>
            <a:off x="6755540" y="4377067"/>
            <a:ext cx="202117" cy="252082"/>
          </a:xfrm>
          <a:custGeom>
            <a:cxnLst>
              <a:cxn ang="0">
                <a:pos x="80" y="25"/>
              </a:cxn>
              <a:cxn ang="0">
                <a:pos x="85" y="17"/>
              </a:cxn>
              <a:cxn ang="0">
                <a:pos x="91" y="9"/>
              </a:cxn>
              <a:cxn ang="0">
                <a:pos x="85" y="11"/>
              </a:cxn>
              <a:cxn ang="0">
                <a:pos x="80" y="8"/>
              </a:cxn>
              <a:cxn ang="0">
                <a:pos x="70" y="10"/>
              </a:cxn>
              <a:cxn ang="0">
                <a:pos x="62" y="16"/>
              </a:cxn>
              <a:cxn ang="0">
                <a:pos x="49" y="14"/>
              </a:cxn>
              <a:cxn ang="0">
                <a:pos x="36" y="7"/>
              </a:cxn>
              <a:cxn ang="0">
                <a:pos x="25" y="4"/>
              </a:cxn>
              <a:cxn ang="0">
                <a:pos x="18" y="1"/>
              </a:cxn>
              <a:cxn ang="0">
                <a:pos x="12" y="0"/>
              </a:cxn>
              <a:cxn ang="0">
                <a:pos x="3" y="6"/>
              </a:cxn>
              <a:cxn ang="0">
                <a:pos x="1" y="8"/>
              </a:cxn>
              <a:cxn ang="0">
                <a:pos x="6" y="13"/>
              </a:cxn>
              <a:cxn ang="0">
                <a:pos x="7" y="21"/>
              </a:cxn>
              <a:cxn ang="0">
                <a:pos x="12" y="25"/>
              </a:cxn>
              <a:cxn ang="0">
                <a:pos x="11" y="34"/>
              </a:cxn>
              <a:cxn ang="0">
                <a:pos x="4" y="47"/>
              </a:cxn>
              <a:cxn ang="0">
                <a:pos x="1" y="54"/>
              </a:cxn>
              <a:cxn ang="0">
                <a:pos x="8" y="59"/>
              </a:cxn>
              <a:cxn ang="0">
                <a:pos x="0" y="66"/>
              </a:cxn>
              <a:cxn ang="0">
                <a:pos x="0" y="67"/>
              </a:cxn>
              <a:cxn ang="0">
                <a:pos x="43" y="90"/>
              </a:cxn>
              <a:cxn ang="0">
                <a:pos x="42" y="96"/>
              </a:cxn>
              <a:cxn ang="0">
                <a:pos x="61" y="110"/>
              </a:cxn>
              <a:cxn ang="0">
                <a:pos x="72" y="85"/>
              </a:cxn>
              <a:cxn ang="0">
                <a:pos x="79" y="80"/>
              </a:cxn>
              <a:cxn ang="0">
                <a:pos x="85" y="76"/>
              </a:cxn>
              <a:cxn ang="0">
                <a:pos x="86" y="74"/>
              </a:cxn>
              <a:cxn ang="0">
                <a:pos x="81" y="65"/>
              </a:cxn>
              <a:cxn ang="0">
                <a:pos x="80" y="25"/>
              </a:cxn>
            </a:cxnLst>
            <a:rect b="b" l="0" r="r" t="0"/>
            <a:pathLst>
              <a:path h="110" w="91">
                <a:moveTo>
                  <a:pt x="80" y="25"/>
                </a:moveTo>
                <a:cubicBezTo>
                  <a:pt x="85" y="17"/>
                  <a:pt x="85" y="17"/>
                  <a:pt x="85" y="17"/>
                </a:cubicBezTo>
                <a:cubicBezTo>
                  <a:pt x="91" y="9"/>
                  <a:pt x="91" y="9"/>
                  <a:pt x="91" y="9"/>
                </a:cubicBezTo>
                <a:cubicBezTo>
                  <a:pt x="88" y="10"/>
                  <a:pt x="86" y="10"/>
                  <a:pt x="85" y="11"/>
                </a:cubicBezTo>
                <a:cubicBezTo>
                  <a:pt x="83" y="12"/>
                  <a:pt x="80" y="10"/>
                  <a:pt x="80" y="8"/>
                </a:cubicBezTo>
                <a:cubicBezTo>
                  <a:pt x="79" y="7"/>
                  <a:pt x="74" y="8"/>
                  <a:pt x="70" y="10"/>
                </a:cubicBezTo>
                <a:cubicBezTo>
                  <a:pt x="66" y="13"/>
                  <a:pt x="64" y="17"/>
                  <a:pt x="62" y="16"/>
                </a:cubicBezTo>
                <a:cubicBezTo>
                  <a:pt x="61" y="15"/>
                  <a:pt x="52" y="14"/>
                  <a:pt x="49" y="14"/>
                </a:cubicBezTo>
                <a:cubicBezTo>
                  <a:pt x="47" y="14"/>
                  <a:pt x="39" y="9"/>
                  <a:pt x="36" y="7"/>
                </a:cubicBezTo>
                <a:cubicBezTo>
                  <a:pt x="34" y="4"/>
                  <a:pt x="27" y="5"/>
                  <a:pt x="25" y="4"/>
                </a:cubicBezTo>
                <a:cubicBezTo>
                  <a:pt x="23" y="3"/>
                  <a:pt x="20" y="3"/>
                  <a:pt x="18" y="1"/>
                </a:cubicBezTo>
                <a:cubicBezTo>
                  <a:pt x="17" y="0"/>
                  <a:pt x="14" y="0"/>
                  <a:pt x="12" y="0"/>
                </a:cubicBezTo>
                <a:cubicBezTo>
                  <a:pt x="9" y="1"/>
                  <a:pt x="3" y="4"/>
                  <a:pt x="3" y="6"/>
                </a:cubicBezTo>
                <a:cubicBezTo>
                  <a:pt x="2" y="7"/>
                  <a:pt x="2" y="8"/>
                  <a:pt x="1" y="8"/>
                </a:cubicBezTo>
                <a:cubicBezTo>
                  <a:pt x="6" y="13"/>
                  <a:pt x="6" y="13"/>
                  <a:pt x="6" y="13"/>
                </a:cubicBezTo>
                <a:cubicBezTo>
                  <a:pt x="7" y="21"/>
                  <a:pt x="7" y="21"/>
                  <a:pt x="7" y="21"/>
                </a:cubicBezTo>
                <a:cubicBezTo>
                  <a:pt x="12" y="25"/>
                  <a:pt x="12" y="25"/>
                  <a:pt x="12" y="25"/>
                </a:cubicBezTo>
                <a:cubicBezTo>
                  <a:pt x="12" y="25"/>
                  <a:pt x="12" y="30"/>
                  <a:pt x="11" y="34"/>
                </a:cubicBezTo>
                <a:cubicBezTo>
                  <a:pt x="11" y="39"/>
                  <a:pt x="7" y="45"/>
                  <a:pt x="4" y="47"/>
                </a:cubicBezTo>
                <a:cubicBezTo>
                  <a:pt x="3" y="48"/>
                  <a:pt x="2" y="51"/>
                  <a:pt x="1" y="54"/>
                </a:cubicBezTo>
                <a:cubicBezTo>
                  <a:pt x="5" y="56"/>
                  <a:pt x="8" y="57"/>
                  <a:pt x="8" y="59"/>
                </a:cubicBezTo>
                <a:cubicBezTo>
                  <a:pt x="8" y="61"/>
                  <a:pt x="0" y="60"/>
                  <a:pt x="0" y="66"/>
                </a:cubicBezTo>
                <a:cubicBezTo>
                  <a:pt x="0" y="66"/>
                  <a:pt x="0" y="67"/>
                  <a:pt x="0" y="67"/>
                </a:cubicBezTo>
                <a:cubicBezTo>
                  <a:pt x="43" y="90"/>
                  <a:pt x="43" y="90"/>
                  <a:pt x="43" y="90"/>
                </a:cubicBezTo>
                <a:cubicBezTo>
                  <a:pt x="42" y="96"/>
                  <a:pt x="42" y="96"/>
                  <a:pt x="42" y="96"/>
                </a:cubicBezTo>
                <a:cubicBezTo>
                  <a:pt x="42" y="96"/>
                  <a:pt x="52" y="103"/>
                  <a:pt x="61" y="110"/>
                </a:cubicBezTo>
                <a:cubicBezTo>
                  <a:pt x="65" y="99"/>
                  <a:pt x="71" y="88"/>
                  <a:pt x="72" y="85"/>
                </a:cubicBezTo>
                <a:cubicBezTo>
                  <a:pt x="75" y="82"/>
                  <a:pt x="77" y="82"/>
                  <a:pt x="79" y="80"/>
                </a:cubicBezTo>
                <a:cubicBezTo>
                  <a:pt x="81" y="77"/>
                  <a:pt x="82" y="81"/>
                  <a:pt x="85" y="76"/>
                </a:cubicBezTo>
                <a:cubicBezTo>
                  <a:pt x="86" y="75"/>
                  <a:pt x="86" y="75"/>
                  <a:pt x="86" y="74"/>
                </a:cubicBezTo>
                <a:cubicBezTo>
                  <a:pt x="81" y="65"/>
                  <a:pt x="81" y="65"/>
                  <a:pt x="81" y="65"/>
                </a:cubicBezTo>
                <a:lnTo>
                  <a:pt x="80" y="25"/>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0" name="Freeform 137"/>
          <p:cNvSpPr/>
          <p:nvPr/>
        </p:nvSpPr>
        <p:spPr bwMode="auto">
          <a:xfrm>
            <a:off x="6644283" y="4396020"/>
            <a:ext cx="137217" cy="145942"/>
          </a:xfrm>
          <a:custGeom>
            <a:cxnLst>
              <a:cxn ang="0">
                <a:pos x="57" y="13"/>
              </a:cxn>
              <a:cxn ang="0">
                <a:pos x="56" y="5"/>
              </a:cxn>
              <a:cxn ang="0">
                <a:pos x="51" y="0"/>
              </a:cxn>
              <a:cxn ang="0">
                <a:pos x="47" y="4"/>
              </a:cxn>
              <a:cxn ang="0">
                <a:pos x="40" y="4"/>
              </a:cxn>
              <a:cxn ang="0">
                <a:pos x="32" y="7"/>
              </a:cxn>
              <a:cxn ang="0">
                <a:pos x="25" y="5"/>
              </a:cxn>
              <a:cxn ang="0">
                <a:pos x="17" y="7"/>
              </a:cxn>
              <a:cxn ang="0">
                <a:pos x="16" y="17"/>
              </a:cxn>
              <a:cxn ang="0">
                <a:pos x="19" y="22"/>
              </a:cxn>
              <a:cxn ang="0">
                <a:pos x="16" y="28"/>
              </a:cxn>
              <a:cxn ang="0">
                <a:pos x="11" y="31"/>
              </a:cxn>
              <a:cxn ang="0">
                <a:pos x="7" y="38"/>
              </a:cxn>
              <a:cxn ang="0">
                <a:pos x="4" y="46"/>
              </a:cxn>
              <a:cxn ang="0">
                <a:pos x="2" y="55"/>
              </a:cxn>
              <a:cxn ang="0">
                <a:pos x="0" y="63"/>
              </a:cxn>
              <a:cxn ang="0">
                <a:pos x="6" y="62"/>
              </a:cxn>
              <a:cxn ang="0">
                <a:pos x="18" y="59"/>
              </a:cxn>
              <a:cxn ang="0">
                <a:pos x="27" y="58"/>
              </a:cxn>
              <a:cxn ang="0">
                <a:pos x="36" y="46"/>
              </a:cxn>
              <a:cxn ang="0">
                <a:pos x="51" y="46"/>
              </a:cxn>
              <a:cxn ang="0">
                <a:pos x="54" y="39"/>
              </a:cxn>
              <a:cxn ang="0">
                <a:pos x="61" y="26"/>
              </a:cxn>
              <a:cxn ang="0">
                <a:pos x="62" y="17"/>
              </a:cxn>
              <a:cxn ang="0">
                <a:pos x="57" y="13"/>
              </a:cxn>
            </a:cxnLst>
            <a:rect b="b" l="0" r="r" t="0"/>
            <a:pathLst>
              <a:path h="64" w="62">
                <a:moveTo>
                  <a:pt x="57" y="13"/>
                </a:moveTo>
                <a:cubicBezTo>
                  <a:pt x="56" y="5"/>
                  <a:pt x="56" y="5"/>
                  <a:pt x="56" y="5"/>
                </a:cubicBezTo>
                <a:cubicBezTo>
                  <a:pt x="51" y="0"/>
                  <a:pt x="51" y="0"/>
                  <a:pt x="51" y="0"/>
                </a:cubicBezTo>
                <a:cubicBezTo>
                  <a:pt x="50" y="1"/>
                  <a:pt x="48" y="3"/>
                  <a:pt x="47" y="4"/>
                </a:cubicBezTo>
                <a:cubicBezTo>
                  <a:pt x="47" y="6"/>
                  <a:pt x="42" y="5"/>
                  <a:pt x="40" y="4"/>
                </a:cubicBezTo>
                <a:cubicBezTo>
                  <a:pt x="38" y="3"/>
                  <a:pt x="33" y="6"/>
                  <a:pt x="32" y="7"/>
                </a:cubicBezTo>
                <a:cubicBezTo>
                  <a:pt x="31" y="9"/>
                  <a:pt x="28" y="4"/>
                  <a:pt x="25" y="5"/>
                </a:cubicBezTo>
                <a:cubicBezTo>
                  <a:pt x="23" y="5"/>
                  <a:pt x="17" y="7"/>
                  <a:pt x="17" y="7"/>
                </a:cubicBezTo>
                <a:cubicBezTo>
                  <a:pt x="17" y="7"/>
                  <a:pt x="16" y="14"/>
                  <a:pt x="16" y="17"/>
                </a:cubicBezTo>
                <a:cubicBezTo>
                  <a:pt x="16" y="20"/>
                  <a:pt x="19" y="20"/>
                  <a:pt x="19" y="22"/>
                </a:cubicBezTo>
                <a:cubicBezTo>
                  <a:pt x="19" y="25"/>
                  <a:pt x="16" y="27"/>
                  <a:pt x="16" y="28"/>
                </a:cubicBezTo>
                <a:cubicBezTo>
                  <a:pt x="16" y="30"/>
                  <a:pt x="14" y="31"/>
                  <a:pt x="11" y="31"/>
                </a:cubicBezTo>
                <a:cubicBezTo>
                  <a:pt x="9" y="32"/>
                  <a:pt x="9" y="36"/>
                  <a:pt x="7" y="38"/>
                </a:cubicBezTo>
                <a:cubicBezTo>
                  <a:pt x="5" y="39"/>
                  <a:pt x="6" y="43"/>
                  <a:pt x="4" y="46"/>
                </a:cubicBezTo>
                <a:cubicBezTo>
                  <a:pt x="3" y="48"/>
                  <a:pt x="2" y="52"/>
                  <a:pt x="2" y="55"/>
                </a:cubicBezTo>
                <a:cubicBezTo>
                  <a:pt x="2" y="58"/>
                  <a:pt x="2" y="62"/>
                  <a:pt x="0" y="63"/>
                </a:cubicBezTo>
                <a:cubicBezTo>
                  <a:pt x="4" y="64"/>
                  <a:pt x="5" y="63"/>
                  <a:pt x="6" y="62"/>
                </a:cubicBezTo>
                <a:cubicBezTo>
                  <a:pt x="8" y="61"/>
                  <a:pt x="18" y="59"/>
                  <a:pt x="18" y="59"/>
                </a:cubicBezTo>
                <a:cubicBezTo>
                  <a:pt x="27" y="58"/>
                  <a:pt x="27" y="58"/>
                  <a:pt x="27" y="58"/>
                </a:cubicBezTo>
                <a:cubicBezTo>
                  <a:pt x="29" y="52"/>
                  <a:pt x="32" y="47"/>
                  <a:pt x="36" y="46"/>
                </a:cubicBezTo>
                <a:cubicBezTo>
                  <a:pt x="40" y="45"/>
                  <a:pt x="46" y="45"/>
                  <a:pt x="51" y="46"/>
                </a:cubicBezTo>
                <a:cubicBezTo>
                  <a:pt x="52" y="43"/>
                  <a:pt x="53" y="40"/>
                  <a:pt x="54" y="39"/>
                </a:cubicBezTo>
                <a:cubicBezTo>
                  <a:pt x="57" y="37"/>
                  <a:pt x="61" y="31"/>
                  <a:pt x="61" y="26"/>
                </a:cubicBezTo>
                <a:cubicBezTo>
                  <a:pt x="62" y="22"/>
                  <a:pt x="62" y="17"/>
                  <a:pt x="62" y="17"/>
                </a:cubicBezTo>
                <a:lnTo>
                  <a:pt x="57" y="13"/>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1" name="Freeform 138"/>
          <p:cNvSpPr/>
          <p:nvPr/>
        </p:nvSpPr>
        <p:spPr bwMode="auto">
          <a:xfrm>
            <a:off x="7322951" y="3237963"/>
            <a:ext cx="446883" cy="263454"/>
          </a:xfrm>
          <a:custGeom>
            <a:cxnLst>
              <a:cxn ang="0">
                <a:pos x="194" y="65"/>
              </a:cxn>
              <a:cxn ang="0">
                <a:pos x="179" y="58"/>
              </a:cxn>
              <a:cxn ang="0">
                <a:pos x="170" y="59"/>
              </a:cxn>
              <a:cxn ang="0">
                <a:pos x="159" y="55"/>
              </a:cxn>
              <a:cxn ang="0">
                <a:pos x="148" y="64"/>
              </a:cxn>
              <a:cxn ang="0">
                <a:pos x="142" y="66"/>
              </a:cxn>
              <a:cxn ang="0">
                <a:pos x="133" y="60"/>
              </a:cxn>
              <a:cxn ang="0">
                <a:pos x="123" y="58"/>
              </a:cxn>
              <a:cxn ang="0">
                <a:pos x="117" y="46"/>
              </a:cxn>
              <a:cxn ang="0">
                <a:pos x="114" y="35"/>
              </a:cxn>
              <a:cxn ang="0">
                <a:pos x="105" y="29"/>
              </a:cxn>
              <a:cxn ang="0">
                <a:pos x="83" y="28"/>
              </a:cxn>
              <a:cxn ang="0">
                <a:pos x="68" y="29"/>
              </a:cxn>
              <a:cxn ang="0">
                <a:pos x="55" y="14"/>
              </a:cxn>
              <a:cxn ang="0">
                <a:pos x="51" y="19"/>
              </a:cxn>
              <a:cxn ang="0">
                <a:pos x="38" y="17"/>
              </a:cxn>
              <a:cxn ang="0">
                <a:pos x="36" y="1"/>
              </a:cxn>
              <a:cxn ang="0">
                <a:pos x="32" y="17"/>
              </a:cxn>
              <a:cxn ang="0">
                <a:pos x="30" y="0"/>
              </a:cxn>
              <a:cxn ang="0">
                <a:pos x="2" y="7"/>
              </a:cxn>
              <a:cxn ang="0">
                <a:pos x="0" y="57"/>
              </a:cxn>
              <a:cxn ang="0">
                <a:pos x="0" y="57"/>
              </a:cxn>
              <a:cxn ang="0">
                <a:pos x="8" y="59"/>
              </a:cxn>
              <a:cxn ang="0">
                <a:pos x="12" y="54"/>
              </a:cxn>
              <a:cxn ang="0">
                <a:pos x="20" y="48"/>
              </a:cxn>
              <a:cxn ang="0">
                <a:pos x="24" y="44"/>
              </a:cxn>
              <a:cxn ang="0">
                <a:pos x="29" y="41"/>
              </a:cxn>
              <a:cxn ang="0">
                <a:pos x="37" y="43"/>
              </a:cxn>
              <a:cxn ang="0">
                <a:pos x="45" y="46"/>
              </a:cxn>
              <a:cxn ang="0">
                <a:pos x="49" y="58"/>
              </a:cxn>
              <a:cxn ang="0">
                <a:pos x="66" y="60"/>
              </a:cxn>
              <a:cxn ang="0">
                <a:pos x="71" y="68"/>
              </a:cxn>
              <a:cxn ang="0">
                <a:pos x="76" y="77"/>
              </a:cxn>
              <a:cxn ang="0">
                <a:pos x="87" y="85"/>
              </a:cxn>
              <a:cxn ang="0">
                <a:pos x="100" y="93"/>
              </a:cxn>
              <a:cxn ang="0">
                <a:pos x="112" y="101"/>
              </a:cxn>
              <a:cxn ang="0">
                <a:pos x="122" y="104"/>
              </a:cxn>
              <a:cxn ang="0">
                <a:pos x="123" y="111"/>
              </a:cxn>
              <a:cxn ang="0">
                <a:pos x="124" y="111"/>
              </a:cxn>
              <a:cxn ang="0">
                <a:pos x="133" y="114"/>
              </a:cxn>
              <a:cxn ang="0">
                <a:pos x="137" y="116"/>
              </a:cxn>
              <a:cxn ang="0">
                <a:pos x="142" y="105"/>
              </a:cxn>
              <a:cxn ang="0">
                <a:pos x="141" y="95"/>
              </a:cxn>
              <a:cxn ang="0">
                <a:pos x="134" y="86"/>
              </a:cxn>
              <a:cxn ang="0">
                <a:pos x="144" y="82"/>
              </a:cxn>
              <a:cxn ang="0">
                <a:pos x="148" y="76"/>
              </a:cxn>
              <a:cxn ang="0">
                <a:pos x="153" y="70"/>
              </a:cxn>
              <a:cxn ang="0">
                <a:pos x="162" y="68"/>
              </a:cxn>
              <a:cxn ang="0">
                <a:pos x="170" y="66"/>
              </a:cxn>
              <a:cxn ang="0">
                <a:pos x="166" y="75"/>
              </a:cxn>
              <a:cxn ang="0">
                <a:pos x="179" y="73"/>
              </a:cxn>
              <a:cxn ang="0">
                <a:pos x="189" y="71"/>
              </a:cxn>
              <a:cxn ang="0">
                <a:pos x="194" y="65"/>
              </a:cxn>
            </a:cxnLst>
            <a:rect b="b" l="0" r="r" t="0"/>
            <a:pathLst>
              <a:path h="115" w="200">
                <a:moveTo>
                  <a:pt x="194" y="65"/>
                </a:moveTo>
                <a:cubicBezTo>
                  <a:pt x="189" y="61"/>
                  <a:pt x="180" y="55"/>
                  <a:pt x="179" y="58"/>
                </a:cubicBezTo>
                <a:cubicBezTo>
                  <a:pt x="178" y="61"/>
                  <a:pt x="172" y="61"/>
                  <a:pt x="170" y="59"/>
                </a:cubicBezTo>
                <a:cubicBezTo>
                  <a:pt x="168" y="56"/>
                  <a:pt x="166" y="53"/>
                  <a:pt x="159" y="55"/>
                </a:cubicBezTo>
                <a:cubicBezTo>
                  <a:pt x="152" y="58"/>
                  <a:pt x="148" y="62"/>
                  <a:pt x="148" y="64"/>
                </a:cubicBezTo>
                <a:cubicBezTo>
                  <a:pt x="147" y="67"/>
                  <a:pt x="143" y="70"/>
                  <a:pt x="142" y="66"/>
                </a:cubicBezTo>
                <a:cubicBezTo>
                  <a:pt x="142" y="63"/>
                  <a:pt x="136" y="61"/>
                  <a:pt x="133" y="60"/>
                </a:cubicBezTo>
                <a:cubicBezTo>
                  <a:pt x="129" y="59"/>
                  <a:pt x="124" y="61"/>
                  <a:pt x="123" y="58"/>
                </a:cubicBezTo>
                <a:cubicBezTo>
                  <a:pt x="123" y="54"/>
                  <a:pt x="117" y="50"/>
                  <a:pt x="117" y="46"/>
                </a:cubicBezTo>
                <a:cubicBezTo>
                  <a:pt x="116" y="42"/>
                  <a:pt x="118" y="36"/>
                  <a:pt x="114" y="35"/>
                </a:cubicBezTo>
                <a:cubicBezTo>
                  <a:pt x="111" y="35"/>
                  <a:pt x="108" y="29"/>
                  <a:pt x="105" y="29"/>
                </a:cubicBezTo>
                <a:cubicBezTo>
                  <a:pt x="102" y="29"/>
                  <a:pt x="85" y="29"/>
                  <a:pt x="83" y="28"/>
                </a:cubicBezTo>
                <a:cubicBezTo>
                  <a:pt x="80" y="27"/>
                  <a:pt x="69" y="31"/>
                  <a:pt x="68" y="29"/>
                </a:cubicBezTo>
                <a:cubicBezTo>
                  <a:pt x="67" y="27"/>
                  <a:pt x="59" y="18"/>
                  <a:pt x="55" y="14"/>
                </a:cubicBezTo>
                <a:cubicBezTo>
                  <a:pt x="54" y="16"/>
                  <a:pt x="53" y="18"/>
                  <a:pt x="51" y="19"/>
                </a:cubicBezTo>
                <a:cubicBezTo>
                  <a:pt x="43" y="25"/>
                  <a:pt x="35" y="24"/>
                  <a:pt x="38" y="17"/>
                </a:cubicBezTo>
                <a:cubicBezTo>
                  <a:pt x="40" y="10"/>
                  <a:pt x="41" y="1"/>
                  <a:pt x="36" y="1"/>
                </a:cubicBezTo>
                <a:cubicBezTo>
                  <a:pt x="32" y="1"/>
                  <a:pt x="35" y="16"/>
                  <a:pt x="32" y="17"/>
                </a:cubicBezTo>
                <a:cubicBezTo>
                  <a:pt x="29" y="18"/>
                  <a:pt x="28" y="6"/>
                  <a:pt x="30" y="0"/>
                </a:cubicBezTo>
                <a:cubicBezTo>
                  <a:pt x="2" y="7"/>
                  <a:pt x="2" y="7"/>
                  <a:pt x="2" y="7"/>
                </a:cubicBezTo>
                <a:cubicBezTo>
                  <a:pt x="0" y="57"/>
                  <a:pt x="0" y="57"/>
                  <a:pt x="0" y="57"/>
                </a:cubicBezTo>
                <a:cubicBezTo>
                  <a:pt x="0" y="57"/>
                  <a:pt x="0" y="57"/>
                  <a:pt x="0" y="57"/>
                </a:cubicBezTo>
                <a:cubicBezTo>
                  <a:pt x="3" y="59"/>
                  <a:pt x="6" y="59"/>
                  <a:pt x="8" y="59"/>
                </a:cubicBezTo>
                <a:cubicBezTo>
                  <a:pt x="12" y="60"/>
                  <a:pt x="12" y="56"/>
                  <a:pt x="12" y="54"/>
                </a:cubicBezTo>
                <a:cubicBezTo>
                  <a:pt x="12" y="52"/>
                  <a:pt x="17" y="48"/>
                  <a:pt x="20" y="48"/>
                </a:cubicBezTo>
                <a:cubicBezTo>
                  <a:pt x="23" y="48"/>
                  <a:pt x="23" y="44"/>
                  <a:pt x="24" y="44"/>
                </a:cubicBezTo>
                <a:cubicBezTo>
                  <a:pt x="25" y="44"/>
                  <a:pt x="28" y="43"/>
                  <a:pt x="29" y="41"/>
                </a:cubicBezTo>
                <a:cubicBezTo>
                  <a:pt x="30" y="40"/>
                  <a:pt x="35" y="42"/>
                  <a:pt x="37" y="43"/>
                </a:cubicBezTo>
                <a:cubicBezTo>
                  <a:pt x="38" y="45"/>
                  <a:pt x="42" y="46"/>
                  <a:pt x="45" y="46"/>
                </a:cubicBezTo>
                <a:cubicBezTo>
                  <a:pt x="48" y="47"/>
                  <a:pt x="49" y="56"/>
                  <a:pt x="49" y="58"/>
                </a:cubicBezTo>
                <a:cubicBezTo>
                  <a:pt x="49" y="60"/>
                  <a:pt x="64" y="60"/>
                  <a:pt x="66" y="60"/>
                </a:cubicBezTo>
                <a:cubicBezTo>
                  <a:pt x="68" y="61"/>
                  <a:pt x="68" y="65"/>
                  <a:pt x="71" y="68"/>
                </a:cubicBezTo>
                <a:cubicBezTo>
                  <a:pt x="73" y="71"/>
                  <a:pt x="75" y="75"/>
                  <a:pt x="76" y="77"/>
                </a:cubicBezTo>
                <a:cubicBezTo>
                  <a:pt x="77" y="79"/>
                  <a:pt x="85" y="82"/>
                  <a:pt x="87" y="85"/>
                </a:cubicBezTo>
                <a:cubicBezTo>
                  <a:pt x="89" y="88"/>
                  <a:pt x="95" y="91"/>
                  <a:pt x="100" y="93"/>
                </a:cubicBezTo>
                <a:cubicBezTo>
                  <a:pt x="105" y="95"/>
                  <a:pt x="109" y="101"/>
                  <a:pt x="112" y="101"/>
                </a:cubicBezTo>
                <a:cubicBezTo>
                  <a:pt x="114" y="100"/>
                  <a:pt x="122" y="104"/>
                  <a:pt x="122" y="104"/>
                </a:cubicBezTo>
                <a:cubicBezTo>
                  <a:pt x="123" y="111"/>
                  <a:pt x="123" y="111"/>
                  <a:pt x="123" y="111"/>
                </a:cubicBezTo>
                <a:cubicBezTo>
                  <a:pt x="123" y="111"/>
                  <a:pt x="123" y="111"/>
                  <a:pt x="124" y="111"/>
                </a:cubicBezTo>
                <a:cubicBezTo>
                  <a:pt x="128" y="110"/>
                  <a:pt x="130" y="114"/>
                  <a:pt x="133" y="114"/>
                </a:cubicBezTo>
                <a:cubicBezTo>
                  <a:pt x="134" y="114"/>
                  <a:pt x="136" y="115"/>
                  <a:pt x="137" y="116"/>
                </a:cubicBezTo>
                <a:cubicBezTo>
                  <a:pt x="137" y="110"/>
                  <a:pt x="139" y="107"/>
                  <a:pt x="142" y="105"/>
                </a:cubicBezTo>
                <a:cubicBezTo>
                  <a:pt x="145" y="102"/>
                  <a:pt x="140" y="98"/>
                  <a:pt x="141" y="95"/>
                </a:cubicBezTo>
                <a:cubicBezTo>
                  <a:pt x="141" y="91"/>
                  <a:pt x="133" y="89"/>
                  <a:pt x="134" y="86"/>
                </a:cubicBezTo>
                <a:cubicBezTo>
                  <a:pt x="134" y="83"/>
                  <a:pt x="141" y="83"/>
                  <a:pt x="144" y="82"/>
                </a:cubicBezTo>
                <a:cubicBezTo>
                  <a:pt x="147" y="81"/>
                  <a:pt x="145" y="76"/>
                  <a:pt x="148" y="76"/>
                </a:cubicBezTo>
                <a:cubicBezTo>
                  <a:pt x="151" y="76"/>
                  <a:pt x="152" y="73"/>
                  <a:pt x="153" y="70"/>
                </a:cubicBezTo>
                <a:cubicBezTo>
                  <a:pt x="154" y="67"/>
                  <a:pt x="159" y="70"/>
                  <a:pt x="162" y="68"/>
                </a:cubicBezTo>
                <a:cubicBezTo>
                  <a:pt x="165" y="66"/>
                  <a:pt x="169" y="64"/>
                  <a:pt x="170" y="66"/>
                </a:cubicBezTo>
                <a:cubicBezTo>
                  <a:pt x="170" y="67"/>
                  <a:pt x="167" y="73"/>
                  <a:pt x="166" y="75"/>
                </a:cubicBezTo>
                <a:cubicBezTo>
                  <a:pt x="170" y="75"/>
                  <a:pt x="177" y="74"/>
                  <a:pt x="179" y="73"/>
                </a:cubicBezTo>
                <a:cubicBezTo>
                  <a:pt x="180" y="71"/>
                  <a:pt x="187" y="75"/>
                  <a:pt x="189" y="71"/>
                </a:cubicBezTo>
                <a:cubicBezTo>
                  <a:pt x="192" y="67"/>
                  <a:pt x="200" y="70"/>
                  <a:pt x="194" y="6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2" name="Freeform 139"/>
          <p:cNvSpPr>
            <a:spLocks noEditPoints="1"/>
          </p:cNvSpPr>
          <p:nvPr/>
        </p:nvSpPr>
        <p:spPr bwMode="auto">
          <a:xfrm>
            <a:off x="6045350" y="1748221"/>
            <a:ext cx="652708" cy="1053812"/>
          </a:xfrm>
          <a:custGeom>
            <a:cxnLst>
              <a:cxn ang="0">
                <a:pos x="276" y="242"/>
              </a:cxn>
              <a:cxn ang="0">
                <a:pos x="277" y="228"/>
              </a:cxn>
              <a:cxn ang="0">
                <a:pos x="261" y="226"/>
              </a:cxn>
              <a:cxn ang="0">
                <a:pos x="243" y="225"/>
              </a:cxn>
              <a:cxn ang="0">
                <a:pos x="234" y="224"/>
              </a:cxn>
              <a:cxn ang="0">
                <a:pos x="216" y="228"/>
              </a:cxn>
              <a:cxn ang="0">
                <a:pos x="202" y="243"/>
              </a:cxn>
              <a:cxn ang="0">
                <a:pos x="202" y="226"/>
              </a:cxn>
              <a:cxn ang="0">
                <a:pos x="182" y="238"/>
              </a:cxn>
              <a:cxn ang="0">
                <a:pos x="174" y="242"/>
              </a:cxn>
              <a:cxn ang="0">
                <a:pos x="165" y="240"/>
              </a:cxn>
              <a:cxn ang="0">
                <a:pos x="150" y="251"/>
              </a:cxn>
              <a:cxn ang="0">
                <a:pos x="139" y="260"/>
              </a:cxn>
              <a:cxn ang="0">
                <a:pos x="129" y="265"/>
              </a:cxn>
              <a:cxn ang="0">
                <a:pos x="112" y="269"/>
              </a:cxn>
              <a:cxn ang="0">
                <a:pos x="105" y="279"/>
              </a:cxn>
              <a:cxn ang="0">
                <a:pos x="129" y="279"/>
              </a:cxn>
              <a:cxn ang="0">
                <a:pos x="111" y="292"/>
              </a:cxn>
              <a:cxn ang="0">
                <a:pos x="86" y="319"/>
              </a:cxn>
              <a:cxn ang="0">
                <a:pos x="70" y="341"/>
              </a:cxn>
              <a:cxn ang="0">
                <a:pos x="56" y="361"/>
              </a:cxn>
              <a:cxn ang="0">
                <a:pos x="36" y="374"/>
              </a:cxn>
              <a:cxn ang="0">
                <a:pos x="16" y="387"/>
              </a:cxn>
              <a:cxn ang="0">
                <a:pos x="6" y="404"/>
              </a:cxn>
              <a:cxn ang="0">
                <a:pos x="2" y="425"/>
              </a:cxn>
              <a:cxn ang="0">
                <a:pos x="12" y="432"/>
              </a:cxn>
              <a:cxn ang="0">
                <a:pos x="10" y="440"/>
              </a:cxn>
              <a:cxn ang="0">
                <a:pos x="20" y="458"/>
              </a:cxn>
              <a:cxn ang="0">
                <a:pos x="65" y="436"/>
              </a:cxn>
              <a:cxn ang="0">
                <a:pos x="78" y="440"/>
              </a:cxn>
              <a:cxn ang="0">
                <a:pos x="86" y="412"/>
              </a:cxn>
              <a:cxn ang="0">
                <a:pos x="83" y="376"/>
              </a:cxn>
              <a:cxn ang="0">
                <a:pos x="103" y="351"/>
              </a:cxn>
              <a:cxn ang="0">
                <a:pos x="117" y="318"/>
              </a:cxn>
              <a:cxn ang="0">
                <a:pos x="131" y="289"/>
              </a:cxn>
              <a:cxn ang="0">
                <a:pos x="163" y="273"/>
              </a:cxn>
              <a:cxn ang="0">
                <a:pos x="185" y="258"/>
              </a:cxn>
              <a:cxn ang="0">
                <a:pos x="225" y="270"/>
              </a:cxn>
              <a:cxn ang="0">
                <a:pos x="250" y="243"/>
              </a:cxn>
              <a:cxn ang="0">
                <a:pos x="276" y="255"/>
              </a:cxn>
              <a:cxn ang="0">
                <a:pos x="81" y="34"/>
              </a:cxn>
              <a:cxn ang="0">
                <a:pos x="108" y="49"/>
              </a:cxn>
              <a:cxn ang="0">
                <a:pos x="129" y="54"/>
              </a:cxn>
              <a:cxn ang="0">
                <a:pos x="131" y="69"/>
              </a:cxn>
              <a:cxn ang="0">
                <a:pos x="111" y="87"/>
              </a:cxn>
              <a:cxn ang="0">
                <a:pos x="133" y="96"/>
              </a:cxn>
              <a:cxn ang="0">
                <a:pos x="160" y="52"/>
              </a:cxn>
              <a:cxn ang="0">
                <a:pos x="181" y="63"/>
              </a:cxn>
              <a:cxn ang="0">
                <a:pos x="210" y="75"/>
              </a:cxn>
              <a:cxn ang="0">
                <a:pos x="201" y="60"/>
              </a:cxn>
              <a:cxn ang="0">
                <a:pos x="176" y="39"/>
              </a:cxn>
              <a:cxn ang="0">
                <a:pos x="150" y="26"/>
              </a:cxn>
              <a:cxn ang="0">
                <a:pos x="126" y="12"/>
              </a:cxn>
              <a:cxn ang="0">
                <a:pos x="117" y="26"/>
              </a:cxn>
              <a:cxn ang="0">
                <a:pos x="93" y="24"/>
              </a:cxn>
              <a:cxn ang="0">
                <a:pos x="78" y="19"/>
              </a:cxn>
              <a:cxn ang="0">
                <a:pos x="71" y="54"/>
              </a:cxn>
              <a:cxn ang="0">
                <a:pos x="71" y="54"/>
              </a:cxn>
              <a:cxn ang="0">
                <a:pos x="167" y="27"/>
              </a:cxn>
              <a:cxn ang="0">
                <a:pos x="234" y="25"/>
              </a:cxn>
              <a:cxn ang="0">
                <a:pos x="204" y="10"/>
              </a:cxn>
              <a:cxn ang="0">
                <a:pos x="177" y="8"/>
              </a:cxn>
              <a:cxn ang="0">
                <a:pos x="158" y="10"/>
              </a:cxn>
            </a:cxnLst>
            <a:rect b="b" l="0" r="r" t="0"/>
            <a:pathLst>
              <a:path h="462" w="292">
                <a:moveTo>
                  <a:pt x="283" y="247"/>
                </a:moveTo>
                <a:cubicBezTo>
                  <a:pt x="282" y="250"/>
                  <a:pt x="278" y="249"/>
                  <a:pt x="278" y="247"/>
                </a:cubicBezTo>
                <a:cubicBezTo>
                  <a:pt x="278" y="244"/>
                  <a:pt x="271" y="242"/>
                  <a:pt x="270" y="241"/>
                </a:cubicBezTo>
                <a:cubicBezTo>
                  <a:pt x="270" y="240"/>
                  <a:pt x="273" y="240"/>
                  <a:pt x="276" y="242"/>
                </a:cubicBezTo>
                <a:cubicBezTo>
                  <a:pt x="279" y="243"/>
                  <a:pt x="281" y="242"/>
                  <a:pt x="284" y="239"/>
                </a:cubicBezTo>
                <a:cubicBezTo>
                  <a:pt x="287" y="236"/>
                  <a:pt x="291" y="239"/>
                  <a:pt x="291" y="236"/>
                </a:cubicBezTo>
                <a:cubicBezTo>
                  <a:pt x="292" y="234"/>
                  <a:pt x="286" y="232"/>
                  <a:pt x="285" y="231"/>
                </a:cubicBezTo>
                <a:cubicBezTo>
                  <a:pt x="284" y="229"/>
                  <a:pt x="281" y="227"/>
                  <a:pt x="277" y="228"/>
                </a:cubicBezTo>
                <a:cubicBezTo>
                  <a:pt x="273" y="228"/>
                  <a:pt x="273" y="227"/>
                  <a:pt x="271" y="225"/>
                </a:cubicBezTo>
                <a:cubicBezTo>
                  <a:pt x="269" y="223"/>
                  <a:pt x="262" y="226"/>
                  <a:pt x="262" y="231"/>
                </a:cubicBezTo>
                <a:cubicBezTo>
                  <a:pt x="262" y="236"/>
                  <a:pt x="258" y="234"/>
                  <a:pt x="259" y="232"/>
                </a:cubicBezTo>
                <a:cubicBezTo>
                  <a:pt x="261" y="229"/>
                  <a:pt x="257" y="226"/>
                  <a:pt x="261" y="226"/>
                </a:cubicBezTo>
                <a:cubicBezTo>
                  <a:pt x="264" y="225"/>
                  <a:pt x="262" y="220"/>
                  <a:pt x="256" y="219"/>
                </a:cubicBezTo>
                <a:cubicBezTo>
                  <a:pt x="250" y="219"/>
                  <a:pt x="248" y="224"/>
                  <a:pt x="249" y="226"/>
                </a:cubicBezTo>
                <a:cubicBezTo>
                  <a:pt x="251" y="227"/>
                  <a:pt x="245" y="234"/>
                  <a:pt x="242" y="234"/>
                </a:cubicBezTo>
                <a:cubicBezTo>
                  <a:pt x="240" y="234"/>
                  <a:pt x="243" y="228"/>
                  <a:pt x="243" y="225"/>
                </a:cubicBezTo>
                <a:cubicBezTo>
                  <a:pt x="242" y="222"/>
                  <a:pt x="240" y="223"/>
                  <a:pt x="235" y="229"/>
                </a:cubicBezTo>
                <a:cubicBezTo>
                  <a:pt x="231" y="234"/>
                  <a:pt x="227" y="239"/>
                  <a:pt x="225" y="239"/>
                </a:cubicBezTo>
                <a:cubicBezTo>
                  <a:pt x="222" y="240"/>
                  <a:pt x="222" y="235"/>
                  <a:pt x="227" y="232"/>
                </a:cubicBezTo>
                <a:cubicBezTo>
                  <a:pt x="231" y="230"/>
                  <a:pt x="231" y="224"/>
                  <a:pt x="234" y="224"/>
                </a:cubicBezTo>
                <a:cubicBezTo>
                  <a:pt x="237" y="224"/>
                  <a:pt x="237" y="220"/>
                  <a:pt x="233" y="219"/>
                </a:cubicBezTo>
                <a:cubicBezTo>
                  <a:pt x="228" y="218"/>
                  <a:pt x="228" y="223"/>
                  <a:pt x="226" y="224"/>
                </a:cubicBezTo>
                <a:cubicBezTo>
                  <a:pt x="225" y="226"/>
                  <a:pt x="218" y="222"/>
                  <a:pt x="218" y="223"/>
                </a:cubicBezTo>
                <a:cubicBezTo>
                  <a:pt x="219" y="225"/>
                  <a:pt x="215" y="225"/>
                  <a:pt x="216" y="228"/>
                </a:cubicBezTo>
                <a:cubicBezTo>
                  <a:pt x="218" y="230"/>
                  <a:pt x="216" y="232"/>
                  <a:pt x="214" y="229"/>
                </a:cubicBezTo>
                <a:cubicBezTo>
                  <a:pt x="212" y="226"/>
                  <a:pt x="208" y="229"/>
                  <a:pt x="206" y="232"/>
                </a:cubicBezTo>
                <a:cubicBezTo>
                  <a:pt x="204" y="235"/>
                  <a:pt x="201" y="235"/>
                  <a:pt x="203" y="236"/>
                </a:cubicBezTo>
                <a:cubicBezTo>
                  <a:pt x="205" y="237"/>
                  <a:pt x="205" y="242"/>
                  <a:pt x="202" y="243"/>
                </a:cubicBezTo>
                <a:cubicBezTo>
                  <a:pt x="199" y="244"/>
                  <a:pt x="200" y="235"/>
                  <a:pt x="198" y="235"/>
                </a:cubicBezTo>
                <a:cubicBezTo>
                  <a:pt x="196" y="236"/>
                  <a:pt x="197" y="231"/>
                  <a:pt x="200" y="231"/>
                </a:cubicBezTo>
                <a:cubicBezTo>
                  <a:pt x="204" y="231"/>
                  <a:pt x="207" y="226"/>
                  <a:pt x="206" y="225"/>
                </a:cubicBezTo>
                <a:cubicBezTo>
                  <a:pt x="206" y="223"/>
                  <a:pt x="202" y="224"/>
                  <a:pt x="202" y="226"/>
                </a:cubicBezTo>
                <a:cubicBezTo>
                  <a:pt x="202" y="229"/>
                  <a:pt x="197" y="228"/>
                  <a:pt x="193" y="228"/>
                </a:cubicBezTo>
                <a:cubicBezTo>
                  <a:pt x="189" y="228"/>
                  <a:pt x="189" y="233"/>
                  <a:pt x="194" y="236"/>
                </a:cubicBezTo>
                <a:cubicBezTo>
                  <a:pt x="199" y="238"/>
                  <a:pt x="193" y="240"/>
                  <a:pt x="191" y="238"/>
                </a:cubicBezTo>
                <a:cubicBezTo>
                  <a:pt x="188" y="236"/>
                  <a:pt x="185" y="237"/>
                  <a:pt x="182" y="238"/>
                </a:cubicBezTo>
                <a:cubicBezTo>
                  <a:pt x="180" y="239"/>
                  <a:pt x="188" y="242"/>
                  <a:pt x="189" y="244"/>
                </a:cubicBezTo>
                <a:cubicBezTo>
                  <a:pt x="189" y="245"/>
                  <a:pt x="184" y="242"/>
                  <a:pt x="183" y="243"/>
                </a:cubicBezTo>
                <a:cubicBezTo>
                  <a:pt x="182" y="244"/>
                  <a:pt x="178" y="242"/>
                  <a:pt x="177" y="239"/>
                </a:cubicBezTo>
                <a:cubicBezTo>
                  <a:pt x="177" y="237"/>
                  <a:pt x="169" y="241"/>
                  <a:pt x="174" y="242"/>
                </a:cubicBezTo>
                <a:cubicBezTo>
                  <a:pt x="178" y="243"/>
                  <a:pt x="176" y="245"/>
                  <a:pt x="176" y="249"/>
                </a:cubicBezTo>
                <a:cubicBezTo>
                  <a:pt x="176" y="253"/>
                  <a:pt x="171" y="250"/>
                  <a:pt x="172" y="247"/>
                </a:cubicBezTo>
                <a:cubicBezTo>
                  <a:pt x="173" y="243"/>
                  <a:pt x="169" y="244"/>
                  <a:pt x="166" y="246"/>
                </a:cubicBezTo>
                <a:cubicBezTo>
                  <a:pt x="163" y="248"/>
                  <a:pt x="167" y="242"/>
                  <a:pt x="165" y="240"/>
                </a:cubicBezTo>
                <a:cubicBezTo>
                  <a:pt x="164" y="237"/>
                  <a:pt x="161" y="240"/>
                  <a:pt x="157" y="240"/>
                </a:cubicBezTo>
                <a:cubicBezTo>
                  <a:pt x="154" y="241"/>
                  <a:pt x="152" y="241"/>
                  <a:pt x="154" y="243"/>
                </a:cubicBezTo>
                <a:cubicBezTo>
                  <a:pt x="156" y="246"/>
                  <a:pt x="156" y="249"/>
                  <a:pt x="153" y="249"/>
                </a:cubicBezTo>
                <a:cubicBezTo>
                  <a:pt x="150" y="248"/>
                  <a:pt x="149" y="249"/>
                  <a:pt x="150" y="251"/>
                </a:cubicBezTo>
                <a:cubicBezTo>
                  <a:pt x="150" y="254"/>
                  <a:pt x="146" y="254"/>
                  <a:pt x="146" y="252"/>
                </a:cubicBezTo>
                <a:cubicBezTo>
                  <a:pt x="145" y="249"/>
                  <a:pt x="140" y="250"/>
                  <a:pt x="138" y="253"/>
                </a:cubicBezTo>
                <a:cubicBezTo>
                  <a:pt x="136" y="255"/>
                  <a:pt x="132" y="257"/>
                  <a:pt x="132" y="260"/>
                </a:cubicBezTo>
                <a:cubicBezTo>
                  <a:pt x="133" y="263"/>
                  <a:pt x="136" y="259"/>
                  <a:pt x="139" y="260"/>
                </a:cubicBezTo>
                <a:cubicBezTo>
                  <a:pt x="142" y="261"/>
                  <a:pt x="139" y="262"/>
                  <a:pt x="141" y="264"/>
                </a:cubicBezTo>
                <a:cubicBezTo>
                  <a:pt x="142" y="265"/>
                  <a:pt x="142" y="269"/>
                  <a:pt x="140" y="267"/>
                </a:cubicBezTo>
                <a:cubicBezTo>
                  <a:pt x="137" y="265"/>
                  <a:pt x="134" y="264"/>
                  <a:pt x="134" y="268"/>
                </a:cubicBezTo>
                <a:cubicBezTo>
                  <a:pt x="133" y="271"/>
                  <a:pt x="131" y="267"/>
                  <a:pt x="129" y="265"/>
                </a:cubicBezTo>
                <a:cubicBezTo>
                  <a:pt x="127" y="262"/>
                  <a:pt x="125" y="269"/>
                  <a:pt x="123" y="268"/>
                </a:cubicBezTo>
                <a:cubicBezTo>
                  <a:pt x="121" y="266"/>
                  <a:pt x="127" y="261"/>
                  <a:pt x="125" y="258"/>
                </a:cubicBezTo>
                <a:cubicBezTo>
                  <a:pt x="124" y="256"/>
                  <a:pt x="123" y="260"/>
                  <a:pt x="119" y="264"/>
                </a:cubicBezTo>
                <a:cubicBezTo>
                  <a:pt x="115" y="267"/>
                  <a:pt x="110" y="267"/>
                  <a:pt x="112" y="269"/>
                </a:cubicBezTo>
                <a:cubicBezTo>
                  <a:pt x="113" y="271"/>
                  <a:pt x="108" y="272"/>
                  <a:pt x="107" y="275"/>
                </a:cubicBezTo>
                <a:cubicBezTo>
                  <a:pt x="106" y="278"/>
                  <a:pt x="98" y="279"/>
                  <a:pt x="93" y="283"/>
                </a:cubicBezTo>
                <a:cubicBezTo>
                  <a:pt x="88" y="286"/>
                  <a:pt x="94" y="286"/>
                  <a:pt x="97" y="283"/>
                </a:cubicBezTo>
                <a:cubicBezTo>
                  <a:pt x="100" y="280"/>
                  <a:pt x="101" y="282"/>
                  <a:pt x="105" y="279"/>
                </a:cubicBezTo>
                <a:cubicBezTo>
                  <a:pt x="110" y="276"/>
                  <a:pt x="114" y="274"/>
                  <a:pt x="116" y="275"/>
                </a:cubicBezTo>
                <a:cubicBezTo>
                  <a:pt x="118" y="276"/>
                  <a:pt x="121" y="277"/>
                  <a:pt x="123" y="274"/>
                </a:cubicBezTo>
                <a:cubicBezTo>
                  <a:pt x="125" y="271"/>
                  <a:pt x="128" y="272"/>
                  <a:pt x="130" y="273"/>
                </a:cubicBezTo>
                <a:cubicBezTo>
                  <a:pt x="132" y="275"/>
                  <a:pt x="126" y="277"/>
                  <a:pt x="129" y="279"/>
                </a:cubicBezTo>
                <a:cubicBezTo>
                  <a:pt x="131" y="282"/>
                  <a:pt x="126" y="284"/>
                  <a:pt x="126" y="281"/>
                </a:cubicBezTo>
                <a:cubicBezTo>
                  <a:pt x="126" y="279"/>
                  <a:pt x="122" y="277"/>
                  <a:pt x="121" y="279"/>
                </a:cubicBezTo>
                <a:cubicBezTo>
                  <a:pt x="120" y="281"/>
                  <a:pt x="118" y="284"/>
                  <a:pt x="116" y="284"/>
                </a:cubicBezTo>
                <a:cubicBezTo>
                  <a:pt x="114" y="284"/>
                  <a:pt x="111" y="288"/>
                  <a:pt x="111" y="292"/>
                </a:cubicBezTo>
                <a:cubicBezTo>
                  <a:pt x="111" y="296"/>
                  <a:pt x="107" y="292"/>
                  <a:pt x="107" y="295"/>
                </a:cubicBezTo>
                <a:cubicBezTo>
                  <a:pt x="107" y="299"/>
                  <a:pt x="101" y="305"/>
                  <a:pt x="97" y="310"/>
                </a:cubicBezTo>
                <a:cubicBezTo>
                  <a:pt x="92" y="314"/>
                  <a:pt x="96" y="315"/>
                  <a:pt x="95" y="318"/>
                </a:cubicBezTo>
                <a:cubicBezTo>
                  <a:pt x="93" y="321"/>
                  <a:pt x="88" y="318"/>
                  <a:pt x="86" y="319"/>
                </a:cubicBezTo>
                <a:cubicBezTo>
                  <a:pt x="84" y="321"/>
                  <a:pt x="87" y="328"/>
                  <a:pt x="85" y="330"/>
                </a:cubicBezTo>
                <a:cubicBezTo>
                  <a:pt x="82" y="332"/>
                  <a:pt x="85" y="335"/>
                  <a:pt x="85" y="337"/>
                </a:cubicBezTo>
                <a:cubicBezTo>
                  <a:pt x="85" y="340"/>
                  <a:pt x="78" y="336"/>
                  <a:pt x="78" y="338"/>
                </a:cubicBezTo>
                <a:cubicBezTo>
                  <a:pt x="77" y="341"/>
                  <a:pt x="71" y="340"/>
                  <a:pt x="70" y="341"/>
                </a:cubicBezTo>
                <a:cubicBezTo>
                  <a:pt x="68" y="342"/>
                  <a:pt x="73" y="346"/>
                  <a:pt x="76" y="348"/>
                </a:cubicBezTo>
                <a:cubicBezTo>
                  <a:pt x="79" y="350"/>
                  <a:pt x="73" y="352"/>
                  <a:pt x="73" y="349"/>
                </a:cubicBezTo>
                <a:cubicBezTo>
                  <a:pt x="72" y="347"/>
                  <a:pt x="68" y="351"/>
                  <a:pt x="63" y="353"/>
                </a:cubicBezTo>
                <a:cubicBezTo>
                  <a:pt x="57" y="356"/>
                  <a:pt x="60" y="360"/>
                  <a:pt x="56" y="361"/>
                </a:cubicBezTo>
                <a:cubicBezTo>
                  <a:pt x="52" y="361"/>
                  <a:pt x="53" y="367"/>
                  <a:pt x="50" y="369"/>
                </a:cubicBezTo>
                <a:cubicBezTo>
                  <a:pt x="47" y="371"/>
                  <a:pt x="48" y="364"/>
                  <a:pt x="44" y="364"/>
                </a:cubicBezTo>
                <a:cubicBezTo>
                  <a:pt x="40" y="364"/>
                  <a:pt x="40" y="367"/>
                  <a:pt x="43" y="371"/>
                </a:cubicBezTo>
                <a:cubicBezTo>
                  <a:pt x="45" y="374"/>
                  <a:pt x="39" y="371"/>
                  <a:pt x="36" y="374"/>
                </a:cubicBezTo>
                <a:cubicBezTo>
                  <a:pt x="34" y="377"/>
                  <a:pt x="27" y="376"/>
                  <a:pt x="26" y="378"/>
                </a:cubicBezTo>
                <a:cubicBezTo>
                  <a:pt x="24" y="381"/>
                  <a:pt x="31" y="381"/>
                  <a:pt x="32" y="383"/>
                </a:cubicBezTo>
                <a:cubicBezTo>
                  <a:pt x="33" y="385"/>
                  <a:pt x="26" y="384"/>
                  <a:pt x="22" y="383"/>
                </a:cubicBezTo>
                <a:cubicBezTo>
                  <a:pt x="18" y="382"/>
                  <a:pt x="19" y="388"/>
                  <a:pt x="16" y="387"/>
                </a:cubicBezTo>
                <a:cubicBezTo>
                  <a:pt x="13" y="386"/>
                  <a:pt x="8" y="390"/>
                  <a:pt x="11" y="392"/>
                </a:cubicBezTo>
                <a:cubicBezTo>
                  <a:pt x="13" y="395"/>
                  <a:pt x="9" y="395"/>
                  <a:pt x="7" y="393"/>
                </a:cubicBezTo>
                <a:cubicBezTo>
                  <a:pt x="4" y="392"/>
                  <a:pt x="2" y="396"/>
                  <a:pt x="1" y="398"/>
                </a:cubicBezTo>
                <a:cubicBezTo>
                  <a:pt x="1" y="401"/>
                  <a:pt x="6" y="403"/>
                  <a:pt x="6" y="404"/>
                </a:cubicBezTo>
                <a:cubicBezTo>
                  <a:pt x="6" y="405"/>
                  <a:pt x="1" y="408"/>
                  <a:pt x="4" y="408"/>
                </a:cubicBezTo>
                <a:cubicBezTo>
                  <a:pt x="7" y="409"/>
                  <a:pt x="5" y="412"/>
                  <a:pt x="3" y="412"/>
                </a:cubicBezTo>
                <a:cubicBezTo>
                  <a:pt x="1" y="413"/>
                  <a:pt x="1" y="415"/>
                  <a:pt x="3" y="418"/>
                </a:cubicBezTo>
                <a:cubicBezTo>
                  <a:pt x="5" y="420"/>
                  <a:pt x="0" y="421"/>
                  <a:pt x="2" y="425"/>
                </a:cubicBezTo>
                <a:cubicBezTo>
                  <a:pt x="5" y="428"/>
                  <a:pt x="7" y="424"/>
                  <a:pt x="8" y="426"/>
                </a:cubicBezTo>
                <a:cubicBezTo>
                  <a:pt x="9" y="429"/>
                  <a:pt x="13" y="427"/>
                  <a:pt x="16" y="423"/>
                </a:cubicBezTo>
                <a:cubicBezTo>
                  <a:pt x="20" y="420"/>
                  <a:pt x="21" y="427"/>
                  <a:pt x="18" y="427"/>
                </a:cubicBezTo>
                <a:cubicBezTo>
                  <a:pt x="15" y="427"/>
                  <a:pt x="12" y="429"/>
                  <a:pt x="12" y="432"/>
                </a:cubicBezTo>
                <a:cubicBezTo>
                  <a:pt x="13" y="435"/>
                  <a:pt x="8" y="434"/>
                  <a:pt x="8" y="430"/>
                </a:cubicBezTo>
                <a:cubicBezTo>
                  <a:pt x="8" y="427"/>
                  <a:pt x="2" y="431"/>
                  <a:pt x="4" y="434"/>
                </a:cubicBezTo>
                <a:cubicBezTo>
                  <a:pt x="6" y="436"/>
                  <a:pt x="3" y="438"/>
                  <a:pt x="3" y="440"/>
                </a:cubicBezTo>
                <a:cubicBezTo>
                  <a:pt x="3" y="443"/>
                  <a:pt x="8" y="442"/>
                  <a:pt x="10" y="440"/>
                </a:cubicBezTo>
                <a:cubicBezTo>
                  <a:pt x="11" y="437"/>
                  <a:pt x="14" y="437"/>
                  <a:pt x="16" y="440"/>
                </a:cubicBezTo>
                <a:cubicBezTo>
                  <a:pt x="17" y="443"/>
                  <a:pt x="13" y="441"/>
                  <a:pt x="13" y="445"/>
                </a:cubicBezTo>
                <a:cubicBezTo>
                  <a:pt x="13" y="449"/>
                  <a:pt x="10" y="445"/>
                  <a:pt x="8" y="448"/>
                </a:cubicBezTo>
                <a:cubicBezTo>
                  <a:pt x="6" y="451"/>
                  <a:pt x="17" y="457"/>
                  <a:pt x="20" y="458"/>
                </a:cubicBezTo>
                <a:cubicBezTo>
                  <a:pt x="23" y="458"/>
                  <a:pt x="26" y="462"/>
                  <a:pt x="33" y="461"/>
                </a:cubicBezTo>
                <a:cubicBezTo>
                  <a:pt x="40" y="460"/>
                  <a:pt x="52" y="448"/>
                  <a:pt x="54" y="446"/>
                </a:cubicBezTo>
                <a:cubicBezTo>
                  <a:pt x="56" y="443"/>
                  <a:pt x="59" y="446"/>
                  <a:pt x="62" y="444"/>
                </a:cubicBezTo>
                <a:cubicBezTo>
                  <a:pt x="64" y="442"/>
                  <a:pt x="63" y="437"/>
                  <a:pt x="65" y="436"/>
                </a:cubicBezTo>
                <a:cubicBezTo>
                  <a:pt x="67" y="435"/>
                  <a:pt x="68" y="441"/>
                  <a:pt x="69" y="442"/>
                </a:cubicBezTo>
                <a:cubicBezTo>
                  <a:pt x="71" y="442"/>
                  <a:pt x="72" y="444"/>
                  <a:pt x="72" y="447"/>
                </a:cubicBezTo>
                <a:cubicBezTo>
                  <a:pt x="73" y="447"/>
                  <a:pt x="75" y="447"/>
                  <a:pt x="75" y="447"/>
                </a:cubicBezTo>
                <a:cubicBezTo>
                  <a:pt x="78" y="449"/>
                  <a:pt x="78" y="442"/>
                  <a:pt x="78" y="440"/>
                </a:cubicBezTo>
                <a:cubicBezTo>
                  <a:pt x="78" y="438"/>
                  <a:pt x="80" y="434"/>
                  <a:pt x="80" y="431"/>
                </a:cubicBezTo>
                <a:cubicBezTo>
                  <a:pt x="79" y="428"/>
                  <a:pt x="86" y="430"/>
                  <a:pt x="87" y="428"/>
                </a:cubicBezTo>
                <a:cubicBezTo>
                  <a:pt x="88" y="426"/>
                  <a:pt x="89" y="419"/>
                  <a:pt x="87" y="417"/>
                </a:cubicBezTo>
                <a:cubicBezTo>
                  <a:pt x="84" y="416"/>
                  <a:pt x="84" y="412"/>
                  <a:pt x="86" y="412"/>
                </a:cubicBezTo>
                <a:cubicBezTo>
                  <a:pt x="88" y="412"/>
                  <a:pt x="91" y="411"/>
                  <a:pt x="90" y="406"/>
                </a:cubicBezTo>
                <a:cubicBezTo>
                  <a:pt x="90" y="402"/>
                  <a:pt x="83" y="402"/>
                  <a:pt x="83" y="398"/>
                </a:cubicBezTo>
                <a:cubicBezTo>
                  <a:pt x="82" y="394"/>
                  <a:pt x="86" y="393"/>
                  <a:pt x="83" y="387"/>
                </a:cubicBezTo>
                <a:cubicBezTo>
                  <a:pt x="81" y="382"/>
                  <a:pt x="84" y="379"/>
                  <a:pt x="83" y="376"/>
                </a:cubicBezTo>
                <a:cubicBezTo>
                  <a:pt x="82" y="374"/>
                  <a:pt x="81" y="370"/>
                  <a:pt x="84" y="365"/>
                </a:cubicBezTo>
                <a:cubicBezTo>
                  <a:pt x="88" y="360"/>
                  <a:pt x="94" y="357"/>
                  <a:pt x="96" y="357"/>
                </a:cubicBezTo>
                <a:cubicBezTo>
                  <a:pt x="98" y="358"/>
                  <a:pt x="102" y="360"/>
                  <a:pt x="103" y="357"/>
                </a:cubicBezTo>
                <a:cubicBezTo>
                  <a:pt x="105" y="354"/>
                  <a:pt x="105" y="351"/>
                  <a:pt x="103" y="351"/>
                </a:cubicBezTo>
                <a:cubicBezTo>
                  <a:pt x="102" y="350"/>
                  <a:pt x="97" y="349"/>
                  <a:pt x="101" y="345"/>
                </a:cubicBezTo>
                <a:cubicBezTo>
                  <a:pt x="104" y="340"/>
                  <a:pt x="108" y="335"/>
                  <a:pt x="108" y="330"/>
                </a:cubicBezTo>
                <a:cubicBezTo>
                  <a:pt x="109" y="325"/>
                  <a:pt x="107" y="322"/>
                  <a:pt x="109" y="320"/>
                </a:cubicBezTo>
                <a:cubicBezTo>
                  <a:pt x="110" y="318"/>
                  <a:pt x="114" y="320"/>
                  <a:pt x="117" y="318"/>
                </a:cubicBezTo>
                <a:cubicBezTo>
                  <a:pt x="120" y="316"/>
                  <a:pt x="118" y="313"/>
                  <a:pt x="119" y="311"/>
                </a:cubicBezTo>
                <a:cubicBezTo>
                  <a:pt x="121" y="310"/>
                  <a:pt x="123" y="304"/>
                  <a:pt x="125" y="303"/>
                </a:cubicBezTo>
                <a:cubicBezTo>
                  <a:pt x="127" y="301"/>
                  <a:pt x="129" y="299"/>
                  <a:pt x="128" y="297"/>
                </a:cubicBezTo>
                <a:cubicBezTo>
                  <a:pt x="126" y="295"/>
                  <a:pt x="131" y="293"/>
                  <a:pt x="131" y="289"/>
                </a:cubicBezTo>
                <a:cubicBezTo>
                  <a:pt x="131" y="285"/>
                  <a:pt x="136" y="283"/>
                  <a:pt x="140" y="283"/>
                </a:cubicBezTo>
                <a:cubicBezTo>
                  <a:pt x="143" y="283"/>
                  <a:pt x="148" y="283"/>
                  <a:pt x="148" y="279"/>
                </a:cubicBezTo>
                <a:cubicBezTo>
                  <a:pt x="148" y="276"/>
                  <a:pt x="146" y="269"/>
                  <a:pt x="151" y="271"/>
                </a:cubicBezTo>
                <a:cubicBezTo>
                  <a:pt x="156" y="273"/>
                  <a:pt x="159" y="271"/>
                  <a:pt x="163" y="273"/>
                </a:cubicBezTo>
                <a:cubicBezTo>
                  <a:pt x="166" y="276"/>
                  <a:pt x="170" y="276"/>
                  <a:pt x="170" y="271"/>
                </a:cubicBezTo>
                <a:cubicBezTo>
                  <a:pt x="170" y="267"/>
                  <a:pt x="172" y="260"/>
                  <a:pt x="177" y="263"/>
                </a:cubicBezTo>
                <a:cubicBezTo>
                  <a:pt x="177" y="263"/>
                  <a:pt x="177" y="263"/>
                  <a:pt x="178" y="263"/>
                </a:cubicBezTo>
                <a:cubicBezTo>
                  <a:pt x="179" y="260"/>
                  <a:pt x="182" y="258"/>
                  <a:pt x="185" y="258"/>
                </a:cubicBezTo>
                <a:cubicBezTo>
                  <a:pt x="189" y="258"/>
                  <a:pt x="192" y="266"/>
                  <a:pt x="197" y="267"/>
                </a:cubicBezTo>
                <a:cubicBezTo>
                  <a:pt x="203" y="268"/>
                  <a:pt x="208" y="270"/>
                  <a:pt x="210" y="268"/>
                </a:cubicBezTo>
                <a:cubicBezTo>
                  <a:pt x="211" y="265"/>
                  <a:pt x="215" y="269"/>
                  <a:pt x="218" y="268"/>
                </a:cubicBezTo>
                <a:cubicBezTo>
                  <a:pt x="222" y="267"/>
                  <a:pt x="222" y="274"/>
                  <a:pt x="225" y="270"/>
                </a:cubicBezTo>
                <a:cubicBezTo>
                  <a:pt x="228" y="265"/>
                  <a:pt x="224" y="263"/>
                  <a:pt x="230" y="263"/>
                </a:cubicBezTo>
                <a:cubicBezTo>
                  <a:pt x="235" y="264"/>
                  <a:pt x="232" y="257"/>
                  <a:pt x="232" y="254"/>
                </a:cubicBezTo>
                <a:cubicBezTo>
                  <a:pt x="232" y="250"/>
                  <a:pt x="239" y="249"/>
                  <a:pt x="239" y="246"/>
                </a:cubicBezTo>
                <a:cubicBezTo>
                  <a:pt x="239" y="243"/>
                  <a:pt x="248" y="246"/>
                  <a:pt x="250" y="243"/>
                </a:cubicBezTo>
                <a:cubicBezTo>
                  <a:pt x="252" y="241"/>
                  <a:pt x="257" y="240"/>
                  <a:pt x="259" y="243"/>
                </a:cubicBezTo>
                <a:cubicBezTo>
                  <a:pt x="261" y="247"/>
                  <a:pt x="270" y="248"/>
                  <a:pt x="271" y="251"/>
                </a:cubicBezTo>
                <a:cubicBezTo>
                  <a:pt x="271" y="253"/>
                  <a:pt x="271" y="255"/>
                  <a:pt x="271" y="258"/>
                </a:cubicBezTo>
                <a:cubicBezTo>
                  <a:pt x="272" y="256"/>
                  <a:pt x="274" y="255"/>
                  <a:pt x="276" y="255"/>
                </a:cubicBezTo>
                <a:cubicBezTo>
                  <a:pt x="279" y="255"/>
                  <a:pt x="282" y="250"/>
                  <a:pt x="285" y="251"/>
                </a:cubicBezTo>
                <a:cubicBezTo>
                  <a:pt x="288" y="251"/>
                  <a:pt x="290" y="251"/>
                  <a:pt x="291" y="247"/>
                </a:cubicBezTo>
                <a:cubicBezTo>
                  <a:pt x="288" y="245"/>
                  <a:pt x="283" y="245"/>
                  <a:pt x="283" y="247"/>
                </a:cubicBezTo>
                <a:close/>
                <a:moveTo>
                  <a:pt x="81" y="34"/>
                </a:moveTo>
                <a:cubicBezTo>
                  <a:pt x="86" y="35"/>
                  <a:pt x="76" y="40"/>
                  <a:pt x="75" y="45"/>
                </a:cubicBezTo>
                <a:cubicBezTo>
                  <a:pt x="73" y="49"/>
                  <a:pt x="82" y="54"/>
                  <a:pt x="86" y="57"/>
                </a:cubicBezTo>
                <a:cubicBezTo>
                  <a:pt x="90" y="61"/>
                  <a:pt x="99" y="60"/>
                  <a:pt x="102" y="58"/>
                </a:cubicBezTo>
                <a:cubicBezTo>
                  <a:pt x="105" y="56"/>
                  <a:pt x="104" y="49"/>
                  <a:pt x="108" y="49"/>
                </a:cubicBezTo>
                <a:cubicBezTo>
                  <a:pt x="113" y="50"/>
                  <a:pt x="110" y="46"/>
                  <a:pt x="114" y="44"/>
                </a:cubicBezTo>
                <a:cubicBezTo>
                  <a:pt x="117" y="43"/>
                  <a:pt x="118" y="48"/>
                  <a:pt x="115" y="51"/>
                </a:cubicBezTo>
                <a:cubicBezTo>
                  <a:pt x="112" y="55"/>
                  <a:pt x="120" y="54"/>
                  <a:pt x="125" y="50"/>
                </a:cubicBezTo>
                <a:cubicBezTo>
                  <a:pt x="129" y="46"/>
                  <a:pt x="130" y="50"/>
                  <a:pt x="129" y="54"/>
                </a:cubicBezTo>
                <a:cubicBezTo>
                  <a:pt x="128" y="58"/>
                  <a:pt x="119" y="56"/>
                  <a:pt x="116" y="60"/>
                </a:cubicBezTo>
                <a:cubicBezTo>
                  <a:pt x="112" y="65"/>
                  <a:pt x="102" y="61"/>
                  <a:pt x="98" y="66"/>
                </a:cubicBezTo>
                <a:cubicBezTo>
                  <a:pt x="93" y="71"/>
                  <a:pt x="102" y="71"/>
                  <a:pt x="108" y="70"/>
                </a:cubicBezTo>
                <a:cubicBezTo>
                  <a:pt x="114" y="69"/>
                  <a:pt x="126" y="68"/>
                  <a:pt x="131" y="69"/>
                </a:cubicBezTo>
                <a:cubicBezTo>
                  <a:pt x="135" y="70"/>
                  <a:pt x="128" y="72"/>
                  <a:pt x="120" y="72"/>
                </a:cubicBezTo>
                <a:cubicBezTo>
                  <a:pt x="113" y="72"/>
                  <a:pt x="110" y="74"/>
                  <a:pt x="111" y="76"/>
                </a:cubicBezTo>
                <a:cubicBezTo>
                  <a:pt x="111" y="78"/>
                  <a:pt x="100" y="74"/>
                  <a:pt x="100" y="78"/>
                </a:cubicBezTo>
                <a:cubicBezTo>
                  <a:pt x="99" y="83"/>
                  <a:pt x="110" y="84"/>
                  <a:pt x="111" y="87"/>
                </a:cubicBezTo>
                <a:cubicBezTo>
                  <a:pt x="112" y="90"/>
                  <a:pt x="119" y="87"/>
                  <a:pt x="122" y="88"/>
                </a:cubicBezTo>
                <a:cubicBezTo>
                  <a:pt x="125" y="89"/>
                  <a:pt x="117" y="91"/>
                  <a:pt x="116" y="93"/>
                </a:cubicBezTo>
                <a:cubicBezTo>
                  <a:pt x="115" y="94"/>
                  <a:pt x="124" y="96"/>
                  <a:pt x="126" y="98"/>
                </a:cubicBezTo>
                <a:cubicBezTo>
                  <a:pt x="127" y="101"/>
                  <a:pt x="133" y="99"/>
                  <a:pt x="133" y="96"/>
                </a:cubicBezTo>
                <a:cubicBezTo>
                  <a:pt x="133" y="91"/>
                  <a:pt x="139" y="78"/>
                  <a:pt x="146" y="76"/>
                </a:cubicBezTo>
                <a:cubicBezTo>
                  <a:pt x="154" y="73"/>
                  <a:pt x="149" y="70"/>
                  <a:pt x="150" y="66"/>
                </a:cubicBezTo>
                <a:cubicBezTo>
                  <a:pt x="151" y="62"/>
                  <a:pt x="157" y="65"/>
                  <a:pt x="156" y="62"/>
                </a:cubicBezTo>
                <a:cubicBezTo>
                  <a:pt x="154" y="58"/>
                  <a:pt x="155" y="57"/>
                  <a:pt x="160" y="52"/>
                </a:cubicBezTo>
                <a:cubicBezTo>
                  <a:pt x="164" y="48"/>
                  <a:pt x="167" y="51"/>
                  <a:pt x="173" y="48"/>
                </a:cubicBezTo>
                <a:cubicBezTo>
                  <a:pt x="179" y="46"/>
                  <a:pt x="182" y="50"/>
                  <a:pt x="175" y="51"/>
                </a:cubicBezTo>
                <a:cubicBezTo>
                  <a:pt x="170" y="51"/>
                  <a:pt x="173" y="58"/>
                  <a:pt x="177" y="59"/>
                </a:cubicBezTo>
                <a:cubicBezTo>
                  <a:pt x="182" y="61"/>
                  <a:pt x="178" y="63"/>
                  <a:pt x="181" y="63"/>
                </a:cubicBezTo>
                <a:cubicBezTo>
                  <a:pt x="185" y="64"/>
                  <a:pt x="184" y="69"/>
                  <a:pt x="179" y="74"/>
                </a:cubicBezTo>
                <a:cubicBezTo>
                  <a:pt x="175" y="79"/>
                  <a:pt x="180" y="80"/>
                  <a:pt x="190" y="76"/>
                </a:cubicBezTo>
                <a:cubicBezTo>
                  <a:pt x="199" y="73"/>
                  <a:pt x="193" y="79"/>
                  <a:pt x="196" y="82"/>
                </a:cubicBezTo>
                <a:cubicBezTo>
                  <a:pt x="199" y="85"/>
                  <a:pt x="206" y="80"/>
                  <a:pt x="210" y="75"/>
                </a:cubicBezTo>
                <a:cubicBezTo>
                  <a:pt x="214" y="71"/>
                  <a:pt x="220" y="71"/>
                  <a:pt x="220" y="69"/>
                </a:cubicBezTo>
                <a:cubicBezTo>
                  <a:pt x="220" y="66"/>
                  <a:pt x="216" y="65"/>
                  <a:pt x="212" y="67"/>
                </a:cubicBezTo>
                <a:cubicBezTo>
                  <a:pt x="209" y="68"/>
                  <a:pt x="200" y="67"/>
                  <a:pt x="203" y="65"/>
                </a:cubicBezTo>
                <a:cubicBezTo>
                  <a:pt x="206" y="62"/>
                  <a:pt x="205" y="60"/>
                  <a:pt x="201" y="60"/>
                </a:cubicBezTo>
                <a:cubicBezTo>
                  <a:pt x="196" y="61"/>
                  <a:pt x="188" y="58"/>
                  <a:pt x="192" y="57"/>
                </a:cubicBezTo>
                <a:cubicBezTo>
                  <a:pt x="196" y="55"/>
                  <a:pt x="189" y="50"/>
                  <a:pt x="186" y="51"/>
                </a:cubicBezTo>
                <a:cubicBezTo>
                  <a:pt x="182" y="51"/>
                  <a:pt x="183" y="47"/>
                  <a:pt x="184" y="44"/>
                </a:cubicBezTo>
                <a:cubicBezTo>
                  <a:pt x="184" y="41"/>
                  <a:pt x="174" y="40"/>
                  <a:pt x="176" y="39"/>
                </a:cubicBezTo>
                <a:cubicBezTo>
                  <a:pt x="178" y="38"/>
                  <a:pt x="171" y="36"/>
                  <a:pt x="170" y="38"/>
                </a:cubicBezTo>
                <a:cubicBezTo>
                  <a:pt x="168" y="40"/>
                  <a:pt x="165" y="39"/>
                  <a:pt x="165" y="36"/>
                </a:cubicBezTo>
                <a:cubicBezTo>
                  <a:pt x="165" y="33"/>
                  <a:pt x="158" y="34"/>
                  <a:pt x="155" y="34"/>
                </a:cubicBezTo>
                <a:cubicBezTo>
                  <a:pt x="152" y="35"/>
                  <a:pt x="153" y="28"/>
                  <a:pt x="150" y="26"/>
                </a:cubicBezTo>
                <a:cubicBezTo>
                  <a:pt x="147" y="23"/>
                  <a:pt x="143" y="30"/>
                  <a:pt x="141" y="30"/>
                </a:cubicBezTo>
                <a:cubicBezTo>
                  <a:pt x="139" y="29"/>
                  <a:pt x="143" y="25"/>
                  <a:pt x="144" y="22"/>
                </a:cubicBezTo>
                <a:cubicBezTo>
                  <a:pt x="145" y="19"/>
                  <a:pt x="134" y="15"/>
                  <a:pt x="132" y="18"/>
                </a:cubicBezTo>
                <a:cubicBezTo>
                  <a:pt x="131" y="21"/>
                  <a:pt x="129" y="13"/>
                  <a:pt x="126" y="12"/>
                </a:cubicBezTo>
                <a:cubicBezTo>
                  <a:pt x="124" y="12"/>
                  <a:pt x="126" y="17"/>
                  <a:pt x="124" y="18"/>
                </a:cubicBezTo>
                <a:cubicBezTo>
                  <a:pt x="121" y="18"/>
                  <a:pt x="118" y="21"/>
                  <a:pt x="122" y="23"/>
                </a:cubicBezTo>
                <a:cubicBezTo>
                  <a:pt x="126" y="26"/>
                  <a:pt x="130" y="38"/>
                  <a:pt x="129" y="40"/>
                </a:cubicBezTo>
                <a:cubicBezTo>
                  <a:pt x="129" y="42"/>
                  <a:pt x="117" y="31"/>
                  <a:pt x="117" y="26"/>
                </a:cubicBezTo>
                <a:cubicBezTo>
                  <a:pt x="116" y="21"/>
                  <a:pt x="110" y="16"/>
                  <a:pt x="109" y="20"/>
                </a:cubicBezTo>
                <a:cubicBezTo>
                  <a:pt x="107" y="24"/>
                  <a:pt x="103" y="25"/>
                  <a:pt x="104" y="29"/>
                </a:cubicBezTo>
                <a:cubicBezTo>
                  <a:pt x="106" y="33"/>
                  <a:pt x="101" y="34"/>
                  <a:pt x="101" y="31"/>
                </a:cubicBezTo>
                <a:cubicBezTo>
                  <a:pt x="101" y="28"/>
                  <a:pt x="95" y="25"/>
                  <a:pt x="93" y="24"/>
                </a:cubicBezTo>
                <a:cubicBezTo>
                  <a:pt x="91" y="24"/>
                  <a:pt x="99" y="23"/>
                  <a:pt x="102" y="21"/>
                </a:cubicBezTo>
                <a:cubicBezTo>
                  <a:pt x="106" y="19"/>
                  <a:pt x="99" y="17"/>
                  <a:pt x="96" y="19"/>
                </a:cubicBezTo>
                <a:cubicBezTo>
                  <a:pt x="93" y="21"/>
                  <a:pt x="88" y="17"/>
                  <a:pt x="86" y="20"/>
                </a:cubicBezTo>
                <a:cubicBezTo>
                  <a:pt x="84" y="23"/>
                  <a:pt x="82" y="20"/>
                  <a:pt x="78" y="19"/>
                </a:cubicBezTo>
                <a:cubicBezTo>
                  <a:pt x="75" y="19"/>
                  <a:pt x="72" y="24"/>
                  <a:pt x="69" y="23"/>
                </a:cubicBezTo>
                <a:cubicBezTo>
                  <a:pt x="67" y="22"/>
                  <a:pt x="65" y="28"/>
                  <a:pt x="69" y="35"/>
                </a:cubicBezTo>
                <a:cubicBezTo>
                  <a:pt x="73" y="41"/>
                  <a:pt x="76" y="33"/>
                  <a:pt x="81" y="34"/>
                </a:cubicBezTo>
                <a:close/>
                <a:moveTo>
                  <a:pt x="71" y="54"/>
                </a:moveTo>
                <a:cubicBezTo>
                  <a:pt x="74" y="55"/>
                  <a:pt x="76" y="60"/>
                  <a:pt x="79" y="59"/>
                </a:cubicBezTo>
                <a:cubicBezTo>
                  <a:pt x="80" y="59"/>
                  <a:pt x="75" y="53"/>
                  <a:pt x="71" y="50"/>
                </a:cubicBezTo>
                <a:cubicBezTo>
                  <a:pt x="68" y="46"/>
                  <a:pt x="68" y="43"/>
                  <a:pt x="64" y="44"/>
                </a:cubicBezTo>
                <a:cubicBezTo>
                  <a:pt x="59" y="45"/>
                  <a:pt x="68" y="53"/>
                  <a:pt x="71" y="54"/>
                </a:cubicBezTo>
                <a:close/>
                <a:moveTo>
                  <a:pt x="150" y="13"/>
                </a:moveTo>
                <a:cubicBezTo>
                  <a:pt x="153" y="15"/>
                  <a:pt x="147" y="15"/>
                  <a:pt x="149" y="18"/>
                </a:cubicBezTo>
                <a:cubicBezTo>
                  <a:pt x="157" y="25"/>
                  <a:pt x="186" y="17"/>
                  <a:pt x="190" y="19"/>
                </a:cubicBezTo>
                <a:cubicBezTo>
                  <a:pt x="194" y="21"/>
                  <a:pt x="165" y="24"/>
                  <a:pt x="167" y="27"/>
                </a:cubicBezTo>
                <a:cubicBezTo>
                  <a:pt x="168" y="30"/>
                  <a:pt x="191" y="32"/>
                  <a:pt x="193" y="30"/>
                </a:cubicBezTo>
                <a:cubicBezTo>
                  <a:pt x="195" y="28"/>
                  <a:pt x="199" y="34"/>
                  <a:pt x="207" y="35"/>
                </a:cubicBezTo>
                <a:cubicBezTo>
                  <a:pt x="214" y="35"/>
                  <a:pt x="214" y="32"/>
                  <a:pt x="219" y="32"/>
                </a:cubicBezTo>
                <a:cubicBezTo>
                  <a:pt x="225" y="31"/>
                  <a:pt x="234" y="29"/>
                  <a:pt x="234" y="25"/>
                </a:cubicBezTo>
                <a:cubicBezTo>
                  <a:pt x="234" y="22"/>
                  <a:pt x="251" y="18"/>
                  <a:pt x="249" y="13"/>
                </a:cubicBezTo>
                <a:cubicBezTo>
                  <a:pt x="248" y="7"/>
                  <a:pt x="232" y="11"/>
                  <a:pt x="227" y="9"/>
                </a:cubicBezTo>
                <a:cubicBezTo>
                  <a:pt x="223" y="6"/>
                  <a:pt x="212" y="3"/>
                  <a:pt x="210" y="7"/>
                </a:cubicBezTo>
                <a:cubicBezTo>
                  <a:pt x="209" y="10"/>
                  <a:pt x="206" y="11"/>
                  <a:pt x="204" y="10"/>
                </a:cubicBezTo>
                <a:cubicBezTo>
                  <a:pt x="203" y="8"/>
                  <a:pt x="205" y="0"/>
                  <a:pt x="198" y="3"/>
                </a:cubicBezTo>
                <a:cubicBezTo>
                  <a:pt x="190" y="5"/>
                  <a:pt x="197" y="13"/>
                  <a:pt x="196" y="14"/>
                </a:cubicBezTo>
                <a:cubicBezTo>
                  <a:pt x="194" y="15"/>
                  <a:pt x="187" y="12"/>
                  <a:pt x="187" y="9"/>
                </a:cubicBezTo>
                <a:cubicBezTo>
                  <a:pt x="186" y="5"/>
                  <a:pt x="178" y="12"/>
                  <a:pt x="177" y="8"/>
                </a:cubicBezTo>
                <a:cubicBezTo>
                  <a:pt x="176" y="4"/>
                  <a:pt x="167" y="1"/>
                  <a:pt x="165" y="1"/>
                </a:cubicBezTo>
                <a:cubicBezTo>
                  <a:pt x="163" y="1"/>
                  <a:pt x="167" y="4"/>
                  <a:pt x="166" y="6"/>
                </a:cubicBezTo>
                <a:cubicBezTo>
                  <a:pt x="165" y="8"/>
                  <a:pt x="160" y="4"/>
                  <a:pt x="158" y="4"/>
                </a:cubicBezTo>
                <a:cubicBezTo>
                  <a:pt x="156" y="4"/>
                  <a:pt x="159" y="8"/>
                  <a:pt x="158" y="10"/>
                </a:cubicBezTo>
                <a:cubicBezTo>
                  <a:pt x="157" y="12"/>
                  <a:pt x="153" y="4"/>
                  <a:pt x="149" y="4"/>
                </a:cubicBezTo>
                <a:cubicBezTo>
                  <a:pt x="146" y="4"/>
                  <a:pt x="147" y="8"/>
                  <a:pt x="145" y="8"/>
                </a:cubicBezTo>
                <a:cubicBezTo>
                  <a:pt x="142" y="9"/>
                  <a:pt x="148" y="12"/>
                  <a:pt x="150" y="1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3" name="Freeform 140"/>
          <p:cNvSpPr/>
          <p:nvPr/>
        </p:nvSpPr>
        <p:spPr bwMode="auto">
          <a:xfrm>
            <a:off x="10647681" y="2589755"/>
            <a:ext cx="85297" cy="32221"/>
          </a:xfrm>
          <a:custGeom>
            <a:cxnLst>
              <a:cxn ang="0">
                <a:pos x="17" y="2"/>
              </a:cxn>
              <a:cxn ang="0">
                <a:pos x="3" y="6"/>
              </a:cxn>
              <a:cxn ang="0">
                <a:pos x="24" y="11"/>
              </a:cxn>
              <a:cxn ang="0">
                <a:pos x="38" y="9"/>
              </a:cxn>
              <a:cxn ang="0">
                <a:pos x="17" y="2"/>
              </a:cxn>
            </a:cxnLst>
            <a:rect b="b" l="0" r="r" t="0"/>
            <a:pathLst>
              <a:path h="14" w="38">
                <a:moveTo>
                  <a:pt x="17" y="2"/>
                </a:moveTo>
                <a:cubicBezTo>
                  <a:pt x="15" y="3"/>
                  <a:pt x="0" y="2"/>
                  <a:pt x="3" y="6"/>
                </a:cubicBezTo>
                <a:cubicBezTo>
                  <a:pt x="6" y="9"/>
                  <a:pt x="18" y="7"/>
                  <a:pt x="24" y="11"/>
                </a:cubicBezTo>
                <a:cubicBezTo>
                  <a:pt x="30" y="14"/>
                  <a:pt x="38" y="11"/>
                  <a:pt x="38" y="9"/>
                </a:cubicBezTo>
                <a:cubicBezTo>
                  <a:pt x="38" y="6"/>
                  <a:pt x="19" y="0"/>
                  <a:pt x="17" y="2"/>
                </a:cubicBezTo>
                <a:close/>
              </a:path>
            </a:pathLst>
          </a:custGeom>
          <a:solidFill>
            <a:schemeClr val="bg1">
              <a:lumMod val="50000"/>
            </a:schemeClr>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4" name="Freeform 141"/>
          <p:cNvSpPr>
            <a:spLocks noEditPoints="1"/>
          </p:cNvSpPr>
          <p:nvPr/>
        </p:nvSpPr>
        <p:spPr bwMode="auto">
          <a:xfrm>
            <a:off x="9154982" y="3239859"/>
            <a:ext cx="432049" cy="439720"/>
          </a:xfrm>
          <a:custGeom>
            <a:cxnLst>
              <a:cxn ang="0">
                <a:pos x="171" y="24"/>
              </a:cxn>
              <a:cxn ang="0">
                <a:pos x="139" y="9"/>
              </a:cxn>
              <a:cxn ang="0">
                <a:pos x="135" y="31"/>
              </a:cxn>
              <a:cxn ang="0">
                <a:pos x="121" y="41"/>
              </a:cxn>
              <a:cxn ang="0">
                <a:pos x="119" y="57"/>
              </a:cxn>
              <a:cxn ang="0">
                <a:pos x="131" y="53"/>
              </a:cxn>
              <a:cxn ang="0">
                <a:pos x="134" y="44"/>
              </a:cxn>
              <a:cxn ang="0">
                <a:pos x="158" y="45"/>
              </a:cxn>
              <a:cxn ang="0">
                <a:pos x="180" y="32"/>
              </a:cxn>
              <a:cxn ang="0">
                <a:pos x="182" y="21"/>
              </a:cxn>
              <a:cxn ang="0">
                <a:pos x="119" y="82"/>
              </a:cxn>
              <a:cxn ang="0">
                <a:pos x="106" y="108"/>
              </a:cxn>
              <a:cxn ang="0">
                <a:pos x="89" y="112"/>
              </a:cxn>
              <a:cxn ang="0">
                <a:pos x="73" y="132"/>
              </a:cxn>
              <a:cxn ang="0">
                <a:pos x="53" y="136"/>
              </a:cxn>
              <a:cxn ang="0">
                <a:pos x="19" y="150"/>
              </a:cxn>
              <a:cxn ang="0">
                <a:pos x="31" y="154"/>
              </a:cxn>
              <a:cxn ang="0">
                <a:pos x="64" y="157"/>
              </a:cxn>
              <a:cxn ang="0">
                <a:pos x="81" y="149"/>
              </a:cxn>
              <a:cxn ang="0">
                <a:pos x="99" y="146"/>
              </a:cxn>
              <a:cxn ang="0">
                <a:pos x="114" y="140"/>
              </a:cxn>
              <a:cxn ang="0">
                <a:pos x="128" y="122"/>
              </a:cxn>
              <a:cxn ang="0">
                <a:pos x="141" y="93"/>
              </a:cxn>
              <a:cxn ang="0">
                <a:pos x="121" y="67"/>
              </a:cxn>
              <a:cxn ang="0">
                <a:pos x="37" y="156"/>
              </a:cxn>
              <a:cxn ang="0">
                <a:pos x="42" y="168"/>
              </a:cxn>
              <a:cxn ang="0">
                <a:pos x="59" y="155"/>
              </a:cxn>
              <a:cxn ang="0">
                <a:pos x="25" y="166"/>
              </a:cxn>
              <a:cxn ang="0">
                <a:pos x="7" y="163"/>
              </a:cxn>
              <a:cxn ang="0">
                <a:pos x="8" y="168"/>
              </a:cxn>
              <a:cxn ang="0">
                <a:pos x="14" y="193"/>
              </a:cxn>
              <a:cxn ang="0">
                <a:pos x="25" y="166"/>
              </a:cxn>
            </a:cxnLst>
            <a:rect b="b" l="0" r="r" t="0"/>
            <a:pathLst>
              <a:path h="193" w="193">
                <a:moveTo>
                  <a:pt x="182" y="21"/>
                </a:moveTo>
                <a:cubicBezTo>
                  <a:pt x="180" y="18"/>
                  <a:pt x="176" y="23"/>
                  <a:pt x="171" y="24"/>
                </a:cubicBezTo>
                <a:cubicBezTo>
                  <a:pt x="166" y="25"/>
                  <a:pt x="150" y="12"/>
                  <a:pt x="146" y="6"/>
                </a:cubicBezTo>
                <a:cubicBezTo>
                  <a:pt x="142" y="0"/>
                  <a:pt x="136" y="5"/>
                  <a:pt x="139" y="9"/>
                </a:cubicBezTo>
                <a:cubicBezTo>
                  <a:pt x="142" y="13"/>
                  <a:pt x="138" y="15"/>
                  <a:pt x="138" y="21"/>
                </a:cubicBezTo>
                <a:cubicBezTo>
                  <a:pt x="138" y="27"/>
                  <a:pt x="134" y="27"/>
                  <a:pt x="135" y="31"/>
                </a:cubicBezTo>
                <a:cubicBezTo>
                  <a:pt x="136" y="35"/>
                  <a:pt x="130" y="34"/>
                  <a:pt x="126" y="35"/>
                </a:cubicBezTo>
                <a:cubicBezTo>
                  <a:pt x="122" y="35"/>
                  <a:pt x="126" y="39"/>
                  <a:pt x="121" y="41"/>
                </a:cubicBezTo>
                <a:cubicBezTo>
                  <a:pt x="117" y="43"/>
                  <a:pt x="117" y="47"/>
                  <a:pt x="119" y="48"/>
                </a:cubicBezTo>
                <a:cubicBezTo>
                  <a:pt x="122" y="49"/>
                  <a:pt x="120" y="54"/>
                  <a:pt x="119" y="57"/>
                </a:cubicBezTo>
                <a:cubicBezTo>
                  <a:pt x="119" y="60"/>
                  <a:pt x="122" y="57"/>
                  <a:pt x="125" y="54"/>
                </a:cubicBezTo>
                <a:cubicBezTo>
                  <a:pt x="128" y="51"/>
                  <a:pt x="130" y="56"/>
                  <a:pt x="131" y="53"/>
                </a:cubicBezTo>
                <a:cubicBezTo>
                  <a:pt x="132" y="50"/>
                  <a:pt x="124" y="48"/>
                  <a:pt x="124" y="45"/>
                </a:cubicBezTo>
                <a:cubicBezTo>
                  <a:pt x="125" y="41"/>
                  <a:pt x="130" y="46"/>
                  <a:pt x="134" y="44"/>
                </a:cubicBezTo>
                <a:cubicBezTo>
                  <a:pt x="138" y="42"/>
                  <a:pt x="146" y="43"/>
                  <a:pt x="151" y="48"/>
                </a:cubicBezTo>
                <a:cubicBezTo>
                  <a:pt x="156" y="52"/>
                  <a:pt x="157" y="50"/>
                  <a:pt x="158" y="45"/>
                </a:cubicBezTo>
                <a:cubicBezTo>
                  <a:pt x="159" y="40"/>
                  <a:pt x="167" y="37"/>
                  <a:pt x="174" y="37"/>
                </a:cubicBezTo>
                <a:cubicBezTo>
                  <a:pt x="182" y="37"/>
                  <a:pt x="183" y="34"/>
                  <a:pt x="180" y="32"/>
                </a:cubicBezTo>
                <a:cubicBezTo>
                  <a:pt x="178" y="30"/>
                  <a:pt x="193" y="21"/>
                  <a:pt x="193" y="18"/>
                </a:cubicBezTo>
                <a:cubicBezTo>
                  <a:pt x="192" y="15"/>
                  <a:pt x="185" y="24"/>
                  <a:pt x="182" y="21"/>
                </a:cubicBezTo>
                <a:close/>
                <a:moveTo>
                  <a:pt x="121" y="67"/>
                </a:moveTo>
                <a:cubicBezTo>
                  <a:pt x="118" y="68"/>
                  <a:pt x="115" y="79"/>
                  <a:pt x="119" y="82"/>
                </a:cubicBezTo>
                <a:cubicBezTo>
                  <a:pt x="123" y="85"/>
                  <a:pt x="113" y="90"/>
                  <a:pt x="113" y="97"/>
                </a:cubicBezTo>
                <a:cubicBezTo>
                  <a:pt x="114" y="103"/>
                  <a:pt x="107" y="103"/>
                  <a:pt x="106" y="108"/>
                </a:cubicBezTo>
                <a:cubicBezTo>
                  <a:pt x="105" y="112"/>
                  <a:pt x="102" y="111"/>
                  <a:pt x="96" y="116"/>
                </a:cubicBezTo>
                <a:cubicBezTo>
                  <a:pt x="90" y="120"/>
                  <a:pt x="87" y="115"/>
                  <a:pt x="89" y="112"/>
                </a:cubicBezTo>
                <a:cubicBezTo>
                  <a:pt x="90" y="109"/>
                  <a:pt x="80" y="114"/>
                  <a:pt x="80" y="121"/>
                </a:cubicBezTo>
                <a:cubicBezTo>
                  <a:pt x="81" y="128"/>
                  <a:pt x="71" y="129"/>
                  <a:pt x="73" y="132"/>
                </a:cubicBezTo>
                <a:cubicBezTo>
                  <a:pt x="76" y="136"/>
                  <a:pt x="66" y="138"/>
                  <a:pt x="66" y="135"/>
                </a:cubicBezTo>
                <a:cubicBezTo>
                  <a:pt x="67" y="132"/>
                  <a:pt x="60" y="133"/>
                  <a:pt x="53" y="136"/>
                </a:cubicBezTo>
                <a:cubicBezTo>
                  <a:pt x="45" y="139"/>
                  <a:pt x="40" y="133"/>
                  <a:pt x="36" y="137"/>
                </a:cubicBezTo>
                <a:cubicBezTo>
                  <a:pt x="32" y="142"/>
                  <a:pt x="24" y="149"/>
                  <a:pt x="19" y="150"/>
                </a:cubicBezTo>
                <a:cubicBezTo>
                  <a:pt x="13" y="151"/>
                  <a:pt x="16" y="158"/>
                  <a:pt x="19" y="157"/>
                </a:cubicBezTo>
                <a:cubicBezTo>
                  <a:pt x="23" y="155"/>
                  <a:pt x="29" y="157"/>
                  <a:pt x="31" y="154"/>
                </a:cubicBezTo>
                <a:cubicBezTo>
                  <a:pt x="33" y="151"/>
                  <a:pt x="49" y="147"/>
                  <a:pt x="59" y="147"/>
                </a:cubicBezTo>
                <a:cubicBezTo>
                  <a:pt x="69" y="147"/>
                  <a:pt x="63" y="152"/>
                  <a:pt x="64" y="157"/>
                </a:cubicBezTo>
                <a:cubicBezTo>
                  <a:pt x="65" y="162"/>
                  <a:pt x="73" y="161"/>
                  <a:pt x="77" y="156"/>
                </a:cubicBezTo>
                <a:cubicBezTo>
                  <a:pt x="82" y="151"/>
                  <a:pt x="85" y="152"/>
                  <a:pt x="81" y="149"/>
                </a:cubicBezTo>
                <a:cubicBezTo>
                  <a:pt x="78" y="146"/>
                  <a:pt x="82" y="143"/>
                  <a:pt x="85" y="147"/>
                </a:cubicBezTo>
                <a:cubicBezTo>
                  <a:pt x="87" y="151"/>
                  <a:pt x="96" y="151"/>
                  <a:pt x="99" y="146"/>
                </a:cubicBezTo>
                <a:cubicBezTo>
                  <a:pt x="102" y="141"/>
                  <a:pt x="103" y="147"/>
                  <a:pt x="107" y="147"/>
                </a:cubicBezTo>
                <a:cubicBezTo>
                  <a:pt x="111" y="146"/>
                  <a:pt x="114" y="136"/>
                  <a:pt x="114" y="140"/>
                </a:cubicBezTo>
                <a:cubicBezTo>
                  <a:pt x="114" y="144"/>
                  <a:pt x="121" y="143"/>
                  <a:pt x="125" y="138"/>
                </a:cubicBezTo>
                <a:cubicBezTo>
                  <a:pt x="129" y="134"/>
                  <a:pt x="125" y="126"/>
                  <a:pt x="128" y="122"/>
                </a:cubicBezTo>
                <a:cubicBezTo>
                  <a:pt x="130" y="118"/>
                  <a:pt x="133" y="110"/>
                  <a:pt x="130" y="105"/>
                </a:cubicBezTo>
                <a:cubicBezTo>
                  <a:pt x="128" y="100"/>
                  <a:pt x="136" y="97"/>
                  <a:pt x="141" y="93"/>
                </a:cubicBezTo>
                <a:cubicBezTo>
                  <a:pt x="145" y="89"/>
                  <a:pt x="136" y="69"/>
                  <a:pt x="135" y="63"/>
                </a:cubicBezTo>
                <a:cubicBezTo>
                  <a:pt x="135" y="57"/>
                  <a:pt x="124" y="65"/>
                  <a:pt x="121" y="67"/>
                </a:cubicBezTo>
                <a:close/>
                <a:moveTo>
                  <a:pt x="48" y="153"/>
                </a:moveTo>
                <a:cubicBezTo>
                  <a:pt x="46" y="157"/>
                  <a:pt x="42" y="155"/>
                  <a:pt x="37" y="156"/>
                </a:cubicBezTo>
                <a:cubicBezTo>
                  <a:pt x="32" y="157"/>
                  <a:pt x="32" y="170"/>
                  <a:pt x="35" y="171"/>
                </a:cubicBezTo>
                <a:cubicBezTo>
                  <a:pt x="38" y="172"/>
                  <a:pt x="41" y="172"/>
                  <a:pt x="42" y="168"/>
                </a:cubicBezTo>
                <a:cubicBezTo>
                  <a:pt x="43" y="164"/>
                  <a:pt x="48" y="163"/>
                  <a:pt x="51" y="165"/>
                </a:cubicBezTo>
                <a:cubicBezTo>
                  <a:pt x="55" y="166"/>
                  <a:pt x="59" y="160"/>
                  <a:pt x="59" y="155"/>
                </a:cubicBezTo>
                <a:cubicBezTo>
                  <a:pt x="59" y="150"/>
                  <a:pt x="49" y="150"/>
                  <a:pt x="48" y="153"/>
                </a:cubicBezTo>
                <a:close/>
                <a:moveTo>
                  <a:pt x="25" y="166"/>
                </a:moveTo>
                <a:cubicBezTo>
                  <a:pt x="25" y="163"/>
                  <a:pt x="17" y="164"/>
                  <a:pt x="17" y="161"/>
                </a:cubicBezTo>
                <a:cubicBezTo>
                  <a:pt x="17" y="158"/>
                  <a:pt x="12" y="159"/>
                  <a:pt x="7" y="163"/>
                </a:cubicBezTo>
                <a:cubicBezTo>
                  <a:pt x="2" y="167"/>
                  <a:pt x="0" y="167"/>
                  <a:pt x="2" y="171"/>
                </a:cubicBezTo>
                <a:cubicBezTo>
                  <a:pt x="4" y="175"/>
                  <a:pt x="7" y="171"/>
                  <a:pt x="8" y="168"/>
                </a:cubicBezTo>
                <a:cubicBezTo>
                  <a:pt x="10" y="164"/>
                  <a:pt x="13" y="173"/>
                  <a:pt x="10" y="179"/>
                </a:cubicBezTo>
                <a:cubicBezTo>
                  <a:pt x="7" y="185"/>
                  <a:pt x="10" y="193"/>
                  <a:pt x="14" y="193"/>
                </a:cubicBezTo>
                <a:cubicBezTo>
                  <a:pt x="18" y="192"/>
                  <a:pt x="22" y="180"/>
                  <a:pt x="27" y="174"/>
                </a:cubicBezTo>
                <a:cubicBezTo>
                  <a:pt x="32" y="167"/>
                  <a:pt x="25" y="170"/>
                  <a:pt x="25" y="16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5" name="Freeform 142"/>
          <p:cNvSpPr>
            <a:spLocks noEditPoints="1"/>
          </p:cNvSpPr>
          <p:nvPr/>
        </p:nvSpPr>
        <p:spPr bwMode="auto">
          <a:xfrm>
            <a:off x="7780959" y="2972615"/>
            <a:ext cx="1511241" cy="1070871"/>
          </a:xfrm>
          <a:custGeom>
            <a:cxnLst>
              <a:cxn ang="0">
                <a:pos x="643" y="87"/>
              </a:cxn>
              <a:cxn ang="0">
                <a:pos x="610" y="63"/>
              </a:cxn>
              <a:cxn ang="0">
                <a:pos x="583" y="26"/>
              </a:cxn>
              <a:cxn ang="0">
                <a:pos x="544" y="1"/>
              </a:cxn>
              <a:cxn ang="0">
                <a:pos x="517" y="21"/>
              </a:cxn>
              <a:cxn ang="0">
                <a:pos x="495" y="54"/>
              </a:cxn>
              <a:cxn ang="0">
                <a:pos x="461" y="73"/>
              </a:cxn>
              <a:cxn ang="0">
                <a:pos x="482" y="86"/>
              </a:cxn>
              <a:cxn ang="0">
                <a:pos x="481" y="105"/>
              </a:cxn>
              <a:cxn ang="0">
                <a:pos x="422" y="126"/>
              </a:cxn>
              <a:cxn ang="0">
                <a:pos x="380" y="162"/>
              </a:cxn>
              <a:cxn ang="0">
                <a:pos x="315" y="166"/>
              </a:cxn>
              <a:cxn ang="0">
                <a:pos x="241" y="156"/>
              </a:cxn>
              <a:cxn ang="0">
                <a:pos x="210" y="125"/>
              </a:cxn>
              <a:cxn ang="0">
                <a:pos x="182" y="90"/>
              </a:cxn>
              <a:cxn ang="0">
                <a:pos x="153" y="65"/>
              </a:cxn>
              <a:cxn ang="0">
                <a:pos x="137" y="76"/>
              </a:cxn>
              <a:cxn ang="0">
                <a:pos x="111" y="96"/>
              </a:cxn>
              <a:cxn ang="0">
                <a:pos x="88" y="121"/>
              </a:cxn>
              <a:cxn ang="0">
                <a:pos x="78" y="150"/>
              </a:cxn>
              <a:cxn ang="0">
                <a:pos x="52" y="175"/>
              </a:cxn>
              <a:cxn ang="0">
                <a:pos x="19" y="186"/>
              </a:cxn>
              <a:cxn ang="0">
                <a:pos x="0" y="200"/>
              </a:cxn>
              <a:cxn ang="0">
                <a:pos x="15" y="232"/>
              </a:cxn>
              <a:cxn ang="0">
                <a:pos x="39" y="254"/>
              </a:cxn>
              <a:cxn ang="0">
                <a:pos x="59" y="247"/>
              </a:cxn>
              <a:cxn ang="0">
                <a:pos x="56" y="276"/>
              </a:cxn>
              <a:cxn ang="0">
                <a:pos x="56" y="304"/>
              </a:cxn>
              <a:cxn ang="0">
                <a:pos x="77" y="322"/>
              </a:cxn>
              <a:cxn ang="0">
                <a:pos x="138" y="347"/>
              </a:cxn>
              <a:cxn ang="0">
                <a:pos x="162" y="353"/>
              </a:cxn>
              <a:cxn ang="0">
                <a:pos x="183" y="347"/>
              </a:cxn>
              <a:cxn ang="0">
                <a:pos x="210" y="340"/>
              </a:cxn>
              <a:cxn ang="0">
                <a:pos x="243" y="340"/>
              </a:cxn>
              <a:cxn ang="0">
                <a:pos x="261" y="352"/>
              </a:cxn>
              <a:cxn ang="0">
                <a:pos x="256" y="395"/>
              </a:cxn>
              <a:cxn ang="0">
                <a:pos x="274" y="419"/>
              </a:cxn>
              <a:cxn ang="0">
                <a:pos x="298" y="430"/>
              </a:cxn>
              <a:cxn ang="0">
                <a:pos x="316" y="412"/>
              </a:cxn>
              <a:cxn ang="0">
                <a:pos x="352" y="410"/>
              </a:cxn>
              <a:cxn ang="0">
                <a:pos x="375" y="425"/>
              </a:cxn>
              <a:cxn ang="0">
                <a:pos x="393" y="440"/>
              </a:cxn>
              <a:cxn ang="0">
                <a:pos x="445" y="413"/>
              </a:cxn>
              <a:cxn ang="0">
                <a:pos x="484" y="392"/>
              </a:cxn>
              <a:cxn ang="0">
                <a:pos x="504" y="368"/>
              </a:cxn>
              <a:cxn ang="0">
                <a:pos x="523" y="345"/>
              </a:cxn>
              <a:cxn ang="0">
                <a:pos x="527" y="323"/>
              </a:cxn>
              <a:cxn ang="0">
                <a:pos x="522" y="306"/>
              </a:cxn>
              <a:cxn ang="0">
                <a:pos x="519" y="290"/>
              </a:cxn>
              <a:cxn ang="0">
                <a:pos x="505" y="252"/>
              </a:cxn>
              <a:cxn ang="0">
                <a:pos x="536" y="234"/>
              </a:cxn>
              <a:cxn ang="0">
                <a:pos x="496" y="223"/>
              </a:cxn>
              <a:cxn ang="0">
                <a:pos x="512" y="192"/>
              </a:cxn>
              <a:cxn ang="0">
                <a:pos x="529" y="208"/>
              </a:cxn>
              <a:cxn ang="0">
                <a:pos x="580" y="179"/>
              </a:cxn>
              <a:cxn ang="0">
                <a:pos x="606" y="168"/>
              </a:cxn>
              <a:cxn ang="0">
                <a:pos x="633" y="157"/>
              </a:cxn>
              <a:cxn ang="0">
                <a:pos x="636" y="127"/>
              </a:cxn>
              <a:cxn ang="0">
                <a:pos x="667" y="107"/>
              </a:cxn>
              <a:cxn ang="0">
                <a:pos x="516" y="418"/>
              </a:cxn>
              <a:cxn ang="0">
                <a:pos x="380" y="460"/>
              </a:cxn>
            </a:cxnLst>
            <a:rect b="b" l="0" r="r" t="0"/>
            <a:pathLst>
              <a:path h="469" w="677">
                <a:moveTo>
                  <a:pt x="673" y="83"/>
                </a:moveTo>
                <a:cubicBezTo>
                  <a:pt x="673" y="77"/>
                  <a:pt x="666" y="79"/>
                  <a:pt x="664" y="81"/>
                </a:cubicBezTo>
                <a:cubicBezTo>
                  <a:pt x="662" y="83"/>
                  <a:pt x="655" y="81"/>
                  <a:pt x="653" y="85"/>
                </a:cubicBezTo>
                <a:cubicBezTo>
                  <a:pt x="651" y="89"/>
                  <a:pt x="648" y="87"/>
                  <a:pt x="643" y="87"/>
                </a:cubicBezTo>
                <a:cubicBezTo>
                  <a:pt x="638" y="88"/>
                  <a:pt x="632" y="86"/>
                  <a:pt x="632" y="83"/>
                </a:cubicBezTo>
                <a:cubicBezTo>
                  <a:pt x="632" y="80"/>
                  <a:pt x="629" y="77"/>
                  <a:pt x="630" y="73"/>
                </a:cubicBezTo>
                <a:cubicBezTo>
                  <a:pt x="630" y="70"/>
                  <a:pt x="625" y="71"/>
                  <a:pt x="622" y="68"/>
                </a:cubicBezTo>
                <a:cubicBezTo>
                  <a:pt x="618" y="65"/>
                  <a:pt x="612" y="62"/>
                  <a:pt x="610" y="63"/>
                </a:cubicBezTo>
                <a:cubicBezTo>
                  <a:pt x="609" y="64"/>
                  <a:pt x="605" y="59"/>
                  <a:pt x="599" y="59"/>
                </a:cubicBezTo>
                <a:cubicBezTo>
                  <a:pt x="594" y="59"/>
                  <a:pt x="594" y="55"/>
                  <a:pt x="595" y="53"/>
                </a:cubicBezTo>
                <a:cubicBezTo>
                  <a:pt x="596" y="50"/>
                  <a:pt x="590" y="43"/>
                  <a:pt x="589" y="39"/>
                </a:cubicBezTo>
                <a:cubicBezTo>
                  <a:pt x="588" y="35"/>
                  <a:pt x="584" y="34"/>
                  <a:pt x="583" y="26"/>
                </a:cubicBezTo>
                <a:cubicBezTo>
                  <a:pt x="581" y="17"/>
                  <a:pt x="576" y="19"/>
                  <a:pt x="577" y="15"/>
                </a:cubicBezTo>
                <a:cubicBezTo>
                  <a:pt x="578" y="11"/>
                  <a:pt x="572" y="9"/>
                  <a:pt x="570" y="7"/>
                </a:cubicBezTo>
                <a:cubicBezTo>
                  <a:pt x="568" y="5"/>
                  <a:pt x="561" y="6"/>
                  <a:pt x="556" y="3"/>
                </a:cubicBezTo>
                <a:cubicBezTo>
                  <a:pt x="551" y="0"/>
                  <a:pt x="548" y="2"/>
                  <a:pt x="544" y="1"/>
                </a:cubicBezTo>
                <a:cubicBezTo>
                  <a:pt x="539" y="0"/>
                  <a:pt x="528" y="2"/>
                  <a:pt x="527" y="2"/>
                </a:cubicBezTo>
                <a:cubicBezTo>
                  <a:pt x="526" y="2"/>
                  <a:pt x="517" y="1"/>
                  <a:pt x="513" y="7"/>
                </a:cubicBezTo>
                <a:cubicBezTo>
                  <a:pt x="508" y="13"/>
                  <a:pt x="512" y="13"/>
                  <a:pt x="514" y="13"/>
                </a:cubicBezTo>
                <a:cubicBezTo>
                  <a:pt x="516" y="13"/>
                  <a:pt x="517" y="19"/>
                  <a:pt x="517" y="21"/>
                </a:cubicBezTo>
                <a:cubicBezTo>
                  <a:pt x="517" y="23"/>
                  <a:pt x="514" y="26"/>
                  <a:pt x="512" y="27"/>
                </a:cubicBezTo>
                <a:cubicBezTo>
                  <a:pt x="510" y="27"/>
                  <a:pt x="506" y="35"/>
                  <a:pt x="505" y="37"/>
                </a:cubicBezTo>
                <a:cubicBezTo>
                  <a:pt x="504" y="40"/>
                  <a:pt x="499" y="47"/>
                  <a:pt x="500" y="49"/>
                </a:cubicBezTo>
                <a:cubicBezTo>
                  <a:pt x="500" y="51"/>
                  <a:pt x="497" y="54"/>
                  <a:pt x="495" y="54"/>
                </a:cubicBezTo>
                <a:cubicBezTo>
                  <a:pt x="492" y="54"/>
                  <a:pt x="486" y="59"/>
                  <a:pt x="484" y="60"/>
                </a:cubicBezTo>
                <a:cubicBezTo>
                  <a:pt x="482" y="60"/>
                  <a:pt x="474" y="59"/>
                  <a:pt x="473" y="57"/>
                </a:cubicBezTo>
                <a:cubicBezTo>
                  <a:pt x="473" y="56"/>
                  <a:pt x="472" y="55"/>
                  <a:pt x="471" y="55"/>
                </a:cubicBezTo>
                <a:cubicBezTo>
                  <a:pt x="461" y="73"/>
                  <a:pt x="461" y="73"/>
                  <a:pt x="461" y="73"/>
                </a:cubicBezTo>
                <a:cubicBezTo>
                  <a:pt x="461" y="78"/>
                  <a:pt x="461" y="78"/>
                  <a:pt x="461" y="78"/>
                </a:cubicBezTo>
                <a:cubicBezTo>
                  <a:pt x="461" y="78"/>
                  <a:pt x="455" y="80"/>
                  <a:pt x="459" y="84"/>
                </a:cubicBezTo>
                <a:cubicBezTo>
                  <a:pt x="464" y="89"/>
                  <a:pt x="464" y="85"/>
                  <a:pt x="471" y="85"/>
                </a:cubicBezTo>
                <a:cubicBezTo>
                  <a:pt x="477" y="85"/>
                  <a:pt x="480" y="90"/>
                  <a:pt x="482" y="86"/>
                </a:cubicBezTo>
                <a:cubicBezTo>
                  <a:pt x="483" y="83"/>
                  <a:pt x="489" y="81"/>
                  <a:pt x="493" y="85"/>
                </a:cubicBezTo>
                <a:cubicBezTo>
                  <a:pt x="496" y="89"/>
                  <a:pt x="508" y="97"/>
                  <a:pt x="507" y="100"/>
                </a:cubicBezTo>
                <a:cubicBezTo>
                  <a:pt x="507" y="104"/>
                  <a:pt x="500" y="103"/>
                  <a:pt x="496" y="102"/>
                </a:cubicBezTo>
                <a:cubicBezTo>
                  <a:pt x="491" y="100"/>
                  <a:pt x="485" y="105"/>
                  <a:pt x="481" y="105"/>
                </a:cubicBezTo>
                <a:cubicBezTo>
                  <a:pt x="477" y="105"/>
                  <a:pt x="472" y="106"/>
                  <a:pt x="467" y="110"/>
                </a:cubicBezTo>
                <a:cubicBezTo>
                  <a:pt x="463" y="115"/>
                  <a:pt x="464" y="119"/>
                  <a:pt x="457" y="120"/>
                </a:cubicBezTo>
                <a:cubicBezTo>
                  <a:pt x="451" y="121"/>
                  <a:pt x="448" y="120"/>
                  <a:pt x="440" y="125"/>
                </a:cubicBezTo>
                <a:cubicBezTo>
                  <a:pt x="433" y="130"/>
                  <a:pt x="425" y="128"/>
                  <a:pt x="422" y="126"/>
                </a:cubicBezTo>
                <a:cubicBezTo>
                  <a:pt x="419" y="125"/>
                  <a:pt x="414" y="124"/>
                  <a:pt x="411" y="129"/>
                </a:cubicBezTo>
                <a:cubicBezTo>
                  <a:pt x="408" y="134"/>
                  <a:pt x="415" y="137"/>
                  <a:pt x="414" y="142"/>
                </a:cubicBezTo>
                <a:cubicBezTo>
                  <a:pt x="414" y="148"/>
                  <a:pt x="406" y="147"/>
                  <a:pt x="400" y="153"/>
                </a:cubicBezTo>
                <a:cubicBezTo>
                  <a:pt x="395" y="160"/>
                  <a:pt x="385" y="163"/>
                  <a:pt x="380" y="162"/>
                </a:cubicBezTo>
                <a:cubicBezTo>
                  <a:pt x="375" y="161"/>
                  <a:pt x="364" y="158"/>
                  <a:pt x="355" y="163"/>
                </a:cubicBezTo>
                <a:cubicBezTo>
                  <a:pt x="345" y="167"/>
                  <a:pt x="339" y="174"/>
                  <a:pt x="335" y="173"/>
                </a:cubicBezTo>
                <a:cubicBezTo>
                  <a:pt x="332" y="172"/>
                  <a:pt x="332" y="168"/>
                  <a:pt x="326" y="169"/>
                </a:cubicBezTo>
                <a:cubicBezTo>
                  <a:pt x="321" y="169"/>
                  <a:pt x="318" y="168"/>
                  <a:pt x="315" y="166"/>
                </a:cubicBezTo>
                <a:cubicBezTo>
                  <a:pt x="311" y="163"/>
                  <a:pt x="308" y="167"/>
                  <a:pt x="302" y="163"/>
                </a:cubicBezTo>
                <a:cubicBezTo>
                  <a:pt x="297" y="158"/>
                  <a:pt x="286" y="159"/>
                  <a:pt x="282" y="158"/>
                </a:cubicBezTo>
                <a:cubicBezTo>
                  <a:pt x="278" y="158"/>
                  <a:pt x="261" y="158"/>
                  <a:pt x="255" y="158"/>
                </a:cubicBezTo>
                <a:cubicBezTo>
                  <a:pt x="249" y="157"/>
                  <a:pt x="241" y="159"/>
                  <a:pt x="241" y="156"/>
                </a:cubicBezTo>
                <a:cubicBezTo>
                  <a:pt x="240" y="153"/>
                  <a:pt x="236" y="151"/>
                  <a:pt x="234" y="145"/>
                </a:cubicBezTo>
                <a:cubicBezTo>
                  <a:pt x="233" y="138"/>
                  <a:pt x="229" y="136"/>
                  <a:pt x="225" y="135"/>
                </a:cubicBezTo>
                <a:cubicBezTo>
                  <a:pt x="222" y="134"/>
                  <a:pt x="221" y="131"/>
                  <a:pt x="218" y="130"/>
                </a:cubicBezTo>
                <a:cubicBezTo>
                  <a:pt x="217" y="130"/>
                  <a:pt x="215" y="125"/>
                  <a:pt x="210" y="125"/>
                </a:cubicBezTo>
                <a:cubicBezTo>
                  <a:pt x="205" y="125"/>
                  <a:pt x="187" y="123"/>
                  <a:pt x="184" y="119"/>
                </a:cubicBezTo>
                <a:cubicBezTo>
                  <a:pt x="182" y="115"/>
                  <a:pt x="187" y="114"/>
                  <a:pt x="187" y="109"/>
                </a:cubicBezTo>
                <a:cubicBezTo>
                  <a:pt x="187" y="105"/>
                  <a:pt x="190" y="100"/>
                  <a:pt x="188" y="98"/>
                </a:cubicBezTo>
                <a:cubicBezTo>
                  <a:pt x="186" y="97"/>
                  <a:pt x="182" y="93"/>
                  <a:pt x="182" y="90"/>
                </a:cubicBezTo>
                <a:cubicBezTo>
                  <a:pt x="181" y="86"/>
                  <a:pt x="176" y="82"/>
                  <a:pt x="172" y="82"/>
                </a:cubicBezTo>
                <a:cubicBezTo>
                  <a:pt x="168" y="82"/>
                  <a:pt x="165" y="79"/>
                  <a:pt x="162" y="76"/>
                </a:cubicBezTo>
                <a:cubicBezTo>
                  <a:pt x="158" y="73"/>
                  <a:pt x="155" y="73"/>
                  <a:pt x="154" y="66"/>
                </a:cubicBezTo>
                <a:cubicBezTo>
                  <a:pt x="154" y="65"/>
                  <a:pt x="153" y="65"/>
                  <a:pt x="153" y="65"/>
                </a:cubicBezTo>
                <a:cubicBezTo>
                  <a:pt x="152" y="64"/>
                  <a:pt x="150" y="64"/>
                  <a:pt x="149" y="64"/>
                </a:cubicBezTo>
                <a:cubicBezTo>
                  <a:pt x="148" y="64"/>
                  <a:pt x="147" y="63"/>
                  <a:pt x="146" y="62"/>
                </a:cubicBezTo>
                <a:cubicBezTo>
                  <a:pt x="145" y="65"/>
                  <a:pt x="142" y="67"/>
                  <a:pt x="142" y="69"/>
                </a:cubicBezTo>
                <a:cubicBezTo>
                  <a:pt x="142" y="72"/>
                  <a:pt x="141" y="76"/>
                  <a:pt x="137" y="76"/>
                </a:cubicBezTo>
                <a:cubicBezTo>
                  <a:pt x="134" y="76"/>
                  <a:pt x="130" y="78"/>
                  <a:pt x="130" y="84"/>
                </a:cubicBezTo>
                <a:cubicBezTo>
                  <a:pt x="130" y="90"/>
                  <a:pt x="133" y="91"/>
                  <a:pt x="132" y="93"/>
                </a:cubicBezTo>
                <a:cubicBezTo>
                  <a:pt x="130" y="96"/>
                  <a:pt x="123" y="98"/>
                  <a:pt x="121" y="97"/>
                </a:cubicBezTo>
                <a:cubicBezTo>
                  <a:pt x="119" y="96"/>
                  <a:pt x="114" y="97"/>
                  <a:pt x="111" y="96"/>
                </a:cubicBezTo>
                <a:cubicBezTo>
                  <a:pt x="107" y="96"/>
                  <a:pt x="104" y="91"/>
                  <a:pt x="103" y="96"/>
                </a:cubicBezTo>
                <a:cubicBezTo>
                  <a:pt x="102" y="101"/>
                  <a:pt x="94" y="116"/>
                  <a:pt x="96" y="118"/>
                </a:cubicBezTo>
                <a:cubicBezTo>
                  <a:pt x="98" y="119"/>
                  <a:pt x="99" y="123"/>
                  <a:pt x="96" y="123"/>
                </a:cubicBezTo>
                <a:cubicBezTo>
                  <a:pt x="93" y="123"/>
                  <a:pt x="90" y="123"/>
                  <a:pt x="88" y="121"/>
                </a:cubicBezTo>
                <a:cubicBezTo>
                  <a:pt x="86" y="119"/>
                  <a:pt x="81" y="123"/>
                  <a:pt x="77" y="123"/>
                </a:cubicBezTo>
                <a:cubicBezTo>
                  <a:pt x="76" y="123"/>
                  <a:pt x="68" y="126"/>
                  <a:pt x="71" y="128"/>
                </a:cubicBezTo>
                <a:cubicBezTo>
                  <a:pt x="73" y="129"/>
                  <a:pt x="73" y="135"/>
                  <a:pt x="73" y="137"/>
                </a:cubicBezTo>
                <a:cubicBezTo>
                  <a:pt x="73" y="140"/>
                  <a:pt x="79" y="147"/>
                  <a:pt x="78" y="150"/>
                </a:cubicBezTo>
                <a:cubicBezTo>
                  <a:pt x="77" y="152"/>
                  <a:pt x="72" y="155"/>
                  <a:pt x="72" y="158"/>
                </a:cubicBezTo>
                <a:cubicBezTo>
                  <a:pt x="72" y="162"/>
                  <a:pt x="73" y="165"/>
                  <a:pt x="71" y="165"/>
                </a:cubicBezTo>
                <a:cubicBezTo>
                  <a:pt x="69" y="166"/>
                  <a:pt x="64" y="168"/>
                  <a:pt x="61" y="170"/>
                </a:cubicBezTo>
                <a:cubicBezTo>
                  <a:pt x="58" y="172"/>
                  <a:pt x="54" y="172"/>
                  <a:pt x="52" y="175"/>
                </a:cubicBezTo>
                <a:cubicBezTo>
                  <a:pt x="51" y="178"/>
                  <a:pt x="49" y="181"/>
                  <a:pt x="43" y="180"/>
                </a:cubicBezTo>
                <a:cubicBezTo>
                  <a:pt x="39" y="180"/>
                  <a:pt x="37" y="179"/>
                  <a:pt x="33" y="183"/>
                </a:cubicBezTo>
                <a:cubicBezTo>
                  <a:pt x="30" y="188"/>
                  <a:pt x="29" y="186"/>
                  <a:pt x="26" y="188"/>
                </a:cubicBezTo>
                <a:cubicBezTo>
                  <a:pt x="24" y="190"/>
                  <a:pt x="21" y="186"/>
                  <a:pt x="19" y="186"/>
                </a:cubicBezTo>
                <a:cubicBezTo>
                  <a:pt x="17" y="185"/>
                  <a:pt x="15" y="188"/>
                  <a:pt x="13" y="188"/>
                </a:cubicBezTo>
                <a:cubicBezTo>
                  <a:pt x="11" y="188"/>
                  <a:pt x="9" y="191"/>
                  <a:pt x="6" y="192"/>
                </a:cubicBezTo>
                <a:cubicBezTo>
                  <a:pt x="4" y="193"/>
                  <a:pt x="1" y="192"/>
                  <a:pt x="1" y="195"/>
                </a:cubicBezTo>
                <a:cubicBezTo>
                  <a:pt x="1" y="197"/>
                  <a:pt x="1" y="199"/>
                  <a:pt x="0" y="200"/>
                </a:cubicBezTo>
                <a:cubicBezTo>
                  <a:pt x="0" y="200"/>
                  <a:pt x="0" y="200"/>
                  <a:pt x="0" y="200"/>
                </a:cubicBezTo>
                <a:cubicBezTo>
                  <a:pt x="1" y="210"/>
                  <a:pt x="1" y="210"/>
                  <a:pt x="1" y="210"/>
                </a:cubicBezTo>
                <a:cubicBezTo>
                  <a:pt x="1" y="210"/>
                  <a:pt x="12" y="214"/>
                  <a:pt x="12" y="217"/>
                </a:cubicBezTo>
                <a:cubicBezTo>
                  <a:pt x="13" y="221"/>
                  <a:pt x="15" y="232"/>
                  <a:pt x="15" y="232"/>
                </a:cubicBezTo>
                <a:cubicBezTo>
                  <a:pt x="15" y="232"/>
                  <a:pt x="15" y="232"/>
                  <a:pt x="14" y="232"/>
                </a:cubicBezTo>
                <a:cubicBezTo>
                  <a:pt x="19" y="236"/>
                  <a:pt x="25" y="239"/>
                  <a:pt x="25" y="241"/>
                </a:cubicBezTo>
                <a:cubicBezTo>
                  <a:pt x="25" y="242"/>
                  <a:pt x="25" y="247"/>
                  <a:pt x="30" y="249"/>
                </a:cubicBezTo>
                <a:cubicBezTo>
                  <a:pt x="34" y="251"/>
                  <a:pt x="37" y="253"/>
                  <a:pt x="39" y="254"/>
                </a:cubicBezTo>
                <a:cubicBezTo>
                  <a:pt x="39" y="253"/>
                  <a:pt x="40" y="253"/>
                  <a:pt x="40" y="253"/>
                </a:cubicBezTo>
                <a:cubicBezTo>
                  <a:pt x="44" y="252"/>
                  <a:pt x="44" y="252"/>
                  <a:pt x="44" y="252"/>
                </a:cubicBezTo>
                <a:cubicBezTo>
                  <a:pt x="44" y="252"/>
                  <a:pt x="45" y="253"/>
                  <a:pt x="47" y="255"/>
                </a:cubicBezTo>
                <a:cubicBezTo>
                  <a:pt x="48" y="251"/>
                  <a:pt x="55" y="247"/>
                  <a:pt x="59" y="247"/>
                </a:cubicBezTo>
                <a:cubicBezTo>
                  <a:pt x="64" y="248"/>
                  <a:pt x="73" y="255"/>
                  <a:pt x="72" y="258"/>
                </a:cubicBezTo>
                <a:cubicBezTo>
                  <a:pt x="71" y="261"/>
                  <a:pt x="64" y="271"/>
                  <a:pt x="61" y="272"/>
                </a:cubicBezTo>
                <a:cubicBezTo>
                  <a:pt x="60" y="272"/>
                  <a:pt x="58" y="272"/>
                  <a:pt x="56" y="272"/>
                </a:cubicBezTo>
                <a:cubicBezTo>
                  <a:pt x="56" y="274"/>
                  <a:pt x="56" y="275"/>
                  <a:pt x="56" y="276"/>
                </a:cubicBezTo>
                <a:cubicBezTo>
                  <a:pt x="56" y="278"/>
                  <a:pt x="60" y="282"/>
                  <a:pt x="62" y="286"/>
                </a:cubicBezTo>
                <a:cubicBezTo>
                  <a:pt x="64" y="290"/>
                  <a:pt x="58" y="292"/>
                  <a:pt x="55" y="290"/>
                </a:cubicBezTo>
                <a:cubicBezTo>
                  <a:pt x="52" y="287"/>
                  <a:pt x="51" y="292"/>
                  <a:pt x="52" y="295"/>
                </a:cubicBezTo>
                <a:cubicBezTo>
                  <a:pt x="54" y="297"/>
                  <a:pt x="53" y="303"/>
                  <a:pt x="56" y="304"/>
                </a:cubicBezTo>
                <a:cubicBezTo>
                  <a:pt x="60" y="304"/>
                  <a:pt x="62" y="310"/>
                  <a:pt x="66" y="310"/>
                </a:cubicBezTo>
                <a:cubicBezTo>
                  <a:pt x="69" y="310"/>
                  <a:pt x="73" y="316"/>
                  <a:pt x="73" y="316"/>
                </a:cubicBezTo>
                <a:cubicBezTo>
                  <a:pt x="73" y="316"/>
                  <a:pt x="77" y="319"/>
                  <a:pt x="77" y="321"/>
                </a:cubicBezTo>
                <a:cubicBezTo>
                  <a:pt x="77" y="321"/>
                  <a:pt x="77" y="321"/>
                  <a:pt x="77" y="322"/>
                </a:cubicBezTo>
                <a:cubicBezTo>
                  <a:pt x="81" y="321"/>
                  <a:pt x="84" y="321"/>
                  <a:pt x="84" y="320"/>
                </a:cubicBezTo>
                <a:cubicBezTo>
                  <a:pt x="85" y="318"/>
                  <a:pt x="90" y="318"/>
                  <a:pt x="93" y="321"/>
                </a:cubicBezTo>
                <a:cubicBezTo>
                  <a:pt x="97" y="325"/>
                  <a:pt x="111" y="334"/>
                  <a:pt x="116" y="338"/>
                </a:cubicBezTo>
                <a:cubicBezTo>
                  <a:pt x="121" y="342"/>
                  <a:pt x="134" y="347"/>
                  <a:pt x="138" y="347"/>
                </a:cubicBezTo>
                <a:cubicBezTo>
                  <a:pt x="142" y="347"/>
                  <a:pt x="146" y="350"/>
                  <a:pt x="153" y="350"/>
                </a:cubicBezTo>
                <a:cubicBezTo>
                  <a:pt x="154" y="349"/>
                  <a:pt x="154" y="350"/>
                  <a:pt x="155" y="350"/>
                </a:cubicBezTo>
                <a:cubicBezTo>
                  <a:pt x="156" y="349"/>
                  <a:pt x="158" y="349"/>
                  <a:pt x="159" y="347"/>
                </a:cubicBezTo>
                <a:cubicBezTo>
                  <a:pt x="161" y="344"/>
                  <a:pt x="163" y="349"/>
                  <a:pt x="162" y="353"/>
                </a:cubicBezTo>
                <a:cubicBezTo>
                  <a:pt x="162" y="354"/>
                  <a:pt x="162" y="356"/>
                  <a:pt x="163" y="358"/>
                </a:cubicBezTo>
                <a:cubicBezTo>
                  <a:pt x="164" y="356"/>
                  <a:pt x="165" y="355"/>
                  <a:pt x="166" y="353"/>
                </a:cubicBezTo>
                <a:cubicBezTo>
                  <a:pt x="168" y="347"/>
                  <a:pt x="171" y="348"/>
                  <a:pt x="174" y="346"/>
                </a:cubicBezTo>
                <a:cubicBezTo>
                  <a:pt x="176" y="344"/>
                  <a:pt x="178" y="345"/>
                  <a:pt x="183" y="347"/>
                </a:cubicBezTo>
                <a:cubicBezTo>
                  <a:pt x="187" y="350"/>
                  <a:pt x="189" y="345"/>
                  <a:pt x="196" y="351"/>
                </a:cubicBezTo>
                <a:cubicBezTo>
                  <a:pt x="197" y="350"/>
                  <a:pt x="199" y="349"/>
                  <a:pt x="200" y="349"/>
                </a:cubicBezTo>
                <a:cubicBezTo>
                  <a:pt x="201" y="349"/>
                  <a:pt x="203" y="347"/>
                  <a:pt x="205" y="345"/>
                </a:cubicBezTo>
                <a:cubicBezTo>
                  <a:pt x="207" y="342"/>
                  <a:pt x="207" y="340"/>
                  <a:pt x="210" y="340"/>
                </a:cubicBezTo>
                <a:cubicBezTo>
                  <a:pt x="212" y="341"/>
                  <a:pt x="214" y="337"/>
                  <a:pt x="219" y="334"/>
                </a:cubicBezTo>
                <a:cubicBezTo>
                  <a:pt x="225" y="331"/>
                  <a:pt x="230" y="336"/>
                  <a:pt x="233" y="333"/>
                </a:cubicBezTo>
                <a:cubicBezTo>
                  <a:pt x="235" y="331"/>
                  <a:pt x="239" y="330"/>
                  <a:pt x="239" y="333"/>
                </a:cubicBezTo>
                <a:cubicBezTo>
                  <a:pt x="239" y="335"/>
                  <a:pt x="242" y="337"/>
                  <a:pt x="243" y="340"/>
                </a:cubicBezTo>
                <a:cubicBezTo>
                  <a:pt x="244" y="342"/>
                  <a:pt x="248" y="343"/>
                  <a:pt x="249" y="344"/>
                </a:cubicBezTo>
                <a:cubicBezTo>
                  <a:pt x="250" y="343"/>
                  <a:pt x="251" y="343"/>
                  <a:pt x="251" y="343"/>
                </a:cubicBezTo>
                <a:cubicBezTo>
                  <a:pt x="254" y="341"/>
                  <a:pt x="259" y="343"/>
                  <a:pt x="259" y="346"/>
                </a:cubicBezTo>
                <a:cubicBezTo>
                  <a:pt x="259" y="349"/>
                  <a:pt x="259" y="352"/>
                  <a:pt x="261" y="352"/>
                </a:cubicBezTo>
                <a:cubicBezTo>
                  <a:pt x="264" y="352"/>
                  <a:pt x="266" y="352"/>
                  <a:pt x="266" y="358"/>
                </a:cubicBezTo>
                <a:cubicBezTo>
                  <a:pt x="266" y="363"/>
                  <a:pt x="268" y="369"/>
                  <a:pt x="263" y="374"/>
                </a:cubicBezTo>
                <a:cubicBezTo>
                  <a:pt x="258" y="379"/>
                  <a:pt x="253" y="387"/>
                  <a:pt x="254" y="390"/>
                </a:cubicBezTo>
                <a:cubicBezTo>
                  <a:pt x="255" y="392"/>
                  <a:pt x="252" y="397"/>
                  <a:pt x="256" y="395"/>
                </a:cubicBezTo>
                <a:cubicBezTo>
                  <a:pt x="259" y="394"/>
                  <a:pt x="267" y="395"/>
                  <a:pt x="266" y="397"/>
                </a:cubicBezTo>
                <a:cubicBezTo>
                  <a:pt x="265" y="399"/>
                  <a:pt x="266" y="406"/>
                  <a:pt x="270" y="407"/>
                </a:cubicBezTo>
                <a:cubicBezTo>
                  <a:pt x="273" y="407"/>
                  <a:pt x="275" y="409"/>
                  <a:pt x="274" y="412"/>
                </a:cubicBezTo>
                <a:cubicBezTo>
                  <a:pt x="273" y="415"/>
                  <a:pt x="271" y="419"/>
                  <a:pt x="274" y="419"/>
                </a:cubicBezTo>
                <a:cubicBezTo>
                  <a:pt x="277" y="419"/>
                  <a:pt x="281" y="419"/>
                  <a:pt x="280" y="422"/>
                </a:cubicBezTo>
                <a:cubicBezTo>
                  <a:pt x="280" y="425"/>
                  <a:pt x="282" y="428"/>
                  <a:pt x="287" y="426"/>
                </a:cubicBezTo>
                <a:cubicBezTo>
                  <a:pt x="290" y="425"/>
                  <a:pt x="292" y="424"/>
                  <a:pt x="292" y="425"/>
                </a:cubicBezTo>
                <a:cubicBezTo>
                  <a:pt x="294" y="425"/>
                  <a:pt x="294" y="429"/>
                  <a:pt x="298" y="430"/>
                </a:cubicBezTo>
                <a:cubicBezTo>
                  <a:pt x="301" y="431"/>
                  <a:pt x="300" y="422"/>
                  <a:pt x="298" y="421"/>
                </a:cubicBezTo>
                <a:cubicBezTo>
                  <a:pt x="297" y="420"/>
                  <a:pt x="299" y="414"/>
                  <a:pt x="300" y="415"/>
                </a:cubicBezTo>
                <a:cubicBezTo>
                  <a:pt x="301" y="417"/>
                  <a:pt x="305" y="415"/>
                  <a:pt x="308" y="413"/>
                </a:cubicBezTo>
                <a:cubicBezTo>
                  <a:pt x="310" y="410"/>
                  <a:pt x="314" y="415"/>
                  <a:pt x="316" y="412"/>
                </a:cubicBezTo>
                <a:cubicBezTo>
                  <a:pt x="318" y="409"/>
                  <a:pt x="322" y="414"/>
                  <a:pt x="326" y="412"/>
                </a:cubicBezTo>
                <a:cubicBezTo>
                  <a:pt x="330" y="410"/>
                  <a:pt x="332" y="414"/>
                  <a:pt x="333" y="410"/>
                </a:cubicBezTo>
                <a:cubicBezTo>
                  <a:pt x="335" y="407"/>
                  <a:pt x="341" y="403"/>
                  <a:pt x="342" y="405"/>
                </a:cubicBezTo>
                <a:cubicBezTo>
                  <a:pt x="344" y="406"/>
                  <a:pt x="344" y="409"/>
                  <a:pt x="352" y="410"/>
                </a:cubicBezTo>
                <a:cubicBezTo>
                  <a:pt x="359" y="410"/>
                  <a:pt x="355" y="414"/>
                  <a:pt x="355" y="416"/>
                </a:cubicBezTo>
                <a:cubicBezTo>
                  <a:pt x="355" y="418"/>
                  <a:pt x="363" y="424"/>
                  <a:pt x="366" y="425"/>
                </a:cubicBezTo>
                <a:cubicBezTo>
                  <a:pt x="366" y="425"/>
                  <a:pt x="367" y="425"/>
                  <a:pt x="368" y="427"/>
                </a:cubicBezTo>
                <a:cubicBezTo>
                  <a:pt x="370" y="425"/>
                  <a:pt x="374" y="427"/>
                  <a:pt x="375" y="425"/>
                </a:cubicBezTo>
                <a:cubicBezTo>
                  <a:pt x="376" y="422"/>
                  <a:pt x="380" y="423"/>
                  <a:pt x="381" y="425"/>
                </a:cubicBezTo>
                <a:cubicBezTo>
                  <a:pt x="383" y="428"/>
                  <a:pt x="384" y="428"/>
                  <a:pt x="388" y="425"/>
                </a:cubicBezTo>
                <a:cubicBezTo>
                  <a:pt x="391" y="422"/>
                  <a:pt x="393" y="428"/>
                  <a:pt x="391" y="430"/>
                </a:cubicBezTo>
                <a:cubicBezTo>
                  <a:pt x="389" y="431"/>
                  <a:pt x="390" y="437"/>
                  <a:pt x="393" y="440"/>
                </a:cubicBezTo>
                <a:cubicBezTo>
                  <a:pt x="396" y="443"/>
                  <a:pt x="397" y="438"/>
                  <a:pt x="396" y="435"/>
                </a:cubicBezTo>
                <a:cubicBezTo>
                  <a:pt x="396" y="432"/>
                  <a:pt x="402" y="429"/>
                  <a:pt x="412" y="425"/>
                </a:cubicBezTo>
                <a:cubicBezTo>
                  <a:pt x="423" y="422"/>
                  <a:pt x="434" y="414"/>
                  <a:pt x="434" y="412"/>
                </a:cubicBezTo>
                <a:cubicBezTo>
                  <a:pt x="434" y="411"/>
                  <a:pt x="442" y="415"/>
                  <a:pt x="445" y="413"/>
                </a:cubicBezTo>
                <a:cubicBezTo>
                  <a:pt x="449" y="410"/>
                  <a:pt x="461" y="410"/>
                  <a:pt x="465" y="410"/>
                </a:cubicBezTo>
                <a:cubicBezTo>
                  <a:pt x="468" y="409"/>
                  <a:pt x="468" y="407"/>
                  <a:pt x="471" y="404"/>
                </a:cubicBezTo>
                <a:cubicBezTo>
                  <a:pt x="475" y="401"/>
                  <a:pt x="474" y="400"/>
                  <a:pt x="478" y="398"/>
                </a:cubicBezTo>
                <a:cubicBezTo>
                  <a:pt x="482" y="397"/>
                  <a:pt x="484" y="394"/>
                  <a:pt x="484" y="392"/>
                </a:cubicBezTo>
                <a:cubicBezTo>
                  <a:pt x="484" y="390"/>
                  <a:pt x="492" y="389"/>
                  <a:pt x="492" y="387"/>
                </a:cubicBezTo>
                <a:cubicBezTo>
                  <a:pt x="492" y="385"/>
                  <a:pt x="498" y="384"/>
                  <a:pt x="498" y="381"/>
                </a:cubicBezTo>
                <a:cubicBezTo>
                  <a:pt x="498" y="379"/>
                  <a:pt x="501" y="379"/>
                  <a:pt x="503" y="377"/>
                </a:cubicBezTo>
                <a:cubicBezTo>
                  <a:pt x="504" y="375"/>
                  <a:pt x="501" y="369"/>
                  <a:pt x="504" y="368"/>
                </a:cubicBezTo>
                <a:cubicBezTo>
                  <a:pt x="507" y="368"/>
                  <a:pt x="503" y="364"/>
                  <a:pt x="503" y="363"/>
                </a:cubicBezTo>
                <a:cubicBezTo>
                  <a:pt x="502" y="361"/>
                  <a:pt x="508" y="361"/>
                  <a:pt x="510" y="359"/>
                </a:cubicBezTo>
                <a:cubicBezTo>
                  <a:pt x="513" y="357"/>
                  <a:pt x="515" y="355"/>
                  <a:pt x="516" y="351"/>
                </a:cubicBezTo>
                <a:cubicBezTo>
                  <a:pt x="516" y="348"/>
                  <a:pt x="521" y="345"/>
                  <a:pt x="523" y="345"/>
                </a:cubicBezTo>
                <a:cubicBezTo>
                  <a:pt x="525" y="344"/>
                  <a:pt x="526" y="339"/>
                  <a:pt x="525" y="335"/>
                </a:cubicBezTo>
                <a:cubicBezTo>
                  <a:pt x="525" y="332"/>
                  <a:pt x="529" y="333"/>
                  <a:pt x="527" y="331"/>
                </a:cubicBezTo>
                <a:cubicBezTo>
                  <a:pt x="525" y="330"/>
                  <a:pt x="528" y="325"/>
                  <a:pt x="532" y="324"/>
                </a:cubicBezTo>
                <a:cubicBezTo>
                  <a:pt x="536" y="323"/>
                  <a:pt x="529" y="321"/>
                  <a:pt x="527" y="323"/>
                </a:cubicBezTo>
                <a:cubicBezTo>
                  <a:pt x="525" y="325"/>
                  <a:pt x="523" y="318"/>
                  <a:pt x="521" y="321"/>
                </a:cubicBezTo>
                <a:cubicBezTo>
                  <a:pt x="519" y="323"/>
                  <a:pt x="513" y="319"/>
                  <a:pt x="517" y="318"/>
                </a:cubicBezTo>
                <a:cubicBezTo>
                  <a:pt x="520" y="317"/>
                  <a:pt x="526" y="313"/>
                  <a:pt x="529" y="312"/>
                </a:cubicBezTo>
                <a:cubicBezTo>
                  <a:pt x="531" y="312"/>
                  <a:pt x="525" y="306"/>
                  <a:pt x="522" y="306"/>
                </a:cubicBezTo>
                <a:cubicBezTo>
                  <a:pt x="519" y="306"/>
                  <a:pt x="515" y="299"/>
                  <a:pt x="512" y="299"/>
                </a:cubicBezTo>
                <a:cubicBezTo>
                  <a:pt x="508" y="299"/>
                  <a:pt x="514" y="297"/>
                  <a:pt x="518" y="299"/>
                </a:cubicBezTo>
                <a:cubicBezTo>
                  <a:pt x="522" y="301"/>
                  <a:pt x="526" y="302"/>
                  <a:pt x="528" y="301"/>
                </a:cubicBezTo>
                <a:cubicBezTo>
                  <a:pt x="530" y="299"/>
                  <a:pt x="522" y="292"/>
                  <a:pt x="519" y="290"/>
                </a:cubicBezTo>
                <a:cubicBezTo>
                  <a:pt x="516" y="288"/>
                  <a:pt x="518" y="284"/>
                  <a:pt x="517" y="283"/>
                </a:cubicBezTo>
                <a:cubicBezTo>
                  <a:pt x="515" y="282"/>
                  <a:pt x="511" y="273"/>
                  <a:pt x="509" y="269"/>
                </a:cubicBezTo>
                <a:cubicBezTo>
                  <a:pt x="508" y="266"/>
                  <a:pt x="501" y="265"/>
                  <a:pt x="499" y="262"/>
                </a:cubicBezTo>
                <a:cubicBezTo>
                  <a:pt x="498" y="260"/>
                  <a:pt x="500" y="254"/>
                  <a:pt x="505" y="252"/>
                </a:cubicBezTo>
                <a:cubicBezTo>
                  <a:pt x="510" y="250"/>
                  <a:pt x="508" y="245"/>
                  <a:pt x="510" y="246"/>
                </a:cubicBezTo>
                <a:cubicBezTo>
                  <a:pt x="512" y="246"/>
                  <a:pt x="514" y="245"/>
                  <a:pt x="516" y="242"/>
                </a:cubicBezTo>
                <a:cubicBezTo>
                  <a:pt x="518" y="238"/>
                  <a:pt x="521" y="240"/>
                  <a:pt x="523" y="238"/>
                </a:cubicBezTo>
                <a:cubicBezTo>
                  <a:pt x="525" y="236"/>
                  <a:pt x="533" y="236"/>
                  <a:pt x="536" y="234"/>
                </a:cubicBezTo>
                <a:cubicBezTo>
                  <a:pt x="539" y="232"/>
                  <a:pt x="533" y="226"/>
                  <a:pt x="529" y="227"/>
                </a:cubicBezTo>
                <a:cubicBezTo>
                  <a:pt x="526" y="228"/>
                  <a:pt x="521" y="227"/>
                  <a:pt x="518" y="223"/>
                </a:cubicBezTo>
                <a:cubicBezTo>
                  <a:pt x="516" y="219"/>
                  <a:pt x="509" y="230"/>
                  <a:pt x="503" y="232"/>
                </a:cubicBezTo>
                <a:cubicBezTo>
                  <a:pt x="498" y="235"/>
                  <a:pt x="495" y="228"/>
                  <a:pt x="496" y="223"/>
                </a:cubicBezTo>
                <a:cubicBezTo>
                  <a:pt x="498" y="219"/>
                  <a:pt x="492" y="219"/>
                  <a:pt x="485" y="219"/>
                </a:cubicBezTo>
                <a:cubicBezTo>
                  <a:pt x="477" y="220"/>
                  <a:pt x="480" y="206"/>
                  <a:pt x="485" y="205"/>
                </a:cubicBezTo>
                <a:cubicBezTo>
                  <a:pt x="489" y="205"/>
                  <a:pt x="496" y="210"/>
                  <a:pt x="499" y="201"/>
                </a:cubicBezTo>
                <a:cubicBezTo>
                  <a:pt x="501" y="193"/>
                  <a:pt x="505" y="199"/>
                  <a:pt x="512" y="192"/>
                </a:cubicBezTo>
                <a:cubicBezTo>
                  <a:pt x="518" y="185"/>
                  <a:pt x="525" y="180"/>
                  <a:pt x="531" y="185"/>
                </a:cubicBezTo>
                <a:cubicBezTo>
                  <a:pt x="536" y="189"/>
                  <a:pt x="525" y="196"/>
                  <a:pt x="523" y="200"/>
                </a:cubicBezTo>
                <a:cubicBezTo>
                  <a:pt x="521" y="204"/>
                  <a:pt x="525" y="205"/>
                  <a:pt x="522" y="209"/>
                </a:cubicBezTo>
                <a:cubicBezTo>
                  <a:pt x="518" y="212"/>
                  <a:pt x="523" y="213"/>
                  <a:pt x="529" y="208"/>
                </a:cubicBezTo>
                <a:cubicBezTo>
                  <a:pt x="536" y="204"/>
                  <a:pt x="544" y="199"/>
                  <a:pt x="550" y="197"/>
                </a:cubicBezTo>
                <a:cubicBezTo>
                  <a:pt x="552" y="196"/>
                  <a:pt x="554" y="196"/>
                  <a:pt x="556" y="196"/>
                </a:cubicBezTo>
                <a:cubicBezTo>
                  <a:pt x="557" y="194"/>
                  <a:pt x="558" y="192"/>
                  <a:pt x="559" y="191"/>
                </a:cubicBezTo>
                <a:cubicBezTo>
                  <a:pt x="563" y="189"/>
                  <a:pt x="578" y="182"/>
                  <a:pt x="580" y="179"/>
                </a:cubicBezTo>
                <a:cubicBezTo>
                  <a:pt x="582" y="177"/>
                  <a:pt x="584" y="171"/>
                  <a:pt x="587" y="171"/>
                </a:cubicBezTo>
                <a:cubicBezTo>
                  <a:pt x="590" y="171"/>
                  <a:pt x="590" y="174"/>
                  <a:pt x="594" y="174"/>
                </a:cubicBezTo>
                <a:cubicBezTo>
                  <a:pt x="599" y="174"/>
                  <a:pt x="604" y="176"/>
                  <a:pt x="602" y="172"/>
                </a:cubicBezTo>
                <a:cubicBezTo>
                  <a:pt x="599" y="169"/>
                  <a:pt x="601" y="169"/>
                  <a:pt x="606" y="168"/>
                </a:cubicBezTo>
                <a:cubicBezTo>
                  <a:pt x="611" y="167"/>
                  <a:pt x="610" y="162"/>
                  <a:pt x="614" y="162"/>
                </a:cubicBezTo>
                <a:cubicBezTo>
                  <a:pt x="618" y="162"/>
                  <a:pt x="617" y="153"/>
                  <a:pt x="621" y="153"/>
                </a:cubicBezTo>
                <a:cubicBezTo>
                  <a:pt x="624" y="153"/>
                  <a:pt x="626" y="158"/>
                  <a:pt x="630" y="157"/>
                </a:cubicBezTo>
                <a:cubicBezTo>
                  <a:pt x="631" y="157"/>
                  <a:pt x="632" y="157"/>
                  <a:pt x="633" y="157"/>
                </a:cubicBezTo>
                <a:cubicBezTo>
                  <a:pt x="634" y="157"/>
                  <a:pt x="635" y="156"/>
                  <a:pt x="636" y="155"/>
                </a:cubicBezTo>
                <a:cubicBezTo>
                  <a:pt x="635" y="151"/>
                  <a:pt x="636" y="147"/>
                  <a:pt x="635" y="145"/>
                </a:cubicBezTo>
                <a:cubicBezTo>
                  <a:pt x="633" y="141"/>
                  <a:pt x="635" y="138"/>
                  <a:pt x="634" y="135"/>
                </a:cubicBezTo>
                <a:cubicBezTo>
                  <a:pt x="634" y="133"/>
                  <a:pt x="633" y="127"/>
                  <a:pt x="636" y="127"/>
                </a:cubicBezTo>
                <a:cubicBezTo>
                  <a:pt x="639" y="127"/>
                  <a:pt x="642" y="121"/>
                  <a:pt x="645" y="123"/>
                </a:cubicBezTo>
                <a:cubicBezTo>
                  <a:pt x="649" y="125"/>
                  <a:pt x="655" y="126"/>
                  <a:pt x="655" y="123"/>
                </a:cubicBezTo>
                <a:cubicBezTo>
                  <a:pt x="655" y="120"/>
                  <a:pt x="660" y="120"/>
                  <a:pt x="661" y="116"/>
                </a:cubicBezTo>
                <a:cubicBezTo>
                  <a:pt x="661" y="112"/>
                  <a:pt x="666" y="111"/>
                  <a:pt x="667" y="107"/>
                </a:cubicBezTo>
                <a:cubicBezTo>
                  <a:pt x="668" y="103"/>
                  <a:pt x="670" y="95"/>
                  <a:pt x="673" y="93"/>
                </a:cubicBezTo>
                <a:cubicBezTo>
                  <a:pt x="677" y="91"/>
                  <a:pt x="673" y="89"/>
                  <a:pt x="673" y="83"/>
                </a:cubicBezTo>
                <a:close/>
                <a:moveTo>
                  <a:pt x="510" y="399"/>
                </a:moveTo>
                <a:cubicBezTo>
                  <a:pt x="506" y="412"/>
                  <a:pt x="515" y="419"/>
                  <a:pt x="516" y="418"/>
                </a:cubicBezTo>
                <a:cubicBezTo>
                  <a:pt x="519" y="416"/>
                  <a:pt x="533" y="387"/>
                  <a:pt x="530" y="383"/>
                </a:cubicBezTo>
                <a:cubicBezTo>
                  <a:pt x="527" y="379"/>
                  <a:pt x="513" y="386"/>
                  <a:pt x="510" y="399"/>
                </a:cubicBezTo>
                <a:close/>
                <a:moveTo>
                  <a:pt x="391" y="444"/>
                </a:moveTo>
                <a:cubicBezTo>
                  <a:pt x="386" y="444"/>
                  <a:pt x="375" y="451"/>
                  <a:pt x="380" y="460"/>
                </a:cubicBezTo>
                <a:cubicBezTo>
                  <a:pt x="384" y="469"/>
                  <a:pt x="398" y="463"/>
                  <a:pt x="399" y="459"/>
                </a:cubicBezTo>
                <a:cubicBezTo>
                  <a:pt x="399" y="455"/>
                  <a:pt x="406" y="448"/>
                  <a:pt x="405" y="445"/>
                </a:cubicBezTo>
                <a:cubicBezTo>
                  <a:pt x="404" y="443"/>
                  <a:pt x="395" y="444"/>
                  <a:pt x="391" y="444"/>
                </a:cubicBezTo>
                <a:close/>
              </a:path>
            </a:pathLst>
          </a:custGeom>
          <a:solidFill>
            <a:srgbClr val="E00024"/>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6" name="Freeform 143"/>
          <p:cNvSpPr>
            <a:spLocks noEditPoints="1"/>
          </p:cNvSpPr>
          <p:nvPr/>
        </p:nvSpPr>
        <p:spPr bwMode="auto">
          <a:xfrm>
            <a:off x="8841609" y="4022637"/>
            <a:ext cx="242912" cy="348744"/>
          </a:xfrm>
          <a:custGeom>
            <a:cxnLst>
              <a:cxn ang="0">
                <a:pos x="58" y="59"/>
              </a:cxn>
              <a:cxn ang="0">
                <a:pos x="72" y="69"/>
              </a:cxn>
              <a:cxn ang="0">
                <a:pos x="75" y="79"/>
              </a:cxn>
              <a:cxn ang="0">
                <a:pos x="80" y="84"/>
              </a:cxn>
              <a:cxn ang="0">
                <a:pos x="85" y="98"/>
              </a:cxn>
              <a:cxn ang="0">
                <a:pos x="89" y="95"/>
              </a:cxn>
              <a:cxn ang="0">
                <a:pos x="94" y="88"/>
              </a:cxn>
              <a:cxn ang="0">
                <a:pos x="91" y="75"/>
              </a:cxn>
              <a:cxn ang="0">
                <a:pos x="78" y="66"/>
              </a:cxn>
              <a:cxn ang="0">
                <a:pos x="71" y="56"/>
              </a:cxn>
              <a:cxn ang="0">
                <a:pos x="55" y="53"/>
              </a:cxn>
              <a:cxn ang="0">
                <a:pos x="49" y="43"/>
              </a:cxn>
              <a:cxn ang="0">
                <a:pos x="57" y="27"/>
              </a:cxn>
              <a:cxn ang="0">
                <a:pos x="56" y="8"/>
              </a:cxn>
              <a:cxn ang="0">
                <a:pos x="54" y="4"/>
              </a:cxn>
              <a:cxn ang="0">
                <a:pos x="38" y="3"/>
              </a:cxn>
              <a:cxn ang="0">
                <a:pos x="36" y="29"/>
              </a:cxn>
              <a:cxn ang="0">
                <a:pos x="30" y="28"/>
              </a:cxn>
              <a:cxn ang="0">
                <a:pos x="33" y="43"/>
              </a:cxn>
              <a:cxn ang="0">
                <a:pos x="36" y="52"/>
              </a:cxn>
              <a:cxn ang="0">
                <a:pos x="48" y="56"/>
              </a:cxn>
              <a:cxn ang="0">
                <a:pos x="58" y="59"/>
              </a:cxn>
              <a:cxn ang="0">
                <a:pos x="37" y="62"/>
              </a:cxn>
              <a:cxn ang="0">
                <a:pos x="47" y="74"/>
              </a:cxn>
              <a:cxn ang="0">
                <a:pos x="37" y="62"/>
              </a:cxn>
              <a:cxn ang="0">
                <a:pos x="55" y="94"/>
              </a:cxn>
              <a:cxn ang="0">
                <a:pos x="61" y="91"/>
              </a:cxn>
              <a:cxn ang="0">
                <a:pos x="62" y="100"/>
              </a:cxn>
              <a:cxn ang="0">
                <a:pos x="64" y="112"/>
              </a:cxn>
              <a:cxn ang="0">
                <a:pos x="76" y="94"/>
              </a:cxn>
              <a:cxn ang="0">
                <a:pos x="72" y="92"/>
              </a:cxn>
              <a:cxn ang="0">
                <a:pos x="55" y="79"/>
              </a:cxn>
              <a:cxn ang="0">
                <a:pos x="55" y="94"/>
              </a:cxn>
              <a:cxn ang="0">
                <a:pos x="16" y="101"/>
              </a:cxn>
              <a:cxn ang="0">
                <a:pos x="2" y="119"/>
              </a:cxn>
              <a:cxn ang="0">
                <a:pos x="22" y="100"/>
              </a:cxn>
              <a:cxn ang="0">
                <a:pos x="25" y="88"/>
              </a:cxn>
              <a:cxn ang="0">
                <a:pos x="16" y="101"/>
              </a:cxn>
              <a:cxn ang="0">
                <a:pos x="75" y="107"/>
              </a:cxn>
              <a:cxn ang="0">
                <a:pos x="84" y="102"/>
              </a:cxn>
              <a:cxn ang="0">
                <a:pos x="75" y="107"/>
              </a:cxn>
              <a:cxn ang="0">
                <a:pos x="105" y="133"/>
              </a:cxn>
              <a:cxn ang="0">
                <a:pos x="103" y="108"/>
              </a:cxn>
              <a:cxn ang="0">
                <a:pos x="95" y="108"/>
              </a:cxn>
              <a:cxn ang="0">
                <a:pos x="88" y="114"/>
              </a:cxn>
              <a:cxn ang="0">
                <a:pos x="82" y="119"/>
              </a:cxn>
              <a:cxn ang="0">
                <a:pos x="72" y="116"/>
              </a:cxn>
              <a:cxn ang="0">
                <a:pos x="59" y="124"/>
              </a:cxn>
              <a:cxn ang="0">
                <a:pos x="54" y="136"/>
              </a:cxn>
              <a:cxn ang="0">
                <a:pos x="64" y="130"/>
              </a:cxn>
              <a:cxn ang="0">
                <a:pos x="73" y="127"/>
              </a:cxn>
              <a:cxn ang="0">
                <a:pos x="82" y="147"/>
              </a:cxn>
              <a:cxn ang="0">
                <a:pos x="94" y="153"/>
              </a:cxn>
              <a:cxn ang="0">
                <a:pos x="93" y="138"/>
              </a:cxn>
              <a:cxn ang="0">
                <a:pos x="105" y="133"/>
              </a:cxn>
            </a:cxnLst>
            <a:rect b="b" l="0" r="r" t="0"/>
            <a:pathLst>
              <a:path h="153" w="109">
                <a:moveTo>
                  <a:pt x="58" y="59"/>
                </a:moveTo>
                <a:cubicBezTo>
                  <a:pt x="64" y="58"/>
                  <a:pt x="73" y="66"/>
                  <a:pt x="72" y="69"/>
                </a:cubicBezTo>
                <a:cubicBezTo>
                  <a:pt x="70" y="72"/>
                  <a:pt x="72" y="82"/>
                  <a:pt x="75" y="79"/>
                </a:cubicBezTo>
                <a:cubicBezTo>
                  <a:pt x="78" y="76"/>
                  <a:pt x="83" y="80"/>
                  <a:pt x="80" y="84"/>
                </a:cubicBezTo>
                <a:cubicBezTo>
                  <a:pt x="77" y="88"/>
                  <a:pt x="84" y="93"/>
                  <a:pt x="85" y="98"/>
                </a:cubicBezTo>
                <a:cubicBezTo>
                  <a:pt x="86" y="103"/>
                  <a:pt x="90" y="99"/>
                  <a:pt x="89" y="95"/>
                </a:cubicBezTo>
                <a:cubicBezTo>
                  <a:pt x="88" y="91"/>
                  <a:pt x="90" y="91"/>
                  <a:pt x="94" y="88"/>
                </a:cubicBezTo>
                <a:cubicBezTo>
                  <a:pt x="98" y="85"/>
                  <a:pt x="94" y="80"/>
                  <a:pt x="91" y="75"/>
                </a:cubicBezTo>
                <a:cubicBezTo>
                  <a:pt x="88" y="69"/>
                  <a:pt x="78" y="71"/>
                  <a:pt x="78" y="66"/>
                </a:cubicBezTo>
                <a:cubicBezTo>
                  <a:pt x="78" y="60"/>
                  <a:pt x="71" y="59"/>
                  <a:pt x="71" y="56"/>
                </a:cubicBezTo>
                <a:cubicBezTo>
                  <a:pt x="70" y="53"/>
                  <a:pt x="61" y="50"/>
                  <a:pt x="55" y="53"/>
                </a:cubicBezTo>
                <a:cubicBezTo>
                  <a:pt x="49" y="56"/>
                  <a:pt x="53" y="47"/>
                  <a:pt x="49" y="43"/>
                </a:cubicBezTo>
                <a:cubicBezTo>
                  <a:pt x="45" y="38"/>
                  <a:pt x="52" y="32"/>
                  <a:pt x="57" y="27"/>
                </a:cubicBezTo>
                <a:cubicBezTo>
                  <a:pt x="62" y="21"/>
                  <a:pt x="56" y="12"/>
                  <a:pt x="56" y="8"/>
                </a:cubicBezTo>
                <a:cubicBezTo>
                  <a:pt x="57" y="4"/>
                  <a:pt x="57" y="3"/>
                  <a:pt x="54" y="4"/>
                </a:cubicBezTo>
                <a:cubicBezTo>
                  <a:pt x="52" y="6"/>
                  <a:pt x="42" y="0"/>
                  <a:pt x="38" y="3"/>
                </a:cubicBezTo>
                <a:cubicBezTo>
                  <a:pt x="34" y="6"/>
                  <a:pt x="38" y="28"/>
                  <a:pt x="36" y="29"/>
                </a:cubicBezTo>
                <a:cubicBezTo>
                  <a:pt x="34" y="31"/>
                  <a:pt x="31" y="26"/>
                  <a:pt x="30" y="28"/>
                </a:cubicBezTo>
                <a:cubicBezTo>
                  <a:pt x="29" y="31"/>
                  <a:pt x="31" y="43"/>
                  <a:pt x="33" y="43"/>
                </a:cubicBezTo>
                <a:cubicBezTo>
                  <a:pt x="36" y="43"/>
                  <a:pt x="38" y="47"/>
                  <a:pt x="36" y="52"/>
                </a:cubicBezTo>
                <a:cubicBezTo>
                  <a:pt x="35" y="57"/>
                  <a:pt x="41" y="58"/>
                  <a:pt x="48" y="56"/>
                </a:cubicBezTo>
                <a:cubicBezTo>
                  <a:pt x="54" y="53"/>
                  <a:pt x="52" y="60"/>
                  <a:pt x="58" y="59"/>
                </a:cubicBezTo>
                <a:close/>
                <a:moveTo>
                  <a:pt x="37" y="62"/>
                </a:moveTo>
                <a:cubicBezTo>
                  <a:pt x="38" y="67"/>
                  <a:pt x="40" y="76"/>
                  <a:pt x="47" y="74"/>
                </a:cubicBezTo>
                <a:cubicBezTo>
                  <a:pt x="55" y="72"/>
                  <a:pt x="36" y="58"/>
                  <a:pt x="37" y="62"/>
                </a:cubicBezTo>
                <a:close/>
                <a:moveTo>
                  <a:pt x="55" y="94"/>
                </a:moveTo>
                <a:cubicBezTo>
                  <a:pt x="57" y="94"/>
                  <a:pt x="61" y="94"/>
                  <a:pt x="61" y="91"/>
                </a:cubicBezTo>
                <a:cubicBezTo>
                  <a:pt x="62" y="88"/>
                  <a:pt x="65" y="97"/>
                  <a:pt x="62" y="100"/>
                </a:cubicBezTo>
                <a:cubicBezTo>
                  <a:pt x="59" y="103"/>
                  <a:pt x="59" y="111"/>
                  <a:pt x="64" y="112"/>
                </a:cubicBezTo>
                <a:cubicBezTo>
                  <a:pt x="69" y="113"/>
                  <a:pt x="77" y="97"/>
                  <a:pt x="76" y="94"/>
                </a:cubicBezTo>
                <a:cubicBezTo>
                  <a:pt x="75" y="91"/>
                  <a:pt x="71" y="96"/>
                  <a:pt x="72" y="92"/>
                </a:cubicBezTo>
                <a:cubicBezTo>
                  <a:pt x="73" y="88"/>
                  <a:pt x="60" y="78"/>
                  <a:pt x="55" y="79"/>
                </a:cubicBezTo>
                <a:cubicBezTo>
                  <a:pt x="50" y="80"/>
                  <a:pt x="51" y="95"/>
                  <a:pt x="55" y="94"/>
                </a:cubicBezTo>
                <a:close/>
                <a:moveTo>
                  <a:pt x="16" y="101"/>
                </a:moveTo>
                <a:cubicBezTo>
                  <a:pt x="11" y="107"/>
                  <a:pt x="0" y="116"/>
                  <a:pt x="2" y="119"/>
                </a:cubicBezTo>
                <a:cubicBezTo>
                  <a:pt x="4" y="123"/>
                  <a:pt x="16" y="105"/>
                  <a:pt x="22" y="100"/>
                </a:cubicBezTo>
                <a:cubicBezTo>
                  <a:pt x="28" y="96"/>
                  <a:pt x="27" y="92"/>
                  <a:pt x="25" y="88"/>
                </a:cubicBezTo>
                <a:cubicBezTo>
                  <a:pt x="23" y="84"/>
                  <a:pt x="21" y="95"/>
                  <a:pt x="16" y="101"/>
                </a:cubicBezTo>
                <a:close/>
                <a:moveTo>
                  <a:pt x="75" y="107"/>
                </a:moveTo>
                <a:cubicBezTo>
                  <a:pt x="77" y="111"/>
                  <a:pt x="86" y="105"/>
                  <a:pt x="84" y="102"/>
                </a:cubicBezTo>
                <a:cubicBezTo>
                  <a:pt x="81" y="99"/>
                  <a:pt x="74" y="105"/>
                  <a:pt x="75" y="107"/>
                </a:cubicBezTo>
                <a:close/>
                <a:moveTo>
                  <a:pt x="105" y="133"/>
                </a:moveTo>
                <a:cubicBezTo>
                  <a:pt x="109" y="129"/>
                  <a:pt x="103" y="116"/>
                  <a:pt x="103" y="108"/>
                </a:cubicBezTo>
                <a:cubicBezTo>
                  <a:pt x="103" y="100"/>
                  <a:pt x="92" y="103"/>
                  <a:pt x="95" y="108"/>
                </a:cubicBezTo>
                <a:cubicBezTo>
                  <a:pt x="98" y="113"/>
                  <a:pt x="89" y="109"/>
                  <a:pt x="88" y="114"/>
                </a:cubicBezTo>
                <a:cubicBezTo>
                  <a:pt x="88" y="119"/>
                  <a:pt x="81" y="115"/>
                  <a:pt x="82" y="119"/>
                </a:cubicBezTo>
                <a:cubicBezTo>
                  <a:pt x="82" y="123"/>
                  <a:pt x="75" y="119"/>
                  <a:pt x="72" y="116"/>
                </a:cubicBezTo>
                <a:cubicBezTo>
                  <a:pt x="68" y="114"/>
                  <a:pt x="64" y="123"/>
                  <a:pt x="59" y="124"/>
                </a:cubicBezTo>
                <a:cubicBezTo>
                  <a:pt x="54" y="125"/>
                  <a:pt x="51" y="136"/>
                  <a:pt x="54" y="136"/>
                </a:cubicBezTo>
                <a:cubicBezTo>
                  <a:pt x="58" y="135"/>
                  <a:pt x="60" y="130"/>
                  <a:pt x="64" y="130"/>
                </a:cubicBezTo>
                <a:cubicBezTo>
                  <a:pt x="68" y="131"/>
                  <a:pt x="67" y="126"/>
                  <a:pt x="73" y="127"/>
                </a:cubicBezTo>
                <a:cubicBezTo>
                  <a:pt x="78" y="128"/>
                  <a:pt x="74" y="145"/>
                  <a:pt x="82" y="147"/>
                </a:cubicBezTo>
                <a:cubicBezTo>
                  <a:pt x="90" y="148"/>
                  <a:pt x="90" y="153"/>
                  <a:pt x="94" y="153"/>
                </a:cubicBezTo>
                <a:cubicBezTo>
                  <a:pt x="97" y="153"/>
                  <a:pt x="93" y="142"/>
                  <a:pt x="93" y="138"/>
                </a:cubicBezTo>
                <a:cubicBezTo>
                  <a:pt x="94" y="135"/>
                  <a:pt x="101" y="138"/>
                  <a:pt x="105" y="13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7" name="Freeform 144"/>
          <p:cNvSpPr>
            <a:spLocks noEditPoints="1"/>
          </p:cNvSpPr>
          <p:nvPr/>
        </p:nvSpPr>
        <p:spPr bwMode="auto">
          <a:xfrm>
            <a:off x="9444251" y="4583659"/>
            <a:ext cx="318937" cy="206593"/>
          </a:xfrm>
          <a:custGeom>
            <a:cxnLst>
              <a:cxn ang="0">
                <a:pos x="102" y="84"/>
              </a:cxn>
              <a:cxn ang="0">
                <a:pos x="94" y="76"/>
              </a:cxn>
              <a:cxn ang="0">
                <a:pos x="83" y="71"/>
              </a:cxn>
              <a:cxn ang="0">
                <a:pos x="75" y="56"/>
              </a:cxn>
              <a:cxn ang="0">
                <a:pos x="72" y="47"/>
              </a:cxn>
              <a:cxn ang="0">
                <a:pos x="75" y="39"/>
              </a:cxn>
              <a:cxn ang="0">
                <a:pos x="52" y="27"/>
              </a:cxn>
              <a:cxn ang="0">
                <a:pos x="8" y="3"/>
              </a:cxn>
              <a:cxn ang="0">
                <a:pos x="0" y="0"/>
              </a:cxn>
              <a:cxn ang="0">
                <a:pos x="0" y="71"/>
              </a:cxn>
              <a:cxn ang="0">
                <a:pos x="12" y="75"/>
              </a:cxn>
              <a:cxn ang="0">
                <a:pos x="25" y="68"/>
              </a:cxn>
              <a:cxn ang="0">
                <a:pos x="32" y="59"/>
              </a:cxn>
              <a:cxn ang="0">
                <a:pos x="56" y="65"/>
              </a:cxn>
              <a:cxn ang="0">
                <a:pos x="80" y="87"/>
              </a:cxn>
              <a:cxn ang="0">
                <a:pos x="104" y="91"/>
              </a:cxn>
              <a:cxn ang="0">
                <a:pos x="102" y="84"/>
              </a:cxn>
              <a:cxn ang="0">
                <a:pos x="121" y="25"/>
              </a:cxn>
              <a:cxn ang="0">
                <a:pos x="108" y="33"/>
              </a:cxn>
              <a:cxn ang="0">
                <a:pos x="84" y="34"/>
              </a:cxn>
              <a:cxn ang="0">
                <a:pos x="102" y="42"/>
              </a:cxn>
              <a:cxn ang="0">
                <a:pos x="125" y="30"/>
              </a:cxn>
              <a:cxn ang="0">
                <a:pos x="129" y="20"/>
              </a:cxn>
              <a:cxn ang="0">
                <a:pos x="121" y="25"/>
              </a:cxn>
              <a:cxn ang="0">
                <a:pos x="133" y="12"/>
              </a:cxn>
              <a:cxn ang="0">
                <a:pos x="129" y="13"/>
              </a:cxn>
              <a:cxn ang="0">
                <a:pos x="136" y="23"/>
              </a:cxn>
              <a:cxn ang="0">
                <a:pos x="133" y="12"/>
              </a:cxn>
            </a:cxnLst>
            <a:rect b="b" l="0" r="r" t="0"/>
            <a:pathLst>
              <a:path h="91" w="143">
                <a:moveTo>
                  <a:pt x="102" y="84"/>
                </a:moveTo>
                <a:cubicBezTo>
                  <a:pt x="100" y="83"/>
                  <a:pt x="94" y="79"/>
                  <a:pt x="94" y="76"/>
                </a:cubicBezTo>
                <a:cubicBezTo>
                  <a:pt x="95" y="74"/>
                  <a:pt x="88" y="74"/>
                  <a:pt x="83" y="71"/>
                </a:cubicBezTo>
                <a:cubicBezTo>
                  <a:pt x="78" y="68"/>
                  <a:pt x="80" y="58"/>
                  <a:pt x="75" y="56"/>
                </a:cubicBezTo>
                <a:cubicBezTo>
                  <a:pt x="70" y="54"/>
                  <a:pt x="66" y="46"/>
                  <a:pt x="72" y="47"/>
                </a:cubicBezTo>
                <a:cubicBezTo>
                  <a:pt x="78" y="47"/>
                  <a:pt x="79" y="44"/>
                  <a:pt x="75" y="39"/>
                </a:cubicBezTo>
                <a:cubicBezTo>
                  <a:pt x="70" y="35"/>
                  <a:pt x="53" y="33"/>
                  <a:pt x="52" y="27"/>
                </a:cubicBezTo>
                <a:cubicBezTo>
                  <a:pt x="52" y="21"/>
                  <a:pt x="21" y="6"/>
                  <a:pt x="8" y="3"/>
                </a:cubicBezTo>
                <a:cubicBezTo>
                  <a:pt x="6" y="2"/>
                  <a:pt x="3" y="1"/>
                  <a:pt x="0" y="0"/>
                </a:cubicBezTo>
                <a:cubicBezTo>
                  <a:pt x="0" y="71"/>
                  <a:pt x="0" y="71"/>
                  <a:pt x="0" y="71"/>
                </a:cubicBezTo>
                <a:cubicBezTo>
                  <a:pt x="3" y="73"/>
                  <a:pt x="7" y="75"/>
                  <a:pt x="12" y="75"/>
                </a:cubicBezTo>
                <a:cubicBezTo>
                  <a:pt x="26" y="76"/>
                  <a:pt x="23" y="68"/>
                  <a:pt x="25" y="68"/>
                </a:cubicBezTo>
                <a:cubicBezTo>
                  <a:pt x="28" y="68"/>
                  <a:pt x="29" y="63"/>
                  <a:pt x="32" y="59"/>
                </a:cubicBezTo>
                <a:cubicBezTo>
                  <a:pt x="35" y="56"/>
                  <a:pt x="48" y="59"/>
                  <a:pt x="56" y="65"/>
                </a:cubicBezTo>
                <a:cubicBezTo>
                  <a:pt x="63" y="71"/>
                  <a:pt x="72" y="88"/>
                  <a:pt x="80" y="87"/>
                </a:cubicBezTo>
                <a:cubicBezTo>
                  <a:pt x="88" y="85"/>
                  <a:pt x="97" y="91"/>
                  <a:pt x="104" y="91"/>
                </a:cubicBezTo>
                <a:cubicBezTo>
                  <a:pt x="111" y="91"/>
                  <a:pt x="105" y="85"/>
                  <a:pt x="102" y="84"/>
                </a:cubicBezTo>
                <a:close/>
                <a:moveTo>
                  <a:pt x="121" y="25"/>
                </a:moveTo>
                <a:cubicBezTo>
                  <a:pt x="121" y="28"/>
                  <a:pt x="116" y="29"/>
                  <a:pt x="108" y="33"/>
                </a:cubicBezTo>
                <a:cubicBezTo>
                  <a:pt x="99" y="36"/>
                  <a:pt x="84" y="29"/>
                  <a:pt x="84" y="34"/>
                </a:cubicBezTo>
                <a:cubicBezTo>
                  <a:pt x="83" y="37"/>
                  <a:pt x="93" y="42"/>
                  <a:pt x="102" y="42"/>
                </a:cubicBezTo>
                <a:cubicBezTo>
                  <a:pt x="111" y="42"/>
                  <a:pt x="125" y="33"/>
                  <a:pt x="125" y="30"/>
                </a:cubicBezTo>
                <a:cubicBezTo>
                  <a:pt x="125" y="28"/>
                  <a:pt x="131" y="23"/>
                  <a:pt x="129" y="20"/>
                </a:cubicBezTo>
                <a:cubicBezTo>
                  <a:pt x="126" y="18"/>
                  <a:pt x="121" y="22"/>
                  <a:pt x="121" y="25"/>
                </a:cubicBezTo>
                <a:close/>
                <a:moveTo>
                  <a:pt x="133" y="12"/>
                </a:moveTo>
                <a:cubicBezTo>
                  <a:pt x="127" y="9"/>
                  <a:pt x="123" y="6"/>
                  <a:pt x="129" y="13"/>
                </a:cubicBezTo>
                <a:cubicBezTo>
                  <a:pt x="136" y="19"/>
                  <a:pt x="132" y="24"/>
                  <a:pt x="136" y="23"/>
                </a:cubicBezTo>
                <a:cubicBezTo>
                  <a:pt x="143" y="22"/>
                  <a:pt x="138" y="15"/>
                  <a:pt x="133" y="1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8" name="Freeform 145"/>
          <p:cNvSpPr/>
          <p:nvPr/>
        </p:nvSpPr>
        <p:spPr bwMode="auto">
          <a:xfrm>
            <a:off x="7923738" y="4259556"/>
            <a:ext cx="53775" cy="106139"/>
          </a:xfrm>
          <a:custGeom>
            <a:cxnLst>
              <a:cxn ang="0">
                <a:pos x="5" y="0"/>
              </a:cxn>
              <a:cxn ang="0">
                <a:pos x="1" y="11"/>
              </a:cxn>
              <a:cxn ang="0">
                <a:pos x="1" y="26"/>
              </a:cxn>
              <a:cxn ang="0">
                <a:pos x="6" y="43"/>
              </a:cxn>
              <a:cxn ang="0">
                <a:pos x="24" y="27"/>
              </a:cxn>
              <a:cxn ang="0">
                <a:pos x="5" y="0"/>
              </a:cxn>
            </a:cxnLst>
            <a:rect b="b" l="0" r="r" t="0"/>
            <a:pathLst>
              <a:path h="47" w="24">
                <a:moveTo>
                  <a:pt x="5" y="0"/>
                </a:moveTo>
                <a:cubicBezTo>
                  <a:pt x="2" y="1"/>
                  <a:pt x="3" y="7"/>
                  <a:pt x="1" y="11"/>
                </a:cubicBezTo>
                <a:cubicBezTo>
                  <a:pt x="0" y="15"/>
                  <a:pt x="0" y="20"/>
                  <a:pt x="1" y="26"/>
                </a:cubicBezTo>
                <a:cubicBezTo>
                  <a:pt x="1" y="32"/>
                  <a:pt x="1" y="39"/>
                  <a:pt x="6" y="43"/>
                </a:cubicBezTo>
                <a:cubicBezTo>
                  <a:pt x="13" y="47"/>
                  <a:pt x="23" y="36"/>
                  <a:pt x="24" y="27"/>
                </a:cubicBezTo>
                <a:cubicBezTo>
                  <a:pt x="24" y="17"/>
                  <a:pt x="8" y="0"/>
                  <a:pt x="5" y="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49" name="Freeform 146"/>
          <p:cNvSpPr/>
          <p:nvPr/>
        </p:nvSpPr>
        <p:spPr bwMode="auto">
          <a:xfrm>
            <a:off x="6985471" y="4809206"/>
            <a:ext cx="187283" cy="379069"/>
          </a:xfrm>
          <a:custGeom>
            <a:cxnLst>
              <a:cxn ang="0">
                <a:pos x="71" y="5"/>
              </a:cxn>
              <a:cxn ang="0">
                <a:pos x="67" y="9"/>
              </a:cxn>
              <a:cxn ang="0">
                <a:pos x="65" y="17"/>
              </a:cxn>
              <a:cxn ang="0">
                <a:pos x="59" y="22"/>
              </a:cxn>
              <a:cxn ang="0">
                <a:pos x="53" y="27"/>
              </a:cxn>
              <a:cxn ang="0">
                <a:pos x="53" y="33"/>
              </a:cxn>
              <a:cxn ang="0">
                <a:pos x="44" y="40"/>
              </a:cxn>
              <a:cxn ang="0">
                <a:pos x="29" y="48"/>
              </a:cxn>
              <a:cxn ang="0">
                <a:pos x="14" y="50"/>
              </a:cxn>
              <a:cxn ang="0">
                <a:pos x="10" y="65"/>
              </a:cxn>
              <a:cxn ang="0">
                <a:pos x="11" y="86"/>
              </a:cxn>
              <a:cxn ang="0">
                <a:pos x="8" y="109"/>
              </a:cxn>
              <a:cxn ang="0">
                <a:pos x="4" y="136"/>
              </a:cxn>
              <a:cxn ang="0">
                <a:pos x="11" y="157"/>
              </a:cxn>
              <a:cxn ang="0">
                <a:pos x="31" y="162"/>
              </a:cxn>
              <a:cxn ang="0">
                <a:pos x="43" y="158"/>
              </a:cxn>
              <a:cxn ang="0">
                <a:pos x="59" y="110"/>
              </a:cxn>
              <a:cxn ang="0">
                <a:pos x="72" y="66"/>
              </a:cxn>
              <a:cxn ang="0">
                <a:pos x="74" y="54"/>
              </a:cxn>
              <a:cxn ang="0">
                <a:pos x="77" y="47"/>
              </a:cxn>
              <a:cxn ang="0">
                <a:pos x="83" y="45"/>
              </a:cxn>
              <a:cxn ang="0">
                <a:pos x="79" y="24"/>
              </a:cxn>
              <a:cxn ang="0">
                <a:pos x="71" y="5"/>
              </a:cxn>
            </a:cxnLst>
            <a:rect b="b" l="0" r="r" t="0"/>
            <a:pathLst>
              <a:path h="166" w="84">
                <a:moveTo>
                  <a:pt x="71" y="5"/>
                </a:moveTo>
                <a:cubicBezTo>
                  <a:pt x="70" y="0"/>
                  <a:pt x="68" y="7"/>
                  <a:pt x="67" y="9"/>
                </a:cubicBezTo>
                <a:cubicBezTo>
                  <a:pt x="66" y="10"/>
                  <a:pt x="65" y="14"/>
                  <a:pt x="65" y="17"/>
                </a:cubicBezTo>
                <a:cubicBezTo>
                  <a:pt x="66" y="19"/>
                  <a:pt x="61" y="22"/>
                  <a:pt x="59" y="22"/>
                </a:cubicBezTo>
                <a:cubicBezTo>
                  <a:pt x="56" y="21"/>
                  <a:pt x="52" y="23"/>
                  <a:pt x="53" y="27"/>
                </a:cubicBezTo>
                <a:cubicBezTo>
                  <a:pt x="54" y="30"/>
                  <a:pt x="51" y="30"/>
                  <a:pt x="53" y="33"/>
                </a:cubicBezTo>
                <a:cubicBezTo>
                  <a:pt x="54" y="36"/>
                  <a:pt x="49" y="39"/>
                  <a:pt x="44" y="40"/>
                </a:cubicBezTo>
                <a:cubicBezTo>
                  <a:pt x="40" y="40"/>
                  <a:pt x="34" y="48"/>
                  <a:pt x="29" y="48"/>
                </a:cubicBezTo>
                <a:cubicBezTo>
                  <a:pt x="24" y="47"/>
                  <a:pt x="19" y="51"/>
                  <a:pt x="14" y="50"/>
                </a:cubicBezTo>
                <a:cubicBezTo>
                  <a:pt x="10" y="50"/>
                  <a:pt x="13" y="59"/>
                  <a:pt x="10" y="65"/>
                </a:cubicBezTo>
                <a:cubicBezTo>
                  <a:pt x="6" y="71"/>
                  <a:pt x="8" y="78"/>
                  <a:pt x="11" y="86"/>
                </a:cubicBezTo>
                <a:cubicBezTo>
                  <a:pt x="14" y="93"/>
                  <a:pt x="16" y="99"/>
                  <a:pt x="8" y="109"/>
                </a:cubicBezTo>
                <a:cubicBezTo>
                  <a:pt x="0" y="118"/>
                  <a:pt x="1" y="129"/>
                  <a:pt x="4" y="136"/>
                </a:cubicBezTo>
                <a:cubicBezTo>
                  <a:pt x="7" y="142"/>
                  <a:pt x="7" y="152"/>
                  <a:pt x="11" y="157"/>
                </a:cubicBezTo>
                <a:cubicBezTo>
                  <a:pt x="16" y="162"/>
                  <a:pt x="28" y="166"/>
                  <a:pt x="31" y="162"/>
                </a:cubicBezTo>
                <a:cubicBezTo>
                  <a:pt x="35" y="158"/>
                  <a:pt x="39" y="162"/>
                  <a:pt x="43" y="158"/>
                </a:cubicBezTo>
                <a:cubicBezTo>
                  <a:pt x="47" y="153"/>
                  <a:pt x="54" y="127"/>
                  <a:pt x="59" y="110"/>
                </a:cubicBezTo>
                <a:cubicBezTo>
                  <a:pt x="65" y="93"/>
                  <a:pt x="72" y="71"/>
                  <a:pt x="72" y="66"/>
                </a:cubicBezTo>
                <a:cubicBezTo>
                  <a:pt x="71" y="62"/>
                  <a:pt x="76" y="59"/>
                  <a:pt x="74" y="54"/>
                </a:cubicBezTo>
                <a:cubicBezTo>
                  <a:pt x="72" y="49"/>
                  <a:pt x="74" y="43"/>
                  <a:pt x="77" y="47"/>
                </a:cubicBezTo>
                <a:cubicBezTo>
                  <a:pt x="79" y="51"/>
                  <a:pt x="82" y="51"/>
                  <a:pt x="83" y="45"/>
                </a:cubicBezTo>
                <a:cubicBezTo>
                  <a:pt x="84" y="40"/>
                  <a:pt x="79" y="32"/>
                  <a:pt x="79" y="24"/>
                </a:cubicBezTo>
                <a:cubicBezTo>
                  <a:pt x="79" y="16"/>
                  <a:pt x="72" y="9"/>
                  <a:pt x="71" y="5"/>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0" name="Freeform 147"/>
          <p:cNvSpPr>
            <a:spLocks noEditPoints="1"/>
          </p:cNvSpPr>
          <p:nvPr/>
        </p:nvSpPr>
        <p:spPr bwMode="auto">
          <a:xfrm>
            <a:off x="6978054" y="4007474"/>
            <a:ext cx="302249" cy="187640"/>
          </a:xfrm>
          <a:custGeom>
            <a:cxnLst>
              <a:cxn ang="0">
                <a:pos x="95" y="3"/>
              </a:cxn>
              <a:cxn ang="0">
                <a:pos x="73" y="4"/>
              </a:cxn>
              <a:cxn ang="0">
                <a:pos x="56" y="19"/>
              </a:cxn>
              <a:cxn ang="0">
                <a:pos x="48" y="22"/>
              </a:cxn>
              <a:cxn ang="0">
                <a:pos x="32" y="20"/>
              </a:cxn>
              <a:cxn ang="0">
                <a:pos x="18" y="19"/>
              </a:cxn>
              <a:cxn ang="0">
                <a:pos x="10" y="17"/>
              </a:cxn>
              <a:cxn ang="0">
                <a:pos x="5" y="21"/>
              </a:cxn>
              <a:cxn ang="0">
                <a:pos x="6" y="28"/>
              </a:cxn>
              <a:cxn ang="0">
                <a:pos x="0" y="30"/>
              </a:cxn>
              <a:cxn ang="0">
                <a:pos x="1" y="37"/>
              </a:cxn>
              <a:cxn ang="0">
                <a:pos x="5" y="55"/>
              </a:cxn>
              <a:cxn ang="0">
                <a:pos x="9" y="72"/>
              </a:cxn>
              <a:cxn ang="0">
                <a:pos x="29" y="70"/>
              </a:cxn>
              <a:cxn ang="0">
                <a:pos x="44" y="65"/>
              </a:cxn>
              <a:cxn ang="0">
                <a:pos x="56" y="59"/>
              </a:cxn>
              <a:cxn ang="0">
                <a:pos x="67" y="57"/>
              </a:cxn>
              <a:cxn ang="0">
                <a:pos x="76" y="51"/>
              </a:cxn>
              <a:cxn ang="0">
                <a:pos x="100" y="43"/>
              </a:cxn>
              <a:cxn ang="0">
                <a:pos x="111" y="32"/>
              </a:cxn>
              <a:cxn ang="0">
                <a:pos x="120" y="28"/>
              </a:cxn>
              <a:cxn ang="0">
                <a:pos x="106" y="0"/>
              </a:cxn>
              <a:cxn ang="0">
                <a:pos x="95" y="3"/>
              </a:cxn>
              <a:cxn ang="0">
                <a:pos x="123" y="78"/>
              </a:cxn>
              <a:cxn ang="0">
                <a:pos x="134" y="76"/>
              </a:cxn>
              <a:cxn ang="0">
                <a:pos x="123" y="78"/>
              </a:cxn>
            </a:cxnLst>
            <a:rect b="b" l="0" r="r" t="0"/>
            <a:pathLst>
              <a:path h="82" w="135">
                <a:moveTo>
                  <a:pt x="95" y="3"/>
                </a:moveTo>
                <a:cubicBezTo>
                  <a:pt x="90" y="4"/>
                  <a:pt x="75" y="3"/>
                  <a:pt x="73" y="4"/>
                </a:cubicBezTo>
                <a:cubicBezTo>
                  <a:pt x="71" y="5"/>
                  <a:pt x="58" y="15"/>
                  <a:pt x="56" y="19"/>
                </a:cubicBezTo>
                <a:cubicBezTo>
                  <a:pt x="54" y="24"/>
                  <a:pt x="51" y="25"/>
                  <a:pt x="48" y="22"/>
                </a:cubicBezTo>
                <a:cubicBezTo>
                  <a:pt x="45" y="20"/>
                  <a:pt x="33" y="21"/>
                  <a:pt x="32" y="20"/>
                </a:cubicBezTo>
                <a:cubicBezTo>
                  <a:pt x="31" y="19"/>
                  <a:pt x="23" y="18"/>
                  <a:pt x="18" y="19"/>
                </a:cubicBezTo>
                <a:cubicBezTo>
                  <a:pt x="14" y="19"/>
                  <a:pt x="12" y="17"/>
                  <a:pt x="10" y="17"/>
                </a:cubicBezTo>
                <a:cubicBezTo>
                  <a:pt x="8" y="18"/>
                  <a:pt x="6" y="20"/>
                  <a:pt x="5" y="21"/>
                </a:cubicBezTo>
                <a:cubicBezTo>
                  <a:pt x="4" y="23"/>
                  <a:pt x="6" y="26"/>
                  <a:pt x="6" y="28"/>
                </a:cubicBezTo>
                <a:cubicBezTo>
                  <a:pt x="5" y="28"/>
                  <a:pt x="3" y="29"/>
                  <a:pt x="0" y="30"/>
                </a:cubicBezTo>
                <a:cubicBezTo>
                  <a:pt x="1" y="33"/>
                  <a:pt x="2" y="35"/>
                  <a:pt x="1" y="37"/>
                </a:cubicBezTo>
                <a:cubicBezTo>
                  <a:pt x="0" y="41"/>
                  <a:pt x="1" y="50"/>
                  <a:pt x="5" y="55"/>
                </a:cubicBezTo>
                <a:cubicBezTo>
                  <a:pt x="8" y="61"/>
                  <a:pt x="7" y="70"/>
                  <a:pt x="9" y="72"/>
                </a:cubicBezTo>
                <a:cubicBezTo>
                  <a:pt x="10" y="74"/>
                  <a:pt x="23" y="73"/>
                  <a:pt x="29" y="70"/>
                </a:cubicBezTo>
                <a:cubicBezTo>
                  <a:pt x="35" y="66"/>
                  <a:pt x="39" y="65"/>
                  <a:pt x="44" y="65"/>
                </a:cubicBezTo>
                <a:cubicBezTo>
                  <a:pt x="48" y="65"/>
                  <a:pt x="54" y="61"/>
                  <a:pt x="56" y="59"/>
                </a:cubicBezTo>
                <a:cubicBezTo>
                  <a:pt x="57" y="57"/>
                  <a:pt x="64" y="57"/>
                  <a:pt x="67" y="57"/>
                </a:cubicBezTo>
                <a:cubicBezTo>
                  <a:pt x="70" y="58"/>
                  <a:pt x="73" y="54"/>
                  <a:pt x="76" y="51"/>
                </a:cubicBezTo>
                <a:cubicBezTo>
                  <a:pt x="79" y="48"/>
                  <a:pt x="89" y="47"/>
                  <a:pt x="100" y="43"/>
                </a:cubicBezTo>
                <a:cubicBezTo>
                  <a:pt x="110" y="40"/>
                  <a:pt x="108" y="35"/>
                  <a:pt x="111" y="32"/>
                </a:cubicBezTo>
                <a:cubicBezTo>
                  <a:pt x="113" y="30"/>
                  <a:pt x="116" y="30"/>
                  <a:pt x="120" y="28"/>
                </a:cubicBezTo>
                <a:cubicBezTo>
                  <a:pt x="115" y="18"/>
                  <a:pt x="109" y="6"/>
                  <a:pt x="106" y="0"/>
                </a:cubicBezTo>
                <a:cubicBezTo>
                  <a:pt x="101" y="1"/>
                  <a:pt x="97" y="3"/>
                  <a:pt x="95" y="3"/>
                </a:cubicBezTo>
                <a:close/>
                <a:moveTo>
                  <a:pt x="123" y="78"/>
                </a:moveTo>
                <a:cubicBezTo>
                  <a:pt x="127" y="82"/>
                  <a:pt x="134" y="77"/>
                  <a:pt x="134" y="76"/>
                </a:cubicBezTo>
                <a:cubicBezTo>
                  <a:pt x="135" y="74"/>
                  <a:pt x="119" y="73"/>
                  <a:pt x="123" y="78"/>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1" name="Freeform 148"/>
          <p:cNvSpPr>
            <a:spLocks noEditPoints="1"/>
          </p:cNvSpPr>
          <p:nvPr/>
        </p:nvSpPr>
        <p:spPr bwMode="auto">
          <a:xfrm>
            <a:off x="9791002" y="4651892"/>
            <a:ext cx="203971" cy="149733"/>
          </a:xfrm>
          <a:custGeom>
            <a:cxnLst>
              <a:cxn ang="0">
                <a:pos x="1" y="3"/>
              </a:cxn>
              <a:cxn ang="0">
                <a:pos x="15" y="19"/>
              </a:cxn>
              <a:cxn ang="0">
                <a:pos x="1" y="3"/>
              </a:cxn>
              <a:cxn ang="0">
                <a:pos x="22" y="17"/>
              </a:cxn>
              <a:cxn ang="0">
                <a:pos x="32" y="24"/>
              </a:cxn>
              <a:cxn ang="0">
                <a:pos x="22" y="17"/>
              </a:cxn>
              <a:cxn ang="0">
                <a:pos x="60" y="37"/>
              </a:cxn>
              <a:cxn ang="0">
                <a:pos x="44" y="28"/>
              </a:cxn>
              <a:cxn ang="0">
                <a:pos x="60" y="37"/>
              </a:cxn>
              <a:cxn ang="0">
                <a:pos x="58" y="47"/>
              </a:cxn>
              <a:cxn ang="0">
                <a:pos x="69" y="54"/>
              </a:cxn>
              <a:cxn ang="0">
                <a:pos x="58" y="47"/>
              </a:cxn>
              <a:cxn ang="0">
                <a:pos x="78" y="58"/>
              </a:cxn>
              <a:cxn ang="0">
                <a:pos x="89" y="63"/>
              </a:cxn>
              <a:cxn ang="0">
                <a:pos x="78" y="58"/>
              </a:cxn>
              <a:cxn ang="0">
                <a:pos x="70" y="36"/>
              </a:cxn>
              <a:cxn ang="0">
                <a:pos x="79" y="51"/>
              </a:cxn>
              <a:cxn ang="0">
                <a:pos x="70" y="36"/>
              </a:cxn>
            </a:cxnLst>
            <a:rect b="b" l="0" r="r" t="0"/>
            <a:pathLst>
              <a:path h="66" w="92">
                <a:moveTo>
                  <a:pt x="1" y="3"/>
                </a:moveTo>
                <a:cubicBezTo>
                  <a:pt x="0" y="6"/>
                  <a:pt x="11" y="21"/>
                  <a:pt x="15" y="19"/>
                </a:cubicBezTo>
                <a:cubicBezTo>
                  <a:pt x="22" y="14"/>
                  <a:pt x="2" y="0"/>
                  <a:pt x="1" y="3"/>
                </a:cubicBezTo>
                <a:close/>
                <a:moveTo>
                  <a:pt x="22" y="17"/>
                </a:moveTo>
                <a:cubicBezTo>
                  <a:pt x="22" y="18"/>
                  <a:pt x="30" y="26"/>
                  <a:pt x="32" y="24"/>
                </a:cubicBezTo>
                <a:cubicBezTo>
                  <a:pt x="34" y="23"/>
                  <a:pt x="23" y="14"/>
                  <a:pt x="22" y="17"/>
                </a:cubicBezTo>
                <a:close/>
                <a:moveTo>
                  <a:pt x="60" y="37"/>
                </a:moveTo>
                <a:cubicBezTo>
                  <a:pt x="63" y="35"/>
                  <a:pt x="44" y="25"/>
                  <a:pt x="44" y="28"/>
                </a:cubicBezTo>
                <a:cubicBezTo>
                  <a:pt x="44" y="31"/>
                  <a:pt x="57" y="38"/>
                  <a:pt x="60" y="37"/>
                </a:cubicBezTo>
                <a:close/>
                <a:moveTo>
                  <a:pt x="58" y="47"/>
                </a:moveTo>
                <a:cubicBezTo>
                  <a:pt x="59" y="52"/>
                  <a:pt x="66" y="55"/>
                  <a:pt x="69" y="54"/>
                </a:cubicBezTo>
                <a:cubicBezTo>
                  <a:pt x="72" y="52"/>
                  <a:pt x="57" y="42"/>
                  <a:pt x="58" y="47"/>
                </a:cubicBezTo>
                <a:close/>
                <a:moveTo>
                  <a:pt x="78" y="58"/>
                </a:moveTo>
                <a:cubicBezTo>
                  <a:pt x="79" y="60"/>
                  <a:pt x="85" y="66"/>
                  <a:pt x="89" y="63"/>
                </a:cubicBezTo>
                <a:cubicBezTo>
                  <a:pt x="92" y="61"/>
                  <a:pt x="78" y="56"/>
                  <a:pt x="78" y="58"/>
                </a:cubicBezTo>
                <a:close/>
                <a:moveTo>
                  <a:pt x="70" y="36"/>
                </a:moveTo>
                <a:cubicBezTo>
                  <a:pt x="67" y="42"/>
                  <a:pt x="77" y="51"/>
                  <a:pt x="79" y="51"/>
                </a:cubicBezTo>
                <a:cubicBezTo>
                  <a:pt x="80" y="52"/>
                  <a:pt x="72" y="32"/>
                  <a:pt x="70" y="36"/>
                </a:cubicBezTo>
                <a:close/>
              </a:path>
            </a:pathLst>
          </a:custGeom>
          <a:solidFill>
            <a:srgbClr val="BFBFBF"/>
          </a:solidFill>
          <a:ln w="9525">
            <a:noFill/>
            <a:round/>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2" name="Freeform 149"/>
          <p:cNvSpPr>
            <a:spLocks noEditPoints="1"/>
          </p:cNvSpPr>
          <p:nvPr/>
        </p:nvSpPr>
        <p:spPr bwMode="auto">
          <a:xfrm>
            <a:off x="9791002" y="4651892"/>
            <a:ext cx="203971" cy="149733"/>
          </a:xfrm>
          <a:custGeom>
            <a:cxnLst>
              <a:cxn ang="0">
                <a:pos x="1" y="3"/>
              </a:cxn>
              <a:cxn ang="0">
                <a:pos x="15" y="19"/>
              </a:cxn>
              <a:cxn ang="0">
                <a:pos x="1" y="3"/>
              </a:cxn>
              <a:cxn ang="0">
                <a:pos x="22" y="17"/>
              </a:cxn>
              <a:cxn ang="0">
                <a:pos x="32" y="24"/>
              </a:cxn>
              <a:cxn ang="0">
                <a:pos x="22" y="17"/>
              </a:cxn>
              <a:cxn ang="0">
                <a:pos x="60" y="37"/>
              </a:cxn>
              <a:cxn ang="0">
                <a:pos x="44" y="28"/>
              </a:cxn>
              <a:cxn ang="0">
                <a:pos x="60" y="37"/>
              </a:cxn>
              <a:cxn ang="0">
                <a:pos x="58" y="47"/>
              </a:cxn>
              <a:cxn ang="0">
                <a:pos x="69" y="54"/>
              </a:cxn>
              <a:cxn ang="0">
                <a:pos x="58" y="47"/>
              </a:cxn>
              <a:cxn ang="0">
                <a:pos x="78" y="58"/>
              </a:cxn>
              <a:cxn ang="0">
                <a:pos x="89" y="63"/>
              </a:cxn>
              <a:cxn ang="0">
                <a:pos x="78" y="58"/>
              </a:cxn>
              <a:cxn ang="0">
                <a:pos x="70" y="36"/>
              </a:cxn>
              <a:cxn ang="0">
                <a:pos x="79" y="51"/>
              </a:cxn>
              <a:cxn ang="0">
                <a:pos x="70" y="36"/>
              </a:cxn>
            </a:cxnLst>
            <a:rect b="b" l="0" r="r" t="0"/>
            <a:pathLst>
              <a:path h="66" w="92">
                <a:moveTo>
                  <a:pt x="1" y="3"/>
                </a:moveTo>
                <a:cubicBezTo>
                  <a:pt x="0" y="6"/>
                  <a:pt x="11" y="21"/>
                  <a:pt x="15" y="19"/>
                </a:cubicBezTo>
                <a:cubicBezTo>
                  <a:pt x="22" y="14"/>
                  <a:pt x="2" y="0"/>
                  <a:pt x="1" y="3"/>
                </a:cubicBezTo>
                <a:close/>
                <a:moveTo>
                  <a:pt x="22" y="17"/>
                </a:moveTo>
                <a:cubicBezTo>
                  <a:pt x="22" y="18"/>
                  <a:pt x="30" y="26"/>
                  <a:pt x="32" y="24"/>
                </a:cubicBezTo>
                <a:cubicBezTo>
                  <a:pt x="34" y="23"/>
                  <a:pt x="23" y="14"/>
                  <a:pt x="22" y="17"/>
                </a:cubicBezTo>
                <a:close/>
                <a:moveTo>
                  <a:pt x="60" y="37"/>
                </a:moveTo>
                <a:cubicBezTo>
                  <a:pt x="63" y="35"/>
                  <a:pt x="44" y="25"/>
                  <a:pt x="44" y="28"/>
                </a:cubicBezTo>
                <a:cubicBezTo>
                  <a:pt x="44" y="31"/>
                  <a:pt x="57" y="38"/>
                  <a:pt x="60" y="37"/>
                </a:cubicBezTo>
                <a:close/>
                <a:moveTo>
                  <a:pt x="58" y="47"/>
                </a:moveTo>
                <a:cubicBezTo>
                  <a:pt x="59" y="52"/>
                  <a:pt x="66" y="55"/>
                  <a:pt x="69" y="54"/>
                </a:cubicBezTo>
                <a:cubicBezTo>
                  <a:pt x="72" y="52"/>
                  <a:pt x="57" y="42"/>
                  <a:pt x="58" y="47"/>
                </a:cubicBezTo>
                <a:close/>
                <a:moveTo>
                  <a:pt x="78" y="58"/>
                </a:moveTo>
                <a:cubicBezTo>
                  <a:pt x="79" y="60"/>
                  <a:pt x="85" y="66"/>
                  <a:pt x="89" y="63"/>
                </a:cubicBezTo>
                <a:cubicBezTo>
                  <a:pt x="92" y="61"/>
                  <a:pt x="78" y="56"/>
                  <a:pt x="78" y="58"/>
                </a:cubicBezTo>
                <a:close/>
                <a:moveTo>
                  <a:pt x="70" y="36"/>
                </a:moveTo>
                <a:cubicBezTo>
                  <a:pt x="67" y="42"/>
                  <a:pt x="77" y="51"/>
                  <a:pt x="79" y="51"/>
                </a:cubicBezTo>
                <a:cubicBezTo>
                  <a:pt x="80" y="52"/>
                  <a:pt x="72" y="32"/>
                  <a:pt x="70" y="3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3" name="Freeform 150"/>
          <p:cNvSpPr>
            <a:spLocks noEditPoints="1"/>
          </p:cNvSpPr>
          <p:nvPr/>
        </p:nvSpPr>
        <p:spPr bwMode="auto">
          <a:xfrm>
            <a:off x="8732206" y="4788356"/>
            <a:ext cx="1032836" cy="940092"/>
          </a:xfrm>
          <a:custGeom>
            <a:cxnLst>
              <a:cxn ang="0">
                <a:pos x="457" y="180"/>
              </a:cxn>
              <a:cxn ang="0">
                <a:pos x="438" y="160"/>
              </a:cxn>
              <a:cxn ang="0">
                <a:pos x="424" y="139"/>
              </a:cxn>
              <a:cxn ang="0">
                <a:pos x="410" y="124"/>
              </a:cxn>
              <a:cxn ang="0">
                <a:pos x="378" y="93"/>
              </a:cxn>
              <a:cxn ang="0">
                <a:pos x="367" y="53"/>
              </a:cxn>
              <a:cxn ang="0">
                <a:pos x="347" y="33"/>
              </a:cxn>
              <a:cxn ang="0">
                <a:pos x="329" y="10"/>
              </a:cxn>
              <a:cxn ang="0">
                <a:pos x="324" y="51"/>
              </a:cxn>
              <a:cxn ang="0">
                <a:pos x="297" y="76"/>
              </a:cxn>
              <a:cxn ang="0">
                <a:pos x="265" y="59"/>
              </a:cxn>
              <a:cxn ang="0">
                <a:pos x="259" y="35"/>
              </a:cxn>
              <a:cxn ang="0">
                <a:pos x="268" y="17"/>
              </a:cxn>
              <a:cxn ang="0">
                <a:pos x="251" y="19"/>
              </a:cxn>
              <a:cxn ang="0">
                <a:pos x="222" y="13"/>
              </a:cxn>
              <a:cxn ang="0">
                <a:pos x="194" y="32"/>
              </a:cxn>
              <a:cxn ang="0">
                <a:pos x="184" y="51"/>
              </a:cxn>
              <a:cxn ang="0">
                <a:pos x="167" y="44"/>
              </a:cxn>
              <a:cxn ang="0">
                <a:pos x="147" y="46"/>
              </a:cxn>
              <a:cxn ang="0">
                <a:pos x="131" y="55"/>
              </a:cxn>
              <a:cxn ang="0">
                <a:pos x="123" y="73"/>
              </a:cxn>
              <a:cxn ang="0">
                <a:pos x="106" y="75"/>
              </a:cxn>
              <a:cxn ang="0">
                <a:pos x="69" y="110"/>
              </a:cxn>
              <a:cxn ang="0">
                <a:pos x="34" y="121"/>
              </a:cxn>
              <a:cxn ang="0">
                <a:pos x="13" y="130"/>
              </a:cxn>
              <a:cxn ang="0">
                <a:pos x="6" y="169"/>
              </a:cxn>
              <a:cxn ang="0">
                <a:pos x="9" y="187"/>
              </a:cxn>
              <a:cxn ang="0">
                <a:pos x="22" y="227"/>
              </a:cxn>
              <a:cxn ang="0">
                <a:pos x="23" y="277"/>
              </a:cxn>
              <a:cxn ang="0">
                <a:pos x="56" y="294"/>
              </a:cxn>
              <a:cxn ang="0">
                <a:pos x="104" y="280"/>
              </a:cxn>
              <a:cxn ang="0">
                <a:pos x="157" y="260"/>
              </a:cxn>
              <a:cxn ang="0">
                <a:pos x="219" y="256"/>
              </a:cxn>
              <a:cxn ang="0">
                <a:pos x="240" y="268"/>
              </a:cxn>
              <a:cxn ang="0">
                <a:pos x="262" y="287"/>
              </a:cxn>
              <a:cxn ang="0">
                <a:pos x="278" y="285"/>
              </a:cxn>
              <a:cxn ang="0">
                <a:pos x="288" y="289"/>
              </a:cxn>
              <a:cxn ang="0">
                <a:pos x="304" y="317"/>
              </a:cxn>
              <a:cxn ang="0">
                <a:pos x="344" y="344"/>
              </a:cxn>
              <a:cxn ang="0">
                <a:pos x="365" y="341"/>
              </a:cxn>
              <a:cxn ang="0">
                <a:pos x="379" y="348"/>
              </a:cxn>
              <a:cxn ang="0">
                <a:pos x="419" y="330"/>
              </a:cxn>
              <a:cxn ang="0">
                <a:pos x="443" y="266"/>
              </a:cxn>
              <a:cxn ang="0">
                <a:pos x="458" y="228"/>
              </a:cxn>
              <a:cxn ang="0">
                <a:pos x="210" y="11"/>
              </a:cxn>
              <a:cxn ang="0">
                <a:pos x="266" y="307"/>
              </a:cxn>
              <a:cxn ang="0">
                <a:pos x="379" y="376"/>
              </a:cxn>
              <a:cxn ang="0">
                <a:pos x="380" y="411"/>
              </a:cxn>
              <a:cxn ang="0">
                <a:pos x="395" y="402"/>
              </a:cxn>
              <a:cxn ang="0">
                <a:pos x="379" y="376"/>
              </a:cxn>
            </a:cxnLst>
            <a:rect b="b" l="0" r="r" t="0"/>
            <a:pathLst>
              <a:path h="412" w="462">
                <a:moveTo>
                  <a:pt x="460" y="207"/>
                </a:moveTo>
                <a:cubicBezTo>
                  <a:pt x="462" y="205"/>
                  <a:pt x="459" y="197"/>
                  <a:pt x="457" y="198"/>
                </a:cubicBezTo>
                <a:cubicBezTo>
                  <a:pt x="456" y="200"/>
                  <a:pt x="456" y="186"/>
                  <a:pt x="457" y="180"/>
                </a:cubicBezTo>
                <a:cubicBezTo>
                  <a:pt x="458" y="173"/>
                  <a:pt x="457" y="174"/>
                  <a:pt x="454" y="177"/>
                </a:cubicBezTo>
                <a:cubicBezTo>
                  <a:pt x="451" y="181"/>
                  <a:pt x="447" y="171"/>
                  <a:pt x="447" y="169"/>
                </a:cubicBezTo>
                <a:cubicBezTo>
                  <a:pt x="446" y="166"/>
                  <a:pt x="442" y="159"/>
                  <a:pt x="438" y="160"/>
                </a:cubicBezTo>
                <a:cubicBezTo>
                  <a:pt x="434" y="161"/>
                  <a:pt x="436" y="154"/>
                  <a:pt x="432" y="155"/>
                </a:cubicBezTo>
                <a:cubicBezTo>
                  <a:pt x="428" y="156"/>
                  <a:pt x="428" y="149"/>
                  <a:pt x="428" y="143"/>
                </a:cubicBezTo>
                <a:cubicBezTo>
                  <a:pt x="429" y="137"/>
                  <a:pt x="426" y="142"/>
                  <a:pt x="424" y="139"/>
                </a:cubicBezTo>
                <a:cubicBezTo>
                  <a:pt x="422" y="137"/>
                  <a:pt x="420" y="139"/>
                  <a:pt x="417" y="140"/>
                </a:cubicBezTo>
                <a:cubicBezTo>
                  <a:pt x="415" y="141"/>
                  <a:pt x="414" y="135"/>
                  <a:pt x="415" y="132"/>
                </a:cubicBezTo>
                <a:cubicBezTo>
                  <a:pt x="415" y="130"/>
                  <a:pt x="414" y="127"/>
                  <a:pt x="410" y="124"/>
                </a:cubicBezTo>
                <a:cubicBezTo>
                  <a:pt x="407" y="121"/>
                  <a:pt x="406" y="119"/>
                  <a:pt x="407" y="116"/>
                </a:cubicBezTo>
                <a:cubicBezTo>
                  <a:pt x="407" y="112"/>
                  <a:pt x="385" y="101"/>
                  <a:pt x="381" y="100"/>
                </a:cubicBezTo>
                <a:cubicBezTo>
                  <a:pt x="376" y="99"/>
                  <a:pt x="380" y="94"/>
                  <a:pt x="378" y="93"/>
                </a:cubicBezTo>
                <a:cubicBezTo>
                  <a:pt x="376" y="91"/>
                  <a:pt x="375" y="84"/>
                  <a:pt x="375" y="79"/>
                </a:cubicBezTo>
                <a:cubicBezTo>
                  <a:pt x="375" y="73"/>
                  <a:pt x="368" y="72"/>
                  <a:pt x="368" y="67"/>
                </a:cubicBezTo>
                <a:cubicBezTo>
                  <a:pt x="369" y="63"/>
                  <a:pt x="366" y="58"/>
                  <a:pt x="367" y="53"/>
                </a:cubicBezTo>
                <a:cubicBezTo>
                  <a:pt x="367" y="48"/>
                  <a:pt x="360" y="47"/>
                  <a:pt x="359" y="44"/>
                </a:cubicBezTo>
                <a:cubicBezTo>
                  <a:pt x="359" y="42"/>
                  <a:pt x="355" y="44"/>
                  <a:pt x="351" y="45"/>
                </a:cubicBezTo>
                <a:cubicBezTo>
                  <a:pt x="346" y="45"/>
                  <a:pt x="347" y="39"/>
                  <a:pt x="347" y="33"/>
                </a:cubicBezTo>
                <a:cubicBezTo>
                  <a:pt x="348" y="28"/>
                  <a:pt x="345" y="18"/>
                  <a:pt x="342" y="15"/>
                </a:cubicBezTo>
                <a:cubicBezTo>
                  <a:pt x="338" y="13"/>
                  <a:pt x="338" y="3"/>
                  <a:pt x="336" y="2"/>
                </a:cubicBezTo>
                <a:cubicBezTo>
                  <a:pt x="335" y="0"/>
                  <a:pt x="329" y="7"/>
                  <a:pt x="329" y="10"/>
                </a:cubicBezTo>
                <a:cubicBezTo>
                  <a:pt x="329" y="13"/>
                  <a:pt x="329" y="17"/>
                  <a:pt x="326" y="19"/>
                </a:cubicBezTo>
                <a:cubicBezTo>
                  <a:pt x="324" y="21"/>
                  <a:pt x="328" y="29"/>
                  <a:pt x="325" y="31"/>
                </a:cubicBezTo>
                <a:cubicBezTo>
                  <a:pt x="322" y="34"/>
                  <a:pt x="325" y="45"/>
                  <a:pt x="324" y="51"/>
                </a:cubicBezTo>
                <a:cubicBezTo>
                  <a:pt x="323" y="58"/>
                  <a:pt x="323" y="64"/>
                  <a:pt x="320" y="69"/>
                </a:cubicBezTo>
                <a:cubicBezTo>
                  <a:pt x="317" y="73"/>
                  <a:pt x="317" y="80"/>
                  <a:pt x="311" y="82"/>
                </a:cubicBezTo>
                <a:cubicBezTo>
                  <a:pt x="305" y="84"/>
                  <a:pt x="297" y="79"/>
                  <a:pt x="297" y="76"/>
                </a:cubicBezTo>
                <a:cubicBezTo>
                  <a:pt x="297" y="73"/>
                  <a:pt x="291" y="71"/>
                  <a:pt x="287" y="71"/>
                </a:cubicBezTo>
                <a:cubicBezTo>
                  <a:pt x="284" y="72"/>
                  <a:pt x="282" y="67"/>
                  <a:pt x="276" y="63"/>
                </a:cubicBezTo>
                <a:cubicBezTo>
                  <a:pt x="271" y="58"/>
                  <a:pt x="266" y="64"/>
                  <a:pt x="265" y="59"/>
                </a:cubicBezTo>
                <a:cubicBezTo>
                  <a:pt x="263" y="54"/>
                  <a:pt x="261" y="53"/>
                  <a:pt x="257" y="50"/>
                </a:cubicBezTo>
                <a:cubicBezTo>
                  <a:pt x="253" y="47"/>
                  <a:pt x="254" y="47"/>
                  <a:pt x="258" y="45"/>
                </a:cubicBezTo>
                <a:cubicBezTo>
                  <a:pt x="262" y="42"/>
                  <a:pt x="261" y="38"/>
                  <a:pt x="259" y="35"/>
                </a:cubicBezTo>
                <a:cubicBezTo>
                  <a:pt x="257" y="32"/>
                  <a:pt x="261" y="33"/>
                  <a:pt x="266" y="30"/>
                </a:cubicBezTo>
                <a:cubicBezTo>
                  <a:pt x="271" y="27"/>
                  <a:pt x="266" y="24"/>
                  <a:pt x="270" y="22"/>
                </a:cubicBezTo>
                <a:cubicBezTo>
                  <a:pt x="274" y="21"/>
                  <a:pt x="272" y="18"/>
                  <a:pt x="268" y="17"/>
                </a:cubicBezTo>
                <a:cubicBezTo>
                  <a:pt x="264" y="16"/>
                  <a:pt x="265" y="21"/>
                  <a:pt x="263" y="21"/>
                </a:cubicBezTo>
                <a:cubicBezTo>
                  <a:pt x="262" y="22"/>
                  <a:pt x="260" y="15"/>
                  <a:pt x="259" y="15"/>
                </a:cubicBezTo>
                <a:cubicBezTo>
                  <a:pt x="258" y="16"/>
                  <a:pt x="253" y="22"/>
                  <a:pt x="251" y="19"/>
                </a:cubicBezTo>
                <a:cubicBezTo>
                  <a:pt x="248" y="16"/>
                  <a:pt x="234" y="13"/>
                  <a:pt x="229" y="12"/>
                </a:cubicBezTo>
                <a:cubicBezTo>
                  <a:pt x="223" y="11"/>
                  <a:pt x="221" y="4"/>
                  <a:pt x="218" y="6"/>
                </a:cubicBezTo>
                <a:cubicBezTo>
                  <a:pt x="215" y="7"/>
                  <a:pt x="219" y="9"/>
                  <a:pt x="222" y="13"/>
                </a:cubicBezTo>
                <a:cubicBezTo>
                  <a:pt x="226" y="17"/>
                  <a:pt x="210" y="20"/>
                  <a:pt x="205" y="18"/>
                </a:cubicBezTo>
                <a:cubicBezTo>
                  <a:pt x="200" y="17"/>
                  <a:pt x="206" y="22"/>
                  <a:pt x="202" y="22"/>
                </a:cubicBezTo>
                <a:cubicBezTo>
                  <a:pt x="198" y="21"/>
                  <a:pt x="197" y="28"/>
                  <a:pt x="194" y="32"/>
                </a:cubicBezTo>
                <a:cubicBezTo>
                  <a:pt x="191" y="35"/>
                  <a:pt x="193" y="38"/>
                  <a:pt x="189" y="40"/>
                </a:cubicBezTo>
                <a:cubicBezTo>
                  <a:pt x="186" y="42"/>
                  <a:pt x="186" y="45"/>
                  <a:pt x="190" y="50"/>
                </a:cubicBezTo>
                <a:cubicBezTo>
                  <a:pt x="194" y="54"/>
                  <a:pt x="188" y="55"/>
                  <a:pt x="184" y="51"/>
                </a:cubicBezTo>
                <a:cubicBezTo>
                  <a:pt x="180" y="47"/>
                  <a:pt x="177" y="47"/>
                  <a:pt x="177" y="51"/>
                </a:cubicBezTo>
                <a:cubicBezTo>
                  <a:pt x="177" y="56"/>
                  <a:pt x="172" y="54"/>
                  <a:pt x="173" y="49"/>
                </a:cubicBezTo>
                <a:cubicBezTo>
                  <a:pt x="174" y="44"/>
                  <a:pt x="168" y="46"/>
                  <a:pt x="167" y="44"/>
                </a:cubicBezTo>
                <a:cubicBezTo>
                  <a:pt x="166" y="41"/>
                  <a:pt x="161" y="36"/>
                  <a:pt x="157" y="37"/>
                </a:cubicBezTo>
                <a:cubicBezTo>
                  <a:pt x="154" y="37"/>
                  <a:pt x="154" y="40"/>
                  <a:pt x="151" y="40"/>
                </a:cubicBezTo>
                <a:cubicBezTo>
                  <a:pt x="148" y="40"/>
                  <a:pt x="147" y="42"/>
                  <a:pt x="147" y="46"/>
                </a:cubicBezTo>
                <a:cubicBezTo>
                  <a:pt x="148" y="49"/>
                  <a:pt x="142" y="45"/>
                  <a:pt x="139" y="46"/>
                </a:cubicBezTo>
                <a:cubicBezTo>
                  <a:pt x="135" y="46"/>
                  <a:pt x="139" y="51"/>
                  <a:pt x="137" y="51"/>
                </a:cubicBezTo>
                <a:cubicBezTo>
                  <a:pt x="135" y="51"/>
                  <a:pt x="135" y="55"/>
                  <a:pt x="131" y="55"/>
                </a:cubicBezTo>
                <a:cubicBezTo>
                  <a:pt x="128" y="55"/>
                  <a:pt x="129" y="62"/>
                  <a:pt x="129" y="66"/>
                </a:cubicBezTo>
                <a:cubicBezTo>
                  <a:pt x="130" y="69"/>
                  <a:pt x="124" y="64"/>
                  <a:pt x="121" y="65"/>
                </a:cubicBezTo>
                <a:cubicBezTo>
                  <a:pt x="118" y="66"/>
                  <a:pt x="122" y="69"/>
                  <a:pt x="123" y="73"/>
                </a:cubicBezTo>
                <a:cubicBezTo>
                  <a:pt x="124" y="78"/>
                  <a:pt x="121" y="77"/>
                  <a:pt x="119" y="79"/>
                </a:cubicBezTo>
                <a:cubicBezTo>
                  <a:pt x="117" y="81"/>
                  <a:pt x="115" y="74"/>
                  <a:pt x="115" y="71"/>
                </a:cubicBezTo>
                <a:cubicBezTo>
                  <a:pt x="115" y="67"/>
                  <a:pt x="110" y="70"/>
                  <a:pt x="106" y="75"/>
                </a:cubicBezTo>
                <a:cubicBezTo>
                  <a:pt x="101" y="80"/>
                  <a:pt x="107" y="87"/>
                  <a:pt x="105" y="88"/>
                </a:cubicBezTo>
                <a:cubicBezTo>
                  <a:pt x="103" y="90"/>
                  <a:pt x="94" y="98"/>
                  <a:pt x="89" y="104"/>
                </a:cubicBezTo>
                <a:cubicBezTo>
                  <a:pt x="84" y="111"/>
                  <a:pt x="73" y="107"/>
                  <a:pt x="69" y="110"/>
                </a:cubicBezTo>
                <a:cubicBezTo>
                  <a:pt x="66" y="113"/>
                  <a:pt x="62" y="111"/>
                  <a:pt x="58" y="113"/>
                </a:cubicBezTo>
                <a:cubicBezTo>
                  <a:pt x="55" y="116"/>
                  <a:pt x="48" y="121"/>
                  <a:pt x="48" y="118"/>
                </a:cubicBezTo>
                <a:cubicBezTo>
                  <a:pt x="47" y="115"/>
                  <a:pt x="38" y="117"/>
                  <a:pt x="34" y="121"/>
                </a:cubicBezTo>
                <a:cubicBezTo>
                  <a:pt x="30" y="125"/>
                  <a:pt x="24" y="129"/>
                  <a:pt x="20" y="129"/>
                </a:cubicBezTo>
                <a:cubicBezTo>
                  <a:pt x="16" y="129"/>
                  <a:pt x="16" y="136"/>
                  <a:pt x="14" y="137"/>
                </a:cubicBezTo>
                <a:cubicBezTo>
                  <a:pt x="12" y="139"/>
                  <a:pt x="13" y="132"/>
                  <a:pt x="13" y="130"/>
                </a:cubicBezTo>
                <a:cubicBezTo>
                  <a:pt x="13" y="129"/>
                  <a:pt x="9" y="133"/>
                  <a:pt x="7" y="139"/>
                </a:cubicBezTo>
                <a:cubicBezTo>
                  <a:pt x="5" y="144"/>
                  <a:pt x="11" y="146"/>
                  <a:pt x="8" y="151"/>
                </a:cubicBezTo>
                <a:cubicBezTo>
                  <a:pt x="4" y="157"/>
                  <a:pt x="0" y="162"/>
                  <a:pt x="6" y="169"/>
                </a:cubicBezTo>
                <a:cubicBezTo>
                  <a:pt x="11" y="176"/>
                  <a:pt x="14" y="181"/>
                  <a:pt x="12" y="184"/>
                </a:cubicBezTo>
                <a:cubicBezTo>
                  <a:pt x="10" y="188"/>
                  <a:pt x="7" y="177"/>
                  <a:pt x="5" y="179"/>
                </a:cubicBezTo>
                <a:cubicBezTo>
                  <a:pt x="4" y="180"/>
                  <a:pt x="10" y="184"/>
                  <a:pt x="9" y="187"/>
                </a:cubicBezTo>
                <a:cubicBezTo>
                  <a:pt x="7" y="189"/>
                  <a:pt x="2" y="178"/>
                  <a:pt x="1" y="181"/>
                </a:cubicBezTo>
                <a:cubicBezTo>
                  <a:pt x="0" y="183"/>
                  <a:pt x="12" y="200"/>
                  <a:pt x="12" y="206"/>
                </a:cubicBezTo>
                <a:cubicBezTo>
                  <a:pt x="12" y="212"/>
                  <a:pt x="22" y="218"/>
                  <a:pt x="22" y="227"/>
                </a:cubicBezTo>
                <a:cubicBezTo>
                  <a:pt x="21" y="236"/>
                  <a:pt x="30" y="251"/>
                  <a:pt x="32" y="253"/>
                </a:cubicBezTo>
                <a:cubicBezTo>
                  <a:pt x="33" y="255"/>
                  <a:pt x="28" y="261"/>
                  <a:pt x="29" y="268"/>
                </a:cubicBezTo>
                <a:cubicBezTo>
                  <a:pt x="30" y="275"/>
                  <a:pt x="27" y="277"/>
                  <a:pt x="23" y="277"/>
                </a:cubicBezTo>
                <a:cubicBezTo>
                  <a:pt x="18" y="277"/>
                  <a:pt x="21" y="284"/>
                  <a:pt x="26" y="285"/>
                </a:cubicBezTo>
                <a:cubicBezTo>
                  <a:pt x="30" y="285"/>
                  <a:pt x="29" y="289"/>
                  <a:pt x="34" y="292"/>
                </a:cubicBezTo>
                <a:cubicBezTo>
                  <a:pt x="39" y="296"/>
                  <a:pt x="52" y="294"/>
                  <a:pt x="56" y="294"/>
                </a:cubicBezTo>
                <a:cubicBezTo>
                  <a:pt x="60" y="294"/>
                  <a:pt x="61" y="288"/>
                  <a:pt x="67" y="288"/>
                </a:cubicBezTo>
                <a:cubicBezTo>
                  <a:pt x="73" y="287"/>
                  <a:pt x="72" y="286"/>
                  <a:pt x="75" y="282"/>
                </a:cubicBezTo>
                <a:cubicBezTo>
                  <a:pt x="78" y="279"/>
                  <a:pt x="91" y="280"/>
                  <a:pt x="104" y="280"/>
                </a:cubicBezTo>
                <a:cubicBezTo>
                  <a:pt x="117" y="281"/>
                  <a:pt x="123" y="277"/>
                  <a:pt x="125" y="272"/>
                </a:cubicBezTo>
                <a:cubicBezTo>
                  <a:pt x="127" y="267"/>
                  <a:pt x="136" y="267"/>
                  <a:pt x="140" y="263"/>
                </a:cubicBezTo>
                <a:cubicBezTo>
                  <a:pt x="144" y="260"/>
                  <a:pt x="147" y="259"/>
                  <a:pt x="157" y="260"/>
                </a:cubicBezTo>
                <a:cubicBezTo>
                  <a:pt x="167" y="260"/>
                  <a:pt x="176" y="255"/>
                  <a:pt x="182" y="253"/>
                </a:cubicBezTo>
                <a:cubicBezTo>
                  <a:pt x="188" y="250"/>
                  <a:pt x="200" y="251"/>
                  <a:pt x="206" y="250"/>
                </a:cubicBezTo>
                <a:cubicBezTo>
                  <a:pt x="212" y="248"/>
                  <a:pt x="213" y="257"/>
                  <a:pt x="219" y="256"/>
                </a:cubicBezTo>
                <a:cubicBezTo>
                  <a:pt x="226" y="256"/>
                  <a:pt x="229" y="258"/>
                  <a:pt x="233" y="258"/>
                </a:cubicBezTo>
                <a:cubicBezTo>
                  <a:pt x="236" y="258"/>
                  <a:pt x="236" y="261"/>
                  <a:pt x="239" y="261"/>
                </a:cubicBezTo>
                <a:cubicBezTo>
                  <a:pt x="243" y="262"/>
                  <a:pt x="242" y="265"/>
                  <a:pt x="240" y="268"/>
                </a:cubicBezTo>
                <a:cubicBezTo>
                  <a:pt x="238" y="272"/>
                  <a:pt x="245" y="271"/>
                  <a:pt x="250" y="278"/>
                </a:cubicBezTo>
                <a:cubicBezTo>
                  <a:pt x="255" y="284"/>
                  <a:pt x="250" y="285"/>
                  <a:pt x="253" y="290"/>
                </a:cubicBezTo>
                <a:cubicBezTo>
                  <a:pt x="255" y="295"/>
                  <a:pt x="257" y="294"/>
                  <a:pt x="262" y="287"/>
                </a:cubicBezTo>
                <a:cubicBezTo>
                  <a:pt x="267" y="280"/>
                  <a:pt x="272" y="285"/>
                  <a:pt x="273" y="279"/>
                </a:cubicBezTo>
                <a:cubicBezTo>
                  <a:pt x="274" y="273"/>
                  <a:pt x="279" y="266"/>
                  <a:pt x="283" y="269"/>
                </a:cubicBezTo>
                <a:cubicBezTo>
                  <a:pt x="286" y="272"/>
                  <a:pt x="280" y="273"/>
                  <a:pt x="278" y="285"/>
                </a:cubicBezTo>
                <a:cubicBezTo>
                  <a:pt x="276" y="296"/>
                  <a:pt x="272" y="290"/>
                  <a:pt x="271" y="293"/>
                </a:cubicBezTo>
                <a:cubicBezTo>
                  <a:pt x="270" y="297"/>
                  <a:pt x="281" y="298"/>
                  <a:pt x="281" y="292"/>
                </a:cubicBezTo>
                <a:cubicBezTo>
                  <a:pt x="281" y="286"/>
                  <a:pt x="283" y="284"/>
                  <a:pt x="288" y="289"/>
                </a:cubicBezTo>
                <a:cubicBezTo>
                  <a:pt x="292" y="295"/>
                  <a:pt x="285" y="299"/>
                  <a:pt x="286" y="302"/>
                </a:cubicBezTo>
                <a:cubicBezTo>
                  <a:pt x="287" y="304"/>
                  <a:pt x="292" y="301"/>
                  <a:pt x="294" y="301"/>
                </a:cubicBezTo>
                <a:cubicBezTo>
                  <a:pt x="299" y="301"/>
                  <a:pt x="305" y="311"/>
                  <a:pt x="304" y="317"/>
                </a:cubicBezTo>
                <a:cubicBezTo>
                  <a:pt x="303" y="322"/>
                  <a:pt x="301" y="327"/>
                  <a:pt x="310" y="331"/>
                </a:cubicBezTo>
                <a:cubicBezTo>
                  <a:pt x="318" y="335"/>
                  <a:pt x="315" y="336"/>
                  <a:pt x="321" y="336"/>
                </a:cubicBezTo>
                <a:cubicBezTo>
                  <a:pt x="328" y="336"/>
                  <a:pt x="341" y="341"/>
                  <a:pt x="344" y="344"/>
                </a:cubicBezTo>
                <a:cubicBezTo>
                  <a:pt x="348" y="347"/>
                  <a:pt x="357" y="342"/>
                  <a:pt x="358" y="336"/>
                </a:cubicBezTo>
                <a:cubicBezTo>
                  <a:pt x="360" y="330"/>
                  <a:pt x="367" y="336"/>
                  <a:pt x="363" y="338"/>
                </a:cubicBezTo>
                <a:cubicBezTo>
                  <a:pt x="360" y="340"/>
                  <a:pt x="365" y="344"/>
                  <a:pt x="365" y="341"/>
                </a:cubicBezTo>
                <a:cubicBezTo>
                  <a:pt x="365" y="338"/>
                  <a:pt x="367" y="335"/>
                  <a:pt x="368" y="339"/>
                </a:cubicBezTo>
                <a:cubicBezTo>
                  <a:pt x="369" y="343"/>
                  <a:pt x="374" y="343"/>
                  <a:pt x="376" y="346"/>
                </a:cubicBezTo>
                <a:cubicBezTo>
                  <a:pt x="377" y="349"/>
                  <a:pt x="379" y="351"/>
                  <a:pt x="379" y="348"/>
                </a:cubicBezTo>
                <a:cubicBezTo>
                  <a:pt x="379" y="346"/>
                  <a:pt x="380" y="344"/>
                  <a:pt x="384" y="342"/>
                </a:cubicBezTo>
                <a:cubicBezTo>
                  <a:pt x="388" y="341"/>
                  <a:pt x="391" y="338"/>
                  <a:pt x="395" y="334"/>
                </a:cubicBezTo>
                <a:cubicBezTo>
                  <a:pt x="399" y="331"/>
                  <a:pt x="417" y="330"/>
                  <a:pt x="419" y="330"/>
                </a:cubicBezTo>
                <a:cubicBezTo>
                  <a:pt x="420" y="330"/>
                  <a:pt x="421" y="315"/>
                  <a:pt x="422" y="307"/>
                </a:cubicBezTo>
                <a:cubicBezTo>
                  <a:pt x="423" y="300"/>
                  <a:pt x="430" y="298"/>
                  <a:pt x="431" y="290"/>
                </a:cubicBezTo>
                <a:cubicBezTo>
                  <a:pt x="432" y="282"/>
                  <a:pt x="441" y="267"/>
                  <a:pt x="443" y="266"/>
                </a:cubicBezTo>
                <a:cubicBezTo>
                  <a:pt x="445" y="265"/>
                  <a:pt x="449" y="263"/>
                  <a:pt x="450" y="258"/>
                </a:cubicBezTo>
                <a:cubicBezTo>
                  <a:pt x="450" y="253"/>
                  <a:pt x="456" y="248"/>
                  <a:pt x="456" y="242"/>
                </a:cubicBezTo>
                <a:cubicBezTo>
                  <a:pt x="456" y="237"/>
                  <a:pt x="459" y="230"/>
                  <a:pt x="458" y="228"/>
                </a:cubicBezTo>
                <a:cubicBezTo>
                  <a:pt x="458" y="226"/>
                  <a:pt x="456" y="221"/>
                  <a:pt x="460" y="217"/>
                </a:cubicBezTo>
                <a:cubicBezTo>
                  <a:pt x="463" y="213"/>
                  <a:pt x="458" y="208"/>
                  <a:pt x="460" y="207"/>
                </a:cubicBezTo>
                <a:close/>
                <a:moveTo>
                  <a:pt x="210" y="11"/>
                </a:moveTo>
                <a:cubicBezTo>
                  <a:pt x="209" y="8"/>
                  <a:pt x="191" y="11"/>
                  <a:pt x="195" y="14"/>
                </a:cubicBezTo>
                <a:cubicBezTo>
                  <a:pt x="198" y="16"/>
                  <a:pt x="210" y="14"/>
                  <a:pt x="210" y="11"/>
                </a:cubicBezTo>
                <a:close/>
                <a:moveTo>
                  <a:pt x="266" y="307"/>
                </a:moveTo>
                <a:cubicBezTo>
                  <a:pt x="269" y="309"/>
                  <a:pt x="278" y="309"/>
                  <a:pt x="279" y="305"/>
                </a:cubicBezTo>
                <a:cubicBezTo>
                  <a:pt x="281" y="302"/>
                  <a:pt x="263" y="305"/>
                  <a:pt x="266" y="307"/>
                </a:cubicBezTo>
                <a:close/>
                <a:moveTo>
                  <a:pt x="379" y="376"/>
                </a:moveTo>
                <a:cubicBezTo>
                  <a:pt x="372" y="377"/>
                  <a:pt x="362" y="370"/>
                  <a:pt x="360" y="371"/>
                </a:cubicBezTo>
                <a:cubicBezTo>
                  <a:pt x="357" y="372"/>
                  <a:pt x="368" y="389"/>
                  <a:pt x="365" y="393"/>
                </a:cubicBezTo>
                <a:cubicBezTo>
                  <a:pt x="361" y="398"/>
                  <a:pt x="375" y="410"/>
                  <a:pt x="380" y="411"/>
                </a:cubicBezTo>
                <a:cubicBezTo>
                  <a:pt x="385" y="412"/>
                  <a:pt x="383" y="406"/>
                  <a:pt x="386" y="406"/>
                </a:cubicBezTo>
                <a:cubicBezTo>
                  <a:pt x="389" y="407"/>
                  <a:pt x="388" y="403"/>
                  <a:pt x="389" y="401"/>
                </a:cubicBezTo>
                <a:cubicBezTo>
                  <a:pt x="389" y="398"/>
                  <a:pt x="392" y="403"/>
                  <a:pt x="395" y="402"/>
                </a:cubicBezTo>
                <a:cubicBezTo>
                  <a:pt x="398" y="400"/>
                  <a:pt x="394" y="390"/>
                  <a:pt x="398" y="390"/>
                </a:cubicBezTo>
                <a:cubicBezTo>
                  <a:pt x="402" y="390"/>
                  <a:pt x="399" y="377"/>
                  <a:pt x="398" y="372"/>
                </a:cubicBezTo>
                <a:cubicBezTo>
                  <a:pt x="397" y="368"/>
                  <a:pt x="386" y="376"/>
                  <a:pt x="379" y="376"/>
                </a:cubicBezTo>
                <a:close/>
              </a:path>
            </a:pathLst>
          </a:custGeom>
          <a:solidFill>
            <a:srgbClr val="E00024"/>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4" name="Freeform 151"/>
          <p:cNvSpPr>
            <a:spLocks noEditPoints="1"/>
          </p:cNvSpPr>
          <p:nvPr/>
        </p:nvSpPr>
        <p:spPr bwMode="auto">
          <a:xfrm>
            <a:off x="10083979" y="5457414"/>
            <a:ext cx="315228" cy="382860"/>
          </a:xfrm>
          <a:custGeom>
            <a:cxnLst>
              <a:cxn ang="0">
                <a:pos x="87" y="81"/>
              </a:cxn>
              <a:cxn ang="0">
                <a:pos x="78" y="84"/>
              </a:cxn>
              <a:cxn ang="0">
                <a:pos x="67" y="79"/>
              </a:cxn>
              <a:cxn ang="0">
                <a:pos x="61" y="89"/>
              </a:cxn>
              <a:cxn ang="0">
                <a:pos x="52" y="105"/>
              </a:cxn>
              <a:cxn ang="0">
                <a:pos x="21" y="125"/>
              </a:cxn>
              <a:cxn ang="0">
                <a:pos x="7" y="139"/>
              </a:cxn>
              <a:cxn ang="0">
                <a:pos x="4" y="151"/>
              </a:cxn>
              <a:cxn ang="0">
                <a:pos x="14" y="156"/>
              </a:cxn>
              <a:cxn ang="0">
                <a:pos x="22" y="159"/>
              </a:cxn>
              <a:cxn ang="0">
                <a:pos x="43" y="154"/>
              </a:cxn>
              <a:cxn ang="0">
                <a:pos x="50" y="141"/>
              </a:cxn>
              <a:cxn ang="0">
                <a:pos x="56" y="129"/>
              </a:cxn>
              <a:cxn ang="0">
                <a:pos x="69" y="122"/>
              </a:cxn>
              <a:cxn ang="0">
                <a:pos x="72" y="116"/>
              </a:cxn>
              <a:cxn ang="0">
                <a:pos x="80" y="105"/>
              </a:cxn>
              <a:cxn ang="0">
                <a:pos x="89" y="90"/>
              </a:cxn>
              <a:cxn ang="0">
                <a:pos x="87" y="81"/>
              </a:cxn>
              <a:cxn ang="0">
                <a:pos x="15" y="167"/>
              </a:cxn>
              <a:cxn ang="0">
                <a:pos x="19" y="162"/>
              </a:cxn>
              <a:cxn ang="0">
                <a:pos x="15" y="167"/>
              </a:cxn>
              <a:cxn ang="0">
                <a:pos x="128" y="41"/>
              </a:cxn>
              <a:cxn ang="0">
                <a:pos x="117" y="40"/>
              </a:cxn>
              <a:cxn ang="0">
                <a:pos x="110" y="33"/>
              </a:cxn>
              <a:cxn ang="0">
                <a:pos x="105" y="24"/>
              </a:cxn>
              <a:cxn ang="0">
                <a:pos x="105" y="30"/>
              </a:cxn>
              <a:cxn ang="0">
                <a:pos x="100" y="28"/>
              </a:cxn>
              <a:cxn ang="0">
                <a:pos x="96" y="20"/>
              </a:cxn>
              <a:cxn ang="0">
                <a:pos x="92" y="10"/>
              </a:cxn>
              <a:cxn ang="0">
                <a:pos x="78" y="0"/>
              </a:cxn>
              <a:cxn ang="0">
                <a:pos x="81" y="12"/>
              </a:cxn>
              <a:cxn ang="0">
                <a:pos x="89" y="20"/>
              </a:cxn>
              <a:cxn ang="0">
                <a:pos x="96" y="29"/>
              </a:cxn>
              <a:cxn ang="0">
                <a:pos x="94" y="46"/>
              </a:cxn>
              <a:cxn ang="0">
                <a:pos x="85" y="56"/>
              </a:cxn>
              <a:cxn ang="0">
                <a:pos x="100" y="69"/>
              </a:cxn>
              <a:cxn ang="0">
                <a:pos x="97" y="87"/>
              </a:cxn>
              <a:cxn ang="0">
                <a:pos x="107" y="89"/>
              </a:cxn>
              <a:cxn ang="0">
                <a:pos x="119" y="71"/>
              </a:cxn>
              <a:cxn ang="0">
                <a:pos x="123" y="60"/>
              </a:cxn>
              <a:cxn ang="0">
                <a:pos x="130" y="57"/>
              </a:cxn>
              <a:cxn ang="0">
                <a:pos x="135" y="50"/>
              </a:cxn>
              <a:cxn ang="0">
                <a:pos x="139" y="40"/>
              </a:cxn>
              <a:cxn ang="0">
                <a:pos x="128" y="41"/>
              </a:cxn>
            </a:cxnLst>
            <a:rect b="b" l="0" r="r" t="0"/>
            <a:pathLst>
              <a:path h="168" w="141">
                <a:moveTo>
                  <a:pt x="87" y="81"/>
                </a:moveTo>
                <a:cubicBezTo>
                  <a:pt x="84" y="79"/>
                  <a:pt x="82" y="82"/>
                  <a:pt x="78" y="84"/>
                </a:cubicBezTo>
                <a:cubicBezTo>
                  <a:pt x="74" y="86"/>
                  <a:pt x="72" y="76"/>
                  <a:pt x="67" y="79"/>
                </a:cubicBezTo>
                <a:cubicBezTo>
                  <a:pt x="62" y="83"/>
                  <a:pt x="67" y="85"/>
                  <a:pt x="61" y="89"/>
                </a:cubicBezTo>
                <a:cubicBezTo>
                  <a:pt x="56" y="94"/>
                  <a:pt x="58" y="95"/>
                  <a:pt x="52" y="105"/>
                </a:cubicBezTo>
                <a:cubicBezTo>
                  <a:pt x="46" y="115"/>
                  <a:pt x="24" y="120"/>
                  <a:pt x="21" y="125"/>
                </a:cubicBezTo>
                <a:cubicBezTo>
                  <a:pt x="18" y="131"/>
                  <a:pt x="7" y="135"/>
                  <a:pt x="7" y="139"/>
                </a:cubicBezTo>
                <a:cubicBezTo>
                  <a:pt x="7" y="143"/>
                  <a:pt x="0" y="146"/>
                  <a:pt x="4" y="151"/>
                </a:cubicBezTo>
                <a:cubicBezTo>
                  <a:pt x="7" y="155"/>
                  <a:pt x="11" y="152"/>
                  <a:pt x="14" y="156"/>
                </a:cubicBezTo>
                <a:cubicBezTo>
                  <a:pt x="17" y="159"/>
                  <a:pt x="21" y="156"/>
                  <a:pt x="22" y="159"/>
                </a:cubicBezTo>
                <a:cubicBezTo>
                  <a:pt x="24" y="162"/>
                  <a:pt x="35" y="162"/>
                  <a:pt x="43" y="154"/>
                </a:cubicBezTo>
                <a:cubicBezTo>
                  <a:pt x="51" y="147"/>
                  <a:pt x="47" y="143"/>
                  <a:pt x="50" y="141"/>
                </a:cubicBezTo>
                <a:cubicBezTo>
                  <a:pt x="54" y="139"/>
                  <a:pt x="54" y="133"/>
                  <a:pt x="56" y="129"/>
                </a:cubicBezTo>
                <a:cubicBezTo>
                  <a:pt x="58" y="126"/>
                  <a:pt x="60" y="122"/>
                  <a:pt x="69" y="122"/>
                </a:cubicBezTo>
                <a:cubicBezTo>
                  <a:pt x="78" y="122"/>
                  <a:pt x="73" y="120"/>
                  <a:pt x="72" y="116"/>
                </a:cubicBezTo>
                <a:cubicBezTo>
                  <a:pt x="72" y="111"/>
                  <a:pt x="80" y="111"/>
                  <a:pt x="80" y="105"/>
                </a:cubicBezTo>
                <a:cubicBezTo>
                  <a:pt x="80" y="100"/>
                  <a:pt x="91" y="95"/>
                  <a:pt x="89" y="90"/>
                </a:cubicBezTo>
                <a:cubicBezTo>
                  <a:pt x="86" y="86"/>
                  <a:pt x="91" y="84"/>
                  <a:pt x="87" y="81"/>
                </a:cubicBezTo>
                <a:close/>
                <a:moveTo>
                  <a:pt x="15" y="167"/>
                </a:moveTo>
                <a:cubicBezTo>
                  <a:pt x="17" y="168"/>
                  <a:pt x="22" y="166"/>
                  <a:pt x="19" y="162"/>
                </a:cubicBezTo>
                <a:cubicBezTo>
                  <a:pt x="16" y="158"/>
                  <a:pt x="11" y="166"/>
                  <a:pt x="15" y="167"/>
                </a:cubicBezTo>
                <a:close/>
                <a:moveTo>
                  <a:pt x="128" y="41"/>
                </a:moveTo>
                <a:cubicBezTo>
                  <a:pt x="126" y="45"/>
                  <a:pt x="121" y="40"/>
                  <a:pt x="117" y="40"/>
                </a:cubicBezTo>
                <a:cubicBezTo>
                  <a:pt x="113" y="40"/>
                  <a:pt x="110" y="37"/>
                  <a:pt x="110" y="33"/>
                </a:cubicBezTo>
                <a:cubicBezTo>
                  <a:pt x="110" y="29"/>
                  <a:pt x="109" y="24"/>
                  <a:pt x="105" y="24"/>
                </a:cubicBezTo>
                <a:cubicBezTo>
                  <a:pt x="101" y="24"/>
                  <a:pt x="106" y="28"/>
                  <a:pt x="105" y="30"/>
                </a:cubicBezTo>
                <a:cubicBezTo>
                  <a:pt x="103" y="32"/>
                  <a:pt x="102" y="28"/>
                  <a:pt x="100" y="28"/>
                </a:cubicBezTo>
                <a:cubicBezTo>
                  <a:pt x="98" y="28"/>
                  <a:pt x="96" y="25"/>
                  <a:pt x="96" y="20"/>
                </a:cubicBezTo>
                <a:cubicBezTo>
                  <a:pt x="96" y="15"/>
                  <a:pt x="92" y="16"/>
                  <a:pt x="92" y="10"/>
                </a:cubicBezTo>
                <a:cubicBezTo>
                  <a:pt x="92" y="4"/>
                  <a:pt x="83" y="0"/>
                  <a:pt x="78" y="0"/>
                </a:cubicBezTo>
                <a:cubicBezTo>
                  <a:pt x="73" y="0"/>
                  <a:pt x="79" y="9"/>
                  <a:pt x="81" y="12"/>
                </a:cubicBezTo>
                <a:cubicBezTo>
                  <a:pt x="84" y="15"/>
                  <a:pt x="89" y="18"/>
                  <a:pt x="89" y="20"/>
                </a:cubicBezTo>
                <a:cubicBezTo>
                  <a:pt x="89" y="22"/>
                  <a:pt x="93" y="28"/>
                  <a:pt x="96" y="29"/>
                </a:cubicBezTo>
                <a:cubicBezTo>
                  <a:pt x="99" y="30"/>
                  <a:pt x="94" y="39"/>
                  <a:pt x="94" y="46"/>
                </a:cubicBezTo>
                <a:cubicBezTo>
                  <a:pt x="94" y="53"/>
                  <a:pt x="89" y="51"/>
                  <a:pt x="85" y="56"/>
                </a:cubicBezTo>
                <a:cubicBezTo>
                  <a:pt x="81" y="60"/>
                  <a:pt x="94" y="65"/>
                  <a:pt x="100" y="69"/>
                </a:cubicBezTo>
                <a:cubicBezTo>
                  <a:pt x="105" y="74"/>
                  <a:pt x="95" y="85"/>
                  <a:pt x="97" y="87"/>
                </a:cubicBezTo>
                <a:cubicBezTo>
                  <a:pt x="97" y="89"/>
                  <a:pt x="101" y="90"/>
                  <a:pt x="107" y="89"/>
                </a:cubicBezTo>
                <a:cubicBezTo>
                  <a:pt x="113" y="87"/>
                  <a:pt x="115" y="75"/>
                  <a:pt x="119" y="71"/>
                </a:cubicBezTo>
                <a:cubicBezTo>
                  <a:pt x="123" y="68"/>
                  <a:pt x="121" y="62"/>
                  <a:pt x="123" y="60"/>
                </a:cubicBezTo>
                <a:cubicBezTo>
                  <a:pt x="125" y="57"/>
                  <a:pt x="128" y="57"/>
                  <a:pt x="130" y="57"/>
                </a:cubicBezTo>
                <a:cubicBezTo>
                  <a:pt x="133" y="57"/>
                  <a:pt x="132" y="50"/>
                  <a:pt x="135" y="50"/>
                </a:cubicBezTo>
                <a:cubicBezTo>
                  <a:pt x="139" y="50"/>
                  <a:pt x="137" y="46"/>
                  <a:pt x="139" y="40"/>
                </a:cubicBezTo>
                <a:cubicBezTo>
                  <a:pt x="141" y="35"/>
                  <a:pt x="130" y="37"/>
                  <a:pt x="128" y="4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5" name="Freeform 152"/>
          <p:cNvSpPr>
            <a:spLocks noEditPoints="1"/>
          </p:cNvSpPr>
          <p:nvPr/>
        </p:nvSpPr>
        <p:spPr bwMode="auto">
          <a:xfrm>
            <a:off x="10360267" y="4936193"/>
            <a:ext cx="68609" cy="64442"/>
          </a:xfrm>
          <a:custGeom>
            <a:cxnLst>
              <a:cxn ang="0">
                <a:pos x="4" y="24"/>
              </a:cxn>
              <a:cxn ang="0">
                <a:pos x="17" y="20"/>
              </a:cxn>
              <a:cxn ang="0">
                <a:pos x="4" y="24"/>
              </a:cxn>
              <a:cxn ang="0">
                <a:pos x="20" y="10"/>
              </a:cxn>
              <a:cxn ang="0">
                <a:pos x="31" y="4"/>
              </a:cxn>
              <a:cxn ang="0">
                <a:pos x="20" y="10"/>
              </a:cxn>
            </a:cxnLst>
            <a:rect b="b" l="0" r="r" t="0"/>
            <a:pathLst>
              <a:path h="28" w="31">
                <a:moveTo>
                  <a:pt x="4" y="24"/>
                </a:moveTo>
                <a:cubicBezTo>
                  <a:pt x="8" y="28"/>
                  <a:pt x="17" y="27"/>
                  <a:pt x="17" y="20"/>
                </a:cubicBezTo>
                <a:cubicBezTo>
                  <a:pt x="17" y="13"/>
                  <a:pt x="0" y="20"/>
                  <a:pt x="4" y="24"/>
                </a:cubicBezTo>
                <a:close/>
                <a:moveTo>
                  <a:pt x="20" y="10"/>
                </a:moveTo>
                <a:cubicBezTo>
                  <a:pt x="22" y="11"/>
                  <a:pt x="31" y="8"/>
                  <a:pt x="31" y="4"/>
                </a:cubicBezTo>
                <a:cubicBezTo>
                  <a:pt x="31" y="0"/>
                  <a:pt x="15" y="9"/>
                  <a:pt x="20" y="10"/>
                </a:cubicBezTo>
                <a:close/>
              </a:path>
            </a:pathLst>
          </a:custGeom>
          <a:solidFill>
            <a:schemeClr val="bg1">
              <a:lumMod val="50000"/>
            </a:schemeClr>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6" name="Freeform 153"/>
          <p:cNvSpPr/>
          <p:nvPr/>
        </p:nvSpPr>
        <p:spPr bwMode="auto">
          <a:xfrm>
            <a:off x="7235800" y="3328940"/>
            <a:ext cx="361586" cy="233128"/>
          </a:xfrm>
          <a:custGeom>
            <a:cxnLst>
              <a:cxn ang="0">
                <a:pos x="161" y="64"/>
              </a:cxn>
              <a:cxn ang="0">
                <a:pos x="151" y="61"/>
              </a:cxn>
              <a:cxn ang="0">
                <a:pos x="139" y="53"/>
              </a:cxn>
              <a:cxn ang="0">
                <a:pos x="126" y="45"/>
              </a:cxn>
              <a:cxn ang="0">
                <a:pos x="115" y="37"/>
              </a:cxn>
              <a:cxn ang="0">
                <a:pos x="110" y="28"/>
              </a:cxn>
              <a:cxn ang="0">
                <a:pos x="105" y="20"/>
              </a:cxn>
              <a:cxn ang="0">
                <a:pos x="88" y="18"/>
              </a:cxn>
              <a:cxn ang="0">
                <a:pos x="84" y="6"/>
              </a:cxn>
              <a:cxn ang="0">
                <a:pos x="76" y="3"/>
              </a:cxn>
              <a:cxn ang="0">
                <a:pos x="68" y="1"/>
              </a:cxn>
              <a:cxn ang="0">
                <a:pos x="63" y="4"/>
              </a:cxn>
              <a:cxn ang="0">
                <a:pos x="59" y="8"/>
              </a:cxn>
              <a:cxn ang="0">
                <a:pos x="51" y="14"/>
              </a:cxn>
              <a:cxn ang="0">
                <a:pos x="47" y="19"/>
              </a:cxn>
              <a:cxn ang="0">
                <a:pos x="39" y="17"/>
              </a:cxn>
              <a:cxn ang="0">
                <a:pos x="31" y="15"/>
              </a:cxn>
              <a:cxn ang="0">
                <a:pos x="17" y="5"/>
              </a:cxn>
              <a:cxn ang="0">
                <a:pos x="6" y="11"/>
              </a:cxn>
              <a:cxn ang="0">
                <a:pos x="11" y="9"/>
              </a:cxn>
              <a:cxn ang="0">
                <a:pos x="20" y="19"/>
              </a:cxn>
              <a:cxn ang="0">
                <a:pos x="25" y="26"/>
              </a:cxn>
              <a:cxn ang="0">
                <a:pos x="14" y="28"/>
              </a:cxn>
              <a:cxn ang="0">
                <a:pos x="3" y="28"/>
              </a:cxn>
              <a:cxn ang="0">
                <a:pos x="6" y="38"/>
              </a:cxn>
              <a:cxn ang="0">
                <a:pos x="6" y="45"/>
              </a:cxn>
              <a:cxn ang="0">
                <a:pos x="13" y="47"/>
              </a:cxn>
              <a:cxn ang="0">
                <a:pos x="15" y="56"/>
              </a:cxn>
              <a:cxn ang="0">
                <a:pos x="15" y="71"/>
              </a:cxn>
              <a:cxn ang="0">
                <a:pos x="24" y="70"/>
              </a:cxn>
              <a:cxn ang="0">
                <a:pos x="34" y="63"/>
              </a:cxn>
              <a:cxn ang="0">
                <a:pos x="42" y="62"/>
              </a:cxn>
              <a:cxn ang="0">
                <a:pos x="55" y="62"/>
              </a:cxn>
              <a:cxn ang="0">
                <a:pos x="64" y="66"/>
              </a:cxn>
              <a:cxn ang="0">
                <a:pos x="69" y="68"/>
              </a:cxn>
              <a:cxn ang="0">
                <a:pos x="79" y="71"/>
              </a:cxn>
              <a:cxn ang="0">
                <a:pos x="84" y="75"/>
              </a:cxn>
              <a:cxn ang="0">
                <a:pos x="91" y="82"/>
              </a:cxn>
              <a:cxn ang="0">
                <a:pos x="99" y="83"/>
              </a:cxn>
              <a:cxn ang="0">
                <a:pos x="101" y="97"/>
              </a:cxn>
              <a:cxn ang="0">
                <a:pos x="104" y="96"/>
              </a:cxn>
              <a:cxn ang="0">
                <a:pos x="112" y="99"/>
              </a:cxn>
              <a:cxn ang="0">
                <a:pos x="122" y="95"/>
              </a:cxn>
              <a:cxn ang="0">
                <a:pos x="138" y="86"/>
              </a:cxn>
              <a:cxn ang="0">
                <a:pos x="144" y="75"/>
              </a:cxn>
              <a:cxn ang="0">
                <a:pos x="153" y="69"/>
              </a:cxn>
              <a:cxn ang="0">
                <a:pos x="162" y="71"/>
              </a:cxn>
              <a:cxn ang="0">
                <a:pos x="161" y="64"/>
              </a:cxn>
            </a:cxnLst>
            <a:rect b="b" l="0" r="r" t="0"/>
            <a:pathLst>
              <a:path h="102" w="162">
                <a:moveTo>
                  <a:pt x="161" y="64"/>
                </a:moveTo>
                <a:cubicBezTo>
                  <a:pt x="161" y="64"/>
                  <a:pt x="153" y="60"/>
                  <a:pt x="151" y="61"/>
                </a:cubicBezTo>
                <a:cubicBezTo>
                  <a:pt x="148" y="61"/>
                  <a:pt x="144" y="55"/>
                  <a:pt x="139" y="53"/>
                </a:cubicBezTo>
                <a:cubicBezTo>
                  <a:pt x="134" y="51"/>
                  <a:pt x="128" y="48"/>
                  <a:pt x="126" y="45"/>
                </a:cubicBezTo>
                <a:cubicBezTo>
                  <a:pt x="124" y="42"/>
                  <a:pt x="116" y="39"/>
                  <a:pt x="115" y="37"/>
                </a:cubicBezTo>
                <a:cubicBezTo>
                  <a:pt x="114" y="35"/>
                  <a:pt x="112" y="31"/>
                  <a:pt x="110" y="28"/>
                </a:cubicBezTo>
                <a:cubicBezTo>
                  <a:pt x="107" y="25"/>
                  <a:pt x="107" y="21"/>
                  <a:pt x="105" y="20"/>
                </a:cubicBezTo>
                <a:cubicBezTo>
                  <a:pt x="103" y="20"/>
                  <a:pt x="88" y="20"/>
                  <a:pt x="88" y="18"/>
                </a:cubicBezTo>
                <a:cubicBezTo>
                  <a:pt x="88" y="16"/>
                  <a:pt x="87" y="7"/>
                  <a:pt x="84" y="6"/>
                </a:cubicBezTo>
                <a:cubicBezTo>
                  <a:pt x="81" y="6"/>
                  <a:pt x="77" y="5"/>
                  <a:pt x="76" y="3"/>
                </a:cubicBezTo>
                <a:cubicBezTo>
                  <a:pt x="74" y="2"/>
                  <a:pt x="69" y="0"/>
                  <a:pt x="68" y="1"/>
                </a:cubicBezTo>
                <a:cubicBezTo>
                  <a:pt x="67" y="3"/>
                  <a:pt x="64" y="4"/>
                  <a:pt x="63" y="4"/>
                </a:cubicBezTo>
                <a:cubicBezTo>
                  <a:pt x="62" y="4"/>
                  <a:pt x="62" y="8"/>
                  <a:pt x="59" y="8"/>
                </a:cubicBezTo>
                <a:cubicBezTo>
                  <a:pt x="56" y="8"/>
                  <a:pt x="51" y="12"/>
                  <a:pt x="51" y="14"/>
                </a:cubicBezTo>
                <a:cubicBezTo>
                  <a:pt x="51" y="16"/>
                  <a:pt x="51" y="20"/>
                  <a:pt x="47" y="19"/>
                </a:cubicBezTo>
                <a:cubicBezTo>
                  <a:pt x="45" y="19"/>
                  <a:pt x="42" y="19"/>
                  <a:pt x="39" y="17"/>
                </a:cubicBezTo>
                <a:cubicBezTo>
                  <a:pt x="38" y="18"/>
                  <a:pt x="35" y="20"/>
                  <a:pt x="31" y="15"/>
                </a:cubicBezTo>
                <a:cubicBezTo>
                  <a:pt x="27" y="10"/>
                  <a:pt x="21" y="5"/>
                  <a:pt x="17" y="5"/>
                </a:cubicBezTo>
                <a:cubicBezTo>
                  <a:pt x="14" y="5"/>
                  <a:pt x="3" y="5"/>
                  <a:pt x="6" y="11"/>
                </a:cubicBezTo>
                <a:cubicBezTo>
                  <a:pt x="7" y="10"/>
                  <a:pt x="8" y="9"/>
                  <a:pt x="11" y="9"/>
                </a:cubicBezTo>
                <a:cubicBezTo>
                  <a:pt x="19" y="10"/>
                  <a:pt x="15" y="19"/>
                  <a:pt x="20" y="19"/>
                </a:cubicBezTo>
                <a:cubicBezTo>
                  <a:pt x="24" y="20"/>
                  <a:pt x="29" y="26"/>
                  <a:pt x="25" y="26"/>
                </a:cubicBezTo>
                <a:cubicBezTo>
                  <a:pt x="21" y="26"/>
                  <a:pt x="18" y="30"/>
                  <a:pt x="14" y="28"/>
                </a:cubicBezTo>
                <a:cubicBezTo>
                  <a:pt x="10" y="27"/>
                  <a:pt x="5" y="24"/>
                  <a:pt x="3" y="28"/>
                </a:cubicBezTo>
                <a:cubicBezTo>
                  <a:pt x="2" y="33"/>
                  <a:pt x="0" y="38"/>
                  <a:pt x="6" y="38"/>
                </a:cubicBezTo>
                <a:cubicBezTo>
                  <a:pt x="11" y="37"/>
                  <a:pt x="10" y="41"/>
                  <a:pt x="6" y="45"/>
                </a:cubicBezTo>
                <a:cubicBezTo>
                  <a:pt x="3" y="48"/>
                  <a:pt x="12" y="44"/>
                  <a:pt x="13" y="47"/>
                </a:cubicBezTo>
                <a:cubicBezTo>
                  <a:pt x="13" y="51"/>
                  <a:pt x="16" y="51"/>
                  <a:pt x="15" y="56"/>
                </a:cubicBezTo>
                <a:cubicBezTo>
                  <a:pt x="14" y="60"/>
                  <a:pt x="15" y="66"/>
                  <a:pt x="15" y="71"/>
                </a:cubicBezTo>
                <a:cubicBezTo>
                  <a:pt x="19" y="71"/>
                  <a:pt x="23" y="71"/>
                  <a:pt x="24" y="70"/>
                </a:cubicBezTo>
                <a:cubicBezTo>
                  <a:pt x="26" y="67"/>
                  <a:pt x="31" y="63"/>
                  <a:pt x="34" y="63"/>
                </a:cubicBezTo>
                <a:cubicBezTo>
                  <a:pt x="37" y="63"/>
                  <a:pt x="41" y="64"/>
                  <a:pt x="42" y="62"/>
                </a:cubicBezTo>
                <a:cubicBezTo>
                  <a:pt x="44" y="59"/>
                  <a:pt x="54" y="60"/>
                  <a:pt x="55" y="62"/>
                </a:cubicBezTo>
                <a:cubicBezTo>
                  <a:pt x="57" y="64"/>
                  <a:pt x="62" y="66"/>
                  <a:pt x="64" y="66"/>
                </a:cubicBezTo>
                <a:cubicBezTo>
                  <a:pt x="65" y="66"/>
                  <a:pt x="66" y="69"/>
                  <a:pt x="69" y="68"/>
                </a:cubicBezTo>
                <a:cubicBezTo>
                  <a:pt x="72" y="68"/>
                  <a:pt x="79" y="69"/>
                  <a:pt x="79" y="71"/>
                </a:cubicBezTo>
                <a:cubicBezTo>
                  <a:pt x="79" y="73"/>
                  <a:pt x="81" y="75"/>
                  <a:pt x="84" y="75"/>
                </a:cubicBezTo>
                <a:cubicBezTo>
                  <a:pt x="86" y="75"/>
                  <a:pt x="89" y="82"/>
                  <a:pt x="91" y="82"/>
                </a:cubicBezTo>
                <a:cubicBezTo>
                  <a:pt x="94" y="81"/>
                  <a:pt x="99" y="81"/>
                  <a:pt x="99" y="83"/>
                </a:cubicBezTo>
                <a:cubicBezTo>
                  <a:pt x="99" y="84"/>
                  <a:pt x="100" y="92"/>
                  <a:pt x="101" y="97"/>
                </a:cubicBezTo>
                <a:cubicBezTo>
                  <a:pt x="102" y="96"/>
                  <a:pt x="103" y="96"/>
                  <a:pt x="104" y="96"/>
                </a:cubicBezTo>
                <a:cubicBezTo>
                  <a:pt x="105" y="97"/>
                  <a:pt x="111" y="96"/>
                  <a:pt x="112" y="99"/>
                </a:cubicBezTo>
                <a:cubicBezTo>
                  <a:pt x="113" y="102"/>
                  <a:pt x="122" y="100"/>
                  <a:pt x="122" y="95"/>
                </a:cubicBezTo>
                <a:cubicBezTo>
                  <a:pt x="121" y="90"/>
                  <a:pt x="136" y="90"/>
                  <a:pt x="138" y="86"/>
                </a:cubicBezTo>
                <a:cubicBezTo>
                  <a:pt x="139" y="81"/>
                  <a:pt x="141" y="73"/>
                  <a:pt x="144" y="75"/>
                </a:cubicBezTo>
                <a:cubicBezTo>
                  <a:pt x="148" y="76"/>
                  <a:pt x="150" y="69"/>
                  <a:pt x="153" y="69"/>
                </a:cubicBezTo>
                <a:cubicBezTo>
                  <a:pt x="156" y="70"/>
                  <a:pt x="158" y="72"/>
                  <a:pt x="162" y="71"/>
                </a:cubicBezTo>
                <a:lnTo>
                  <a:pt x="161" y="64"/>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7" name="Freeform 154"/>
          <p:cNvSpPr/>
          <p:nvPr/>
        </p:nvSpPr>
        <p:spPr bwMode="auto">
          <a:xfrm>
            <a:off x="7016995" y="3412335"/>
            <a:ext cx="496948" cy="430244"/>
          </a:xfrm>
          <a:custGeom>
            <a:cxnLst>
              <a:cxn ang="0">
                <a:pos x="217" y="162"/>
              </a:cxn>
              <a:cxn ang="0">
                <a:pos x="212" y="150"/>
              </a:cxn>
              <a:cxn ang="0">
                <a:pos x="200" y="140"/>
              </a:cxn>
              <a:cxn ang="0">
                <a:pos x="192" y="130"/>
              </a:cxn>
              <a:cxn ang="0">
                <a:pos x="204" y="114"/>
              </a:cxn>
              <a:cxn ang="0">
                <a:pos x="193" y="108"/>
              </a:cxn>
              <a:cxn ang="0">
                <a:pos x="191" y="95"/>
              </a:cxn>
              <a:cxn ang="0">
                <a:pos x="191" y="83"/>
              </a:cxn>
              <a:cxn ang="0">
                <a:pos x="192" y="74"/>
              </a:cxn>
              <a:cxn ang="0">
                <a:pos x="197" y="65"/>
              </a:cxn>
              <a:cxn ang="0">
                <a:pos x="199" y="60"/>
              </a:cxn>
              <a:cxn ang="0">
                <a:pos x="197" y="46"/>
              </a:cxn>
              <a:cxn ang="0">
                <a:pos x="189" y="45"/>
              </a:cxn>
              <a:cxn ang="0">
                <a:pos x="182" y="38"/>
              </a:cxn>
              <a:cxn ang="0">
                <a:pos x="177" y="34"/>
              </a:cxn>
              <a:cxn ang="0">
                <a:pos x="167" y="31"/>
              </a:cxn>
              <a:cxn ang="0">
                <a:pos x="162" y="29"/>
              </a:cxn>
              <a:cxn ang="0">
                <a:pos x="153" y="25"/>
              </a:cxn>
              <a:cxn ang="0">
                <a:pos x="140" y="25"/>
              </a:cxn>
              <a:cxn ang="0">
                <a:pos x="132" y="26"/>
              </a:cxn>
              <a:cxn ang="0">
                <a:pos x="122" y="33"/>
              </a:cxn>
              <a:cxn ang="0">
                <a:pos x="113" y="34"/>
              </a:cxn>
              <a:cxn ang="0">
                <a:pos x="113" y="40"/>
              </a:cxn>
              <a:cxn ang="0">
                <a:pos x="88" y="46"/>
              </a:cxn>
              <a:cxn ang="0">
                <a:pos x="68" y="33"/>
              </a:cxn>
              <a:cxn ang="0">
                <a:pos x="54" y="20"/>
              </a:cxn>
              <a:cxn ang="0">
                <a:pos x="46" y="14"/>
              </a:cxn>
              <a:cxn ang="0">
                <a:pos x="44" y="4"/>
              </a:cxn>
              <a:cxn ang="0">
                <a:pos x="21" y="14"/>
              </a:cxn>
              <a:cxn ang="0">
                <a:pos x="13" y="9"/>
              </a:cxn>
              <a:cxn ang="0">
                <a:pos x="7" y="1"/>
              </a:cxn>
              <a:cxn ang="0">
                <a:pos x="3" y="6"/>
              </a:cxn>
              <a:cxn ang="0">
                <a:pos x="3" y="16"/>
              </a:cxn>
              <a:cxn ang="0">
                <a:pos x="3" y="28"/>
              </a:cxn>
              <a:cxn ang="0">
                <a:pos x="9" y="37"/>
              </a:cxn>
              <a:cxn ang="0">
                <a:pos x="13" y="46"/>
              </a:cxn>
              <a:cxn ang="0">
                <a:pos x="19" y="52"/>
              </a:cxn>
              <a:cxn ang="0">
                <a:pos x="23" y="56"/>
              </a:cxn>
              <a:cxn ang="0">
                <a:pos x="22" y="63"/>
              </a:cxn>
              <a:cxn ang="0">
                <a:pos x="17" y="72"/>
              </a:cxn>
              <a:cxn ang="0">
                <a:pos x="19" y="82"/>
              </a:cxn>
              <a:cxn ang="0">
                <a:pos x="24" y="88"/>
              </a:cxn>
              <a:cxn ang="0">
                <a:pos x="37" y="97"/>
              </a:cxn>
              <a:cxn ang="0">
                <a:pos x="42" y="103"/>
              </a:cxn>
              <a:cxn ang="0">
                <a:pos x="41" y="111"/>
              </a:cxn>
              <a:cxn ang="0">
                <a:pos x="45" y="119"/>
              </a:cxn>
              <a:cxn ang="0">
                <a:pos x="51" y="127"/>
              </a:cxn>
              <a:cxn ang="0">
                <a:pos x="54" y="127"/>
              </a:cxn>
              <a:cxn ang="0">
                <a:pos x="59" y="126"/>
              </a:cxn>
              <a:cxn ang="0">
                <a:pos x="67" y="125"/>
              </a:cxn>
              <a:cxn ang="0">
                <a:pos x="79" y="143"/>
              </a:cxn>
              <a:cxn ang="0">
                <a:pos x="85" y="153"/>
              </a:cxn>
              <a:cxn ang="0">
                <a:pos x="99" y="160"/>
              </a:cxn>
              <a:cxn ang="0">
                <a:pos x="125" y="170"/>
              </a:cxn>
              <a:cxn ang="0">
                <a:pos x="143" y="165"/>
              </a:cxn>
              <a:cxn ang="0">
                <a:pos x="151" y="180"/>
              </a:cxn>
              <a:cxn ang="0">
                <a:pos x="191" y="187"/>
              </a:cxn>
              <a:cxn ang="0">
                <a:pos x="202" y="188"/>
              </a:cxn>
              <a:cxn ang="0">
                <a:pos x="202" y="185"/>
              </a:cxn>
              <a:cxn ang="0">
                <a:pos x="209" y="174"/>
              </a:cxn>
              <a:cxn ang="0">
                <a:pos x="220" y="171"/>
              </a:cxn>
              <a:cxn ang="0">
                <a:pos x="217" y="162"/>
              </a:cxn>
            </a:cxnLst>
            <a:rect b="b" l="0" r="r" t="0"/>
            <a:pathLst>
              <a:path h="188" w="223">
                <a:moveTo>
                  <a:pt x="217" y="162"/>
                </a:moveTo>
                <a:cubicBezTo>
                  <a:pt x="214" y="161"/>
                  <a:pt x="217" y="152"/>
                  <a:pt x="212" y="150"/>
                </a:cubicBezTo>
                <a:cubicBezTo>
                  <a:pt x="206" y="148"/>
                  <a:pt x="201" y="144"/>
                  <a:pt x="200" y="140"/>
                </a:cubicBezTo>
                <a:cubicBezTo>
                  <a:pt x="199" y="136"/>
                  <a:pt x="192" y="133"/>
                  <a:pt x="192" y="130"/>
                </a:cubicBezTo>
                <a:cubicBezTo>
                  <a:pt x="193" y="128"/>
                  <a:pt x="206" y="119"/>
                  <a:pt x="204" y="114"/>
                </a:cubicBezTo>
                <a:cubicBezTo>
                  <a:pt x="202" y="109"/>
                  <a:pt x="194" y="110"/>
                  <a:pt x="193" y="108"/>
                </a:cubicBezTo>
                <a:cubicBezTo>
                  <a:pt x="192" y="107"/>
                  <a:pt x="193" y="100"/>
                  <a:pt x="191" y="95"/>
                </a:cubicBezTo>
                <a:cubicBezTo>
                  <a:pt x="189" y="91"/>
                  <a:pt x="193" y="86"/>
                  <a:pt x="191" y="83"/>
                </a:cubicBezTo>
                <a:cubicBezTo>
                  <a:pt x="189" y="81"/>
                  <a:pt x="192" y="75"/>
                  <a:pt x="192" y="74"/>
                </a:cubicBezTo>
                <a:cubicBezTo>
                  <a:pt x="193" y="72"/>
                  <a:pt x="197" y="69"/>
                  <a:pt x="197" y="65"/>
                </a:cubicBezTo>
                <a:cubicBezTo>
                  <a:pt x="197" y="62"/>
                  <a:pt x="198" y="60"/>
                  <a:pt x="199" y="60"/>
                </a:cubicBezTo>
                <a:cubicBezTo>
                  <a:pt x="198" y="55"/>
                  <a:pt x="197" y="47"/>
                  <a:pt x="197" y="46"/>
                </a:cubicBezTo>
                <a:cubicBezTo>
                  <a:pt x="197" y="44"/>
                  <a:pt x="192" y="44"/>
                  <a:pt x="189" y="45"/>
                </a:cubicBezTo>
                <a:cubicBezTo>
                  <a:pt x="187" y="45"/>
                  <a:pt x="184" y="38"/>
                  <a:pt x="182" y="38"/>
                </a:cubicBezTo>
                <a:cubicBezTo>
                  <a:pt x="179" y="38"/>
                  <a:pt x="177" y="36"/>
                  <a:pt x="177" y="34"/>
                </a:cubicBezTo>
                <a:cubicBezTo>
                  <a:pt x="177" y="32"/>
                  <a:pt x="170" y="31"/>
                  <a:pt x="167" y="31"/>
                </a:cubicBezTo>
                <a:cubicBezTo>
                  <a:pt x="164" y="32"/>
                  <a:pt x="163" y="29"/>
                  <a:pt x="162" y="29"/>
                </a:cubicBezTo>
                <a:cubicBezTo>
                  <a:pt x="160" y="29"/>
                  <a:pt x="155" y="27"/>
                  <a:pt x="153" y="25"/>
                </a:cubicBezTo>
                <a:cubicBezTo>
                  <a:pt x="152" y="23"/>
                  <a:pt x="142" y="22"/>
                  <a:pt x="140" y="25"/>
                </a:cubicBezTo>
                <a:cubicBezTo>
                  <a:pt x="139" y="27"/>
                  <a:pt x="135" y="26"/>
                  <a:pt x="132" y="26"/>
                </a:cubicBezTo>
                <a:cubicBezTo>
                  <a:pt x="129" y="26"/>
                  <a:pt x="124" y="30"/>
                  <a:pt x="122" y="33"/>
                </a:cubicBezTo>
                <a:cubicBezTo>
                  <a:pt x="121" y="34"/>
                  <a:pt x="117" y="34"/>
                  <a:pt x="113" y="34"/>
                </a:cubicBezTo>
                <a:cubicBezTo>
                  <a:pt x="113" y="37"/>
                  <a:pt x="113" y="39"/>
                  <a:pt x="113" y="40"/>
                </a:cubicBezTo>
                <a:cubicBezTo>
                  <a:pt x="111" y="43"/>
                  <a:pt x="98" y="45"/>
                  <a:pt x="88" y="46"/>
                </a:cubicBezTo>
                <a:cubicBezTo>
                  <a:pt x="79" y="46"/>
                  <a:pt x="78" y="33"/>
                  <a:pt x="68" y="33"/>
                </a:cubicBezTo>
                <a:cubicBezTo>
                  <a:pt x="60" y="33"/>
                  <a:pt x="54" y="26"/>
                  <a:pt x="54" y="20"/>
                </a:cubicBezTo>
                <a:cubicBezTo>
                  <a:pt x="50" y="18"/>
                  <a:pt x="45" y="15"/>
                  <a:pt x="46" y="14"/>
                </a:cubicBezTo>
                <a:cubicBezTo>
                  <a:pt x="47" y="12"/>
                  <a:pt x="49" y="1"/>
                  <a:pt x="44" y="4"/>
                </a:cubicBezTo>
                <a:cubicBezTo>
                  <a:pt x="38" y="6"/>
                  <a:pt x="31" y="15"/>
                  <a:pt x="21" y="14"/>
                </a:cubicBezTo>
                <a:cubicBezTo>
                  <a:pt x="11" y="12"/>
                  <a:pt x="18" y="11"/>
                  <a:pt x="13" y="9"/>
                </a:cubicBezTo>
                <a:cubicBezTo>
                  <a:pt x="9" y="7"/>
                  <a:pt x="12" y="2"/>
                  <a:pt x="7" y="1"/>
                </a:cubicBezTo>
                <a:cubicBezTo>
                  <a:pt x="2" y="0"/>
                  <a:pt x="5" y="6"/>
                  <a:pt x="3" y="6"/>
                </a:cubicBezTo>
                <a:cubicBezTo>
                  <a:pt x="0" y="6"/>
                  <a:pt x="2" y="14"/>
                  <a:pt x="3" y="16"/>
                </a:cubicBezTo>
                <a:cubicBezTo>
                  <a:pt x="4" y="18"/>
                  <a:pt x="1" y="27"/>
                  <a:pt x="3" y="28"/>
                </a:cubicBezTo>
                <a:cubicBezTo>
                  <a:pt x="5" y="28"/>
                  <a:pt x="9" y="35"/>
                  <a:pt x="9" y="37"/>
                </a:cubicBezTo>
                <a:cubicBezTo>
                  <a:pt x="8" y="38"/>
                  <a:pt x="13" y="43"/>
                  <a:pt x="13" y="46"/>
                </a:cubicBezTo>
                <a:cubicBezTo>
                  <a:pt x="13" y="49"/>
                  <a:pt x="17" y="52"/>
                  <a:pt x="19" y="52"/>
                </a:cubicBezTo>
                <a:cubicBezTo>
                  <a:pt x="21" y="52"/>
                  <a:pt x="24" y="54"/>
                  <a:pt x="23" y="56"/>
                </a:cubicBezTo>
                <a:cubicBezTo>
                  <a:pt x="22" y="59"/>
                  <a:pt x="25" y="63"/>
                  <a:pt x="22" y="63"/>
                </a:cubicBezTo>
                <a:cubicBezTo>
                  <a:pt x="19" y="63"/>
                  <a:pt x="20" y="71"/>
                  <a:pt x="17" y="72"/>
                </a:cubicBezTo>
                <a:cubicBezTo>
                  <a:pt x="15" y="73"/>
                  <a:pt x="17" y="81"/>
                  <a:pt x="19" y="82"/>
                </a:cubicBezTo>
                <a:cubicBezTo>
                  <a:pt x="21" y="83"/>
                  <a:pt x="25" y="85"/>
                  <a:pt x="24" y="88"/>
                </a:cubicBezTo>
                <a:cubicBezTo>
                  <a:pt x="24" y="91"/>
                  <a:pt x="34" y="96"/>
                  <a:pt x="37" y="97"/>
                </a:cubicBezTo>
                <a:cubicBezTo>
                  <a:pt x="40" y="97"/>
                  <a:pt x="40" y="102"/>
                  <a:pt x="42" y="103"/>
                </a:cubicBezTo>
                <a:cubicBezTo>
                  <a:pt x="44" y="105"/>
                  <a:pt x="41" y="109"/>
                  <a:pt x="41" y="111"/>
                </a:cubicBezTo>
                <a:cubicBezTo>
                  <a:pt x="42" y="113"/>
                  <a:pt x="46" y="115"/>
                  <a:pt x="45" y="119"/>
                </a:cubicBezTo>
                <a:cubicBezTo>
                  <a:pt x="45" y="121"/>
                  <a:pt x="48" y="124"/>
                  <a:pt x="51" y="127"/>
                </a:cubicBezTo>
                <a:cubicBezTo>
                  <a:pt x="52" y="127"/>
                  <a:pt x="53" y="127"/>
                  <a:pt x="54" y="127"/>
                </a:cubicBezTo>
                <a:cubicBezTo>
                  <a:pt x="57" y="127"/>
                  <a:pt x="57" y="124"/>
                  <a:pt x="59" y="126"/>
                </a:cubicBezTo>
                <a:cubicBezTo>
                  <a:pt x="62" y="128"/>
                  <a:pt x="65" y="126"/>
                  <a:pt x="67" y="125"/>
                </a:cubicBezTo>
                <a:cubicBezTo>
                  <a:pt x="70" y="125"/>
                  <a:pt x="76" y="137"/>
                  <a:pt x="79" y="143"/>
                </a:cubicBezTo>
                <a:cubicBezTo>
                  <a:pt x="82" y="149"/>
                  <a:pt x="81" y="151"/>
                  <a:pt x="85" y="153"/>
                </a:cubicBezTo>
                <a:cubicBezTo>
                  <a:pt x="89" y="156"/>
                  <a:pt x="93" y="155"/>
                  <a:pt x="99" y="160"/>
                </a:cubicBezTo>
                <a:cubicBezTo>
                  <a:pt x="104" y="166"/>
                  <a:pt x="119" y="170"/>
                  <a:pt x="125" y="170"/>
                </a:cubicBezTo>
                <a:cubicBezTo>
                  <a:pt x="131" y="170"/>
                  <a:pt x="135" y="164"/>
                  <a:pt x="143" y="165"/>
                </a:cubicBezTo>
                <a:cubicBezTo>
                  <a:pt x="150" y="167"/>
                  <a:pt x="149" y="176"/>
                  <a:pt x="151" y="180"/>
                </a:cubicBezTo>
                <a:cubicBezTo>
                  <a:pt x="154" y="183"/>
                  <a:pt x="185" y="186"/>
                  <a:pt x="191" y="187"/>
                </a:cubicBezTo>
                <a:cubicBezTo>
                  <a:pt x="193" y="188"/>
                  <a:pt x="197" y="188"/>
                  <a:pt x="202" y="188"/>
                </a:cubicBezTo>
                <a:cubicBezTo>
                  <a:pt x="202" y="187"/>
                  <a:pt x="202" y="186"/>
                  <a:pt x="202" y="185"/>
                </a:cubicBezTo>
                <a:cubicBezTo>
                  <a:pt x="202" y="180"/>
                  <a:pt x="206" y="176"/>
                  <a:pt x="209" y="174"/>
                </a:cubicBezTo>
                <a:cubicBezTo>
                  <a:pt x="213" y="172"/>
                  <a:pt x="216" y="171"/>
                  <a:pt x="220" y="171"/>
                </a:cubicBezTo>
                <a:cubicBezTo>
                  <a:pt x="223" y="170"/>
                  <a:pt x="220" y="163"/>
                  <a:pt x="217" y="16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8" name="Freeform 155"/>
          <p:cNvSpPr>
            <a:spLocks noEditPoints="1"/>
          </p:cNvSpPr>
          <p:nvPr/>
        </p:nvSpPr>
        <p:spPr bwMode="auto">
          <a:xfrm>
            <a:off x="7081894" y="2904382"/>
            <a:ext cx="1023564" cy="492790"/>
          </a:xfrm>
          <a:custGeom>
            <a:cxnLst>
              <a:cxn ang="0">
                <a:pos x="444" y="89"/>
              </a:cxn>
              <a:cxn ang="0">
                <a:pos x="429" y="75"/>
              </a:cxn>
              <a:cxn ang="0">
                <a:pos x="399" y="70"/>
              </a:cxn>
              <a:cxn ang="0">
                <a:pos x="372" y="51"/>
              </a:cxn>
              <a:cxn ang="0">
                <a:pos x="341" y="17"/>
              </a:cxn>
              <a:cxn ang="0">
                <a:pos x="310" y="30"/>
              </a:cxn>
              <a:cxn ang="0">
                <a:pos x="302" y="21"/>
              </a:cxn>
              <a:cxn ang="0">
                <a:pos x="285" y="19"/>
              </a:cxn>
              <a:cxn ang="0">
                <a:pos x="277" y="2"/>
              </a:cxn>
              <a:cxn ang="0">
                <a:pos x="237" y="10"/>
              </a:cxn>
              <a:cxn ang="0">
                <a:pos x="193" y="20"/>
              </a:cxn>
              <a:cxn ang="0">
                <a:pos x="170" y="31"/>
              </a:cxn>
              <a:cxn ang="0">
                <a:pos x="166" y="46"/>
              </a:cxn>
              <a:cxn ang="0">
                <a:pos x="170" y="61"/>
              </a:cxn>
              <a:cxn ang="0">
                <a:pos x="158" y="69"/>
              </a:cxn>
              <a:cxn ang="0">
                <a:pos x="141" y="68"/>
              </a:cxn>
              <a:cxn ang="0">
                <a:pos x="112" y="70"/>
              </a:cxn>
              <a:cxn ang="0">
                <a:pos x="92" y="70"/>
              </a:cxn>
              <a:cxn ang="0">
                <a:pos x="62" y="58"/>
              </a:cxn>
              <a:cxn ang="0">
                <a:pos x="35" y="66"/>
              </a:cxn>
              <a:cxn ang="0">
                <a:pos x="25" y="84"/>
              </a:cxn>
              <a:cxn ang="0">
                <a:pos x="4" y="88"/>
              </a:cxn>
              <a:cxn ang="0">
                <a:pos x="1" y="104"/>
              </a:cxn>
              <a:cxn ang="0">
                <a:pos x="17" y="114"/>
              </a:cxn>
              <a:cxn ang="0">
                <a:pos x="28" y="134"/>
              </a:cxn>
              <a:cxn ang="0">
                <a:pos x="58" y="127"/>
              </a:cxn>
              <a:cxn ang="0">
                <a:pos x="65" y="150"/>
              </a:cxn>
              <a:cxn ang="0">
                <a:pos x="44" y="165"/>
              </a:cxn>
              <a:cxn ang="0">
                <a:pos x="64" y="185"/>
              </a:cxn>
              <a:cxn ang="0">
                <a:pos x="75" y="197"/>
              </a:cxn>
              <a:cxn ang="0">
                <a:pos x="108" y="203"/>
              </a:cxn>
              <a:cxn ang="0">
                <a:pos x="139" y="144"/>
              </a:cxn>
              <a:cxn ang="0">
                <a:pos x="157" y="146"/>
              </a:cxn>
              <a:cxn ang="0">
                <a:pos x="191" y="174"/>
              </a:cxn>
              <a:cxn ang="0">
                <a:pos x="225" y="192"/>
              </a:cxn>
              <a:cxn ang="0">
                <a:pos x="250" y="212"/>
              </a:cxn>
              <a:cxn ang="0">
                <a:pos x="274" y="201"/>
              </a:cxn>
              <a:cxn ang="0">
                <a:pos x="299" y="187"/>
              </a:cxn>
              <a:cxn ang="0">
                <a:pos x="336" y="185"/>
              </a:cxn>
              <a:cxn ang="0">
                <a:pos x="385" y="193"/>
              </a:cxn>
              <a:cxn ang="0">
                <a:pos x="386" y="167"/>
              </a:cxn>
              <a:cxn ang="0">
                <a:pos x="401" y="151"/>
              </a:cxn>
              <a:cxn ang="0">
                <a:pos x="416" y="126"/>
              </a:cxn>
              <a:cxn ang="0">
                <a:pos x="445" y="123"/>
              </a:cxn>
              <a:cxn ang="0">
                <a:pos x="455" y="99"/>
              </a:cxn>
              <a:cxn ang="0">
                <a:pos x="171" y="137"/>
              </a:cxn>
              <a:cxn ang="0">
                <a:pos x="361" y="136"/>
              </a:cxn>
              <a:cxn ang="0">
                <a:pos x="315" y="136"/>
              </a:cxn>
              <a:cxn ang="0">
                <a:pos x="361" y="136"/>
              </a:cxn>
            </a:cxnLst>
            <a:rect b="b" l="0" r="r" t="0"/>
            <a:pathLst>
              <a:path h="216" w="459">
                <a:moveTo>
                  <a:pt x="457" y="88"/>
                </a:moveTo>
                <a:cubicBezTo>
                  <a:pt x="456" y="86"/>
                  <a:pt x="454" y="87"/>
                  <a:pt x="453" y="88"/>
                </a:cubicBezTo>
                <a:cubicBezTo>
                  <a:pt x="451" y="89"/>
                  <a:pt x="446" y="89"/>
                  <a:pt x="444" y="89"/>
                </a:cubicBezTo>
                <a:cubicBezTo>
                  <a:pt x="442" y="89"/>
                  <a:pt x="438" y="87"/>
                  <a:pt x="438" y="85"/>
                </a:cubicBezTo>
                <a:cubicBezTo>
                  <a:pt x="438" y="83"/>
                  <a:pt x="438" y="80"/>
                  <a:pt x="436" y="80"/>
                </a:cubicBezTo>
                <a:cubicBezTo>
                  <a:pt x="434" y="80"/>
                  <a:pt x="431" y="79"/>
                  <a:pt x="429" y="75"/>
                </a:cubicBezTo>
                <a:cubicBezTo>
                  <a:pt x="427" y="70"/>
                  <a:pt x="424" y="70"/>
                  <a:pt x="421" y="69"/>
                </a:cubicBezTo>
                <a:cubicBezTo>
                  <a:pt x="419" y="67"/>
                  <a:pt x="413" y="71"/>
                  <a:pt x="410" y="72"/>
                </a:cubicBezTo>
                <a:cubicBezTo>
                  <a:pt x="407" y="73"/>
                  <a:pt x="403" y="71"/>
                  <a:pt x="399" y="70"/>
                </a:cubicBezTo>
                <a:cubicBezTo>
                  <a:pt x="396" y="69"/>
                  <a:pt x="394" y="63"/>
                  <a:pt x="390" y="64"/>
                </a:cubicBezTo>
                <a:cubicBezTo>
                  <a:pt x="387" y="65"/>
                  <a:pt x="386" y="71"/>
                  <a:pt x="384" y="71"/>
                </a:cubicBezTo>
                <a:cubicBezTo>
                  <a:pt x="381" y="71"/>
                  <a:pt x="377" y="58"/>
                  <a:pt x="372" y="51"/>
                </a:cubicBezTo>
                <a:cubicBezTo>
                  <a:pt x="367" y="44"/>
                  <a:pt x="359" y="29"/>
                  <a:pt x="351" y="26"/>
                </a:cubicBezTo>
                <a:cubicBezTo>
                  <a:pt x="344" y="24"/>
                  <a:pt x="346" y="20"/>
                  <a:pt x="348" y="18"/>
                </a:cubicBezTo>
                <a:cubicBezTo>
                  <a:pt x="350" y="16"/>
                  <a:pt x="344" y="15"/>
                  <a:pt x="341" y="17"/>
                </a:cubicBezTo>
                <a:cubicBezTo>
                  <a:pt x="338" y="19"/>
                  <a:pt x="334" y="22"/>
                  <a:pt x="330" y="23"/>
                </a:cubicBezTo>
                <a:cubicBezTo>
                  <a:pt x="327" y="24"/>
                  <a:pt x="322" y="29"/>
                  <a:pt x="318" y="28"/>
                </a:cubicBezTo>
                <a:cubicBezTo>
                  <a:pt x="314" y="27"/>
                  <a:pt x="313" y="33"/>
                  <a:pt x="310" y="30"/>
                </a:cubicBezTo>
                <a:cubicBezTo>
                  <a:pt x="307" y="27"/>
                  <a:pt x="314" y="25"/>
                  <a:pt x="314" y="23"/>
                </a:cubicBezTo>
                <a:cubicBezTo>
                  <a:pt x="314" y="20"/>
                  <a:pt x="309" y="23"/>
                  <a:pt x="308" y="22"/>
                </a:cubicBezTo>
                <a:cubicBezTo>
                  <a:pt x="306" y="20"/>
                  <a:pt x="302" y="19"/>
                  <a:pt x="302" y="21"/>
                </a:cubicBezTo>
                <a:cubicBezTo>
                  <a:pt x="302" y="23"/>
                  <a:pt x="299" y="22"/>
                  <a:pt x="299" y="20"/>
                </a:cubicBezTo>
                <a:cubicBezTo>
                  <a:pt x="299" y="19"/>
                  <a:pt x="297" y="15"/>
                  <a:pt x="295" y="18"/>
                </a:cubicBezTo>
                <a:cubicBezTo>
                  <a:pt x="293" y="20"/>
                  <a:pt x="286" y="21"/>
                  <a:pt x="285" y="19"/>
                </a:cubicBezTo>
                <a:cubicBezTo>
                  <a:pt x="283" y="18"/>
                  <a:pt x="286" y="17"/>
                  <a:pt x="286" y="15"/>
                </a:cubicBezTo>
                <a:cubicBezTo>
                  <a:pt x="286" y="12"/>
                  <a:pt x="283" y="9"/>
                  <a:pt x="284" y="7"/>
                </a:cubicBezTo>
                <a:cubicBezTo>
                  <a:pt x="284" y="4"/>
                  <a:pt x="279" y="1"/>
                  <a:pt x="277" y="2"/>
                </a:cubicBezTo>
                <a:cubicBezTo>
                  <a:pt x="274" y="3"/>
                  <a:pt x="271" y="2"/>
                  <a:pt x="268" y="1"/>
                </a:cubicBezTo>
                <a:cubicBezTo>
                  <a:pt x="265" y="0"/>
                  <a:pt x="254" y="2"/>
                  <a:pt x="254" y="4"/>
                </a:cubicBezTo>
                <a:cubicBezTo>
                  <a:pt x="253" y="7"/>
                  <a:pt x="240" y="9"/>
                  <a:pt x="237" y="10"/>
                </a:cubicBezTo>
                <a:cubicBezTo>
                  <a:pt x="235" y="11"/>
                  <a:pt x="225" y="12"/>
                  <a:pt x="221" y="13"/>
                </a:cubicBezTo>
                <a:cubicBezTo>
                  <a:pt x="218" y="13"/>
                  <a:pt x="214" y="16"/>
                  <a:pt x="210" y="16"/>
                </a:cubicBezTo>
                <a:cubicBezTo>
                  <a:pt x="205" y="16"/>
                  <a:pt x="197" y="17"/>
                  <a:pt x="193" y="20"/>
                </a:cubicBezTo>
                <a:cubicBezTo>
                  <a:pt x="189" y="23"/>
                  <a:pt x="182" y="20"/>
                  <a:pt x="179" y="21"/>
                </a:cubicBezTo>
                <a:cubicBezTo>
                  <a:pt x="176" y="22"/>
                  <a:pt x="171" y="21"/>
                  <a:pt x="170" y="22"/>
                </a:cubicBezTo>
                <a:cubicBezTo>
                  <a:pt x="168" y="23"/>
                  <a:pt x="169" y="29"/>
                  <a:pt x="170" y="31"/>
                </a:cubicBezTo>
                <a:cubicBezTo>
                  <a:pt x="172" y="34"/>
                  <a:pt x="180" y="35"/>
                  <a:pt x="180" y="36"/>
                </a:cubicBezTo>
                <a:cubicBezTo>
                  <a:pt x="181" y="38"/>
                  <a:pt x="172" y="38"/>
                  <a:pt x="168" y="38"/>
                </a:cubicBezTo>
                <a:cubicBezTo>
                  <a:pt x="164" y="39"/>
                  <a:pt x="165" y="44"/>
                  <a:pt x="166" y="46"/>
                </a:cubicBezTo>
                <a:cubicBezTo>
                  <a:pt x="167" y="49"/>
                  <a:pt x="162" y="51"/>
                  <a:pt x="159" y="52"/>
                </a:cubicBezTo>
                <a:cubicBezTo>
                  <a:pt x="156" y="53"/>
                  <a:pt x="159" y="58"/>
                  <a:pt x="162" y="58"/>
                </a:cubicBezTo>
                <a:cubicBezTo>
                  <a:pt x="165" y="58"/>
                  <a:pt x="168" y="61"/>
                  <a:pt x="170" y="61"/>
                </a:cubicBezTo>
                <a:cubicBezTo>
                  <a:pt x="173" y="61"/>
                  <a:pt x="173" y="66"/>
                  <a:pt x="173" y="69"/>
                </a:cubicBezTo>
                <a:cubicBezTo>
                  <a:pt x="173" y="72"/>
                  <a:pt x="170" y="73"/>
                  <a:pt x="166" y="73"/>
                </a:cubicBezTo>
                <a:cubicBezTo>
                  <a:pt x="162" y="73"/>
                  <a:pt x="160" y="70"/>
                  <a:pt x="158" y="69"/>
                </a:cubicBezTo>
                <a:cubicBezTo>
                  <a:pt x="155" y="69"/>
                  <a:pt x="156" y="74"/>
                  <a:pt x="154" y="75"/>
                </a:cubicBezTo>
                <a:cubicBezTo>
                  <a:pt x="152" y="76"/>
                  <a:pt x="151" y="71"/>
                  <a:pt x="148" y="71"/>
                </a:cubicBezTo>
                <a:cubicBezTo>
                  <a:pt x="145" y="71"/>
                  <a:pt x="142" y="71"/>
                  <a:pt x="141" y="68"/>
                </a:cubicBezTo>
                <a:cubicBezTo>
                  <a:pt x="140" y="65"/>
                  <a:pt x="133" y="64"/>
                  <a:pt x="130" y="67"/>
                </a:cubicBezTo>
                <a:cubicBezTo>
                  <a:pt x="127" y="70"/>
                  <a:pt x="126" y="69"/>
                  <a:pt x="123" y="67"/>
                </a:cubicBezTo>
                <a:cubicBezTo>
                  <a:pt x="121" y="65"/>
                  <a:pt x="113" y="68"/>
                  <a:pt x="112" y="70"/>
                </a:cubicBezTo>
                <a:cubicBezTo>
                  <a:pt x="111" y="73"/>
                  <a:pt x="106" y="74"/>
                  <a:pt x="102" y="71"/>
                </a:cubicBezTo>
                <a:cubicBezTo>
                  <a:pt x="98" y="69"/>
                  <a:pt x="95" y="68"/>
                  <a:pt x="95" y="71"/>
                </a:cubicBezTo>
                <a:cubicBezTo>
                  <a:pt x="95" y="75"/>
                  <a:pt x="92" y="72"/>
                  <a:pt x="92" y="70"/>
                </a:cubicBezTo>
                <a:cubicBezTo>
                  <a:pt x="92" y="68"/>
                  <a:pt x="86" y="64"/>
                  <a:pt x="83" y="62"/>
                </a:cubicBezTo>
                <a:cubicBezTo>
                  <a:pt x="80" y="60"/>
                  <a:pt x="70" y="60"/>
                  <a:pt x="70" y="58"/>
                </a:cubicBezTo>
                <a:cubicBezTo>
                  <a:pt x="69" y="56"/>
                  <a:pt x="63" y="54"/>
                  <a:pt x="62" y="58"/>
                </a:cubicBezTo>
                <a:cubicBezTo>
                  <a:pt x="60" y="61"/>
                  <a:pt x="58" y="59"/>
                  <a:pt x="56" y="58"/>
                </a:cubicBezTo>
                <a:cubicBezTo>
                  <a:pt x="54" y="57"/>
                  <a:pt x="49" y="59"/>
                  <a:pt x="47" y="60"/>
                </a:cubicBezTo>
                <a:cubicBezTo>
                  <a:pt x="45" y="61"/>
                  <a:pt x="39" y="66"/>
                  <a:pt x="35" y="66"/>
                </a:cubicBezTo>
                <a:cubicBezTo>
                  <a:pt x="32" y="66"/>
                  <a:pt x="34" y="70"/>
                  <a:pt x="29" y="71"/>
                </a:cubicBezTo>
                <a:cubicBezTo>
                  <a:pt x="25" y="72"/>
                  <a:pt x="26" y="75"/>
                  <a:pt x="26" y="77"/>
                </a:cubicBezTo>
                <a:cubicBezTo>
                  <a:pt x="27" y="79"/>
                  <a:pt x="29" y="83"/>
                  <a:pt x="25" y="84"/>
                </a:cubicBezTo>
                <a:cubicBezTo>
                  <a:pt x="21" y="86"/>
                  <a:pt x="20" y="79"/>
                  <a:pt x="16" y="77"/>
                </a:cubicBezTo>
                <a:cubicBezTo>
                  <a:pt x="13" y="74"/>
                  <a:pt x="10" y="77"/>
                  <a:pt x="10" y="81"/>
                </a:cubicBezTo>
                <a:cubicBezTo>
                  <a:pt x="10" y="84"/>
                  <a:pt x="6" y="84"/>
                  <a:pt x="4" y="88"/>
                </a:cubicBezTo>
                <a:cubicBezTo>
                  <a:pt x="2" y="91"/>
                  <a:pt x="7" y="92"/>
                  <a:pt x="7" y="93"/>
                </a:cubicBezTo>
                <a:cubicBezTo>
                  <a:pt x="7" y="95"/>
                  <a:pt x="4" y="96"/>
                  <a:pt x="3" y="97"/>
                </a:cubicBezTo>
                <a:cubicBezTo>
                  <a:pt x="2" y="97"/>
                  <a:pt x="0" y="102"/>
                  <a:pt x="1" y="104"/>
                </a:cubicBezTo>
                <a:cubicBezTo>
                  <a:pt x="2" y="105"/>
                  <a:pt x="8" y="105"/>
                  <a:pt x="7" y="108"/>
                </a:cubicBezTo>
                <a:cubicBezTo>
                  <a:pt x="7" y="112"/>
                  <a:pt x="6" y="115"/>
                  <a:pt x="9" y="114"/>
                </a:cubicBezTo>
                <a:cubicBezTo>
                  <a:pt x="12" y="113"/>
                  <a:pt x="15" y="114"/>
                  <a:pt x="17" y="114"/>
                </a:cubicBezTo>
                <a:cubicBezTo>
                  <a:pt x="19" y="114"/>
                  <a:pt x="21" y="118"/>
                  <a:pt x="24" y="122"/>
                </a:cubicBezTo>
                <a:cubicBezTo>
                  <a:pt x="28" y="126"/>
                  <a:pt x="29" y="128"/>
                  <a:pt x="26" y="129"/>
                </a:cubicBezTo>
                <a:cubicBezTo>
                  <a:pt x="22" y="130"/>
                  <a:pt x="24" y="132"/>
                  <a:pt x="28" y="134"/>
                </a:cubicBezTo>
                <a:cubicBezTo>
                  <a:pt x="30" y="134"/>
                  <a:pt x="31" y="135"/>
                  <a:pt x="32" y="136"/>
                </a:cubicBezTo>
                <a:cubicBezTo>
                  <a:pt x="33" y="135"/>
                  <a:pt x="33" y="135"/>
                  <a:pt x="34" y="134"/>
                </a:cubicBezTo>
                <a:cubicBezTo>
                  <a:pt x="40" y="129"/>
                  <a:pt x="50" y="125"/>
                  <a:pt x="58" y="127"/>
                </a:cubicBezTo>
                <a:cubicBezTo>
                  <a:pt x="65" y="129"/>
                  <a:pt x="72" y="125"/>
                  <a:pt x="75" y="130"/>
                </a:cubicBezTo>
                <a:cubicBezTo>
                  <a:pt x="78" y="135"/>
                  <a:pt x="75" y="143"/>
                  <a:pt x="76" y="147"/>
                </a:cubicBezTo>
                <a:cubicBezTo>
                  <a:pt x="78" y="150"/>
                  <a:pt x="70" y="150"/>
                  <a:pt x="65" y="150"/>
                </a:cubicBezTo>
                <a:cubicBezTo>
                  <a:pt x="60" y="149"/>
                  <a:pt x="50" y="152"/>
                  <a:pt x="51" y="155"/>
                </a:cubicBezTo>
                <a:cubicBezTo>
                  <a:pt x="53" y="158"/>
                  <a:pt x="56" y="165"/>
                  <a:pt x="50" y="161"/>
                </a:cubicBezTo>
                <a:cubicBezTo>
                  <a:pt x="43" y="157"/>
                  <a:pt x="40" y="165"/>
                  <a:pt x="44" y="165"/>
                </a:cubicBezTo>
                <a:cubicBezTo>
                  <a:pt x="48" y="165"/>
                  <a:pt x="53" y="169"/>
                  <a:pt x="53" y="172"/>
                </a:cubicBezTo>
                <a:cubicBezTo>
                  <a:pt x="53" y="175"/>
                  <a:pt x="53" y="182"/>
                  <a:pt x="56" y="181"/>
                </a:cubicBezTo>
                <a:cubicBezTo>
                  <a:pt x="60" y="180"/>
                  <a:pt x="60" y="186"/>
                  <a:pt x="64" y="185"/>
                </a:cubicBezTo>
                <a:cubicBezTo>
                  <a:pt x="69" y="185"/>
                  <a:pt x="73" y="187"/>
                  <a:pt x="70" y="191"/>
                </a:cubicBezTo>
                <a:cubicBezTo>
                  <a:pt x="66" y="195"/>
                  <a:pt x="72" y="207"/>
                  <a:pt x="73" y="205"/>
                </a:cubicBezTo>
                <a:cubicBezTo>
                  <a:pt x="74" y="203"/>
                  <a:pt x="73" y="199"/>
                  <a:pt x="75" y="197"/>
                </a:cubicBezTo>
                <a:cubicBezTo>
                  <a:pt x="72" y="191"/>
                  <a:pt x="83" y="191"/>
                  <a:pt x="86" y="191"/>
                </a:cubicBezTo>
                <a:cubicBezTo>
                  <a:pt x="90" y="191"/>
                  <a:pt x="96" y="196"/>
                  <a:pt x="100" y="201"/>
                </a:cubicBezTo>
                <a:cubicBezTo>
                  <a:pt x="104" y="207"/>
                  <a:pt x="108" y="203"/>
                  <a:pt x="108" y="203"/>
                </a:cubicBezTo>
                <a:cubicBezTo>
                  <a:pt x="110" y="153"/>
                  <a:pt x="110" y="153"/>
                  <a:pt x="110" y="153"/>
                </a:cubicBezTo>
                <a:cubicBezTo>
                  <a:pt x="138" y="146"/>
                  <a:pt x="138" y="146"/>
                  <a:pt x="138" y="146"/>
                </a:cubicBezTo>
                <a:cubicBezTo>
                  <a:pt x="138" y="145"/>
                  <a:pt x="139" y="144"/>
                  <a:pt x="139" y="144"/>
                </a:cubicBezTo>
                <a:cubicBezTo>
                  <a:pt x="143" y="139"/>
                  <a:pt x="148" y="143"/>
                  <a:pt x="149" y="144"/>
                </a:cubicBezTo>
                <a:cubicBezTo>
                  <a:pt x="151" y="145"/>
                  <a:pt x="150" y="139"/>
                  <a:pt x="154" y="139"/>
                </a:cubicBezTo>
                <a:cubicBezTo>
                  <a:pt x="158" y="139"/>
                  <a:pt x="154" y="146"/>
                  <a:pt x="157" y="146"/>
                </a:cubicBezTo>
                <a:cubicBezTo>
                  <a:pt x="159" y="146"/>
                  <a:pt x="164" y="154"/>
                  <a:pt x="163" y="160"/>
                </a:cubicBezTo>
                <a:cubicBezTo>
                  <a:pt x="167" y="164"/>
                  <a:pt x="175" y="173"/>
                  <a:pt x="176" y="175"/>
                </a:cubicBezTo>
                <a:cubicBezTo>
                  <a:pt x="177" y="177"/>
                  <a:pt x="188" y="173"/>
                  <a:pt x="191" y="174"/>
                </a:cubicBezTo>
                <a:cubicBezTo>
                  <a:pt x="193" y="175"/>
                  <a:pt x="210" y="175"/>
                  <a:pt x="213" y="175"/>
                </a:cubicBezTo>
                <a:cubicBezTo>
                  <a:pt x="216" y="175"/>
                  <a:pt x="219" y="181"/>
                  <a:pt x="222" y="181"/>
                </a:cubicBezTo>
                <a:cubicBezTo>
                  <a:pt x="226" y="182"/>
                  <a:pt x="224" y="188"/>
                  <a:pt x="225" y="192"/>
                </a:cubicBezTo>
                <a:cubicBezTo>
                  <a:pt x="225" y="196"/>
                  <a:pt x="231" y="200"/>
                  <a:pt x="231" y="204"/>
                </a:cubicBezTo>
                <a:cubicBezTo>
                  <a:pt x="232" y="207"/>
                  <a:pt x="237" y="205"/>
                  <a:pt x="241" y="206"/>
                </a:cubicBezTo>
                <a:cubicBezTo>
                  <a:pt x="244" y="207"/>
                  <a:pt x="250" y="209"/>
                  <a:pt x="250" y="212"/>
                </a:cubicBezTo>
                <a:cubicBezTo>
                  <a:pt x="251" y="216"/>
                  <a:pt x="255" y="213"/>
                  <a:pt x="256" y="210"/>
                </a:cubicBezTo>
                <a:cubicBezTo>
                  <a:pt x="256" y="208"/>
                  <a:pt x="260" y="204"/>
                  <a:pt x="267" y="201"/>
                </a:cubicBezTo>
                <a:cubicBezTo>
                  <a:pt x="270" y="200"/>
                  <a:pt x="272" y="200"/>
                  <a:pt x="274" y="201"/>
                </a:cubicBezTo>
                <a:cubicBezTo>
                  <a:pt x="275" y="198"/>
                  <a:pt x="276" y="195"/>
                  <a:pt x="277" y="195"/>
                </a:cubicBezTo>
                <a:cubicBezTo>
                  <a:pt x="279" y="194"/>
                  <a:pt x="284" y="190"/>
                  <a:pt x="284" y="187"/>
                </a:cubicBezTo>
                <a:cubicBezTo>
                  <a:pt x="284" y="184"/>
                  <a:pt x="293" y="184"/>
                  <a:pt x="299" y="187"/>
                </a:cubicBezTo>
                <a:cubicBezTo>
                  <a:pt x="305" y="190"/>
                  <a:pt x="309" y="190"/>
                  <a:pt x="309" y="185"/>
                </a:cubicBezTo>
                <a:cubicBezTo>
                  <a:pt x="310" y="180"/>
                  <a:pt x="318" y="179"/>
                  <a:pt x="321" y="180"/>
                </a:cubicBezTo>
                <a:cubicBezTo>
                  <a:pt x="324" y="182"/>
                  <a:pt x="332" y="186"/>
                  <a:pt x="336" y="185"/>
                </a:cubicBezTo>
                <a:cubicBezTo>
                  <a:pt x="340" y="183"/>
                  <a:pt x="360" y="185"/>
                  <a:pt x="365" y="186"/>
                </a:cubicBezTo>
                <a:cubicBezTo>
                  <a:pt x="370" y="188"/>
                  <a:pt x="371" y="184"/>
                  <a:pt x="376" y="189"/>
                </a:cubicBezTo>
                <a:cubicBezTo>
                  <a:pt x="379" y="193"/>
                  <a:pt x="381" y="190"/>
                  <a:pt x="385" y="193"/>
                </a:cubicBezTo>
                <a:cubicBezTo>
                  <a:pt x="385" y="192"/>
                  <a:pt x="385" y="190"/>
                  <a:pt x="385" y="188"/>
                </a:cubicBezTo>
                <a:cubicBezTo>
                  <a:pt x="385" y="185"/>
                  <a:pt x="390" y="182"/>
                  <a:pt x="391" y="180"/>
                </a:cubicBezTo>
                <a:cubicBezTo>
                  <a:pt x="392" y="177"/>
                  <a:pt x="386" y="170"/>
                  <a:pt x="386" y="167"/>
                </a:cubicBezTo>
                <a:cubicBezTo>
                  <a:pt x="386" y="165"/>
                  <a:pt x="386" y="159"/>
                  <a:pt x="384" y="158"/>
                </a:cubicBezTo>
                <a:cubicBezTo>
                  <a:pt x="381" y="156"/>
                  <a:pt x="389" y="153"/>
                  <a:pt x="390" y="153"/>
                </a:cubicBezTo>
                <a:cubicBezTo>
                  <a:pt x="394" y="153"/>
                  <a:pt x="399" y="149"/>
                  <a:pt x="401" y="151"/>
                </a:cubicBezTo>
                <a:cubicBezTo>
                  <a:pt x="403" y="153"/>
                  <a:pt x="406" y="153"/>
                  <a:pt x="409" y="153"/>
                </a:cubicBezTo>
                <a:cubicBezTo>
                  <a:pt x="412" y="153"/>
                  <a:pt x="411" y="149"/>
                  <a:pt x="409" y="148"/>
                </a:cubicBezTo>
                <a:cubicBezTo>
                  <a:pt x="407" y="146"/>
                  <a:pt x="415" y="131"/>
                  <a:pt x="416" y="126"/>
                </a:cubicBezTo>
                <a:cubicBezTo>
                  <a:pt x="417" y="121"/>
                  <a:pt x="420" y="126"/>
                  <a:pt x="424" y="126"/>
                </a:cubicBezTo>
                <a:cubicBezTo>
                  <a:pt x="427" y="127"/>
                  <a:pt x="432" y="126"/>
                  <a:pt x="434" y="127"/>
                </a:cubicBezTo>
                <a:cubicBezTo>
                  <a:pt x="436" y="128"/>
                  <a:pt x="443" y="126"/>
                  <a:pt x="445" y="123"/>
                </a:cubicBezTo>
                <a:cubicBezTo>
                  <a:pt x="446" y="121"/>
                  <a:pt x="443" y="120"/>
                  <a:pt x="443" y="114"/>
                </a:cubicBezTo>
                <a:cubicBezTo>
                  <a:pt x="443" y="108"/>
                  <a:pt x="447" y="106"/>
                  <a:pt x="450" y="106"/>
                </a:cubicBezTo>
                <a:cubicBezTo>
                  <a:pt x="454" y="106"/>
                  <a:pt x="455" y="102"/>
                  <a:pt x="455" y="99"/>
                </a:cubicBezTo>
                <a:cubicBezTo>
                  <a:pt x="455" y="97"/>
                  <a:pt x="458" y="95"/>
                  <a:pt x="459" y="92"/>
                </a:cubicBezTo>
                <a:cubicBezTo>
                  <a:pt x="458" y="91"/>
                  <a:pt x="457" y="89"/>
                  <a:pt x="457" y="88"/>
                </a:cubicBezTo>
                <a:close/>
                <a:moveTo>
                  <a:pt x="171" y="137"/>
                </a:moveTo>
                <a:cubicBezTo>
                  <a:pt x="170" y="139"/>
                  <a:pt x="157" y="135"/>
                  <a:pt x="156" y="132"/>
                </a:cubicBezTo>
                <a:cubicBezTo>
                  <a:pt x="155" y="130"/>
                  <a:pt x="174" y="133"/>
                  <a:pt x="171" y="137"/>
                </a:cubicBezTo>
                <a:close/>
                <a:moveTo>
                  <a:pt x="361" y="136"/>
                </a:moveTo>
                <a:cubicBezTo>
                  <a:pt x="351" y="136"/>
                  <a:pt x="331" y="131"/>
                  <a:pt x="322" y="140"/>
                </a:cubicBezTo>
                <a:cubicBezTo>
                  <a:pt x="314" y="149"/>
                  <a:pt x="320" y="154"/>
                  <a:pt x="316" y="154"/>
                </a:cubicBezTo>
                <a:cubicBezTo>
                  <a:pt x="312" y="155"/>
                  <a:pt x="310" y="141"/>
                  <a:pt x="315" y="136"/>
                </a:cubicBezTo>
                <a:cubicBezTo>
                  <a:pt x="320" y="131"/>
                  <a:pt x="335" y="129"/>
                  <a:pt x="344" y="132"/>
                </a:cubicBezTo>
                <a:cubicBezTo>
                  <a:pt x="353" y="134"/>
                  <a:pt x="370" y="130"/>
                  <a:pt x="372" y="130"/>
                </a:cubicBezTo>
                <a:cubicBezTo>
                  <a:pt x="375" y="131"/>
                  <a:pt x="370" y="136"/>
                  <a:pt x="361" y="13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59" name="Freeform 156"/>
          <p:cNvSpPr>
            <a:spLocks noEditPoints="1"/>
          </p:cNvSpPr>
          <p:nvPr/>
        </p:nvSpPr>
        <p:spPr bwMode="auto">
          <a:xfrm>
            <a:off x="6406935" y="1691361"/>
            <a:ext cx="4300083" cy="1684963"/>
          </a:xfrm>
          <a:custGeom>
            <a:cxnLst>
              <a:cxn ang="0">
                <a:pos x="814" y="12"/>
              </a:cxn>
              <a:cxn ang="0">
                <a:pos x="840" y="45"/>
              </a:cxn>
              <a:cxn ang="0">
                <a:pos x="912" y="61"/>
              </a:cxn>
              <a:cxn ang="0">
                <a:pos x="822" y="28"/>
              </a:cxn>
              <a:cxn ang="0">
                <a:pos x="1331" y="168"/>
              </a:cxn>
              <a:cxn ang="0">
                <a:pos x="1358" y="198"/>
              </a:cxn>
              <a:cxn ang="0">
                <a:pos x="1388" y="664"/>
              </a:cxn>
              <a:cxn ang="0">
                <a:pos x="355" y="25"/>
              </a:cxn>
              <a:cxn ang="0">
                <a:pos x="1886" y="330"/>
              </a:cxn>
              <a:cxn ang="0">
                <a:pos x="1698" y="277"/>
              </a:cxn>
              <a:cxn ang="0">
                <a:pos x="1580" y="268"/>
              </a:cxn>
              <a:cxn ang="0">
                <a:pos x="1412" y="221"/>
              </a:cxn>
              <a:cxn ang="0">
                <a:pos x="1319" y="241"/>
              </a:cxn>
              <a:cxn ang="0">
                <a:pos x="1224" y="204"/>
              </a:cxn>
              <a:cxn ang="0">
                <a:pos x="1101" y="196"/>
              </a:cxn>
              <a:cxn ang="0">
                <a:pos x="989" y="193"/>
              </a:cxn>
              <a:cxn ang="0">
                <a:pos x="1007" y="122"/>
              </a:cxn>
              <a:cxn ang="0">
                <a:pos x="909" y="126"/>
              </a:cxn>
              <a:cxn ang="0">
                <a:pos x="800" y="148"/>
              </a:cxn>
              <a:cxn ang="0">
                <a:pos x="764" y="190"/>
              </a:cxn>
              <a:cxn ang="0">
                <a:pos x="667" y="228"/>
              </a:cxn>
              <a:cxn ang="0">
                <a:pos x="623" y="257"/>
              </a:cxn>
              <a:cxn ang="0">
                <a:pos x="630" y="312"/>
              </a:cxn>
              <a:cxn ang="0">
                <a:pos x="603" y="320"/>
              </a:cxn>
              <a:cxn ang="0">
                <a:pos x="557" y="231"/>
              </a:cxn>
              <a:cxn ang="0">
                <a:pos x="468" y="273"/>
              </a:cxn>
              <a:cxn ang="0">
                <a:pos x="384" y="305"/>
              </a:cxn>
              <a:cxn ang="0">
                <a:pos x="307" y="312"/>
              </a:cxn>
              <a:cxn ang="0">
                <a:pos x="230" y="353"/>
              </a:cxn>
              <a:cxn ang="0">
                <a:pos x="170" y="355"/>
              </a:cxn>
              <a:cxn ang="0">
                <a:pos x="201" y="292"/>
              </a:cxn>
              <a:cxn ang="0">
                <a:pos x="100" y="296"/>
              </a:cxn>
              <a:cxn ang="0">
                <a:pos x="133" y="407"/>
              </a:cxn>
              <a:cxn ang="0">
                <a:pos x="89" y="497"/>
              </a:cxn>
              <a:cxn ang="0">
                <a:pos x="134" y="574"/>
              </a:cxn>
              <a:cxn ang="0">
                <a:pos x="223" y="617"/>
              </a:cxn>
              <a:cxn ang="0">
                <a:pos x="193" y="682"/>
              </a:cxn>
              <a:cxn ang="0">
                <a:pos x="326" y="731"/>
              </a:cxn>
              <a:cxn ang="0">
                <a:pos x="312" y="613"/>
              </a:cxn>
              <a:cxn ang="0">
                <a:pos x="425" y="599"/>
              </a:cxn>
              <a:cxn ang="0">
                <a:pos x="472" y="554"/>
              </a:cxn>
              <a:cxn ang="0">
                <a:pos x="610" y="554"/>
              </a:cxn>
              <a:cxn ang="0">
                <a:pos x="738" y="612"/>
              </a:cxn>
              <a:cxn ang="0">
                <a:pos x="849" y="616"/>
              </a:cxn>
              <a:cxn ang="0">
                <a:pos x="939" y="614"/>
              </a:cxn>
              <a:cxn ang="0">
                <a:pos x="1099" y="622"/>
              </a:cxn>
              <a:cxn ang="0">
                <a:pos x="1210" y="615"/>
              </a:cxn>
              <a:cxn ang="0">
                <a:pos x="1251" y="689"/>
              </a:cxn>
              <a:cxn ang="0">
                <a:pos x="1365" y="573"/>
              </a:cxn>
              <a:cxn ang="0">
                <a:pos x="1310" y="530"/>
              </a:cxn>
              <a:cxn ang="0">
                <a:pos x="1484" y="473"/>
              </a:cxn>
              <a:cxn ang="0">
                <a:pos x="1584" y="440"/>
              </a:cxn>
              <a:cxn ang="0">
                <a:pos x="1544" y="494"/>
              </a:cxn>
              <a:cxn ang="0">
                <a:pos x="1607" y="521"/>
              </a:cxn>
              <a:cxn ang="0">
                <a:pos x="1697" y="458"/>
              </a:cxn>
              <a:cxn ang="0">
                <a:pos x="1766" y="373"/>
              </a:cxn>
              <a:cxn ang="0">
                <a:pos x="1875" y="379"/>
              </a:cxn>
              <a:cxn ang="0">
                <a:pos x="993" y="567"/>
              </a:cxn>
              <a:cxn ang="0">
                <a:pos x="386" y="247"/>
              </a:cxn>
              <a:cxn ang="0">
                <a:pos x="485" y="133"/>
              </a:cxn>
              <a:cxn ang="0">
                <a:pos x="415" y="39"/>
              </a:cxn>
              <a:cxn ang="0">
                <a:pos x="464" y="16"/>
              </a:cxn>
            </a:cxnLst>
            <a:rect b="b" l="0" r="r" t="0"/>
            <a:pathLst>
              <a:path h="739" w="1926">
                <a:moveTo>
                  <a:pt x="29" y="534"/>
                </a:moveTo>
                <a:cubicBezTo>
                  <a:pt x="28" y="535"/>
                  <a:pt x="24" y="534"/>
                  <a:pt x="23" y="532"/>
                </a:cubicBezTo>
                <a:cubicBezTo>
                  <a:pt x="22" y="530"/>
                  <a:pt x="18" y="531"/>
                  <a:pt x="16" y="531"/>
                </a:cubicBezTo>
                <a:cubicBezTo>
                  <a:pt x="16" y="532"/>
                  <a:pt x="17" y="532"/>
                  <a:pt x="18" y="533"/>
                </a:cubicBezTo>
                <a:cubicBezTo>
                  <a:pt x="19" y="536"/>
                  <a:pt x="12" y="536"/>
                  <a:pt x="14" y="539"/>
                </a:cubicBezTo>
                <a:cubicBezTo>
                  <a:pt x="16" y="542"/>
                  <a:pt x="9" y="542"/>
                  <a:pt x="9" y="539"/>
                </a:cubicBezTo>
                <a:cubicBezTo>
                  <a:pt x="9" y="536"/>
                  <a:pt x="1" y="537"/>
                  <a:pt x="1" y="540"/>
                </a:cubicBezTo>
                <a:cubicBezTo>
                  <a:pt x="1" y="540"/>
                  <a:pt x="1" y="541"/>
                  <a:pt x="0" y="542"/>
                </a:cubicBezTo>
                <a:cubicBezTo>
                  <a:pt x="2" y="543"/>
                  <a:pt x="5" y="544"/>
                  <a:pt x="6" y="544"/>
                </a:cubicBezTo>
                <a:cubicBezTo>
                  <a:pt x="7" y="545"/>
                  <a:pt x="27" y="547"/>
                  <a:pt x="35" y="545"/>
                </a:cubicBezTo>
                <a:cubicBezTo>
                  <a:pt x="35" y="544"/>
                  <a:pt x="36" y="540"/>
                  <a:pt x="36" y="538"/>
                </a:cubicBezTo>
                <a:cubicBezTo>
                  <a:pt x="36" y="536"/>
                  <a:pt x="31" y="534"/>
                  <a:pt x="29" y="534"/>
                </a:cubicBezTo>
                <a:close/>
                <a:moveTo>
                  <a:pt x="814" y="12"/>
                </a:moveTo>
                <a:cubicBezTo>
                  <a:pt x="815" y="7"/>
                  <a:pt x="793" y="9"/>
                  <a:pt x="799" y="14"/>
                </a:cubicBezTo>
                <a:cubicBezTo>
                  <a:pt x="801" y="16"/>
                  <a:pt x="812" y="17"/>
                  <a:pt x="814" y="12"/>
                </a:cubicBezTo>
                <a:close/>
                <a:moveTo>
                  <a:pt x="512" y="21"/>
                </a:moveTo>
                <a:cubicBezTo>
                  <a:pt x="524" y="20"/>
                  <a:pt x="524" y="13"/>
                  <a:pt x="517" y="11"/>
                </a:cubicBezTo>
                <a:cubicBezTo>
                  <a:pt x="511" y="10"/>
                  <a:pt x="510" y="15"/>
                  <a:pt x="506" y="15"/>
                </a:cubicBezTo>
                <a:cubicBezTo>
                  <a:pt x="503" y="15"/>
                  <a:pt x="490" y="17"/>
                  <a:pt x="493" y="20"/>
                </a:cubicBezTo>
                <a:cubicBezTo>
                  <a:pt x="496" y="23"/>
                  <a:pt x="505" y="22"/>
                  <a:pt x="512" y="21"/>
                </a:cubicBezTo>
                <a:close/>
                <a:moveTo>
                  <a:pt x="840" y="45"/>
                </a:moveTo>
                <a:cubicBezTo>
                  <a:pt x="840" y="49"/>
                  <a:pt x="829" y="53"/>
                  <a:pt x="832" y="55"/>
                </a:cubicBezTo>
                <a:cubicBezTo>
                  <a:pt x="835" y="58"/>
                  <a:pt x="837" y="57"/>
                  <a:pt x="841" y="58"/>
                </a:cubicBezTo>
                <a:cubicBezTo>
                  <a:pt x="844" y="58"/>
                  <a:pt x="846" y="67"/>
                  <a:pt x="852" y="65"/>
                </a:cubicBezTo>
                <a:cubicBezTo>
                  <a:pt x="858" y="64"/>
                  <a:pt x="874" y="72"/>
                  <a:pt x="884" y="72"/>
                </a:cubicBezTo>
                <a:cubicBezTo>
                  <a:pt x="893" y="72"/>
                  <a:pt x="894" y="64"/>
                  <a:pt x="891" y="64"/>
                </a:cubicBezTo>
                <a:cubicBezTo>
                  <a:pt x="888" y="63"/>
                  <a:pt x="891" y="59"/>
                  <a:pt x="896" y="51"/>
                </a:cubicBezTo>
                <a:cubicBezTo>
                  <a:pt x="902" y="43"/>
                  <a:pt x="880" y="38"/>
                  <a:pt x="880" y="44"/>
                </a:cubicBezTo>
                <a:cubicBezTo>
                  <a:pt x="880" y="50"/>
                  <a:pt x="873" y="42"/>
                  <a:pt x="871" y="39"/>
                </a:cubicBezTo>
                <a:cubicBezTo>
                  <a:pt x="869" y="35"/>
                  <a:pt x="840" y="42"/>
                  <a:pt x="840" y="45"/>
                </a:cubicBezTo>
                <a:close/>
                <a:moveTo>
                  <a:pt x="576" y="206"/>
                </a:moveTo>
                <a:cubicBezTo>
                  <a:pt x="580" y="207"/>
                  <a:pt x="592" y="205"/>
                  <a:pt x="593" y="202"/>
                </a:cubicBezTo>
                <a:cubicBezTo>
                  <a:pt x="595" y="200"/>
                  <a:pt x="589" y="197"/>
                  <a:pt x="581" y="197"/>
                </a:cubicBezTo>
                <a:cubicBezTo>
                  <a:pt x="573" y="197"/>
                  <a:pt x="572" y="206"/>
                  <a:pt x="576" y="206"/>
                </a:cubicBezTo>
                <a:close/>
                <a:moveTo>
                  <a:pt x="673" y="211"/>
                </a:moveTo>
                <a:cubicBezTo>
                  <a:pt x="679" y="214"/>
                  <a:pt x="683" y="213"/>
                  <a:pt x="682" y="208"/>
                </a:cubicBezTo>
                <a:cubicBezTo>
                  <a:pt x="681" y="202"/>
                  <a:pt x="669" y="209"/>
                  <a:pt x="673" y="211"/>
                </a:cubicBezTo>
                <a:close/>
                <a:moveTo>
                  <a:pt x="892" y="92"/>
                </a:moveTo>
                <a:cubicBezTo>
                  <a:pt x="896" y="95"/>
                  <a:pt x="911" y="89"/>
                  <a:pt x="921" y="89"/>
                </a:cubicBezTo>
                <a:cubicBezTo>
                  <a:pt x="931" y="90"/>
                  <a:pt x="959" y="82"/>
                  <a:pt x="960" y="76"/>
                </a:cubicBezTo>
                <a:cubicBezTo>
                  <a:pt x="961" y="71"/>
                  <a:pt x="950" y="71"/>
                  <a:pt x="946" y="67"/>
                </a:cubicBezTo>
                <a:cubicBezTo>
                  <a:pt x="941" y="62"/>
                  <a:pt x="932" y="66"/>
                  <a:pt x="929" y="70"/>
                </a:cubicBezTo>
                <a:cubicBezTo>
                  <a:pt x="927" y="74"/>
                  <a:pt x="924" y="70"/>
                  <a:pt x="931" y="64"/>
                </a:cubicBezTo>
                <a:cubicBezTo>
                  <a:pt x="937" y="58"/>
                  <a:pt x="924" y="53"/>
                  <a:pt x="924" y="57"/>
                </a:cubicBezTo>
                <a:cubicBezTo>
                  <a:pt x="924" y="61"/>
                  <a:pt x="912" y="57"/>
                  <a:pt x="912" y="61"/>
                </a:cubicBezTo>
                <a:cubicBezTo>
                  <a:pt x="912" y="65"/>
                  <a:pt x="908" y="66"/>
                  <a:pt x="908" y="70"/>
                </a:cubicBezTo>
                <a:cubicBezTo>
                  <a:pt x="908" y="74"/>
                  <a:pt x="900" y="68"/>
                  <a:pt x="900" y="76"/>
                </a:cubicBezTo>
                <a:cubicBezTo>
                  <a:pt x="899" y="85"/>
                  <a:pt x="887" y="89"/>
                  <a:pt x="892" y="92"/>
                </a:cubicBezTo>
                <a:close/>
                <a:moveTo>
                  <a:pt x="822" y="36"/>
                </a:moveTo>
                <a:cubicBezTo>
                  <a:pt x="829" y="39"/>
                  <a:pt x="826" y="40"/>
                  <a:pt x="820" y="40"/>
                </a:cubicBezTo>
                <a:cubicBezTo>
                  <a:pt x="813" y="40"/>
                  <a:pt x="807" y="42"/>
                  <a:pt x="812" y="44"/>
                </a:cubicBezTo>
                <a:cubicBezTo>
                  <a:pt x="815" y="46"/>
                  <a:pt x="815" y="49"/>
                  <a:pt x="822" y="51"/>
                </a:cubicBezTo>
                <a:cubicBezTo>
                  <a:pt x="829" y="53"/>
                  <a:pt x="836" y="47"/>
                  <a:pt x="835" y="43"/>
                </a:cubicBezTo>
                <a:cubicBezTo>
                  <a:pt x="834" y="39"/>
                  <a:pt x="859" y="35"/>
                  <a:pt x="866" y="34"/>
                </a:cubicBezTo>
                <a:cubicBezTo>
                  <a:pt x="873" y="32"/>
                  <a:pt x="862" y="25"/>
                  <a:pt x="869" y="24"/>
                </a:cubicBezTo>
                <a:cubicBezTo>
                  <a:pt x="876" y="24"/>
                  <a:pt x="873" y="20"/>
                  <a:pt x="864" y="19"/>
                </a:cubicBezTo>
                <a:cubicBezTo>
                  <a:pt x="855" y="18"/>
                  <a:pt x="859" y="10"/>
                  <a:pt x="856" y="7"/>
                </a:cubicBezTo>
                <a:cubicBezTo>
                  <a:pt x="853" y="5"/>
                  <a:pt x="851" y="11"/>
                  <a:pt x="840" y="13"/>
                </a:cubicBezTo>
                <a:cubicBezTo>
                  <a:pt x="828" y="15"/>
                  <a:pt x="822" y="18"/>
                  <a:pt x="827" y="21"/>
                </a:cubicBezTo>
                <a:cubicBezTo>
                  <a:pt x="832" y="23"/>
                  <a:pt x="827" y="29"/>
                  <a:pt x="822" y="28"/>
                </a:cubicBezTo>
                <a:cubicBezTo>
                  <a:pt x="817" y="28"/>
                  <a:pt x="816" y="33"/>
                  <a:pt x="822" y="36"/>
                </a:cubicBezTo>
                <a:close/>
                <a:moveTo>
                  <a:pt x="1423" y="161"/>
                </a:moveTo>
                <a:cubicBezTo>
                  <a:pt x="1431" y="161"/>
                  <a:pt x="1435" y="169"/>
                  <a:pt x="1450" y="170"/>
                </a:cubicBezTo>
                <a:cubicBezTo>
                  <a:pt x="1465" y="171"/>
                  <a:pt x="1477" y="168"/>
                  <a:pt x="1477" y="165"/>
                </a:cubicBezTo>
                <a:cubicBezTo>
                  <a:pt x="1477" y="161"/>
                  <a:pt x="1463" y="156"/>
                  <a:pt x="1459" y="159"/>
                </a:cubicBezTo>
                <a:cubicBezTo>
                  <a:pt x="1454" y="162"/>
                  <a:pt x="1451" y="155"/>
                  <a:pt x="1446" y="156"/>
                </a:cubicBezTo>
                <a:cubicBezTo>
                  <a:pt x="1440" y="158"/>
                  <a:pt x="1433" y="158"/>
                  <a:pt x="1430" y="153"/>
                </a:cubicBezTo>
                <a:cubicBezTo>
                  <a:pt x="1428" y="148"/>
                  <a:pt x="1419" y="160"/>
                  <a:pt x="1423" y="161"/>
                </a:cubicBezTo>
                <a:close/>
                <a:moveTo>
                  <a:pt x="1795" y="254"/>
                </a:moveTo>
                <a:cubicBezTo>
                  <a:pt x="1801" y="257"/>
                  <a:pt x="1805" y="250"/>
                  <a:pt x="1811" y="254"/>
                </a:cubicBezTo>
                <a:cubicBezTo>
                  <a:pt x="1816" y="257"/>
                  <a:pt x="1829" y="252"/>
                  <a:pt x="1834" y="251"/>
                </a:cubicBezTo>
                <a:cubicBezTo>
                  <a:pt x="1840" y="250"/>
                  <a:pt x="1837" y="243"/>
                  <a:pt x="1822" y="241"/>
                </a:cubicBezTo>
                <a:cubicBezTo>
                  <a:pt x="1807" y="239"/>
                  <a:pt x="1788" y="250"/>
                  <a:pt x="1795" y="254"/>
                </a:cubicBezTo>
                <a:close/>
                <a:moveTo>
                  <a:pt x="1322" y="161"/>
                </a:moveTo>
                <a:cubicBezTo>
                  <a:pt x="1326" y="163"/>
                  <a:pt x="1328" y="166"/>
                  <a:pt x="1331" y="168"/>
                </a:cubicBezTo>
                <a:cubicBezTo>
                  <a:pt x="1333" y="171"/>
                  <a:pt x="1343" y="167"/>
                  <a:pt x="1347" y="166"/>
                </a:cubicBezTo>
                <a:cubicBezTo>
                  <a:pt x="1351" y="164"/>
                  <a:pt x="1352" y="172"/>
                  <a:pt x="1358" y="168"/>
                </a:cubicBezTo>
                <a:cubicBezTo>
                  <a:pt x="1364" y="164"/>
                  <a:pt x="1371" y="166"/>
                  <a:pt x="1378" y="166"/>
                </a:cubicBezTo>
                <a:cubicBezTo>
                  <a:pt x="1385" y="166"/>
                  <a:pt x="1377" y="157"/>
                  <a:pt x="1377" y="153"/>
                </a:cubicBezTo>
                <a:cubicBezTo>
                  <a:pt x="1377" y="149"/>
                  <a:pt x="1386" y="151"/>
                  <a:pt x="1383" y="155"/>
                </a:cubicBezTo>
                <a:cubicBezTo>
                  <a:pt x="1380" y="158"/>
                  <a:pt x="1387" y="166"/>
                  <a:pt x="1398" y="165"/>
                </a:cubicBezTo>
                <a:cubicBezTo>
                  <a:pt x="1408" y="164"/>
                  <a:pt x="1400" y="158"/>
                  <a:pt x="1406" y="155"/>
                </a:cubicBezTo>
                <a:cubicBezTo>
                  <a:pt x="1411" y="153"/>
                  <a:pt x="1410" y="150"/>
                  <a:pt x="1403" y="146"/>
                </a:cubicBezTo>
                <a:cubicBezTo>
                  <a:pt x="1395" y="141"/>
                  <a:pt x="1385" y="144"/>
                  <a:pt x="1378" y="141"/>
                </a:cubicBezTo>
                <a:cubicBezTo>
                  <a:pt x="1371" y="138"/>
                  <a:pt x="1363" y="138"/>
                  <a:pt x="1362" y="145"/>
                </a:cubicBezTo>
                <a:cubicBezTo>
                  <a:pt x="1362" y="152"/>
                  <a:pt x="1348" y="137"/>
                  <a:pt x="1341" y="135"/>
                </a:cubicBezTo>
                <a:cubicBezTo>
                  <a:pt x="1333" y="132"/>
                  <a:pt x="1311" y="155"/>
                  <a:pt x="1322" y="161"/>
                </a:cubicBezTo>
                <a:close/>
                <a:moveTo>
                  <a:pt x="1391" y="204"/>
                </a:moveTo>
                <a:cubicBezTo>
                  <a:pt x="1397" y="202"/>
                  <a:pt x="1387" y="191"/>
                  <a:pt x="1377" y="190"/>
                </a:cubicBezTo>
                <a:cubicBezTo>
                  <a:pt x="1366" y="188"/>
                  <a:pt x="1357" y="196"/>
                  <a:pt x="1358" y="198"/>
                </a:cubicBezTo>
                <a:cubicBezTo>
                  <a:pt x="1361" y="203"/>
                  <a:pt x="1385" y="205"/>
                  <a:pt x="1391" y="204"/>
                </a:cubicBezTo>
                <a:close/>
                <a:moveTo>
                  <a:pt x="1365" y="182"/>
                </a:moveTo>
                <a:cubicBezTo>
                  <a:pt x="1365" y="177"/>
                  <a:pt x="1347" y="183"/>
                  <a:pt x="1354" y="186"/>
                </a:cubicBezTo>
                <a:cubicBezTo>
                  <a:pt x="1358" y="187"/>
                  <a:pt x="1365" y="187"/>
                  <a:pt x="1365" y="182"/>
                </a:cubicBezTo>
                <a:close/>
                <a:moveTo>
                  <a:pt x="1389" y="589"/>
                </a:moveTo>
                <a:cubicBezTo>
                  <a:pt x="1385" y="579"/>
                  <a:pt x="1394" y="570"/>
                  <a:pt x="1387" y="565"/>
                </a:cubicBezTo>
                <a:cubicBezTo>
                  <a:pt x="1381" y="560"/>
                  <a:pt x="1383" y="549"/>
                  <a:pt x="1380" y="551"/>
                </a:cubicBezTo>
                <a:cubicBezTo>
                  <a:pt x="1377" y="553"/>
                  <a:pt x="1380" y="562"/>
                  <a:pt x="1375" y="563"/>
                </a:cubicBezTo>
                <a:cubicBezTo>
                  <a:pt x="1369" y="564"/>
                  <a:pt x="1374" y="569"/>
                  <a:pt x="1372" y="575"/>
                </a:cubicBezTo>
                <a:cubicBezTo>
                  <a:pt x="1370" y="582"/>
                  <a:pt x="1373" y="592"/>
                  <a:pt x="1376" y="598"/>
                </a:cubicBezTo>
                <a:cubicBezTo>
                  <a:pt x="1379" y="604"/>
                  <a:pt x="1372" y="636"/>
                  <a:pt x="1375" y="641"/>
                </a:cubicBezTo>
                <a:cubicBezTo>
                  <a:pt x="1378" y="646"/>
                  <a:pt x="1371" y="670"/>
                  <a:pt x="1373" y="673"/>
                </a:cubicBezTo>
                <a:cubicBezTo>
                  <a:pt x="1377" y="677"/>
                  <a:pt x="1374" y="666"/>
                  <a:pt x="1380" y="665"/>
                </a:cubicBezTo>
                <a:cubicBezTo>
                  <a:pt x="1386" y="664"/>
                  <a:pt x="1386" y="672"/>
                  <a:pt x="1390" y="674"/>
                </a:cubicBezTo>
                <a:cubicBezTo>
                  <a:pt x="1394" y="675"/>
                  <a:pt x="1391" y="663"/>
                  <a:pt x="1388" y="664"/>
                </a:cubicBezTo>
                <a:cubicBezTo>
                  <a:pt x="1385" y="664"/>
                  <a:pt x="1382" y="656"/>
                  <a:pt x="1380" y="650"/>
                </a:cubicBezTo>
                <a:cubicBezTo>
                  <a:pt x="1379" y="645"/>
                  <a:pt x="1384" y="639"/>
                  <a:pt x="1384" y="632"/>
                </a:cubicBezTo>
                <a:cubicBezTo>
                  <a:pt x="1384" y="625"/>
                  <a:pt x="1392" y="626"/>
                  <a:pt x="1397" y="631"/>
                </a:cubicBezTo>
                <a:cubicBezTo>
                  <a:pt x="1402" y="636"/>
                  <a:pt x="1403" y="632"/>
                  <a:pt x="1401" y="629"/>
                </a:cubicBezTo>
                <a:cubicBezTo>
                  <a:pt x="1399" y="625"/>
                  <a:pt x="1392" y="598"/>
                  <a:pt x="1389" y="589"/>
                </a:cubicBezTo>
                <a:close/>
                <a:moveTo>
                  <a:pt x="326" y="292"/>
                </a:moveTo>
                <a:cubicBezTo>
                  <a:pt x="335" y="300"/>
                  <a:pt x="343" y="288"/>
                  <a:pt x="347" y="287"/>
                </a:cubicBezTo>
                <a:cubicBezTo>
                  <a:pt x="351" y="287"/>
                  <a:pt x="344" y="282"/>
                  <a:pt x="337" y="280"/>
                </a:cubicBezTo>
                <a:cubicBezTo>
                  <a:pt x="330" y="278"/>
                  <a:pt x="319" y="285"/>
                  <a:pt x="326" y="292"/>
                </a:cubicBezTo>
                <a:close/>
                <a:moveTo>
                  <a:pt x="340" y="22"/>
                </a:moveTo>
                <a:cubicBezTo>
                  <a:pt x="345" y="26"/>
                  <a:pt x="327" y="25"/>
                  <a:pt x="325" y="28"/>
                </a:cubicBezTo>
                <a:cubicBezTo>
                  <a:pt x="323" y="31"/>
                  <a:pt x="312" y="30"/>
                  <a:pt x="314" y="34"/>
                </a:cubicBezTo>
                <a:cubicBezTo>
                  <a:pt x="316" y="38"/>
                  <a:pt x="333" y="38"/>
                  <a:pt x="333" y="35"/>
                </a:cubicBezTo>
                <a:cubicBezTo>
                  <a:pt x="333" y="32"/>
                  <a:pt x="342" y="35"/>
                  <a:pt x="342" y="32"/>
                </a:cubicBezTo>
                <a:cubicBezTo>
                  <a:pt x="342" y="29"/>
                  <a:pt x="346" y="25"/>
                  <a:pt x="355" y="25"/>
                </a:cubicBezTo>
                <a:cubicBezTo>
                  <a:pt x="365" y="24"/>
                  <a:pt x="365" y="21"/>
                  <a:pt x="356" y="17"/>
                </a:cubicBezTo>
                <a:cubicBezTo>
                  <a:pt x="347" y="13"/>
                  <a:pt x="336" y="19"/>
                  <a:pt x="340" y="22"/>
                </a:cubicBezTo>
                <a:close/>
                <a:moveTo>
                  <a:pt x="309" y="25"/>
                </a:moveTo>
                <a:cubicBezTo>
                  <a:pt x="317" y="18"/>
                  <a:pt x="327" y="25"/>
                  <a:pt x="328" y="22"/>
                </a:cubicBezTo>
                <a:cubicBezTo>
                  <a:pt x="329" y="18"/>
                  <a:pt x="314" y="17"/>
                  <a:pt x="308" y="20"/>
                </a:cubicBezTo>
                <a:cubicBezTo>
                  <a:pt x="302" y="23"/>
                  <a:pt x="289" y="21"/>
                  <a:pt x="291" y="25"/>
                </a:cubicBezTo>
                <a:cubicBezTo>
                  <a:pt x="292" y="27"/>
                  <a:pt x="301" y="32"/>
                  <a:pt x="309" y="25"/>
                </a:cubicBezTo>
                <a:close/>
                <a:moveTo>
                  <a:pt x="1036" y="176"/>
                </a:moveTo>
                <a:cubicBezTo>
                  <a:pt x="1034" y="178"/>
                  <a:pt x="1027" y="178"/>
                  <a:pt x="1029" y="181"/>
                </a:cubicBezTo>
                <a:cubicBezTo>
                  <a:pt x="1032" y="185"/>
                  <a:pt x="1049" y="183"/>
                  <a:pt x="1049" y="178"/>
                </a:cubicBezTo>
                <a:cubicBezTo>
                  <a:pt x="1050" y="172"/>
                  <a:pt x="1037" y="173"/>
                  <a:pt x="1036" y="176"/>
                </a:cubicBezTo>
                <a:close/>
                <a:moveTo>
                  <a:pt x="1923" y="348"/>
                </a:moveTo>
                <a:cubicBezTo>
                  <a:pt x="1920" y="347"/>
                  <a:pt x="1909" y="340"/>
                  <a:pt x="1906" y="337"/>
                </a:cubicBezTo>
                <a:cubicBezTo>
                  <a:pt x="1904" y="333"/>
                  <a:pt x="1891" y="331"/>
                  <a:pt x="1891" y="333"/>
                </a:cubicBezTo>
                <a:cubicBezTo>
                  <a:pt x="1891" y="335"/>
                  <a:pt x="1887" y="332"/>
                  <a:pt x="1886" y="330"/>
                </a:cubicBezTo>
                <a:cubicBezTo>
                  <a:pt x="1885" y="328"/>
                  <a:pt x="1871" y="328"/>
                  <a:pt x="1871" y="330"/>
                </a:cubicBezTo>
                <a:cubicBezTo>
                  <a:pt x="1871" y="332"/>
                  <a:pt x="1874" y="333"/>
                  <a:pt x="1876" y="335"/>
                </a:cubicBezTo>
                <a:cubicBezTo>
                  <a:pt x="1878" y="338"/>
                  <a:pt x="1873" y="339"/>
                  <a:pt x="1874" y="342"/>
                </a:cubicBezTo>
                <a:cubicBezTo>
                  <a:pt x="1875" y="345"/>
                  <a:pt x="1869" y="341"/>
                  <a:pt x="1867" y="339"/>
                </a:cubicBezTo>
                <a:cubicBezTo>
                  <a:pt x="1865" y="338"/>
                  <a:pt x="1866" y="331"/>
                  <a:pt x="1867" y="328"/>
                </a:cubicBezTo>
                <a:cubicBezTo>
                  <a:pt x="1867" y="324"/>
                  <a:pt x="1863" y="325"/>
                  <a:pt x="1862" y="322"/>
                </a:cubicBezTo>
                <a:cubicBezTo>
                  <a:pt x="1862" y="318"/>
                  <a:pt x="1847" y="312"/>
                  <a:pt x="1841" y="309"/>
                </a:cubicBezTo>
                <a:cubicBezTo>
                  <a:pt x="1834" y="306"/>
                  <a:pt x="1826" y="304"/>
                  <a:pt x="1824" y="301"/>
                </a:cubicBezTo>
                <a:cubicBezTo>
                  <a:pt x="1822" y="297"/>
                  <a:pt x="1810" y="297"/>
                  <a:pt x="1806" y="292"/>
                </a:cubicBezTo>
                <a:cubicBezTo>
                  <a:pt x="1802" y="288"/>
                  <a:pt x="1783" y="280"/>
                  <a:pt x="1775" y="279"/>
                </a:cubicBezTo>
                <a:cubicBezTo>
                  <a:pt x="1766" y="279"/>
                  <a:pt x="1768" y="274"/>
                  <a:pt x="1764" y="275"/>
                </a:cubicBezTo>
                <a:cubicBezTo>
                  <a:pt x="1760" y="276"/>
                  <a:pt x="1743" y="275"/>
                  <a:pt x="1738" y="274"/>
                </a:cubicBezTo>
                <a:cubicBezTo>
                  <a:pt x="1732" y="273"/>
                  <a:pt x="1731" y="277"/>
                  <a:pt x="1727" y="276"/>
                </a:cubicBezTo>
                <a:cubicBezTo>
                  <a:pt x="1724" y="274"/>
                  <a:pt x="1704" y="267"/>
                  <a:pt x="1701" y="270"/>
                </a:cubicBezTo>
                <a:cubicBezTo>
                  <a:pt x="1699" y="272"/>
                  <a:pt x="1700" y="276"/>
                  <a:pt x="1698" y="277"/>
                </a:cubicBezTo>
                <a:cubicBezTo>
                  <a:pt x="1695" y="278"/>
                  <a:pt x="1698" y="281"/>
                  <a:pt x="1703" y="286"/>
                </a:cubicBezTo>
                <a:cubicBezTo>
                  <a:pt x="1709" y="291"/>
                  <a:pt x="1705" y="295"/>
                  <a:pt x="1700" y="297"/>
                </a:cubicBezTo>
                <a:cubicBezTo>
                  <a:pt x="1695" y="299"/>
                  <a:pt x="1687" y="295"/>
                  <a:pt x="1685" y="291"/>
                </a:cubicBezTo>
                <a:cubicBezTo>
                  <a:pt x="1682" y="287"/>
                  <a:pt x="1676" y="289"/>
                  <a:pt x="1674" y="284"/>
                </a:cubicBezTo>
                <a:cubicBezTo>
                  <a:pt x="1672" y="279"/>
                  <a:pt x="1676" y="278"/>
                  <a:pt x="1679" y="281"/>
                </a:cubicBezTo>
                <a:cubicBezTo>
                  <a:pt x="1683" y="284"/>
                  <a:pt x="1687" y="281"/>
                  <a:pt x="1688" y="278"/>
                </a:cubicBezTo>
                <a:cubicBezTo>
                  <a:pt x="1688" y="274"/>
                  <a:pt x="1679" y="272"/>
                  <a:pt x="1673" y="272"/>
                </a:cubicBezTo>
                <a:cubicBezTo>
                  <a:pt x="1668" y="272"/>
                  <a:pt x="1665" y="279"/>
                  <a:pt x="1660" y="282"/>
                </a:cubicBezTo>
                <a:cubicBezTo>
                  <a:pt x="1655" y="285"/>
                  <a:pt x="1634" y="281"/>
                  <a:pt x="1632" y="279"/>
                </a:cubicBezTo>
                <a:cubicBezTo>
                  <a:pt x="1630" y="277"/>
                  <a:pt x="1601" y="279"/>
                  <a:pt x="1598" y="281"/>
                </a:cubicBezTo>
                <a:cubicBezTo>
                  <a:pt x="1595" y="283"/>
                  <a:pt x="1597" y="291"/>
                  <a:pt x="1596" y="292"/>
                </a:cubicBezTo>
                <a:cubicBezTo>
                  <a:pt x="1594" y="292"/>
                  <a:pt x="1593" y="283"/>
                  <a:pt x="1593" y="281"/>
                </a:cubicBezTo>
                <a:cubicBezTo>
                  <a:pt x="1593" y="279"/>
                  <a:pt x="1589" y="278"/>
                  <a:pt x="1584" y="278"/>
                </a:cubicBezTo>
                <a:cubicBezTo>
                  <a:pt x="1579" y="278"/>
                  <a:pt x="1576" y="278"/>
                  <a:pt x="1578" y="275"/>
                </a:cubicBezTo>
                <a:cubicBezTo>
                  <a:pt x="1580" y="273"/>
                  <a:pt x="1576" y="271"/>
                  <a:pt x="1580" y="268"/>
                </a:cubicBezTo>
                <a:cubicBezTo>
                  <a:pt x="1584" y="265"/>
                  <a:pt x="1573" y="257"/>
                  <a:pt x="1562" y="252"/>
                </a:cubicBezTo>
                <a:cubicBezTo>
                  <a:pt x="1551" y="248"/>
                  <a:pt x="1526" y="250"/>
                  <a:pt x="1519" y="252"/>
                </a:cubicBezTo>
                <a:cubicBezTo>
                  <a:pt x="1512" y="254"/>
                  <a:pt x="1499" y="254"/>
                  <a:pt x="1493" y="254"/>
                </a:cubicBezTo>
                <a:cubicBezTo>
                  <a:pt x="1486" y="254"/>
                  <a:pt x="1491" y="251"/>
                  <a:pt x="1490" y="248"/>
                </a:cubicBezTo>
                <a:cubicBezTo>
                  <a:pt x="1488" y="245"/>
                  <a:pt x="1477" y="242"/>
                  <a:pt x="1475" y="244"/>
                </a:cubicBezTo>
                <a:cubicBezTo>
                  <a:pt x="1474" y="247"/>
                  <a:pt x="1471" y="244"/>
                  <a:pt x="1471" y="242"/>
                </a:cubicBezTo>
                <a:cubicBezTo>
                  <a:pt x="1471" y="241"/>
                  <a:pt x="1461" y="237"/>
                  <a:pt x="1457" y="238"/>
                </a:cubicBezTo>
                <a:cubicBezTo>
                  <a:pt x="1453" y="239"/>
                  <a:pt x="1451" y="234"/>
                  <a:pt x="1456" y="234"/>
                </a:cubicBezTo>
                <a:cubicBezTo>
                  <a:pt x="1460" y="234"/>
                  <a:pt x="1468" y="235"/>
                  <a:pt x="1465" y="230"/>
                </a:cubicBezTo>
                <a:cubicBezTo>
                  <a:pt x="1461" y="224"/>
                  <a:pt x="1431" y="223"/>
                  <a:pt x="1429" y="224"/>
                </a:cubicBezTo>
                <a:cubicBezTo>
                  <a:pt x="1426" y="225"/>
                  <a:pt x="1428" y="229"/>
                  <a:pt x="1422" y="235"/>
                </a:cubicBezTo>
                <a:cubicBezTo>
                  <a:pt x="1415" y="241"/>
                  <a:pt x="1409" y="237"/>
                  <a:pt x="1410" y="234"/>
                </a:cubicBezTo>
                <a:cubicBezTo>
                  <a:pt x="1411" y="231"/>
                  <a:pt x="1419" y="231"/>
                  <a:pt x="1419" y="228"/>
                </a:cubicBezTo>
                <a:cubicBezTo>
                  <a:pt x="1419" y="225"/>
                  <a:pt x="1408" y="227"/>
                  <a:pt x="1406" y="224"/>
                </a:cubicBezTo>
                <a:cubicBezTo>
                  <a:pt x="1404" y="222"/>
                  <a:pt x="1408" y="220"/>
                  <a:pt x="1412" y="221"/>
                </a:cubicBezTo>
                <a:cubicBezTo>
                  <a:pt x="1416" y="223"/>
                  <a:pt x="1423" y="223"/>
                  <a:pt x="1424" y="221"/>
                </a:cubicBezTo>
                <a:cubicBezTo>
                  <a:pt x="1424" y="220"/>
                  <a:pt x="1420" y="219"/>
                  <a:pt x="1413" y="218"/>
                </a:cubicBezTo>
                <a:cubicBezTo>
                  <a:pt x="1406" y="217"/>
                  <a:pt x="1390" y="213"/>
                  <a:pt x="1382" y="214"/>
                </a:cubicBezTo>
                <a:cubicBezTo>
                  <a:pt x="1373" y="215"/>
                  <a:pt x="1369" y="211"/>
                  <a:pt x="1365" y="210"/>
                </a:cubicBezTo>
                <a:cubicBezTo>
                  <a:pt x="1360" y="210"/>
                  <a:pt x="1360" y="213"/>
                  <a:pt x="1362" y="216"/>
                </a:cubicBezTo>
                <a:cubicBezTo>
                  <a:pt x="1364" y="218"/>
                  <a:pt x="1358" y="220"/>
                  <a:pt x="1352" y="219"/>
                </a:cubicBezTo>
                <a:cubicBezTo>
                  <a:pt x="1347" y="218"/>
                  <a:pt x="1339" y="222"/>
                  <a:pt x="1342" y="226"/>
                </a:cubicBezTo>
                <a:cubicBezTo>
                  <a:pt x="1345" y="230"/>
                  <a:pt x="1348" y="225"/>
                  <a:pt x="1351" y="226"/>
                </a:cubicBezTo>
                <a:cubicBezTo>
                  <a:pt x="1353" y="228"/>
                  <a:pt x="1344" y="230"/>
                  <a:pt x="1348" y="232"/>
                </a:cubicBezTo>
                <a:cubicBezTo>
                  <a:pt x="1352" y="234"/>
                  <a:pt x="1351" y="238"/>
                  <a:pt x="1351" y="240"/>
                </a:cubicBezTo>
                <a:cubicBezTo>
                  <a:pt x="1351" y="242"/>
                  <a:pt x="1345" y="243"/>
                  <a:pt x="1342" y="240"/>
                </a:cubicBezTo>
                <a:cubicBezTo>
                  <a:pt x="1340" y="237"/>
                  <a:pt x="1336" y="240"/>
                  <a:pt x="1331" y="239"/>
                </a:cubicBezTo>
                <a:cubicBezTo>
                  <a:pt x="1327" y="239"/>
                  <a:pt x="1323" y="241"/>
                  <a:pt x="1328" y="242"/>
                </a:cubicBezTo>
                <a:cubicBezTo>
                  <a:pt x="1333" y="242"/>
                  <a:pt x="1335" y="246"/>
                  <a:pt x="1328" y="246"/>
                </a:cubicBezTo>
                <a:cubicBezTo>
                  <a:pt x="1322" y="247"/>
                  <a:pt x="1323" y="240"/>
                  <a:pt x="1319" y="241"/>
                </a:cubicBezTo>
                <a:cubicBezTo>
                  <a:pt x="1315" y="242"/>
                  <a:pt x="1307" y="238"/>
                  <a:pt x="1302" y="238"/>
                </a:cubicBezTo>
                <a:cubicBezTo>
                  <a:pt x="1297" y="238"/>
                  <a:pt x="1295" y="242"/>
                  <a:pt x="1289" y="242"/>
                </a:cubicBezTo>
                <a:cubicBezTo>
                  <a:pt x="1283" y="243"/>
                  <a:pt x="1274" y="239"/>
                  <a:pt x="1272" y="236"/>
                </a:cubicBezTo>
                <a:cubicBezTo>
                  <a:pt x="1269" y="232"/>
                  <a:pt x="1269" y="231"/>
                  <a:pt x="1266" y="235"/>
                </a:cubicBezTo>
                <a:cubicBezTo>
                  <a:pt x="1263" y="239"/>
                  <a:pt x="1262" y="246"/>
                  <a:pt x="1259" y="247"/>
                </a:cubicBezTo>
                <a:cubicBezTo>
                  <a:pt x="1256" y="247"/>
                  <a:pt x="1255" y="254"/>
                  <a:pt x="1252" y="256"/>
                </a:cubicBezTo>
                <a:cubicBezTo>
                  <a:pt x="1249" y="257"/>
                  <a:pt x="1249" y="253"/>
                  <a:pt x="1245" y="253"/>
                </a:cubicBezTo>
                <a:cubicBezTo>
                  <a:pt x="1241" y="254"/>
                  <a:pt x="1229" y="242"/>
                  <a:pt x="1228" y="238"/>
                </a:cubicBezTo>
                <a:cubicBezTo>
                  <a:pt x="1228" y="235"/>
                  <a:pt x="1220" y="228"/>
                  <a:pt x="1218" y="227"/>
                </a:cubicBezTo>
                <a:cubicBezTo>
                  <a:pt x="1216" y="225"/>
                  <a:pt x="1220" y="225"/>
                  <a:pt x="1223" y="227"/>
                </a:cubicBezTo>
                <a:cubicBezTo>
                  <a:pt x="1225" y="229"/>
                  <a:pt x="1228" y="229"/>
                  <a:pt x="1231" y="228"/>
                </a:cubicBezTo>
                <a:cubicBezTo>
                  <a:pt x="1233" y="226"/>
                  <a:pt x="1233" y="220"/>
                  <a:pt x="1229" y="220"/>
                </a:cubicBezTo>
                <a:cubicBezTo>
                  <a:pt x="1224" y="220"/>
                  <a:pt x="1226" y="216"/>
                  <a:pt x="1228" y="216"/>
                </a:cubicBezTo>
                <a:cubicBezTo>
                  <a:pt x="1230" y="215"/>
                  <a:pt x="1223" y="208"/>
                  <a:pt x="1226" y="208"/>
                </a:cubicBezTo>
                <a:cubicBezTo>
                  <a:pt x="1228" y="207"/>
                  <a:pt x="1227" y="204"/>
                  <a:pt x="1224" y="204"/>
                </a:cubicBezTo>
                <a:cubicBezTo>
                  <a:pt x="1220" y="203"/>
                  <a:pt x="1216" y="200"/>
                  <a:pt x="1216" y="198"/>
                </a:cubicBezTo>
                <a:cubicBezTo>
                  <a:pt x="1216" y="197"/>
                  <a:pt x="1200" y="196"/>
                  <a:pt x="1201" y="199"/>
                </a:cubicBezTo>
                <a:cubicBezTo>
                  <a:pt x="1202" y="201"/>
                  <a:pt x="1196" y="200"/>
                  <a:pt x="1197" y="198"/>
                </a:cubicBezTo>
                <a:cubicBezTo>
                  <a:pt x="1198" y="196"/>
                  <a:pt x="1191" y="197"/>
                  <a:pt x="1184" y="195"/>
                </a:cubicBezTo>
                <a:cubicBezTo>
                  <a:pt x="1177" y="193"/>
                  <a:pt x="1176" y="188"/>
                  <a:pt x="1174" y="187"/>
                </a:cubicBezTo>
                <a:cubicBezTo>
                  <a:pt x="1171" y="187"/>
                  <a:pt x="1172" y="194"/>
                  <a:pt x="1169" y="193"/>
                </a:cubicBezTo>
                <a:cubicBezTo>
                  <a:pt x="1165" y="191"/>
                  <a:pt x="1161" y="194"/>
                  <a:pt x="1163" y="199"/>
                </a:cubicBezTo>
                <a:cubicBezTo>
                  <a:pt x="1165" y="203"/>
                  <a:pt x="1163" y="204"/>
                  <a:pt x="1163" y="207"/>
                </a:cubicBezTo>
                <a:cubicBezTo>
                  <a:pt x="1162" y="211"/>
                  <a:pt x="1160" y="209"/>
                  <a:pt x="1156" y="208"/>
                </a:cubicBezTo>
                <a:cubicBezTo>
                  <a:pt x="1152" y="206"/>
                  <a:pt x="1152" y="211"/>
                  <a:pt x="1142" y="209"/>
                </a:cubicBezTo>
                <a:cubicBezTo>
                  <a:pt x="1133" y="207"/>
                  <a:pt x="1129" y="209"/>
                  <a:pt x="1127" y="206"/>
                </a:cubicBezTo>
                <a:cubicBezTo>
                  <a:pt x="1126" y="203"/>
                  <a:pt x="1123" y="203"/>
                  <a:pt x="1122" y="205"/>
                </a:cubicBezTo>
                <a:cubicBezTo>
                  <a:pt x="1122" y="208"/>
                  <a:pt x="1108" y="207"/>
                  <a:pt x="1107" y="203"/>
                </a:cubicBezTo>
                <a:cubicBezTo>
                  <a:pt x="1105" y="199"/>
                  <a:pt x="1109" y="199"/>
                  <a:pt x="1111" y="198"/>
                </a:cubicBezTo>
                <a:cubicBezTo>
                  <a:pt x="1113" y="197"/>
                  <a:pt x="1109" y="195"/>
                  <a:pt x="1101" y="196"/>
                </a:cubicBezTo>
                <a:cubicBezTo>
                  <a:pt x="1093" y="196"/>
                  <a:pt x="1088" y="192"/>
                  <a:pt x="1080" y="193"/>
                </a:cubicBezTo>
                <a:cubicBezTo>
                  <a:pt x="1072" y="193"/>
                  <a:pt x="1054" y="195"/>
                  <a:pt x="1052" y="196"/>
                </a:cubicBezTo>
                <a:cubicBezTo>
                  <a:pt x="1049" y="197"/>
                  <a:pt x="1054" y="202"/>
                  <a:pt x="1050" y="202"/>
                </a:cubicBezTo>
                <a:cubicBezTo>
                  <a:pt x="1047" y="203"/>
                  <a:pt x="1049" y="195"/>
                  <a:pt x="1049" y="191"/>
                </a:cubicBezTo>
                <a:cubicBezTo>
                  <a:pt x="1048" y="188"/>
                  <a:pt x="1042" y="187"/>
                  <a:pt x="1043" y="190"/>
                </a:cubicBezTo>
                <a:cubicBezTo>
                  <a:pt x="1044" y="193"/>
                  <a:pt x="1034" y="194"/>
                  <a:pt x="1031" y="192"/>
                </a:cubicBezTo>
                <a:cubicBezTo>
                  <a:pt x="1029" y="189"/>
                  <a:pt x="1025" y="187"/>
                  <a:pt x="1018" y="185"/>
                </a:cubicBezTo>
                <a:cubicBezTo>
                  <a:pt x="1012" y="183"/>
                  <a:pt x="1004" y="190"/>
                  <a:pt x="1006" y="192"/>
                </a:cubicBezTo>
                <a:cubicBezTo>
                  <a:pt x="1007" y="194"/>
                  <a:pt x="1012" y="193"/>
                  <a:pt x="1012" y="194"/>
                </a:cubicBezTo>
                <a:cubicBezTo>
                  <a:pt x="1013" y="197"/>
                  <a:pt x="999" y="196"/>
                  <a:pt x="999" y="198"/>
                </a:cubicBezTo>
                <a:cubicBezTo>
                  <a:pt x="999" y="200"/>
                  <a:pt x="985" y="204"/>
                  <a:pt x="981" y="204"/>
                </a:cubicBezTo>
                <a:cubicBezTo>
                  <a:pt x="970" y="205"/>
                  <a:pt x="968" y="205"/>
                  <a:pt x="963" y="210"/>
                </a:cubicBezTo>
                <a:cubicBezTo>
                  <a:pt x="958" y="214"/>
                  <a:pt x="962" y="206"/>
                  <a:pt x="966" y="202"/>
                </a:cubicBezTo>
                <a:cubicBezTo>
                  <a:pt x="970" y="198"/>
                  <a:pt x="974" y="200"/>
                  <a:pt x="976" y="196"/>
                </a:cubicBezTo>
                <a:cubicBezTo>
                  <a:pt x="979" y="193"/>
                  <a:pt x="982" y="194"/>
                  <a:pt x="989" y="193"/>
                </a:cubicBezTo>
                <a:cubicBezTo>
                  <a:pt x="995" y="192"/>
                  <a:pt x="995" y="188"/>
                  <a:pt x="998" y="187"/>
                </a:cubicBezTo>
                <a:cubicBezTo>
                  <a:pt x="1001" y="185"/>
                  <a:pt x="1008" y="182"/>
                  <a:pt x="1009" y="179"/>
                </a:cubicBezTo>
                <a:cubicBezTo>
                  <a:pt x="1011" y="176"/>
                  <a:pt x="1026" y="171"/>
                  <a:pt x="1029" y="172"/>
                </a:cubicBezTo>
                <a:cubicBezTo>
                  <a:pt x="1032" y="172"/>
                  <a:pt x="1032" y="166"/>
                  <a:pt x="1034" y="166"/>
                </a:cubicBezTo>
                <a:cubicBezTo>
                  <a:pt x="1036" y="166"/>
                  <a:pt x="1044" y="162"/>
                  <a:pt x="1048" y="160"/>
                </a:cubicBezTo>
                <a:cubicBezTo>
                  <a:pt x="1051" y="159"/>
                  <a:pt x="1053" y="156"/>
                  <a:pt x="1053" y="153"/>
                </a:cubicBezTo>
                <a:cubicBezTo>
                  <a:pt x="1053" y="151"/>
                  <a:pt x="1048" y="152"/>
                  <a:pt x="1048" y="150"/>
                </a:cubicBezTo>
                <a:cubicBezTo>
                  <a:pt x="1047" y="148"/>
                  <a:pt x="1050" y="149"/>
                  <a:pt x="1053" y="148"/>
                </a:cubicBezTo>
                <a:cubicBezTo>
                  <a:pt x="1057" y="146"/>
                  <a:pt x="1053" y="142"/>
                  <a:pt x="1051" y="142"/>
                </a:cubicBezTo>
                <a:cubicBezTo>
                  <a:pt x="1048" y="143"/>
                  <a:pt x="1052" y="140"/>
                  <a:pt x="1050" y="137"/>
                </a:cubicBezTo>
                <a:cubicBezTo>
                  <a:pt x="1047" y="134"/>
                  <a:pt x="1042" y="139"/>
                  <a:pt x="1042" y="136"/>
                </a:cubicBezTo>
                <a:cubicBezTo>
                  <a:pt x="1042" y="132"/>
                  <a:pt x="1042" y="128"/>
                  <a:pt x="1040" y="126"/>
                </a:cubicBezTo>
                <a:cubicBezTo>
                  <a:pt x="1038" y="124"/>
                  <a:pt x="1034" y="130"/>
                  <a:pt x="1030" y="127"/>
                </a:cubicBezTo>
                <a:cubicBezTo>
                  <a:pt x="1026" y="124"/>
                  <a:pt x="1014" y="122"/>
                  <a:pt x="1014" y="123"/>
                </a:cubicBezTo>
                <a:cubicBezTo>
                  <a:pt x="1014" y="124"/>
                  <a:pt x="1008" y="121"/>
                  <a:pt x="1007" y="122"/>
                </a:cubicBezTo>
                <a:cubicBezTo>
                  <a:pt x="1006" y="124"/>
                  <a:pt x="996" y="123"/>
                  <a:pt x="993" y="123"/>
                </a:cubicBezTo>
                <a:cubicBezTo>
                  <a:pt x="990" y="122"/>
                  <a:pt x="986" y="124"/>
                  <a:pt x="986" y="127"/>
                </a:cubicBezTo>
                <a:cubicBezTo>
                  <a:pt x="985" y="130"/>
                  <a:pt x="974" y="129"/>
                  <a:pt x="971" y="128"/>
                </a:cubicBezTo>
                <a:cubicBezTo>
                  <a:pt x="969" y="128"/>
                  <a:pt x="980" y="119"/>
                  <a:pt x="980" y="118"/>
                </a:cubicBezTo>
                <a:cubicBezTo>
                  <a:pt x="980" y="116"/>
                  <a:pt x="962" y="118"/>
                  <a:pt x="961" y="116"/>
                </a:cubicBezTo>
                <a:cubicBezTo>
                  <a:pt x="960" y="115"/>
                  <a:pt x="952" y="114"/>
                  <a:pt x="948" y="114"/>
                </a:cubicBezTo>
                <a:cubicBezTo>
                  <a:pt x="944" y="114"/>
                  <a:pt x="948" y="113"/>
                  <a:pt x="951" y="113"/>
                </a:cubicBezTo>
                <a:cubicBezTo>
                  <a:pt x="955" y="113"/>
                  <a:pt x="958" y="110"/>
                  <a:pt x="962" y="109"/>
                </a:cubicBezTo>
                <a:cubicBezTo>
                  <a:pt x="965" y="108"/>
                  <a:pt x="965" y="107"/>
                  <a:pt x="963" y="105"/>
                </a:cubicBezTo>
                <a:cubicBezTo>
                  <a:pt x="961" y="102"/>
                  <a:pt x="957" y="103"/>
                  <a:pt x="953" y="102"/>
                </a:cubicBezTo>
                <a:cubicBezTo>
                  <a:pt x="950" y="101"/>
                  <a:pt x="945" y="99"/>
                  <a:pt x="942" y="99"/>
                </a:cubicBezTo>
                <a:cubicBezTo>
                  <a:pt x="938" y="99"/>
                  <a:pt x="935" y="101"/>
                  <a:pt x="927" y="102"/>
                </a:cubicBezTo>
                <a:cubicBezTo>
                  <a:pt x="919" y="104"/>
                  <a:pt x="918" y="110"/>
                  <a:pt x="914" y="112"/>
                </a:cubicBezTo>
                <a:cubicBezTo>
                  <a:pt x="910" y="114"/>
                  <a:pt x="903" y="121"/>
                  <a:pt x="907" y="122"/>
                </a:cubicBezTo>
                <a:cubicBezTo>
                  <a:pt x="910" y="122"/>
                  <a:pt x="908" y="124"/>
                  <a:pt x="909" y="126"/>
                </a:cubicBezTo>
                <a:cubicBezTo>
                  <a:pt x="909" y="129"/>
                  <a:pt x="906" y="129"/>
                  <a:pt x="902" y="128"/>
                </a:cubicBezTo>
                <a:cubicBezTo>
                  <a:pt x="899" y="128"/>
                  <a:pt x="885" y="128"/>
                  <a:pt x="885" y="131"/>
                </a:cubicBezTo>
                <a:cubicBezTo>
                  <a:pt x="885" y="134"/>
                  <a:pt x="893" y="135"/>
                  <a:pt x="893" y="136"/>
                </a:cubicBezTo>
                <a:cubicBezTo>
                  <a:pt x="892" y="138"/>
                  <a:pt x="887" y="136"/>
                  <a:pt x="884" y="135"/>
                </a:cubicBezTo>
                <a:cubicBezTo>
                  <a:pt x="881" y="133"/>
                  <a:pt x="875" y="134"/>
                  <a:pt x="874" y="137"/>
                </a:cubicBezTo>
                <a:cubicBezTo>
                  <a:pt x="873" y="140"/>
                  <a:pt x="868" y="139"/>
                  <a:pt x="867" y="138"/>
                </a:cubicBezTo>
                <a:cubicBezTo>
                  <a:pt x="865" y="138"/>
                  <a:pt x="862" y="140"/>
                  <a:pt x="860" y="139"/>
                </a:cubicBezTo>
                <a:cubicBezTo>
                  <a:pt x="857" y="138"/>
                  <a:pt x="865" y="134"/>
                  <a:pt x="863" y="133"/>
                </a:cubicBezTo>
                <a:cubicBezTo>
                  <a:pt x="861" y="131"/>
                  <a:pt x="853" y="132"/>
                  <a:pt x="852" y="135"/>
                </a:cubicBezTo>
                <a:cubicBezTo>
                  <a:pt x="851" y="138"/>
                  <a:pt x="846" y="133"/>
                  <a:pt x="845" y="134"/>
                </a:cubicBezTo>
                <a:cubicBezTo>
                  <a:pt x="843" y="135"/>
                  <a:pt x="841" y="136"/>
                  <a:pt x="837" y="138"/>
                </a:cubicBezTo>
                <a:cubicBezTo>
                  <a:pt x="834" y="139"/>
                  <a:pt x="828" y="136"/>
                  <a:pt x="826" y="139"/>
                </a:cubicBezTo>
                <a:cubicBezTo>
                  <a:pt x="825" y="142"/>
                  <a:pt x="833" y="142"/>
                  <a:pt x="833" y="144"/>
                </a:cubicBezTo>
                <a:cubicBezTo>
                  <a:pt x="833" y="145"/>
                  <a:pt x="815" y="145"/>
                  <a:pt x="815" y="146"/>
                </a:cubicBezTo>
                <a:cubicBezTo>
                  <a:pt x="814" y="148"/>
                  <a:pt x="808" y="148"/>
                  <a:pt x="800" y="148"/>
                </a:cubicBezTo>
                <a:cubicBezTo>
                  <a:pt x="793" y="149"/>
                  <a:pt x="796" y="152"/>
                  <a:pt x="790" y="153"/>
                </a:cubicBezTo>
                <a:cubicBezTo>
                  <a:pt x="784" y="155"/>
                  <a:pt x="781" y="155"/>
                  <a:pt x="779" y="158"/>
                </a:cubicBezTo>
                <a:cubicBezTo>
                  <a:pt x="777" y="161"/>
                  <a:pt x="773" y="161"/>
                  <a:pt x="771" y="159"/>
                </a:cubicBezTo>
                <a:cubicBezTo>
                  <a:pt x="769" y="157"/>
                  <a:pt x="763" y="160"/>
                  <a:pt x="766" y="160"/>
                </a:cubicBezTo>
                <a:cubicBezTo>
                  <a:pt x="769" y="161"/>
                  <a:pt x="766" y="164"/>
                  <a:pt x="764" y="163"/>
                </a:cubicBezTo>
                <a:cubicBezTo>
                  <a:pt x="763" y="162"/>
                  <a:pt x="757" y="166"/>
                  <a:pt x="760" y="166"/>
                </a:cubicBezTo>
                <a:cubicBezTo>
                  <a:pt x="763" y="166"/>
                  <a:pt x="765" y="168"/>
                  <a:pt x="763" y="170"/>
                </a:cubicBezTo>
                <a:cubicBezTo>
                  <a:pt x="762" y="172"/>
                  <a:pt x="755" y="168"/>
                  <a:pt x="754" y="169"/>
                </a:cubicBezTo>
                <a:cubicBezTo>
                  <a:pt x="752" y="171"/>
                  <a:pt x="757" y="173"/>
                  <a:pt x="760" y="173"/>
                </a:cubicBezTo>
                <a:cubicBezTo>
                  <a:pt x="763" y="173"/>
                  <a:pt x="764" y="175"/>
                  <a:pt x="765" y="177"/>
                </a:cubicBezTo>
                <a:cubicBezTo>
                  <a:pt x="765" y="179"/>
                  <a:pt x="758" y="175"/>
                  <a:pt x="756" y="177"/>
                </a:cubicBezTo>
                <a:cubicBezTo>
                  <a:pt x="755" y="179"/>
                  <a:pt x="757" y="180"/>
                  <a:pt x="761" y="180"/>
                </a:cubicBezTo>
                <a:cubicBezTo>
                  <a:pt x="764" y="181"/>
                  <a:pt x="761" y="182"/>
                  <a:pt x="764" y="184"/>
                </a:cubicBezTo>
                <a:cubicBezTo>
                  <a:pt x="764" y="184"/>
                  <a:pt x="765" y="185"/>
                  <a:pt x="765" y="185"/>
                </a:cubicBezTo>
                <a:cubicBezTo>
                  <a:pt x="766" y="187"/>
                  <a:pt x="763" y="188"/>
                  <a:pt x="764" y="190"/>
                </a:cubicBezTo>
                <a:cubicBezTo>
                  <a:pt x="764" y="192"/>
                  <a:pt x="760" y="193"/>
                  <a:pt x="760" y="191"/>
                </a:cubicBezTo>
                <a:cubicBezTo>
                  <a:pt x="760" y="189"/>
                  <a:pt x="752" y="188"/>
                  <a:pt x="750" y="190"/>
                </a:cubicBezTo>
                <a:cubicBezTo>
                  <a:pt x="748" y="192"/>
                  <a:pt x="747" y="194"/>
                  <a:pt x="744" y="192"/>
                </a:cubicBezTo>
                <a:cubicBezTo>
                  <a:pt x="742" y="190"/>
                  <a:pt x="736" y="192"/>
                  <a:pt x="728" y="193"/>
                </a:cubicBezTo>
                <a:cubicBezTo>
                  <a:pt x="720" y="193"/>
                  <a:pt x="703" y="194"/>
                  <a:pt x="699" y="195"/>
                </a:cubicBezTo>
                <a:cubicBezTo>
                  <a:pt x="694" y="197"/>
                  <a:pt x="691" y="203"/>
                  <a:pt x="695" y="206"/>
                </a:cubicBezTo>
                <a:cubicBezTo>
                  <a:pt x="699" y="210"/>
                  <a:pt x="695" y="212"/>
                  <a:pt x="695" y="214"/>
                </a:cubicBezTo>
                <a:cubicBezTo>
                  <a:pt x="695" y="217"/>
                  <a:pt x="705" y="222"/>
                  <a:pt x="710" y="223"/>
                </a:cubicBezTo>
                <a:cubicBezTo>
                  <a:pt x="716" y="223"/>
                  <a:pt x="720" y="230"/>
                  <a:pt x="717" y="234"/>
                </a:cubicBezTo>
                <a:cubicBezTo>
                  <a:pt x="714" y="238"/>
                  <a:pt x="704" y="232"/>
                  <a:pt x="698" y="227"/>
                </a:cubicBezTo>
                <a:cubicBezTo>
                  <a:pt x="691" y="222"/>
                  <a:pt x="677" y="220"/>
                  <a:pt x="672" y="221"/>
                </a:cubicBezTo>
                <a:cubicBezTo>
                  <a:pt x="667" y="221"/>
                  <a:pt x="670" y="216"/>
                  <a:pt x="664" y="217"/>
                </a:cubicBezTo>
                <a:cubicBezTo>
                  <a:pt x="657" y="217"/>
                  <a:pt x="652" y="222"/>
                  <a:pt x="656" y="222"/>
                </a:cubicBezTo>
                <a:cubicBezTo>
                  <a:pt x="661" y="222"/>
                  <a:pt x="663" y="222"/>
                  <a:pt x="661" y="224"/>
                </a:cubicBezTo>
                <a:cubicBezTo>
                  <a:pt x="659" y="226"/>
                  <a:pt x="662" y="225"/>
                  <a:pt x="667" y="228"/>
                </a:cubicBezTo>
                <a:cubicBezTo>
                  <a:pt x="672" y="230"/>
                  <a:pt x="663" y="233"/>
                  <a:pt x="658" y="229"/>
                </a:cubicBezTo>
                <a:cubicBezTo>
                  <a:pt x="653" y="226"/>
                  <a:pt x="647" y="229"/>
                  <a:pt x="646" y="232"/>
                </a:cubicBezTo>
                <a:cubicBezTo>
                  <a:pt x="644" y="234"/>
                  <a:pt x="652" y="242"/>
                  <a:pt x="661" y="243"/>
                </a:cubicBezTo>
                <a:cubicBezTo>
                  <a:pt x="670" y="245"/>
                  <a:pt x="667" y="248"/>
                  <a:pt x="671" y="249"/>
                </a:cubicBezTo>
                <a:cubicBezTo>
                  <a:pt x="675" y="251"/>
                  <a:pt x="672" y="252"/>
                  <a:pt x="669" y="252"/>
                </a:cubicBezTo>
                <a:cubicBezTo>
                  <a:pt x="666" y="253"/>
                  <a:pt x="661" y="248"/>
                  <a:pt x="656" y="246"/>
                </a:cubicBezTo>
                <a:cubicBezTo>
                  <a:pt x="652" y="243"/>
                  <a:pt x="640" y="247"/>
                  <a:pt x="637" y="244"/>
                </a:cubicBezTo>
                <a:cubicBezTo>
                  <a:pt x="635" y="241"/>
                  <a:pt x="639" y="239"/>
                  <a:pt x="636" y="237"/>
                </a:cubicBezTo>
                <a:cubicBezTo>
                  <a:pt x="634" y="235"/>
                  <a:pt x="636" y="230"/>
                  <a:pt x="639" y="226"/>
                </a:cubicBezTo>
                <a:cubicBezTo>
                  <a:pt x="642" y="221"/>
                  <a:pt x="639" y="213"/>
                  <a:pt x="634" y="212"/>
                </a:cubicBezTo>
                <a:cubicBezTo>
                  <a:pt x="630" y="210"/>
                  <a:pt x="630" y="215"/>
                  <a:pt x="631" y="216"/>
                </a:cubicBezTo>
                <a:cubicBezTo>
                  <a:pt x="632" y="217"/>
                  <a:pt x="632" y="224"/>
                  <a:pt x="628" y="228"/>
                </a:cubicBezTo>
                <a:cubicBezTo>
                  <a:pt x="625" y="232"/>
                  <a:pt x="615" y="232"/>
                  <a:pt x="615" y="235"/>
                </a:cubicBezTo>
                <a:cubicBezTo>
                  <a:pt x="615" y="238"/>
                  <a:pt x="608" y="240"/>
                  <a:pt x="610" y="242"/>
                </a:cubicBezTo>
                <a:cubicBezTo>
                  <a:pt x="613" y="244"/>
                  <a:pt x="622" y="254"/>
                  <a:pt x="623" y="257"/>
                </a:cubicBezTo>
                <a:cubicBezTo>
                  <a:pt x="625" y="261"/>
                  <a:pt x="615" y="271"/>
                  <a:pt x="617" y="276"/>
                </a:cubicBezTo>
                <a:cubicBezTo>
                  <a:pt x="618" y="282"/>
                  <a:pt x="615" y="285"/>
                  <a:pt x="617" y="288"/>
                </a:cubicBezTo>
                <a:cubicBezTo>
                  <a:pt x="619" y="291"/>
                  <a:pt x="623" y="288"/>
                  <a:pt x="626" y="289"/>
                </a:cubicBezTo>
                <a:cubicBezTo>
                  <a:pt x="628" y="290"/>
                  <a:pt x="633" y="288"/>
                  <a:pt x="639" y="286"/>
                </a:cubicBezTo>
                <a:cubicBezTo>
                  <a:pt x="645" y="285"/>
                  <a:pt x="656" y="292"/>
                  <a:pt x="661" y="294"/>
                </a:cubicBezTo>
                <a:cubicBezTo>
                  <a:pt x="665" y="296"/>
                  <a:pt x="663" y="299"/>
                  <a:pt x="665" y="302"/>
                </a:cubicBezTo>
                <a:cubicBezTo>
                  <a:pt x="667" y="306"/>
                  <a:pt x="660" y="306"/>
                  <a:pt x="660" y="311"/>
                </a:cubicBezTo>
                <a:cubicBezTo>
                  <a:pt x="659" y="316"/>
                  <a:pt x="672" y="318"/>
                  <a:pt x="673" y="319"/>
                </a:cubicBezTo>
                <a:cubicBezTo>
                  <a:pt x="673" y="321"/>
                  <a:pt x="664" y="320"/>
                  <a:pt x="660" y="318"/>
                </a:cubicBezTo>
                <a:cubicBezTo>
                  <a:pt x="656" y="317"/>
                  <a:pt x="656" y="312"/>
                  <a:pt x="655" y="311"/>
                </a:cubicBezTo>
                <a:cubicBezTo>
                  <a:pt x="654" y="310"/>
                  <a:pt x="657" y="306"/>
                  <a:pt x="658" y="303"/>
                </a:cubicBezTo>
                <a:cubicBezTo>
                  <a:pt x="658" y="300"/>
                  <a:pt x="653" y="298"/>
                  <a:pt x="652" y="296"/>
                </a:cubicBezTo>
                <a:cubicBezTo>
                  <a:pt x="650" y="294"/>
                  <a:pt x="648" y="291"/>
                  <a:pt x="645" y="291"/>
                </a:cubicBezTo>
                <a:cubicBezTo>
                  <a:pt x="642" y="292"/>
                  <a:pt x="631" y="293"/>
                  <a:pt x="627" y="296"/>
                </a:cubicBezTo>
                <a:cubicBezTo>
                  <a:pt x="624" y="299"/>
                  <a:pt x="628" y="307"/>
                  <a:pt x="630" y="312"/>
                </a:cubicBezTo>
                <a:cubicBezTo>
                  <a:pt x="632" y="316"/>
                  <a:pt x="620" y="322"/>
                  <a:pt x="620" y="325"/>
                </a:cubicBezTo>
                <a:cubicBezTo>
                  <a:pt x="621" y="328"/>
                  <a:pt x="617" y="330"/>
                  <a:pt x="612" y="332"/>
                </a:cubicBezTo>
                <a:cubicBezTo>
                  <a:pt x="607" y="335"/>
                  <a:pt x="601" y="337"/>
                  <a:pt x="602" y="341"/>
                </a:cubicBezTo>
                <a:cubicBezTo>
                  <a:pt x="602" y="346"/>
                  <a:pt x="595" y="343"/>
                  <a:pt x="591" y="341"/>
                </a:cubicBezTo>
                <a:cubicBezTo>
                  <a:pt x="588" y="339"/>
                  <a:pt x="583" y="343"/>
                  <a:pt x="578" y="342"/>
                </a:cubicBezTo>
                <a:cubicBezTo>
                  <a:pt x="573" y="342"/>
                  <a:pt x="573" y="338"/>
                  <a:pt x="569" y="340"/>
                </a:cubicBezTo>
                <a:cubicBezTo>
                  <a:pt x="565" y="341"/>
                  <a:pt x="563" y="338"/>
                  <a:pt x="564" y="335"/>
                </a:cubicBezTo>
                <a:cubicBezTo>
                  <a:pt x="565" y="332"/>
                  <a:pt x="570" y="334"/>
                  <a:pt x="570" y="336"/>
                </a:cubicBezTo>
                <a:cubicBezTo>
                  <a:pt x="570" y="338"/>
                  <a:pt x="573" y="337"/>
                  <a:pt x="576" y="336"/>
                </a:cubicBezTo>
                <a:cubicBezTo>
                  <a:pt x="580" y="334"/>
                  <a:pt x="578" y="338"/>
                  <a:pt x="583" y="338"/>
                </a:cubicBezTo>
                <a:cubicBezTo>
                  <a:pt x="588" y="339"/>
                  <a:pt x="585" y="336"/>
                  <a:pt x="589" y="336"/>
                </a:cubicBezTo>
                <a:cubicBezTo>
                  <a:pt x="592" y="336"/>
                  <a:pt x="593" y="335"/>
                  <a:pt x="591" y="333"/>
                </a:cubicBezTo>
                <a:cubicBezTo>
                  <a:pt x="590" y="332"/>
                  <a:pt x="594" y="330"/>
                  <a:pt x="596" y="329"/>
                </a:cubicBezTo>
                <a:cubicBezTo>
                  <a:pt x="599" y="328"/>
                  <a:pt x="598" y="324"/>
                  <a:pt x="600" y="323"/>
                </a:cubicBezTo>
                <a:cubicBezTo>
                  <a:pt x="602" y="322"/>
                  <a:pt x="601" y="320"/>
                  <a:pt x="603" y="320"/>
                </a:cubicBezTo>
                <a:cubicBezTo>
                  <a:pt x="605" y="319"/>
                  <a:pt x="606" y="316"/>
                  <a:pt x="608" y="316"/>
                </a:cubicBezTo>
                <a:cubicBezTo>
                  <a:pt x="611" y="316"/>
                  <a:pt x="612" y="312"/>
                  <a:pt x="610" y="311"/>
                </a:cubicBezTo>
                <a:cubicBezTo>
                  <a:pt x="609" y="309"/>
                  <a:pt x="611" y="304"/>
                  <a:pt x="613" y="303"/>
                </a:cubicBezTo>
                <a:cubicBezTo>
                  <a:pt x="616" y="302"/>
                  <a:pt x="616" y="300"/>
                  <a:pt x="614" y="299"/>
                </a:cubicBezTo>
                <a:cubicBezTo>
                  <a:pt x="612" y="297"/>
                  <a:pt x="604" y="292"/>
                  <a:pt x="605" y="289"/>
                </a:cubicBezTo>
                <a:cubicBezTo>
                  <a:pt x="605" y="286"/>
                  <a:pt x="604" y="280"/>
                  <a:pt x="605" y="278"/>
                </a:cubicBezTo>
                <a:cubicBezTo>
                  <a:pt x="606" y="275"/>
                  <a:pt x="605" y="270"/>
                  <a:pt x="604" y="267"/>
                </a:cubicBezTo>
                <a:cubicBezTo>
                  <a:pt x="604" y="264"/>
                  <a:pt x="606" y="261"/>
                  <a:pt x="607" y="255"/>
                </a:cubicBezTo>
                <a:cubicBezTo>
                  <a:pt x="608" y="250"/>
                  <a:pt x="601" y="244"/>
                  <a:pt x="598" y="242"/>
                </a:cubicBezTo>
                <a:cubicBezTo>
                  <a:pt x="595" y="241"/>
                  <a:pt x="597" y="238"/>
                  <a:pt x="602" y="234"/>
                </a:cubicBezTo>
                <a:cubicBezTo>
                  <a:pt x="607" y="230"/>
                  <a:pt x="607" y="217"/>
                  <a:pt x="607" y="215"/>
                </a:cubicBezTo>
                <a:cubicBezTo>
                  <a:pt x="606" y="212"/>
                  <a:pt x="596" y="210"/>
                  <a:pt x="593" y="210"/>
                </a:cubicBezTo>
                <a:cubicBezTo>
                  <a:pt x="589" y="210"/>
                  <a:pt x="575" y="210"/>
                  <a:pt x="571" y="209"/>
                </a:cubicBezTo>
                <a:cubicBezTo>
                  <a:pt x="568" y="208"/>
                  <a:pt x="566" y="212"/>
                  <a:pt x="565" y="215"/>
                </a:cubicBezTo>
                <a:cubicBezTo>
                  <a:pt x="563" y="219"/>
                  <a:pt x="559" y="224"/>
                  <a:pt x="557" y="231"/>
                </a:cubicBezTo>
                <a:cubicBezTo>
                  <a:pt x="555" y="239"/>
                  <a:pt x="546" y="241"/>
                  <a:pt x="542" y="243"/>
                </a:cubicBezTo>
                <a:cubicBezTo>
                  <a:pt x="538" y="245"/>
                  <a:pt x="536" y="250"/>
                  <a:pt x="538" y="253"/>
                </a:cubicBezTo>
                <a:cubicBezTo>
                  <a:pt x="539" y="255"/>
                  <a:pt x="542" y="253"/>
                  <a:pt x="544" y="254"/>
                </a:cubicBezTo>
                <a:cubicBezTo>
                  <a:pt x="546" y="255"/>
                  <a:pt x="544" y="262"/>
                  <a:pt x="543" y="263"/>
                </a:cubicBezTo>
                <a:cubicBezTo>
                  <a:pt x="541" y="264"/>
                  <a:pt x="545" y="267"/>
                  <a:pt x="542" y="269"/>
                </a:cubicBezTo>
                <a:cubicBezTo>
                  <a:pt x="539" y="270"/>
                  <a:pt x="536" y="274"/>
                  <a:pt x="538" y="276"/>
                </a:cubicBezTo>
                <a:cubicBezTo>
                  <a:pt x="540" y="278"/>
                  <a:pt x="548" y="279"/>
                  <a:pt x="551" y="281"/>
                </a:cubicBezTo>
                <a:cubicBezTo>
                  <a:pt x="555" y="283"/>
                  <a:pt x="554" y="287"/>
                  <a:pt x="556" y="290"/>
                </a:cubicBezTo>
                <a:cubicBezTo>
                  <a:pt x="559" y="294"/>
                  <a:pt x="562" y="292"/>
                  <a:pt x="563" y="294"/>
                </a:cubicBezTo>
                <a:cubicBezTo>
                  <a:pt x="564" y="296"/>
                  <a:pt x="558" y="305"/>
                  <a:pt x="556" y="305"/>
                </a:cubicBezTo>
                <a:cubicBezTo>
                  <a:pt x="554" y="305"/>
                  <a:pt x="545" y="296"/>
                  <a:pt x="542" y="294"/>
                </a:cubicBezTo>
                <a:cubicBezTo>
                  <a:pt x="540" y="292"/>
                  <a:pt x="529" y="289"/>
                  <a:pt x="524" y="286"/>
                </a:cubicBezTo>
                <a:cubicBezTo>
                  <a:pt x="519" y="284"/>
                  <a:pt x="515" y="284"/>
                  <a:pt x="509" y="280"/>
                </a:cubicBezTo>
                <a:cubicBezTo>
                  <a:pt x="504" y="276"/>
                  <a:pt x="499" y="275"/>
                  <a:pt x="488" y="275"/>
                </a:cubicBezTo>
                <a:cubicBezTo>
                  <a:pt x="478" y="275"/>
                  <a:pt x="471" y="272"/>
                  <a:pt x="468" y="273"/>
                </a:cubicBezTo>
                <a:cubicBezTo>
                  <a:pt x="464" y="273"/>
                  <a:pt x="466" y="269"/>
                  <a:pt x="460" y="267"/>
                </a:cubicBezTo>
                <a:cubicBezTo>
                  <a:pt x="453" y="264"/>
                  <a:pt x="449" y="260"/>
                  <a:pt x="446" y="262"/>
                </a:cubicBezTo>
                <a:cubicBezTo>
                  <a:pt x="442" y="264"/>
                  <a:pt x="444" y="271"/>
                  <a:pt x="449" y="272"/>
                </a:cubicBezTo>
                <a:cubicBezTo>
                  <a:pt x="454" y="272"/>
                  <a:pt x="452" y="275"/>
                  <a:pt x="457" y="275"/>
                </a:cubicBezTo>
                <a:cubicBezTo>
                  <a:pt x="463" y="275"/>
                  <a:pt x="465" y="277"/>
                  <a:pt x="465" y="280"/>
                </a:cubicBezTo>
                <a:cubicBezTo>
                  <a:pt x="464" y="284"/>
                  <a:pt x="467" y="287"/>
                  <a:pt x="470" y="289"/>
                </a:cubicBezTo>
                <a:cubicBezTo>
                  <a:pt x="472" y="292"/>
                  <a:pt x="471" y="296"/>
                  <a:pt x="466" y="296"/>
                </a:cubicBezTo>
                <a:cubicBezTo>
                  <a:pt x="462" y="296"/>
                  <a:pt x="457" y="296"/>
                  <a:pt x="459" y="299"/>
                </a:cubicBezTo>
                <a:cubicBezTo>
                  <a:pt x="461" y="303"/>
                  <a:pt x="457" y="303"/>
                  <a:pt x="453" y="302"/>
                </a:cubicBezTo>
                <a:cubicBezTo>
                  <a:pt x="448" y="300"/>
                  <a:pt x="451" y="297"/>
                  <a:pt x="453" y="295"/>
                </a:cubicBezTo>
                <a:cubicBezTo>
                  <a:pt x="455" y="293"/>
                  <a:pt x="449" y="291"/>
                  <a:pt x="446" y="290"/>
                </a:cubicBezTo>
                <a:cubicBezTo>
                  <a:pt x="443" y="289"/>
                  <a:pt x="432" y="297"/>
                  <a:pt x="429" y="299"/>
                </a:cubicBezTo>
                <a:cubicBezTo>
                  <a:pt x="425" y="300"/>
                  <a:pt x="418" y="297"/>
                  <a:pt x="410" y="299"/>
                </a:cubicBezTo>
                <a:cubicBezTo>
                  <a:pt x="402" y="301"/>
                  <a:pt x="402" y="307"/>
                  <a:pt x="399" y="306"/>
                </a:cubicBezTo>
                <a:cubicBezTo>
                  <a:pt x="396" y="306"/>
                  <a:pt x="387" y="307"/>
                  <a:pt x="384" y="305"/>
                </a:cubicBezTo>
                <a:cubicBezTo>
                  <a:pt x="381" y="303"/>
                  <a:pt x="383" y="302"/>
                  <a:pt x="387" y="302"/>
                </a:cubicBezTo>
                <a:cubicBezTo>
                  <a:pt x="390" y="302"/>
                  <a:pt x="391" y="301"/>
                  <a:pt x="389" y="299"/>
                </a:cubicBezTo>
                <a:cubicBezTo>
                  <a:pt x="387" y="296"/>
                  <a:pt x="392" y="293"/>
                  <a:pt x="392" y="291"/>
                </a:cubicBezTo>
                <a:cubicBezTo>
                  <a:pt x="392" y="289"/>
                  <a:pt x="379" y="294"/>
                  <a:pt x="377" y="296"/>
                </a:cubicBezTo>
                <a:cubicBezTo>
                  <a:pt x="374" y="297"/>
                  <a:pt x="377" y="301"/>
                  <a:pt x="374" y="302"/>
                </a:cubicBezTo>
                <a:cubicBezTo>
                  <a:pt x="372" y="303"/>
                  <a:pt x="372" y="300"/>
                  <a:pt x="369" y="299"/>
                </a:cubicBezTo>
                <a:cubicBezTo>
                  <a:pt x="367" y="298"/>
                  <a:pt x="347" y="302"/>
                  <a:pt x="344" y="307"/>
                </a:cubicBezTo>
                <a:cubicBezTo>
                  <a:pt x="340" y="311"/>
                  <a:pt x="333" y="311"/>
                  <a:pt x="333" y="313"/>
                </a:cubicBezTo>
                <a:cubicBezTo>
                  <a:pt x="333" y="316"/>
                  <a:pt x="324" y="315"/>
                  <a:pt x="320" y="317"/>
                </a:cubicBezTo>
                <a:cubicBezTo>
                  <a:pt x="317" y="319"/>
                  <a:pt x="319" y="326"/>
                  <a:pt x="318" y="329"/>
                </a:cubicBezTo>
                <a:cubicBezTo>
                  <a:pt x="317" y="332"/>
                  <a:pt x="303" y="331"/>
                  <a:pt x="299" y="331"/>
                </a:cubicBezTo>
                <a:cubicBezTo>
                  <a:pt x="295" y="332"/>
                  <a:pt x="293" y="323"/>
                  <a:pt x="290" y="323"/>
                </a:cubicBezTo>
                <a:cubicBezTo>
                  <a:pt x="286" y="322"/>
                  <a:pt x="288" y="318"/>
                  <a:pt x="289" y="316"/>
                </a:cubicBezTo>
                <a:cubicBezTo>
                  <a:pt x="290" y="314"/>
                  <a:pt x="293" y="315"/>
                  <a:pt x="297" y="313"/>
                </a:cubicBezTo>
                <a:cubicBezTo>
                  <a:pt x="301" y="310"/>
                  <a:pt x="306" y="314"/>
                  <a:pt x="307" y="312"/>
                </a:cubicBezTo>
                <a:cubicBezTo>
                  <a:pt x="309" y="310"/>
                  <a:pt x="301" y="306"/>
                  <a:pt x="300" y="301"/>
                </a:cubicBezTo>
                <a:cubicBezTo>
                  <a:pt x="300" y="297"/>
                  <a:pt x="291" y="296"/>
                  <a:pt x="286" y="297"/>
                </a:cubicBezTo>
                <a:cubicBezTo>
                  <a:pt x="281" y="299"/>
                  <a:pt x="276" y="298"/>
                  <a:pt x="272" y="296"/>
                </a:cubicBezTo>
                <a:cubicBezTo>
                  <a:pt x="269" y="294"/>
                  <a:pt x="269" y="299"/>
                  <a:pt x="274" y="300"/>
                </a:cubicBezTo>
                <a:cubicBezTo>
                  <a:pt x="279" y="302"/>
                  <a:pt x="277" y="306"/>
                  <a:pt x="277" y="308"/>
                </a:cubicBezTo>
                <a:cubicBezTo>
                  <a:pt x="278" y="311"/>
                  <a:pt x="276" y="316"/>
                  <a:pt x="273" y="321"/>
                </a:cubicBezTo>
                <a:cubicBezTo>
                  <a:pt x="270" y="325"/>
                  <a:pt x="272" y="325"/>
                  <a:pt x="277" y="325"/>
                </a:cubicBezTo>
                <a:cubicBezTo>
                  <a:pt x="281" y="324"/>
                  <a:pt x="281" y="330"/>
                  <a:pt x="281" y="335"/>
                </a:cubicBezTo>
                <a:cubicBezTo>
                  <a:pt x="281" y="339"/>
                  <a:pt x="277" y="340"/>
                  <a:pt x="277" y="343"/>
                </a:cubicBezTo>
                <a:cubicBezTo>
                  <a:pt x="277" y="346"/>
                  <a:pt x="274" y="342"/>
                  <a:pt x="273" y="343"/>
                </a:cubicBezTo>
                <a:cubicBezTo>
                  <a:pt x="271" y="344"/>
                  <a:pt x="270" y="342"/>
                  <a:pt x="269" y="340"/>
                </a:cubicBezTo>
                <a:cubicBezTo>
                  <a:pt x="269" y="337"/>
                  <a:pt x="262" y="339"/>
                  <a:pt x="258" y="338"/>
                </a:cubicBezTo>
                <a:cubicBezTo>
                  <a:pt x="254" y="337"/>
                  <a:pt x="253" y="338"/>
                  <a:pt x="251" y="341"/>
                </a:cubicBezTo>
                <a:cubicBezTo>
                  <a:pt x="249" y="344"/>
                  <a:pt x="244" y="345"/>
                  <a:pt x="241" y="345"/>
                </a:cubicBezTo>
                <a:cubicBezTo>
                  <a:pt x="238" y="346"/>
                  <a:pt x="233" y="351"/>
                  <a:pt x="230" y="353"/>
                </a:cubicBezTo>
                <a:cubicBezTo>
                  <a:pt x="227" y="355"/>
                  <a:pt x="226" y="359"/>
                  <a:pt x="231" y="363"/>
                </a:cubicBezTo>
                <a:cubicBezTo>
                  <a:pt x="235" y="367"/>
                  <a:pt x="236" y="370"/>
                  <a:pt x="235" y="372"/>
                </a:cubicBezTo>
                <a:cubicBezTo>
                  <a:pt x="235" y="374"/>
                  <a:pt x="224" y="373"/>
                  <a:pt x="222" y="371"/>
                </a:cubicBezTo>
                <a:cubicBezTo>
                  <a:pt x="220" y="369"/>
                  <a:pt x="213" y="368"/>
                  <a:pt x="210" y="368"/>
                </a:cubicBezTo>
                <a:cubicBezTo>
                  <a:pt x="208" y="369"/>
                  <a:pt x="201" y="361"/>
                  <a:pt x="197" y="361"/>
                </a:cubicBezTo>
                <a:cubicBezTo>
                  <a:pt x="194" y="361"/>
                  <a:pt x="192" y="365"/>
                  <a:pt x="190" y="367"/>
                </a:cubicBezTo>
                <a:cubicBezTo>
                  <a:pt x="189" y="369"/>
                  <a:pt x="192" y="370"/>
                  <a:pt x="194" y="374"/>
                </a:cubicBezTo>
                <a:cubicBezTo>
                  <a:pt x="195" y="377"/>
                  <a:pt x="202" y="377"/>
                  <a:pt x="205" y="377"/>
                </a:cubicBezTo>
                <a:cubicBezTo>
                  <a:pt x="208" y="377"/>
                  <a:pt x="207" y="382"/>
                  <a:pt x="206" y="384"/>
                </a:cubicBezTo>
                <a:cubicBezTo>
                  <a:pt x="205" y="386"/>
                  <a:pt x="199" y="388"/>
                  <a:pt x="197" y="386"/>
                </a:cubicBezTo>
                <a:cubicBezTo>
                  <a:pt x="196" y="383"/>
                  <a:pt x="189" y="386"/>
                  <a:pt x="188" y="383"/>
                </a:cubicBezTo>
                <a:cubicBezTo>
                  <a:pt x="188" y="380"/>
                  <a:pt x="183" y="376"/>
                  <a:pt x="178" y="377"/>
                </a:cubicBezTo>
                <a:cubicBezTo>
                  <a:pt x="173" y="378"/>
                  <a:pt x="172" y="375"/>
                  <a:pt x="172" y="371"/>
                </a:cubicBezTo>
                <a:cubicBezTo>
                  <a:pt x="173" y="367"/>
                  <a:pt x="169" y="364"/>
                  <a:pt x="170" y="362"/>
                </a:cubicBezTo>
                <a:cubicBezTo>
                  <a:pt x="170" y="361"/>
                  <a:pt x="167" y="357"/>
                  <a:pt x="170" y="355"/>
                </a:cubicBezTo>
                <a:cubicBezTo>
                  <a:pt x="173" y="353"/>
                  <a:pt x="171" y="350"/>
                  <a:pt x="171" y="348"/>
                </a:cubicBezTo>
                <a:cubicBezTo>
                  <a:pt x="171" y="345"/>
                  <a:pt x="166" y="342"/>
                  <a:pt x="162" y="342"/>
                </a:cubicBezTo>
                <a:cubicBezTo>
                  <a:pt x="158" y="342"/>
                  <a:pt x="159" y="337"/>
                  <a:pt x="155" y="337"/>
                </a:cubicBezTo>
                <a:cubicBezTo>
                  <a:pt x="152" y="336"/>
                  <a:pt x="145" y="330"/>
                  <a:pt x="144" y="327"/>
                </a:cubicBezTo>
                <a:cubicBezTo>
                  <a:pt x="144" y="325"/>
                  <a:pt x="138" y="325"/>
                  <a:pt x="140" y="324"/>
                </a:cubicBezTo>
                <a:cubicBezTo>
                  <a:pt x="142" y="323"/>
                  <a:pt x="146" y="324"/>
                  <a:pt x="149" y="327"/>
                </a:cubicBezTo>
                <a:cubicBezTo>
                  <a:pt x="152" y="330"/>
                  <a:pt x="157" y="333"/>
                  <a:pt x="165" y="334"/>
                </a:cubicBezTo>
                <a:cubicBezTo>
                  <a:pt x="173" y="335"/>
                  <a:pt x="176" y="338"/>
                  <a:pt x="185" y="340"/>
                </a:cubicBezTo>
                <a:cubicBezTo>
                  <a:pt x="193" y="341"/>
                  <a:pt x="198" y="342"/>
                  <a:pt x="211" y="344"/>
                </a:cubicBezTo>
                <a:cubicBezTo>
                  <a:pt x="223" y="346"/>
                  <a:pt x="240" y="333"/>
                  <a:pt x="244" y="330"/>
                </a:cubicBezTo>
                <a:cubicBezTo>
                  <a:pt x="247" y="326"/>
                  <a:pt x="243" y="319"/>
                  <a:pt x="243" y="317"/>
                </a:cubicBezTo>
                <a:cubicBezTo>
                  <a:pt x="243" y="314"/>
                  <a:pt x="237" y="314"/>
                  <a:pt x="236" y="312"/>
                </a:cubicBezTo>
                <a:cubicBezTo>
                  <a:pt x="235" y="310"/>
                  <a:pt x="232" y="306"/>
                  <a:pt x="227" y="306"/>
                </a:cubicBezTo>
                <a:cubicBezTo>
                  <a:pt x="222" y="306"/>
                  <a:pt x="221" y="300"/>
                  <a:pt x="217" y="301"/>
                </a:cubicBezTo>
                <a:cubicBezTo>
                  <a:pt x="214" y="301"/>
                  <a:pt x="211" y="299"/>
                  <a:pt x="201" y="292"/>
                </a:cubicBezTo>
                <a:cubicBezTo>
                  <a:pt x="191" y="286"/>
                  <a:pt x="177" y="281"/>
                  <a:pt x="175" y="282"/>
                </a:cubicBezTo>
                <a:cubicBezTo>
                  <a:pt x="172" y="283"/>
                  <a:pt x="170" y="284"/>
                  <a:pt x="169" y="281"/>
                </a:cubicBezTo>
                <a:cubicBezTo>
                  <a:pt x="167" y="279"/>
                  <a:pt x="163" y="279"/>
                  <a:pt x="161" y="281"/>
                </a:cubicBezTo>
                <a:cubicBezTo>
                  <a:pt x="158" y="283"/>
                  <a:pt x="155" y="279"/>
                  <a:pt x="150" y="281"/>
                </a:cubicBezTo>
                <a:cubicBezTo>
                  <a:pt x="145" y="282"/>
                  <a:pt x="143" y="278"/>
                  <a:pt x="144" y="277"/>
                </a:cubicBezTo>
                <a:cubicBezTo>
                  <a:pt x="145" y="275"/>
                  <a:pt x="153" y="277"/>
                  <a:pt x="152" y="274"/>
                </a:cubicBezTo>
                <a:cubicBezTo>
                  <a:pt x="152" y="272"/>
                  <a:pt x="149" y="274"/>
                  <a:pt x="145" y="271"/>
                </a:cubicBezTo>
                <a:cubicBezTo>
                  <a:pt x="140" y="268"/>
                  <a:pt x="138" y="270"/>
                  <a:pt x="137" y="273"/>
                </a:cubicBezTo>
                <a:cubicBezTo>
                  <a:pt x="136" y="275"/>
                  <a:pt x="132" y="275"/>
                  <a:pt x="130" y="272"/>
                </a:cubicBezTo>
                <a:cubicBezTo>
                  <a:pt x="130" y="272"/>
                  <a:pt x="129" y="272"/>
                  <a:pt x="129" y="272"/>
                </a:cubicBezTo>
                <a:cubicBezTo>
                  <a:pt x="128" y="276"/>
                  <a:pt x="126" y="276"/>
                  <a:pt x="123" y="276"/>
                </a:cubicBezTo>
                <a:cubicBezTo>
                  <a:pt x="120" y="275"/>
                  <a:pt x="117" y="280"/>
                  <a:pt x="114" y="280"/>
                </a:cubicBezTo>
                <a:cubicBezTo>
                  <a:pt x="111" y="280"/>
                  <a:pt x="107" y="284"/>
                  <a:pt x="106" y="287"/>
                </a:cubicBezTo>
                <a:cubicBezTo>
                  <a:pt x="106" y="290"/>
                  <a:pt x="102" y="288"/>
                  <a:pt x="102" y="290"/>
                </a:cubicBezTo>
                <a:cubicBezTo>
                  <a:pt x="102" y="292"/>
                  <a:pt x="102" y="294"/>
                  <a:pt x="100" y="296"/>
                </a:cubicBezTo>
                <a:cubicBezTo>
                  <a:pt x="99" y="298"/>
                  <a:pt x="100" y="299"/>
                  <a:pt x="102" y="303"/>
                </a:cubicBezTo>
                <a:cubicBezTo>
                  <a:pt x="104" y="306"/>
                  <a:pt x="107" y="306"/>
                  <a:pt x="109" y="307"/>
                </a:cubicBezTo>
                <a:cubicBezTo>
                  <a:pt x="111" y="308"/>
                  <a:pt x="117" y="313"/>
                  <a:pt x="117" y="315"/>
                </a:cubicBezTo>
                <a:cubicBezTo>
                  <a:pt x="117" y="317"/>
                  <a:pt x="112" y="322"/>
                  <a:pt x="110" y="323"/>
                </a:cubicBezTo>
                <a:cubicBezTo>
                  <a:pt x="108" y="325"/>
                  <a:pt x="105" y="328"/>
                  <a:pt x="107" y="330"/>
                </a:cubicBezTo>
                <a:cubicBezTo>
                  <a:pt x="108" y="332"/>
                  <a:pt x="114" y="340"/>
                  <a:pt x="117" y="347"/>
                </a:cubicBezTo>
                <a:cubicBezTo>
                  <a:pt x="121" y="354"/>
                  <a:pt x="116" y="351"/>
                  <a:pt x="114" y="354"/>
                </a:cubicBezTo>
                <a:cubicBezTo>
                  <a:pt x="111" y="357"/>
                  <a:pt x="115" y="360"/>
                  <a:pt x="115" y="362"/>
                </a:cubicBezTo>
                <a:cubicBezTo>
                  <a:pt x="116" y="364"/>
                  <a:pt x="112" y="364"/>
                  <a:pt x="113" y="366"/>
                </a:cubicBezTo>
                <a:cubicBezTo>
                  <a:pt x="113" y="367"/>
                  <a:pt x="118" y="368"/>
                  <a:pt x="118" y="369"/>
                </a:cubicBezTo>
                <a:cubicBezTo>
                  <a:pt x="119" y="371"/>
                  <a:pt x="115" y="372"/>
                  <a:pt x="117" y="375"/>
                </a:cubicBezTo>
                <a:cubicBezTo>
                  <a:pt x="118" y="378"/>
                  <a:pt x="122" y="378"/>
                  <a:pt x="123" y="381"/>
                </a:cubicBezTo>
                <a:cubicBezTo>
                  <a:pt x="123" y="384"/>
                  <a:pt x="115" y="385"/>
                  <a:pt x="116" y="387"/>
                </a:cubicBezTo>
                <a:cubicBezTo>
                  <a:pt x="116" y="390"/>
                  <a:pt x="126" y="393"/>
                  <a:pt x="130" y="398"/>
                </a:cubicBezTo>
                <a:cubicBezTo>
                  <a:pt x="134" y="403"/>
                  <a:pt x="134" y="405"/>
                  <a:pt x="133" y="407"/>
                </a:cubicBezTo>
                <a:cubicBezTo>
                  <a:pt x="131" y="413"/>
                  <a:pt x="119" y="417"/>
                  <a:pt x="116" y="423"/>
                </a:cubicBezTo>
                <a:cubicBezTo>
                  <a:pt x="114" y="429"/>
                  <a:pt x="104" y="433"/>
                  <a:pt x="99" y="437"/>
                </a:cubicBezTo>
                <a:cubicBezTo>
                  <a:pt x="97" y="439"/>
                  <a:pt x="95" y="442"/>
                  <a:pt x="94" y="444"/>
                </a:cubicBezTo>
                <a:cubicBezTo>
                  <a:pt x="96" y="444"/>
                  <a:pt x="97" y="443"/>
                  <a:pt x="98" y="442"/>
                </a:cubicBezTo>
                <a:cubicBezTo>
                  <a:pt x="101" y="441"/>
                  <a:pt x="103" y="448"/>
                  <a:pt x="106" y="450"/>
                </a:cubicBezTo>
                <a:cubicBezTo>
                  <a:pt x="108" y="452"/>
                  <a:pt x="114" y="450"/>
                  <a:pt x="115" y="452"/>
                </a:cubicBezTo>
                <a:cubicBezTo>
                  <a:pt x="117" y="454"/>
                  <a:pt x="114" y="454"/>
                  <a:pt x="110" y="453"/>
                </a:cubicBezTo>
                <a:cubicBezTo>
                  <a:pt x="106" y="453"/>
                  <a:pt x="105" y="455"/>
                  <a:pt x="99" y="457"/>
                </a:cubicBezTo>
                <a:cubicBezTo>
                  <a:pt x="95" y="459"/>
                  <a:pt x="95" y="460"/>
                  <a:pt x="94" y="461"/>
                </a:cubicBezTo>
                <a:cubicBezTo>
                  <a:pt x="96" y="465"/>
                  <a:pt x="93" y="466"/>
                  <a:pt x="91" y="469"/>
                </a:cubicBezTo>
                <a:cubicBezTo>
                  <a:pt x="90" y="472"/>
                  <a:pt x="88" y="473"/>
                  <a:pt x="88" y="475"/>
                </a:cubicBezTo>
                <a:cubicBezTo>
                  <a:pt x="87" y="477"/>
                  <a:pt x="88" y="478"/>
                  <a:pt x="88" y="481"/>
                </a:cubicBezTo>
                <a:cubicBezTo>
                  <a:pt x="89" y="484"/>
                  <a:pt x="89" y="485"/>
                  <a:pt x="91" y="487"/>
                </a:cubicBezTo>
                <a:cubicBezTo>
                  <a:pt x="93" y="490"/>
                  <a:pt x="89" y="490"/>
                  <a:pt x="88" y="491"/>
                </a:cubicBezTo>
                <a:cubicBezTo>
                  <a:pt x="86" y="492"/>
                  <a:pt x="87" y="495"/>
                  <a:pt x="89" y="497"/>
                </a:cubicBezTo>
                <a:cubicBezTo>
                  <a:pt x="91" y="499"/>
                  <a:pt x="91" y="501"/>
                  <a:pt x="91" y="503"/>
                </a:cubicBezTo>
                <a:cubicBezTo>
                  <a:pt x="90" y="505"/>
                  <a:pt x="92" y="508"/>
                  <a:pt x="94" y="510"/>
                </a:cubicBezTo>
                <a:cubicBezTo>
                  <a:pt x="96" y="511"/>
                  <a:pt x="96" y="516"/>
                  <a:pt x="97" y="517"/>
                </a:cubicBezTo>
                <a:cubicBezTo>
                  <a:pt x="99" y="519"/>
                  <a:pt x="100" y="520"/>
                  <a:pt x="103" y="519"/>
                </a:cubicBezTo>
                <a:cubicBezTo>
                  <a:pt x="106" y="518"/>
                  <a:pt x="108" y="520"/>
                  <a:pt x="109" y="522"/>
                </a:cubicBezTo>
                <a:cubicBezTo>
                  <a:pt x="110" y="524"/>
                  <a:pt x="112" y="523"/>
                  <a:pt x="115" y="522"/>
                </a:cubicBezTo>
                <a:cubicBezTo>
                  <a:pt x="118" y="521"/>
                  <a:pt x="124" y="524"/>
                  <a:pt x="125" y="525"/>
                </a:cubicBezTo>
                <a:cubicBezTo>
                  <a:pt x="127" y="526"/>
                  <a:pt x="126" y="530"/>
                  <a:pt x="126" y="533"/>
                </a:cubicBezTo>
                <a:cubicBezTo>
                  <a:pt x="127" y="535"/>
                  <a:pt x="125" y="539"/>
                  <a:pt x="128" y="541"/>
                </a:cubicBezTo>
                <a:cubicBezTo>
                  <a:pt x="130" y="542"/>
                  <a:pt x="130" y="546"/>
                  <a:pt x="133" y="548"/>
                </a:cubicBezTo>
                <a:cubicBezTo>
                  <a:pt x="136" y="549"/>
                  <a:pt x="137" y="553"/>
                  <a:pt x="139" y="554"/>
                </a:cubicBezTo>
                <a:cubicBezTo>
                  <a:pt x="141" y="554"/>
                  <a:pt x="145" y="557"/>
                  <a:pt x="146" y="560"/>
                </a:cubicBezTo>
                <a:cubicBezTo>
                  <a:pt x="146" y="562"/>
                  <a:pt x="142" y="564"/>
                  <a:pt x="140" y="565"/>
                </a:cubicBezTo>
                <a:cubicBezTo>
                  <a:pt x="138" y="566"/>
                  <a:pt x="133" y="562"/>
                  <a:pt x="132" y="564"/>
                </a:cubicBezTo>
                <a:cubicBezTo>
                  <a:pt x="130" y="565"/>
                  <a:pt x="132" y="569"/>
                  <a:pt x="134" y="574"/>
                </a:cubicBezTo>
                <a:cubicBezTo>
                  <a:pt x="135" y="580"/>
                  <a:pt x="136" y="580"/>
                  <a:pt x="138" y="580"/>
                </a:cubicBezTo>
                <a:cubicBezTo>
                  <a:pt x="141" y="580"/>
                  <a:pt x="142" y="578"/>
                  <a:pt x="144" y="577"/>
                </a:cubicBezTo>
                <a:cubicBezTo>
                  <a:pt x="145" y="576"/>
                  <a:pt x="149" y="578"/>
                  <a:pt x="151" y="577"/>
                </a:cubicBezTo>
                <a:cubicBezTo>
                  <a:pt x="153" y="576"/>
                  <a:pt x="159" y="576"/>
                  <a:pt x="160" y="578"/>
                </a:cubicBezTo>
                <a:cubicBezTo>
                  <a:pt x="162" y="580"/>
                  <a:pt x="163" y="585"/>
                  <a:pt x="162" y="587"/>
                </a:cubicBezTo>
                <a:cubicBezTo>
                  <a:pt x="161" y="588"/>
                  <a:pt x="163" y="590"/>
                  <a:pt x="164" y="593"/>
                </a:cubicBezTo>
                <a:cubicBezTo>
                  <a:pt x="166" y="595"/>
                  <a:pt x="171" y="594"/>
                  <a:pt x="173" y="595"/>
                </a:cubicBezTo>
                <a:cubicBezTo>
                  <a:pt x="174" y="596"/>
                  <a:pt x="178" y="601"/>
                  <a:pt x="178" y="604"/>
                </a:cubicBezTo>
                <a:cubicBezTo>
                  <a:pt x="177" y="606"/>
                  <a:pt x="180" y="607"/>
                  <a:pt x="182" y="606"/>
                </a:cubicBezTo>
                <a:cubicBezTo>
                  <a:pt x="184" y="605"/>
                  <a:pt x="185" y="607"/>
                  <a:pt x="187" y="608"/>
                </a:cubicBezTo>
                <a:cubicBezTo>
                  <a:pt x="189" y="610"/>
                  <a:pt x="191" y="609"/>
                  <a:pt x="193" y="608"/>
                </a:cubicBezTo>
                <a:cubicBezTo>
                  <a:pt x="195" y="607"/>
                  <a:pt x="198" y="606"/>
                  <a:pt x="199" y="607"/>
                </a:cubicBezTo>
                <a:cubicBezTo>
                  <a:pt x="200" y="609"/>
                  <a:pt x="204" y="612"/>
                  <a:pt x="204" y="613"/>
                </a:cubicBezTo>
                <a:cubicBezTo>
                  <a:pt x="204" y="614"/>
                  <a:pt x="211" y="613"/>
                  <a:pt x="214" y="615"/>
                </a:cubicBezTo>
                <a:cubicBezTo>
                  <a:pt x="217" y="616"/>
                  <a:pt x="220" y="616"/>
                  <a:pt x="223" y="617"/>
                </a:cubicBezTo>
                <a:cubicBezTo>
                  <a:pt x="226" y="619"/>
                  <a:pt x="229" y="619"/>
                  <a:pt x="230" y="621"/>
                </a:cubicBezTo>
                <a:cubicBezTo>
                  <a:pt x="230" y="623"/>
                  <a:pt x="226" y="625"/>
                  <a:pt x="226" y="626"/>
                </a:cubicBezTo>
                <a:cubicBezTo>
                  <a:pt x="226" y="627"/>
                  <a:pt x="229" y="628"/>
                  <a:pt x="229" y="629"/>
                </a:cubicBezTo>
                <a:cubicBezTo>
                  <a:pt x="229" y="631"/>
                  <a:pt x="226" y="631"/>
                  <a:pt x="225" y="632"/>
                </a:cubicBezTo>
                <a:cubicBezTo>
                  <a:pt x="225" y="633"/>
                  <a:pt x="227" y="635"/>
                  <a:pt x="228" y="636"/>
                </a:cubicBezTo>
                <a:cubicBezTo>
                  <a:pt x="228" y="638"/>
                  <a:pt x="226" y="642"/>
                  <a:pt x="226" y="643"/>
                </a:cubicBezTo>
                <a:cubicBezTo>
                  <a:pt x="226" y="644"/>
                  <a:pt x="218" y="643"/>
                  <a:pt x="216" y="643"/>
                </a:cubicBezTo>
                <a:cubicBezTo>
                  <a:pt x="215" y="643"/>
                  <a:pt x="209" y="649"/>
                  <a:pt x="208" y="649"/>
                </a:cubicBezTo>
                <a:cubicBezTo>
                  <a:pt x="206" y="649"/>
                  <a:pt x="207" y="652"/>
                  <a:pt x="207" y="654"/>
                </a:cubicBezTo>
                <a:cubicBezTo>
                  <a:pt x="213" y="653"/>
                  <a:pt x="218" y="653"/>
                  <a:pt x="219" y="654"/>
                </a:cubicBezTo>
                <a:cubicBezTo>
                  <a:pt x="220" y="656"/>
                  <a:pt x="207" y="661"/>
                  <a:pt x="205" y="662"/>
                </a:cubicBezTo>
                <a:cubicBezTo>
                  <a:pt x="203" y="663"/>
                  <a:pt x="209" y="666"/>
                  <a:pt x="209" y="668"/>
                </a:cubicBezTo>
                <a:cubicBezTo>
                  <a:pt x="209" y="670"/>
                  <a:pt x="202" y="671"/>
                  <a:pt x="203" y="675"/>
                </a:cubicBezTo>
                <a:cubicBezTo>
                  <a:pt x="203" y="679"/>
                  <a:pt x="200" y="680"/>
                  <a:pt x="196" y="680"/>
                </a:cubicBezTo>
                <a:cubicBezTo>
                  <a:pt x="193" y="680"/>
                  <a:pt x="192" y="682"/>
                  <a:pt x="193" y="682"/>
                </a:cubicBezTo>
                <a:cubicBezTo>
                  <a:pt x="195" y="683"/>
                  <a:pt x="195" y="688"/>
                  <a:pt x="202" y="690"/>
                </a:cubicBezTo>
                <a:cubicBezTo>
                  <a:pt x="209" y="691"/>
                  <a:pt x="217" y="698"/>
                  <a:pt x="223" y="705"/>
                </a:cubicBezTo>
                <a:cubicBezTo>
                  <a:pt x="224" y="706"/>
                  <a:pt x="225" y="706"/>
                  <a:pt x="226" y="707"/>
                </a:cubicBezTo>
                <a:cubicBezTo>
                  <a:pt x="228" y="706"/>
                  <a:pt x="229" y="705"/>
                  <a:pt x="230" y="705"/>
                </a:cubicBezTo>
                <a:cubicBezTo>
                  <a:pt x="234" y="705"/>
                  <a:pt x="240" y="707"/>
                  <a:pt x="244" y="709"/>
                </a:cubicBezTo>
                <a:cubicBezTo>
                  <a:pt x="247" y="712"/>
                  <a:pt x="260" y="709"/>
                  <a:pt x="261" y="711"/>
                </a:cubicBezTo>
                <a:cubicBezTo>
                  <a:pt x="263" y="713"/>
                  <a:pt x="266" y="715"/>
                  <a:pt x="268" y="715"/>
                </a:cubicBezTo>
                <a:cubicBezTo>
                  <a:pt x="271" y="715"/>
                  <a:pt x="273" y="720"/>
                  <a:pt x="275" y="719"/>
                </a:cubicBezTo>
                <a:cubicBezTo>
                  <a:pt x="277" y="717"/>
                  <a:pt x="285" y="717"/>
                  <a:pt x="287" y="717"/>
                </a:cubicBezTo>
                <a:cubicBezTo>
                  <a:pt x="289" y="717"/>
                  <a:pt x="289" y="719"/>
                  <a:pt x="291" y="719"/>
                </a:cubicBezTo>
                <a:cubicBezTo>
                  <a:pt x="293" y="719"/>
                  <a:pt x="293" y="726"/>
                  <a:pt x="294" y="726"/>
                </a:cubicBezTo>
                <a:cubicBezTo>
                  <a:pt x="296" y="725"/>
                  <a:pt x="301" y="730"/>
                  <a:pt x="305" y="731"/>
                </a:cubicBezTo>
                <a:cubicBezTo>
                  <a:pt x="308" y="731"/>
                  <a:pt x="312" y="737"/>
                  <a:pt x="313" y="737"/>
                </a:cubicBezTo>
                <a:cubicBezTo>
                  <a:pt x="315" y="736"/>
                  <a:pt x="317" y="739"/>
                  <a:pt x="318" y="737"/>
                </a:cubicBezTo>
                <a:cubicBezTo>
                  <a:pt x="319" y="734"/>
                  <a:pt x="324" y="735"/>
                  <a:pt x="326" y="731"/>
                </a:cubicBezTo>
                <a:cubicBezTo>
                  <a:pt x="319" y="723"/>
                  <a:pt x="312" y="715"/>
                  <a:pt x="313" y="712"/>
                </a:cubicBezTo>
                <a:cubicBezTo>
                  <a:pt x="313" y="706"/>
                  <a:pt x="315" y="702"/>
                  <a:pt x="308" y="696"/>
                </a:cubicBezTo>
                <a:cubicBezTo>
                  <a:pt x="301" y="690"/>
                  <a:pt x="309" y="686"/>
                  <a:pt x="314" y="680"/>
                </a:cubicBezTo>
                <a:cubicBezTo>
                  <a:pt x="318" y="674"/>
                  <a:pt x="328" y="672"/>
                  <a:pt x="334" y="668"/>
                </a:cubicBezTo>
                <a:cubicBezTo>
                  <a:pt x="333" y="667"/>
                  <a:pt x="332" y="666"/>
                  <a:pt x="330" y="666"/>
                </a:cubicBezTo>
                <a:cubicBezTo>
                  <a:pt x="326" y="664"/>
                  <a:pt x="324" y="662"/>
                  <a:pt x="328" y="661"/>
                </a:cubicBezTo>
                <a:cubicBezTo>
                  <a:pt x="331" y="660"/>
                  <a:pt x="330" y="658"/>
                  <a:pt x="326" y="654"/>
                </a:cubicBezTo>
                <a:cubicBezTo>
                  <a:pt x="323" y="650"/>
                  <a:pt x="321" y="646"/>
                  <a:pt x="319" y="646"/>
                </a:cubicBezTo>
                <a:cubicBezTo>
                  <a:pt x="317" y="646"/>
                  <a:pt x="314" y="645"/>
                  <a:pt x="311" y="646"/>
                </a:cubicBezTo>
                <a:cubicBezTo>
                  <a:pt x="308" y="647"/>
                  <a:pt x="309" y="644"/>
                  <a:pt x="309" y="640"/>
                </a:cubicBezTo>
                <a:cubicBezTo>
                  <a:pt x="310" y="637"/>
                  <a:pt x="304" y="637"/>
                  <a:pt x="303" y="636"/>
                </a:cubicBezTo>
                <a:cubicBezTo>
                  <a:pt x="302" y="634"/>
                  <a:pt x="304" y="629"/>
                  <a:pt x="305" y="629"/>
                </a:cubicBezTo>
                <a:cubicBezTo>
                  <a:pt x="306" y="628"/>
                  <a:pt x="309" y="627"/>
                  <a:pt x="309" y="625"/>
                </a:cubicBezTo>
                <a:cubicBezTo>
                  <a:pt x="309" y="624"/>
                  <a:pt x="304" y="623"/>
                  <a:pt x="306" y="620"/>
                </a:cubicBezTo>
                <a:cubicBezTo>
                  <a:pt x="308" y="616"/>
                  <a:pt x="312" y="616"/>
                  <a:pt x="312" y="613"/>
                </a:cubicBezTo>
                <a:cubicBezTo>
                  <a:pt x="312" y="609"/>
                  <a:pt x="315" y="606"/>
                  <a:pt x="318" y="609"/>
                </a:cubicBezTo>
                <a:cubicBezTo>
                  <a:pt x="322" y="611"/>
                  <a:pt x="323" y="618"/>
                  <a:pt x="327" y="616"/>
                </a:cubicBezTo>
                <a:cubicBezTo>
                  <a:pt x="331" y="615"/>
                  <a:pt x="329" y="611"/>
                  <a:pt x="328" y="609"/>
                </a:cubicBezTo>
                <a:cubicBezTo>
                  <a:pt x="328" y="607"/>
                  <a:pt x="327" y="604"/>
                  <a:pt x="331" y="603"/>
                </a:cubicBezTo>
                <a:cubicBezTo>
                  <a:pt x="336" y="602"/>
                  <a:pt x="334" y="598"/>
                  <a:pt x="337" y="598"/>
                </a:cubicBezTo>
                <a:cubicBezTo>
                  <a:pt x="341" y="598"/>
                  <a:pt x="347" y="593"/>
                  <a:pt x="349" y="592"/>
                </a:cubicBezTo>
                <a:cubicBezTo>
                  <a:pt x="351" y="591"/>
                  <a:pt x="356" y="589"/>
                  <a:pt x="358" y="590"/>
                </a:cubicBezTo>
                <a:cubicBezTo>
                  <a:pt x="360" y="591"/>
                  <a:pt x="362" y="593"/>
                  <a:pt x="364" y="590"/>
                </a:cubicBezTo>
                <a:cubicBezTo>
                  <a:pt x="365" y="586"/>
                  <a:pt x="371" y="588"/>
                  <a:pt x="372" y="590"/>
                </a:cubicBezTo>
                <a:cubicBezTo>
                  <a:pt x="372" y="592"/>
                  <a:pt x="382" y="592"/>
                  <a:pt x="385" y="594"/>
                </a:cubicBezTo>
                <a:cubicBezTo>
                  <a:pt x="388" y="596"/>
                  <a:pt x="394" y="600"/>
                  <a:pt x="394" y="602"/>
                </a:cubicBezTo>
                <a:cubicBezTo>
                  <a:pt x="394" y="604"/>
                  <a:pt x="397" y="607"/>
                  <a:pt x="397" y="603"/>
                </a:cubicBezTo>
                <a:cubicBezTo>
                  <a:pt x="397" y="600"/>
                  <a:pt x="400" y="601"/>
                  <a:pt x="404" y="603"/>
                </a:cubicBezTo>
                <a:cubicBezTo>
                  <a:pt x="408" y="606"/>
                  <a:pt x="413" y="605"/>
                  <a:pt x="414" y="602"/>
                </a:cubicBezTo>
                <a:cubicBezTo>
                  <a:pt x="415" y="600"/>
                  <a:pt x="423" y="597"/>
                  <a:pt x="425" y="599"/>
                </a:cubicBezTo>
                <a:cubicBezTo>
                  <a:pt x="428" y="601"/>
                  <a:pt x="429" y="602"/>
                  <a:pt x="432" y="599"/>
                </a:cubicBezTo>
                <a:cubicBezTo>
                  <a:pt x="435" y="596"/>
                  <a:pt x="442" y="597"/>
                  <a:pt x="443" y="600"/>
                </a:cubicBezTo>
                <a:cubicBezTo>
                  <a:pt x="444" y="603"/>
                  <a:pt x="447" y="603"/>
                  <a:pt x="450" y="603"/>
                </a:cubicBezTo>
                <a:cubicBezTo>
                  <a:pt x="453" y="603"/>
                  <a:pt x="454" y="608"/>
                  <a:pt x="456" y="607"/>
                </a:cubicBezTo>
                <a:cubicBezTo>
                  <a:pt x="458" y="606"/>
                  <a:pt x="457" y="601"/>
                  <a:pt x="460" y="601"/>
                </a:cubicBezTo>
                <a:cubicBezTo>
                  <a:pt x="462" y="602"/>
                  <a:pt x="464" y="605"/>
                  <a:pt x="468" y="605"/>
                </a:cubicBezTo>
                <a:cubicBezTo>
                  <a:pt x="472" y="605"/>
                  <a:pt x="475" y="604"/>
                  <a:pt x="475" y="601"/>
                </a:cubicBezTo>
                <a:cubicBezTo>
                  <a:pt x="475" y="598"/>
                  <a:pt x="475" y="593"/>
                  <a:pt x="472" y="593"/>
                </a:cubicBezTo>
                <a:cubicBezTo>
                  <a:pt x="470" y="593"/>
                  <a:pt x="467" y="590"/>
                  <a:pt x="464" y="590"/>
                </a:cubicBezTo>
                <a:cubicBezTo>
                  <a:pt x="461" y="590"/>
                  <a:pt x="458" y="585"/>
                  <a:pt x="461" y="584"/>
                </a:cubicBezTo>
                <a:cubicBezTo>
                  <a:pt x="464" y="583"/>
                  <a:pt x="469" y="581"/>
                  <a:pt x="468" y="578"/>
                </a:cubicBezTo>
                <a:cubicBezTo>
                  <a:pt x="467" y="576"/>
                  <a:pt x="466" y="571"/>
                  <a:pt x="470" y="570"/>
                </a:cubicBezTo>
                <a:cubicBezTo>
                  <a:pt x="474" y="570"/>
                  <a:pt x="483" y="570"/>
                  <a:pt x="482" y="568"/>
                </a:cubicBezTo>
                <a:cubicBezTo>
                  <a:pt x="482" y="567"/>
                  <a:pt x="474" y="566"/>
                  <a:pt x="472" y="563"/>
                </a:cubicBezTo>
                <a:cubicBezTo>
                  <a:pt x="471" y="561"/>
                  <a:pt x="470" y="555"/>
                  <a:pt x="472" y="554"/>
                </a:cubicBezTo>
                <a:cubicBezTo>
                  <a:pt x="473" y="553"/>
                  <a:pt x="478" y="554"/>
                  <a:pt x="481" y="553"/>
                </a:cubicBezTo>
                <a:cubicBezTo>
                  <a:pt x="484" y="552"/>
                  <a:pt x="491" y="555"/>
                  <a:pt x="495" y="552"/>
                </a:cubicBezTo>
                <a:cubicBezTo>
                  <a:pt x="499" y="549"/>
                  <a:pt x="507" y="548"/>
                  <a:pt x="512" y="548"/>
                </a:cubicBezTo>
                <a:cubicBezTo>
                  <a:pt x="516" y="548"/>
                  <a:pt x="520" y="545"/>
                  <a:pt x="523" y="545"/>
                </a:cubicBezTo>
                <a:cubicBezTo>
                  <a:pt x="527" y="544"/>
                  <a:pt x="537" y="543"/>
                  <a:pt x="539" y="542"/>
                </a:cubicBezTo>
                <a:cubicBezTo>
                  <a:pt x="542" y="541"/>
                  <a:pt x="555" y="539"/>
                  <a:pt x="556" y="536"/>
                </a:cubicBezTo>
                <a:cubicBezTo>
                  <a:pt x="556" y="534"/>
                  <a:pt x="567" y="532"/>
                  <a:pt x="570" y="533"/>
                </a:cubicBezTo>
                <a:cubicBezTo>
                  <a:pt x="573" y="534"/>
                  <a:pt x="576" y="535"/>
                  <a:pt x="579" y="534"/>
                </a:cubicBezTo>
                <a:cubicBezTo>
                  <a:pt x="581" y="533"/>
                  <a:pt x="586" y="536"/>
                  <a:pt x="586" y="539"/>
                </a:cubicBezTo>
                <a:cubicBezTo>
                  <a:pt x="585" y="541"/>
                  <a:pt x="588" y="544"/>
                  <a:pt x="588" y="547"/>
                </a:cubicBezTo>
                <a:cubicBezTo>
                  <a:pt x="588" y="549"/>
                  <a:pt x="585" y="550"/>
                  <a:pt x="587" y="551"/>
                </a:cubicBezTo>
                <a:cubicBezTo>
                  <a:pt x="588" y="553"/>
                  <a:pt x="595" y="552"/>
                  <a:pt x="597" y="550"/>
                </a:cubicBezTo>
                <a:cubicBezTo>
                  <a:pt x="599" y="547"/>
                  <a:pt x="601" y="551"/>
                  <a:pt x="601" y="552"/>
                </a:cubicBezTo>
                <a:cubicBezTo>
                  <a:pt x="601" y="554"/>
                  <a:pt x="604" y="555"/>
                  <a:pt x="604" y="553"/>
                </a:cubicBezTo>
                <a:cubicBezTo>
                  <a:pt x="604" y="551"/>
                  <a:pt x="608" y="552"/>
                  <a:pt x="610" y="554"/>
                </a:cubicBezTo>
                <a:cubicBezTo>
                  <a:pt x="611" y="555"/>
                  <a:pt x="616" y="552"/>
                  <a:pt x="616" y="555"/>
                </a:cubicBezTo>
                <a:cubicBezTo>
                  <a:pt x="616" y="557"/>
                  <a:pt x="609" y="559"/>
                  <a:pt x="612" y="562"/>
                </a:cubicBezTo>
                <a:cubicBezTo>
                  <a:pt x="615" y="565"/>
                  <a:pt x="616" y="559"/>
                  <a:pt x="620" y="560"/>
                </a:cubicBezTo>
                <a:cubicBezTo>
                  <a:pt x="624" y="561"/>
                  <a:pt x="629" y="556"/>
                  <a:pt x="632" y="555"/>
                </a:cubicBezTo>
                <a:cubicBezTo>
                  <a:pt x="636" y="554"/>
                  <a:pt x="640" y="551"/>
                  <a:pt x="643" y="549"/>
                </a:cubicBezTo>
                <a:cubicBezTo>
                  <a:pt x="646" y="547"/>
                  <a:pt x="652" y="548"/>
                  <a:pt x="650" y="550"/>
                </a:cubicBezTo>
                <a:cubicBezTo>
                  <a:pt x="648" y="552"/>
                  <a:pt x="646" y="556"/>
                  <a:pt x="653" y="558"/>
                </a:cubicBezTo>
                <a:cubicBezTo>
                  <a:pt x="661" y="561"/>
                  <a:pt x="669" y="576"/>
                  <a:pt x="674" y="583"/>
                </a:cubicBezTo>
                <a:cubicBezTo>
                  <a:pt x="679" y="590"/>
                  <a:pt x="683" y="603"/>
                  <a:pt x="686" y="603"/>
                </a:cubicBezTo>
                <a:cubicBezTo>
                  <a:pt x="688" y="603"/>
                  <a:pt x="689" y="597"/>
                  <a:pt x="692" y="596"/>
                </a:cubicBezTo>
                <a:cubicBezTo>
                  <a:pt x="696" y="595"/>
                  <a:pt x="698" y="601"/>
                  <a:pt x="701" y="602"/>
                </a:cubicBezTo>
                <a:cubicBezTo>
                  <a:pt x="705" y="603"/>
                  <a:pt x="709" y="605"/>
                  <a:pt x="712" y="604"/>
                </a:cubicBezTo>
                <a:cubicBezTo>
                  <a:pt x="715" y="603"/>
                  <a:pt x="721" y="599"/>
                  <a:pt x="723" y="601"/>
                </a:cubicBezTo>
                <a:cubicBezTo>
                  <a:pt x="726" y="602"/>
                  <a:pt x="729" y="602"/>
                  <a:pt x="731" y="607"/>
                </a:cubicBezTo>
                <a:cubicBezTo>
                  <a:pt x="733" y="611"/>
                  <a:pt x="736" y="612"/>
                  <a:pt x="738" y="612"/>
                </a:cubicBezTo>
                <a:cubicBezTo>
                  <a:pt x="740" y="612"/>
                  <a:pt x="740" y="615"/>
                  <a:pt x="740" y="617"/>
                </a:cubicBezTo>
                <a:cubicBezTo>
                  <a:pt x="740" y="619"/>
                  <a:pt x="744" y="621"/>
                  <a:pt x="746" y="621"/>
                </a:cubicBezTo>
                <a:cubicBezTo>
                  <a:pt x="748" y="621"/>
                  <a:pt x="753" y="621"/>
                  <a:pt x="755" y="620"/>
                </a:cubicBezTo>
                <a:cubicBezTo>
                  <a:pt x="756" y="619"/>
                  <a:pt x="758" y="618"/>
                  <a:pt x="759" y="620"/>
                </a:cubicBezTo>
                <a:cubicBezTo>
                  <a:pt x="759" y="622"/>
                  <a:pt x="762" y="626"/>
                  <a:pt x="764" y="626"/>
                </a:cubicBezTo>
                <a:cubicBezTo>
                  <a:pt x="766" y="626"/>
                  <a:pt x="770" y="628"/>
                  <a:pt x="770" y="626"/>
                </a:cubicBezTo>
                <a:cubicBezTo>
                  <a:pt x="771" y="624"/>
                  <a:pt x="776" y="623"/>
                  <a:pt x="778" y="623"/>
                </a:cubicBezTo>
                <a:cubicBezTo>
                  <a:pt x="780" y="623"/>
                  <a:pt x="787" y="621"/>
                  <a:pt x="788" y="618"/>
                </a:cubicBezTo>
                <a:cubicBezTo>
                  <a:pt x="790" y="615"/>
                  <a:pt x="795" y="615"/>
                  <a:pt x="797" y="613"/>
                </a:cubicBezTo>
                <a:cubicBezTo>
                  <a:pt x="799" y="611"/>
                  <a:pt x="803" y="610"/>
                  <a:pt x="804" y="608"/>
                </a:cubicBezTo>
                <a:cubicBezTo>
                  <a:pt x="805" y="606"/>
                  <a:pt x="811" y="607"/>
                  <a:pt x="812" y="605"/>
                </a:cubicBezTo>
                <a:cubicBezTo>
                  <a:pt x="813" y="603"/>
                  <a:pt x="818" y="603"/>
                  <a:pt x="820" y="604"/>
                </a:cubicBezTo>
                <a:cubicBezTo>
                  <a:pt x="822" y="604"/>
                  <a:pt x="834" y="607"/>
                  <a:pt x="836" y="606"/>
                </a:cubicBezTo>
                <a:cubicBezTo>
                  <a:pt x="837" y="606"/>
                  <a:pt x="838" y="612"/>
                  <a:pt x="839" y="613"/>
                </a:cubicBezTo>
                <a:cubicBezTo>
                  <a:pt x="841" y="613"/>
                  <a:pt x="847" y="618"/>
                  <a:pt x="849" y="616"/>
                </a:cubicBezTo>
                <a:cubicBezTo>
                  <a:pt x="850" y="615"/>
                  <a:pt x="854" y="614"/>
                  <a:pt x="858" y="616"/>
                </a:cubicBezTo>
                <a:cubicBezTo>
                  <a:pt x="861" y="618"/>
                  <a:pt x="864" y="620"/>
                  <a:pt x="866" y="618"/>
                </a:cubicBezTo>
                <a:cubicBezTo>
                  <a:pt x="867" y="616"/>
                  <a:pt x="874" y="615"/>
                  <a:pt x="875" y="613"/>
                </a:cubicBezTo>
                <a:cubicBezTo>
                  <a:pt x="876" y="612"/>
                  <a:pt x="877" y="608"/>
                  <a:pt x="875" y="607"/>
                </a:cubicBezTo>
                <a:cubicBezTo>
                  <a:pt x="874" y="605"/>
                  <a:pt x="872" y="600"/>
                  <a:pt x="871" y="597"/>
                </a:cubicBezTo>
                <a:cubicBezTo>
                  <a:pt x="871" y="595"/>
                  <a:pt x="875" y="594"/>
                  <a:pt x="876" y="592"/>
                </a:cubicBezTo>
                <a:cubicBezTo>
                  <a:pt x="877" y="589"/>
                  <a:pt x="881" y="589"/>
                  <a:pt x="882" y="588"/>
                </a:cubicBezTo>
                <a:cubicBezTo>
                  <a:pt x="883" y="586"/>
                  <a:pt x="884" y="583"/>
                  <a:pt x="886" y="584"/>
                </a:cubicBezTo>
                <a:cubicBezTo>
                  <a:pt x="888" y="585"/>
                  <a:pt x="893" y="586"/>
                  <a:pt x="894" y="587"/>
                </a:cubicBezTo>
                <a:cubicBezTo>
                  <a:pt x="895" y="588"/>
                  <a:pt x="899" y="589"/>
                  <a:pt x="901" y="589"/>
                </a:cubicBezTo>
                <a:cubicBezTo>
                  <a:pt x="904" y="589"/>
                  <a:pt x="907" y="591"/>
                  <a:pt x="910" y="592"/>
                </a:cubicBezTo>
                <a:cubicBezTo>
                  <a:pt x="912" y="594"/>
                  <a:pt x="919" y="594"/>
                  <a:pt x="921" y="596"/>
                </a:cubicBezTo>
                <a:cubicBezTo>
                  <a:pt x="922" y="598"/>
                  <a:pt x="920" y="603"/>
                  <a:pt x="922" y="605"/>
                </a:cubicBezTo>
                <a:cubicBezTo>
                  <a:pt x="924" y="607"/>
                  <a:pt x="928" y="612"/>
                  <a:pt x="929" y="611"/>
                </a:cubicBezTo>
                <a:cubicBezTo>
                  <a:pt x="930" y="610"/>
                  <a:pt x="937" y="614"/>
                  <a:pt x="939" y="614"/>
                </a:cubicBezTo>
                <a:cubicBezTo>
                  <a:pt x="941" y="613"/>
                  <a:pt x="945" y="610"/>
                  <a:pt x="947" y="610"/>
                </a:cubicBezTo>
                <a:cubicBezTo>
                  <a:pt x="949" y="610"/>
                  <a:pt x="955" y="608"/>
                  <a:pt x="957" y="608"/>
                </a:cubicBezTo>
                <a:cubicBezTo>
                  <a:pt x="959" y="609"/>
                  <a:pt x="967" y="611"/>
                  <a:pt x="968" y="611"/>
                </a:cubicBezTo>
                <a:cubicBezTo>
                  <a:pt x="969" y="610"/>
                  <a:pt x="975" y="611"/>
                  <a:pt x="976" y="613"/>
                </a:cubicBezTo>
                <a:cubicBezTo>
                  <a:pt x="977" y="615"/>
                  <a:pt x="986" y="615"/>
                  <a:pt x="986" y="617"/>
                </a:cubicBezTo>
                <a:cubicBezTo>
                  <a:pt x="986" y="620"/>
                  <a:pt x="990" y="621"/>
                  <a:pt x="992" y="624"/>
                </a:cubicBezTo>
                <a:cubicBezTo>
                  <a:pt x="993" y="626"/>
                  <a:pt x="1004" y="625"/>
                  <a:pt x="1006" y="626"/>
                </a:cubicBezTo>
                <a:cubicBezTo>
                  <a:pt x="1008" y="628"/>
                  <a:pt x="1021" y="628"/>
                  <a:pt x="1021" y="626"/>
                </a:cubicBezTo>
                <a:cubicBezTo>
                  <a:pt x="1021" y="625"/>
                  <a:pt x="1033" y="624"/>
                  <a:pt x="1036" y="623"/>
                </a:cubicBezTo>
                <a:cubicBezTo>
                  <a:pt x="1038" y="621"/>
                  <a:pt x="1044" y="622"/>
                  <a:pt x="1045" y="619"/>
                </a:cubicBezTo>
                <a:cubicBezTo>
                  <a:pt x="1045" y="617"/>
                  <a:pt x="1051" y="615"/>
                  <a:pt x="1054" y="613"/>
                </a:cubicBezTo>
                <a:cubicBezTo>
                  <a:pt x="1056" y="611"/>
                  <a:pt x="1067" y="612"/>
                  <a:pt x="1068" y="614"/>
                </a:cubicBezTo>
                <a:cubicBezTo>
                  <a:pt x="1068" y="616"/>
                  <a:pt x="1075" y="617"/>
                  <a:pt x="1077" y="616"/>
                </a:cubicBezTo>
                <a:cubicBezTo>
                  <a:pt x="1080" y="615"/>
                  <a:pt x="1087" y="616"/>
                  <a:pt x="1088" y="619"/>
                </a:cubicBezTo>
                <a:cubicBezTo>
                  <a:pt x="1089" y="621"/>
                  <a:pt x="1097" y="622"/>
                  <a:pt x="1099" y="622"/>
                </a:cubicBezTo>
                <a:cubicBezTo>
                  <a:pt x="1101" y="621"/>
                  <a:pt x="1107" y="616"/>
                  <a:pt x="1110" y="616"/>
                </a:cubicBezTo>
                <a:cubicBezTo>
                  <a:pt x="1112" y="616"/>
                  <a:pt x="1115" y="613"/>
                  <a:pt x="1115" y="611"/>
                </a:cubicBezTo>
                <a:cubicBezTo>
                  <a:pt x="1114" y="609"/>
                  <a:pt x="1119" y="602"/>
                  <a:pt x="1120" y="599"/>
                </a:cubicBezTo>
                <a:cubicBezTo>
                  <a:pt x="1121" y="597"/>
                  <a:pt x="1125" y="589"/>
                  <a:pt x="1127" y="589"/>
                </a:cubicBezTo>
                <a:cubicBezTo>
                  <a:pt x="1129" y="588"/>
                  <a:pt x="1132" y="585"/>
                  <a:pt x="1132" y="583"/>
                </a:cubicBezTo>
                <a:cubicBezTo>
                  <a:pt x="1132" y="581"/>
                  <a:pt x="1131" y="575"/>
                  <a:pt x="1129" y="575"/>
                </a:cubicBezTo>
                <a:cubicBezTo>
                  <a:pt x="1127" y="575"/>
                  <a:pt x="1123" y="575"/>
                  <a:pt x="1128" y="569"/>
                </a:cubicBezTo>
                <a:cubicBezTo>
                  <a:pt x="1132" y="563"/>
                  <a:pt x="1141" y="564"/>
                  <a:pt x="1142" y="564"/>
                </a:cubicBezTo>
                <a:cubicBezTo>
                  <a:pt x="1143" y="564"/>
                  <a:pt x="1154" y="562"/>
                  <a:pt x="1159" y="563"/>
                </a:cubicBezTo>
                <a:cubicBezTo>
                  <a:pt x="1163" y="564"/>
                  <a:pt x="1166" y="562"/>
                  <a:pt x="1171" y="565"/>
                </a:cubicBezTo>
                <a:cubicBezTo>
                  <a:pt x="1176" y="568"/>
                  <a:pt x="1183" y="567"/>
                  <a:pt x="1185" y="569"/>
                </a:cubicBezTo>
                <a:cubicBezTo>
                  <a:pt x="1187" y="571"/>
                  <a:pt x="1193" y="573"/>
                  <a:pt x="1192" y="577"/>
                </a:cubicBezTo>
                <a:cubicBezTo>
                  <a:pt x="1191" y="581"/>
                  <a:pt x="1196" y="579"/>
                  <a:pt x="1198" y="588"/>
                </a:cubicBezTo>
                <a:cubicBezTo>
                  <a:pt x="1199" y="596"/>
                  <a:pt x="1203" y="597"/>
                  <a:pt x="1204" y="601"/>
                </a:cubicBezTo>
                <a:cubicBezTo>
                  <a:pt x="1205" y="605"/>
                  <a:pt x="1211" y="612"/>
                  <a:pt x="1210" y="615"/>
                </a:cubicBezTo>
                <a:cubicBezTo>
                  <a:pt x="1209" y="617"/>
                  <a:pt x="1209" y="621"/>
                  <a:pt x="1214" y="621"/>
                </a:cubicBezTo>
                <a:cubicBezTo>
                  <a:pt x="1220" y="621"/>
                  <a:pt x="1224" y="626"/>
                  <a:pt x="1225" y="625"/>
                </a:cubicBezTo>
                <a:cubicBezTo>
                  <a:pt x="1227" y="624"/>
                  <a:pt x="1233" y="627"/>
                  <a:pt x="1237" y="630"/>
                </a:cubicBezTo>
                <a:cubicBezTo>
                  <a:pt x="1240" y="633"/>
                  <a:pt x="1245" y="632"/>
                  <a:pt x="1245" y="635"/>
                </a:cubicBezTo>
                <a:cubicBezTo>
                  <a:pt x="1244" y="639"/>
                  <a:pt x="1247" y="642"/>
                  <a:pt x="1247" y="645"/>
                </a:cubicBezTo>
                <a:cubicBezTo>
                  <a:pt x="1247" y="648"/>
                  <a:pt x="1253" y="650"/>
                  <a:pt x="1258" y="649"/>
                </a:cubicBezTo>
                <a:cubicBezTo>
                  <a:pt x="1263" y="649"/>
                  <a:pt x="1266" y="651"/>
                  <a:pt x="1268" y="647"/>
                </a:cubicBezTo>
                <a:cubicBezTo>
                  <a:pt x="1270" y="643"/>
                  <a:pt x="1277" y="645"/>
                  <a:pt x="1279" y="643"/>
                </a:cubicBezTo>
                <a:cubicBezTo>
                  <a:pt x="1281" y="641"/>
                  <a:pt x="1288" y="639"/>
                  <a:pt x="1288" y="645"/>
                </a:cubicBezTo>
                <a:cubicBezTo>
                  <a:pt x="1288" y="651"/>
                  <a:pt x="1292" y="653"/>
                  <a:pt x="1288" y="655"/>
                </a:cubicBezTo>
                <a:cubicBezTo>
                  <a:pt x="1285" y="657"/>
                  <a:pt x="1283" y="665"/>
                  <a:pt x="1282" y="669"/>
                </a:cubicBezTo>
                <a:cubicBezTo>
                  <a:pt x="1281" y="673"/>
                  <a:pt x="1276" y="674"/>
                  <a:pt x="1276" y="678"/>
                </a:cubicBezTo>
                <a:cubicBezTo>
                  <a:pt x="1275" y="682"/>
                  <a:pt x="1270" y="682"/>
                  <a:pt x="1270" y="685"/>
                </a:cubicBezTo>
                <a:cubicBezTo>
                  <a:pt x="1270" y="688"/>
                  <a:pt x="1264" y="687"/>
                  <a:pt x="1260" y="685"/>
                </a:cubicBezTo>
                <a:cubicBezTo>
                  <a:pt x="1257" y="683"/>
                  <a:pt x="1254" y="689"/>
                  <a:pt x="1251" y="689"/>
                </a:cubicBezTo>
                <a:cubicBezTo>
                  <a:pt x="1248" y="689"/>
                  <a:pt x="1249" y="695"/>
                  <a:pt x="1249" y="697"/>
                </a:cubicBezTo>
                <a:cubicBezTo>
                  <a:pt x="1250" y="700"/>
                  <a:pt x="1248" y="703"/>
                  <a:pt x="1250" y="707"/>
                </a:cubicBezTo>
                <a:cubicBezTo>
                  <a:pt x="1251" y="709"/>
                  <a:pt x="1250" y="713"/>
                  <a:pt x="1251" y="717"/>
                </a:cubicBezTo>
                <a:cubicBezTo>
                  <a:pt x="1255" y="714"/>
                  <a:pt x="1259" y="712"/>
                  <a:pt x="1260" y="712"/>
                </a:cubicBezTo>
                <a:cubicBezTo>
                  <a:pt x="1264" y="712"/>
                  <a:pt x="1269" y="719"/>
                  <a:pt x="1273" y="720"/>
                </a:cubicBezTo>
                <a:cubicBezTo>
                  <a:pt x="1278" y="720"/>
                  <a:pt x="1299" y="706"/>
                  <a:pt x="1299" y="703"/>
                </a:cubicBezTo>
                <a:cubicBezTo>
                  <a:pt x="1299" y="701"/>
                  <a:pt x="1312" y="689"/>
                  <a:pt x="1318" y="683"/>
                </a:cubicBezTo>
                <a:cubicBezTo>
                  <a:pt x="1323" y="677"/>
                  <a:pt x="1331" y="668"/>
                  <a:pt x="1334" y="661"/>
                </a:cubicBezTo>
                <a:cubicBezTo>
                  <a:pt x="1336" y="656"/>
                  <a:pt x="1344" y="648"/>
                  <a:pt x="1346" y="645"/>
                </a:cubicBezTo>
                <a:cubicBezTo>
                  <a:pt x="1348" y="641"/>
                  <a:pt x="1349" y="641"/>
                  <a:pt x="1353" y="633"/>
                </a:cubicBezTo>
                <a:cubicBezTo>
                  <a:pt x="1357" y="625"/>
                  <a:pt x="1357" y="605"/>
                  <a:pt x="1358" y="604"/>
                </a:cubicBezTo>
                <a:cubicBezTo>
                  <a:pt x="1359" y="602"/>
                  <a:pt x="1358" y="599"/>
                  <a:pt x="1360" y="597"/>
                </a:cubicBezTo>
                <a:cubicBezTo>
                  <a:pt x="1362" y="594"/>
                  <a:pt x="1361" y="591"/>
                  <a:pt x="1364" y="589"/>
                </a:cubicBezTo>
                <a:cubicBezTo>
                  <a:pt x="1368" y="586"/>
                  <a:pt x="1367" y="583"/>
                  <a:pt x="1366" y="581"/>
                </a:cubicBezTo>
                <a:cubicBezTo>
                  <a:pt x="1365" y="579"/>
                  <a:pt x="1366" y="574"/>
                  <a:pt x="1365" y="573"/>
                </a:cubicBezTo>
                <a:cubicBezTo>
                  <a:pt x="1365" y="571"/>
                  <a:pt x="1365" y="570"/>
                  <a:pt x="1367" y="569"/>
                </a:cubicBezTo>
                <a:cubicBezTo>
                  <a:pt x="1369" y="568"/>
                  <a:pt x="1365" y="565"/>
                  <a:pt x="1363" y="564"/>
                </a:cubicBezTo>
                <a:cubicBezTo>
                  <a:pt x="1360" y="562"/>
                  <a:pt x="1356" y="561"/>
                  <a:pt x="1356" y="558"/>
                </a:cubicBezTo>
                <a:cubicBezTo>
                  <a:pt x="1355" y="555"/>
                  <a:pt x="1351" y="551"/>
                  <a:pt x="1347" y="551"/>
                </a:cubicBezTo>
                <a:cubicBezTo>
                  <a:pt x="1343" y="552"/>
                  <a:pt x="1336" y="549"/>
                  <a:pt x="1337" y="552"/>
                </a:cubicBezTo>
                <a:cubicBezTo>
                  <a:pt x="1338" y="554"/>
                  <a:pt x="1337" y="556"/>
                  <a:pt x="1335" y="556"/>
                </a:cubicBezTo>
                <a:cubicBezTo>
                  <a:pt x="1333" y="555"/>
                  <a:pt x="1332" y="557"/>
                  <a:pt x="1330" y="560"/>
                </a:cubicBezTo>
                <a:cubicBezTo>
                  <a:pt x="1328" y="563"/>
                  <a:pt x="1320" y="564"/>
                  <a:pt x="1324" y="560"/>
                </a:cubicBezTo>
                <a:cubicBezTo>
                  <a:pt x="1327" y="557"/>
                  <a:pt x="1323" y="557"/>
                  <a:pt x="1323" y="554"/>
                </a:cubicBezTo>
                <a:cubicBezTo>
                  <a:pt x="1324" y="550"/>
                  <a:pt x="1327" y="547"/>
                  <a:pt x="1323" y="549"/>
                </a:cubicBezTo>
                <a:cubicBezTo>
                  <a:pt x="1319" y="551"/>
                  <a:pt x="1319" y="557"/>
                  <a:pt x="1316" y="557"/>
                </a:cubicBezTo>
                <a:cubicBezTo>
                  <a:pt x="1313" y="558"/>
                  <a:pt x="1314" y="548"/>
                  <a:pt x="1315" y="546"/>
                </a:cubicBezTo>
                <a:cubicBezTo>
                  <a:pt x="1316" y="543"/>
                  <a:pt x="1309" y="546"/>
                  <a:pt x="1302" y="545"/>
                </a:cubicBezTo>
                <a:cubicBezTo>
                  <a:pt x="1295" y="545"/>
                  <a:pt x="1297" y="540"/>
                  <a:pt x="1302" y="537"/>
                </a:cubicBezTo>
                <a:cubicBezTo>
                  <a:pt x="1308" y="534"/>
                  <a:pt x="1307" y="531"/>
                  <a:pt x="1310" y="530"/>
                </a:cubicBezTo>
                <a:cubicBezTo>
                  <a:pt x="1313" y="529"/>
                  <a:pt x="1320" y="524"/>
                  <a:pt x="1324" y="522"/>
                </a:cubicBezTo>
                <a:cubicBezTo>
                  <a:pt x="1329" y="519"/>
                  <a:pt x="1330" y="516"/>
                  <a:pt x="1331" y="513"/>
                </a:cubicBezTo>
                <a:cubicBezTo>
                  <a:pt x="1332" y="511"/>
                  <a:pt x="1340" y="507"/>
                  <a:pt x="1347" y="501"/>
                </a:cubicBezTo>
                <a:cubicBezTo>
                  <a:pt x="1354" y="495"/>
                  <a:pt x="1357" y="492"/>
                  <a:pt x="1359" y="489"/>
                </a:cubicBezTo>
                <a:cubicBezTo>
                  <a:pt x="1361" y="485"/>
                  <a:pt x="1371" y="481"/>
                  <a:pt x="1372" y="478"/>
                </a:cubicBezTo>
                <a:cubicBezTo>
                  <a:pt x="1372" y="475"/>
                  <a:pt x="1384" y="469"/>
                  <a:pt x="1393" y="467"/>
                </a:cubicBezTo>
                <a:cubicBezTo>
                  <a:pt x="1401" y="465"/>
                  <a:pt x="1415" y="468"/>
                  <a:pt x="1417" y="470"/>
                </a:cubicBezTo>
                <a:cubicBezTo>
                  <a:pt x="1420" y="473"/>
                  <a:pt x="1422" y="472"/>
                  <a:pt x="1423" y="470"/>
                </a:cubicBezTo>
                <a:cubicBezTo>
                  <a:pt x="1425" y="468"/>
                  <a:pt x="1428" y="469"/>
                  <a:pt x="1434" y="470"/>
                </a:cubicBezTo>
                <a:cubicBezTo>
                  <a:pt x="1439" y="470"/>
                  <a:pt x="1441" y="467"/>
                  <a:pt x="1444" y="468"/>
                </a:cubicBezTo>
                <a:cubicBezTo>
                  <a:pt x="1448" y="469"/>
                  <a:pt x="1451" y="470"/>
                  <a:pt x="1454" y="466"/>
                </a:cubicBezTo>
                <a:cubicBezTo>
                  <a:pt x="1456" y="461"/>
                  <a:pt x="1467" y="462"/>
                  <a:pt x="1470" y="464"/>
                </a:cubicBezTo>
                <a:cubicBezTo>
                  <a:pt x="1472" y="466"/>
                  <a:pt x="1474" y="468"/>
                  <a:pt x="1478" y="465"/>
                </a:cubicBezTo>
                <a:cubicBezTo>
                  <a:pt x="1482" y="463"/>
                  <a:pt x="1482" y="469"/>
                  <a:pt x="1486" y="469"/>
                </a:cubicBezTo>
                <a:cubicBezTo>
                  <a:pt x="1490" y="470"/>
                  <a:pt x="1487" y="473"/>
                  <a:pt x="1484" y="473"/>
                </a:cubicBezTo>
                <a:cubicBezTo>
                  <a:pt x="1481" y="473"/>
                  <a:pt x="1476" y="475"/>
                  <a:pt x="1480" y="477"/>
                </a:cubicBezTo>
                <a:cubicBezTo>
                  <a:pt x="1484" y="479"/>
                  <a:pt x="1489" y="475"/>
                  <a:pt x="1492" y="475"/>
                </a:cubicBezTo>
                <a:cubicBezTo>
                  <a:pt x="1495" y="475"/>
                  <a:pt x="1499" y="476"/>
                  <a:pt x="1503" y="473"/>
                </a:cubicBezTo>
                <a:cubicBezTo>
                  <a:pt x="1508" y="470"/>
                  <a:pt x="1509" y="475"/>
                  <a:pt x="1511" y="473"/>
                </a:cubicBezTo>
                <a:cubicBezTo>
                  <a:pt x="1514" y="471"/>
                  <a:pt x="1520" y="470"/>
                  <a:pt x="1523" y="470"/>
                </a:cubicBezTo>
                <a:cubicBezTo>
                  <a:pt x="1526" y="470"/>
                  <a:pt x="1524" y="467"/>
                  <a:pt x="1519" y="467"/>
                </a:cubicBezTo>
                <a:cubicBezTo>
                  <a:pt x="1514" y="467"/>
                  <a:pt x="1514" y="464"/>
                  <a:pt x="1518" y="457"/>
                </a:cubicBezTo>
                <a:cubicBezTo>
                  <a:pt x="1522" y="450"/>
                  <a:pt x="1529" y="447"/>
                  <a:pt x="1534" y="442"/>
                </a:cubicBezTo>
                <a:cubicBezTo>
                  <a:pt x="1539" y="438"/>
                  <a:pt x="1543" y="440"/>
                  <a:pt x="1543" y="438"/>
                </a:cubicBezTo>
                <a:cubicBezTo>
                  <a:pt x="1543" y="435"/>
                  <a:pt x="1545" y="427"/>
                  <a:pt x="1549" y="427"/>
                </a:cubicBezTo>
                <a:cubicBezTo>
                  <a:pt x="1552" y="427"/>
                  <a:pt x="1561" y="429"/>
                  <a:pt x="1567" y="426"/>
                </a:cubicBezTo>
                <a:cubicBezTo>
                  <a:pt x="1573" y="422"/>
                  <a:pt x="1572" y="428"/>
                  <a:pt x="1575" y="429"/>
                </a:cubicBezTo>
                <a:cubicBezTo>
                  <a:pt x="1577" y="430"/>
                  <a:pt x="1580" y="424"/>
                  <a:pt x="1583" y="426"/>
                </a:cubicBezTo>
                <a:cubicBezTo>
                  <a:pt x="1585" y="427"/>
                  <a:pt x="1579" y="431"/>
                  <a:pt x="1577" y="436"/>
                </a:cubicBezTo>
                <a:cubicBezTo>
                  <a:pt x="1576" y="441"/>
                  <a:pt x="1581" y="439"/>
                  <a:pt x="1584" y="440"/>
                </a:cubicBezTo>
                <a:cubicBezTo>
                  <a:pt x="1586" y="442"/>
                  <a:pt x="1580" y="444"/>
                  <a:pt x="1581" y="445"/>
                </a:cubicBezTo>
                <a:cubicBezTo>
                  <a:pt x="1581" y="446"/>
                  <a:pt x="1587" y="446"/>
                  <a:pt x="1594" y="439"/>
                </a:cubicBezTo>
                <a:cubicBezTo>
                  <a:pt x="1602" y="432"/>
                  <a:pt x="1608" y="430"/>
                  <a:pt x="1613" y="430"/>
                </a:cubicBezTo>
                <a:cubicBezTo>
                  <a:pt x="1618" y="431"/>
                  <a:pt x="1615" y="426"/>
                  <a:pt x="1615" y="419"/>
                </a:cubicBezTo>
                <a:cubicBezTo>
                  <a:pt x="1616" y="412"/>
                  <a:pt x="1630" y="410"/>
                  <a:pt x="1635" y="412"/>
                </a:cubicBezTo>
                <a:cubicBezTo>
                  <a:pt x="1639" y="414"/>
                  <a:pt x="1639" y="416"/>
                  <a:pt x="1634" y="415"/>
                </a:cubicBezTo>
                <a:cubicBezTo>
                  <a:pt x="1630" y="414"/>
                  <a:pt x="1626" y="418"/>
                  <a:pt x="1626" y="424"/>
                </a:cubicBezTo>
                <a:cubicBezTo>
                  <a:pt x="1626" y="429"/>
                  <a:pt x="1622" y="431"/>
                  <a:pt x="1624" y="433"/>
                </a:cubicBezTo>
                <a:cubicBezTo>
                  <a:pt x="1626" y="435"/>
                  <a:pt x="1621" y="436"/>
                  <a:pt x="1621" y="438"/>
                </a:cubicBezTo>
                <a:cubicBezTo>
                  <a:pt x="1621" y="441"/>
                  <a:pt x="1621" y="442"/>
                  <a:pt x="1617" y="443"/>
                </a:cubicBezTo>
                <a:cubicBezTo>
                  <a:pt x="1614" y="444"/>
                  <a:pt x="1603" y="446"/>
                  <a:pt x="1603" y="450"/>
                </a:cubicBezTo>
                <a:cubicBezTo>
                  <a:pt x="1602" y="454"/>
                  <a:pt x="1596" y="455"/>
                  <a:pt x="1593" y="460"/>
                </a:cubicBezTo>
                <a:cubicBezTo>
                  <a:pt x="1591" y="465"/>
                  <a:pt x="1580" y="469"/>
                  <a:pt x="1573" y="479"/>
                </a:cubicBezTo>
                <a:cubicBezTo>
                  <a:pt x="1565" y="490"/>
                  <a:pt x="1554" y="490"/>
                  <a:pt x="1554" y="492"/>
                </a:cubicBezTo>
                <a:cubicBezTo>
                  <a:pt x="1554" y="494"/>
                  <a:pt x="1546" y="494"/>
                  <a:pt x="1544" y="494"/>
                </a:cubicBezTo>
                <a:cubicBezTo>
                  <a:pt x="1541" y="494"/>
                  <a:pt x="1546" y="501"/>
                  <a:pt x="1540" y="508"/>
                </a:cubicBezTo>
                <a:cubicBezTo>
                  <a:pt x="1533" y="515"/>
                  <a:pt x="1529" y="524"/>
                  <a:pt x="1529" y="534"/>
                </a:cubicBezTo>
                <a:cubicBezTo>
                  <a:pt x="1530" y="543"/>
                  <a:pt x="1533" y="570"/>
                  <a:pt x="1536" y="575"/>
                </a:cubicBezTo>
                <a:cubicBezTo>
                  <a:pt x="1538" y="580"/>
                  <a:pt x="1537" y="592"/>
                  <a:pt x="1539" y="594"/>
                </a:cubicBezTo>
                <a:cubicBezTo>
                  <a:pt x="1541" y="597"/>
                  <a:pt x="1541" y="601"/>
                  <a:pt x="1542" y="603"/>
                </a:cubicBezTo>
                <a:cubicBezTo>
                  <a:pt x="1544" y="604"/>
                  <a:pt x="1550" y="596"/>
                  <a:pt x="1554" y="592"/>
                </a:cubicBezTo>
                <a:cubicBezTo>
                  <a:pt x="1558" y="589"/>
                  <a:pt x="1557" y="588"/>
                  <a:pt x="1560" y="586"/>
                </a:cubicBezTo>
                <a:cubicBezTo>
                  <a:pt x="1562" y="584"/>
                  <a:pt x="1561" y="576"/>
                  <a:pt x="1562" y="574"/>
                </a:cubicBezTo>
                <a:cubicBezTo>
                  <a:pt x="1563" y="572"/>
                  <a:pt x="1568" y="571"/>
                  <a:pt x="1570" y="569"/>
                </a:cubicBezTo>
                <a:cubicBezTo>
                  <a:pt x="1571" y="567"/>
                  <a:pt x="1576" y="568"/>
                  <a:pt x="1578" y="568"/>
                </a:cubicBezTo>
                <a:cubicBezTo>
                  <a:pt x="1580" y="567"/>
                  <a:pt x="1578" y="561"/>
                  <a:pt x="1577" y="558"/>
                </a:cubicBezTo>
                <a:cubicBezTo>
                  <a:pt x="1576" y="555"/>
                  <a:pt x="1584" y="551"/>
                  <a:pt x="1588" y="548"/>
                </a:cubicBezTo>
                <a:cubicBezTo>
                  <a:pt x="1592" y="545"/>
                  <a:pt x="1597" y="550"/>
                  <a:pt x="1601" y="545"/>
                </a:cubicBezTo>
                <a:cubicBezTo>
                  <a:pt x="1606" y="541"/>
                  <a:pt x="1601" y="536"/>
                  <a:pt x="1599" y="534"/>
                </a:cubicBezTo>
                <a:cubicBezTo>
                  <a:pt x="1598" y="532"/>
                  <a:pt x="1604" y="522"/>
                  <a:pt x="1607" y="521"/>
                </a:cubicBezTo>
                <a:cubicBezTo>
                  <a:pt x="1611" y="520"/>
                  <a:pt x="1613" y="523"/>
                  <a:pt x="1616" y="520"/>
                </a:cubicBezTo>
                <a:cubicBezTo>
                  <a:pt x="1619" y="517"/>
                  <a:pt x="1613" y="512"/>
                  <a:pt x="1611" y="513"/>
                </a:cubicBezTo>
                <a:cubicBezTo>
                  <a:pt x="1608" y="513"/>
                  <a:pt x="1608" y="504"/>
                  <a:pt x="1613" y="500"/>
                </a:cubicBezTo>
                <a:cubicBezTo>
                  <a:pt x="1619" y="496"/>
                  <a:pt x="1616" y="495"/>
                  <a:pt x="1613" y="494"/>
                </a:cubicBezTo>
                <a:cubicBezTo>
                  <a:pt x="1609" y="493"/>
                  <a:pt x="1608" y="494"/>
                  <a:pt x="1606" y="494"/>
                </a:cubicBezTo>
                <a:cubicBezTo>
                  <a:pt x="1603" y="495"/>
                  <a:pt x="1600" y="489"/>
                  <a:pt x="1604" y="483"/>
                </a:cubicBezTo>
                <a:cubicBezTo>
                  <a:pt x="1609" y="477"/>
                  <a:pt x="1613" y="478"/>
                  <a:pt x="1614" y="473"/>
                </a:cubicBezTo>
                <a:cubicBezTo>
                  <a:pt x="1615" y="468"/>
                  <a:pt x="1621" y="461"/>
                  <a:pt x="1622" y="459"/>
                </a:cubicBezTo>
                <a:cubicBezTo>
                  <a:pt x="1624" y="456"/>
                  <a:pt x="1630" y="459"/>
                  <a:pt x="1632" y="458"/>
                </a:cubicBezTo>
                <a:cubicBezTo>
                  <a:pt x="1634" y="458"/>
                  <a:pt x="1634" y="463"/>
                  <a:pt x="1636" y="460"/>
                </a:cubicBezTo>
                <a:cubicBezTo>
                  <a:pt x="1639" y="458"/>
                  <a:pt x="1644" y="449"/>
                  <a:pt x="1648" y="449"/>
                </a:cubicBezTo>
                <a:cubicBezTo>
                  <a:pt x="1652" y="449"/>
                  <a:pt x="1649" y="455"/>
                  <a:pt x="1650" y="459"/>
                </a:cubicBezTo>
                <a:cubicBezTo>
                  <a:pt x="1651" y="463"/>
                  <a:pt x="1653" y="458"/>
                  <a:pt x="1661" y="453"/>
                </a:cubicBezTo>
                <a:cubicBezTo>
                  <a:pt x="1668" y="448"/>
                  <a:pt x="1684" y="449"/>
                  <a:pt x="1689" y="451"/>
                </a:cubicBezTo>
                <a:cubicBezTo>
                  <a:pt x="1694" y="453"/>
                  <a:pt x="1694" y="459"/>
                  <a:pt x="1697" y="458"/>
                </a:cubicBezTo>
                <a:cubicBezTo>
                  <a:pt x="1701" y="457"/>
                  <a:pt x="1698" y="453"/>
                  <a:pt x="1702" y="451"/>
                </a:cubicBezTo>
                <a:cubicBezTo>
                  <a:pt x="1706" y="450"/>
                  <a:pt x="1713" y="446"/>
                  <a:pt x="1718" y="442"/>
                </a:cubicBezTo>
                <a:cubicBezTo>
                  <a:pt x="1723" y="438"/>
                  <a:pt x="1722" y="441"/>
                  <a:pt x="1725" y="438"/>
                </a:cubicBezTo>
                <a:cubicBezTo>
                  <a:pt x="1728" y="434"/>
                  <a:pt x="1730" y="436"/>
                  <a:pt x="1731" y="433"/>
                </a:cubicBezTo>
                <a:cubicBezTo>
                  <a:pt x="1732" y="431"/>
                  <a:pt x="1740" y="427"/>
                  <a:pt x="1750" y="425"/>
                </a:cubicBezTo>
                <a:cubicBezTo>
                  <a:pt x="1761" y="423"/>
                  <a:pt x="1774" y="416"/>
                  <a:pt x="1774" y="413"/>
                </a:cubicBezTo>
                <a:cubicBezTo>
                  <a:pt x="1773" y="411"/>
                  <a:pt x="1778" y="410"/>
                  <a:pt x="1778" y="412"/>
                </a:cubicBezTo>
                <a:cubicBezTo>
                  <a:pt x="1779" y="415"/>
                  <a:pt x="1783" y="414"/>
                  <a:pt x="1788" y="415"/>
                </a:cubicBezTo>
                <a:cubicBezTo>
                  <a:pt x="1794" y="416"/>
                  <a:pt x="1796" y="418"/>
                  <a:pt x="1801" y="414"/>
                </a:cubicBezTo>
                <a:cubicBezTo>
                  <a:pt x="1805" y="410"/>
                  <a:pt x="1800" y="408"/>
                  <a:pt x="1800" y="405"/>
                </a:cubicBezTo>
                <a:cubicBezTo>
                  <a:pt x="1800" y="401"/>
                  <a:pt x="1793" y="398"/>
                  <a:pt x="1794" y="394"/>
                </a:cubicBezTo>
                <a:cubicBezTo>
                  <a:pt x="1795" y="391"/>
                  <a:pt x="1788" y="382"/>
                  <a:pt x="1786" y="383"/>
                </a:cubicBezTo>
                <a:cubicBezTo>
                  <a:pt x="1784" y="385"/>
                  <a:pt x="1779" y="382"/>
                  <a:pt x="1779" y="379"/>
                </a:cubicBezTo>
                <a:cubicBezTo>
                  <a:pt x="1779" y="377"/>
                  <a:pt x="1779" y="373"/>
                  <a:pt x="1776" y="375"/>
                </a:cubicBezTo>
                <a:cubicBezTo>
                  <a:pt x="1773" y="377"/>
                  <a:pt x="1767" y="376"/>
                  <a:pt x="1766" y="373"/>
                </a:cubicBezTo>
                <a:cubicBezTo>
                  <a:pt x="1765" y="370"/>
                  <a:pt x="1773" y="368"/>
                  <a:pt x="1778" y="370"/>
                </a:cubicBezTo>
                <a:cubicBezTo>
                  <a:pt x="1783" y="372"/>
                  <a:pt x="1781" y="374"/>
                  <a:pt x="1784" y="376"/>
                </a:cubicBezTo>
                <a:cubicBezTo>
                  <a:pt x="1786" y="377"/>
                  <a:pt x="1793" y="377"/>
                  <a:pt x="1796" y="375"/>
                </a:cubicBezTo>
                <a:cubicBezTo>
                  <a:pt x="1800" y="373"/>
                  <a:pt x="1810" y="370"/>
                  <a:pt x="1811" y="367"/>
                </a:cubicBezTo>
                <a:cubicBezTo>
                  <a:pt x="1813" y="364"/>
                  <a:pt x="1811" y="363"/>
                  <a:pt x="1815" y="361"/>
                </a:cubicBezTo>
                <a:cubicBezTo>
                  <a:pt x="1818" y="360"/>
                  <a:pt x="1815" y="356"/>
                  <a:pt x="1813" y="355"/>
                </a:cubicBezTo>
                <a:cubicBezTo>
                  <a:pt x="1810" y="353"/>
                  <a:pt x="1810" y="349"/>
                  <a:pt x="1813" y="349"/>
                </a:cubicBezTo>
                <a:cubicBezTo>
                  <a:pt x="1816" y="349"/>
                  <a:pt x="1816" y="346"/>
                  <a:pt x="1818" y="346"/>
                </a:cubicBezTo>
                <a:cubicBezTo>
                  <a:pt x="1820" y="345"/>
                  <a:pt x="1820" y="347"/>
                  <a:pt x="1824" y="345"/>
                </a:cubicBezTo>
                <a:cubicBezTo>
                  <a:pt x="1827" y="343"/>
                  <a:pt x="1824" y="348"/>
                  <a:pt x="1822" y="351"/>
                </a:cubicBezTo>
                <a:cubicBezTo>
                  <a:pt x="1820" y="354"/>
                  <a:pt x="1826" y="357"/>
                  <a:pt x="1826" y="359"/>
                </a:cubicBezTo>
                <a:cubicBezTo>
                  <a:pt x="1827" y="361"/>
                  <a:pt x="1834" y="361"/>
                  <a:pt x="1838" y="359"/>
                </a:cubicBezTo>
                <a:cubicBezTo>
                  <a:pt x="1842" y="357"/>
                  <a:pt x="1855" y="362"/>
                  <a:pt x="1855" y="365"/>
                </a:cubicBezTo>
                <a:cubicBezTo>
                  <a:pt x="1856" y="368"/>
                  <a:pt x="1858" y="372"/>
                  <a:pt x="1863" y="375"/>
                </a:cubicBezTo>
                <a:cubicBezTo>
                  <a:pt x="1869" y="377"/>
                  <a:pt x="1874" y="376"/>
                  <a:pt x="1875" y="379"/>
                </a:cubicBezTo>
                <a:cubicBezTo>
                  <a:pt x="1876" y="381"/>
                  <a:pt x="1878" y="383"/>
                  <a:pt x="1881" y="382"/>
                </a:cubicBezTo>
                <a:cubicBezTo>
                  <a:pt x="1884" y="381"/>
                  <a:pt x="1885" y="385"/>
                  <a:pt x="1887" y="383"/>
                </a:cubicBezTo>
                <a:cubicBezTo>
                  <a:pt x="1890" y="381"/>
                  <a:pt x="1891" y="384"/>
                  <a:pt x="1894" y="381"/>
                </a:cubicBezTo>
                <a:cubicBezTo>
                  <a:pt x="1896" y="379"/>
                  <a:pt x="1887" y="377"/>
                  <a:pt x="1889" y="375"/>
                </a:cubicBezTo>
                <a:cubicBezTo>
                  <a:pt x="1890" y="373"/>
                  <a:pt x="1892" y="377"/>
                  <a:pt x="1894" y="376"/>
                </a:cubicBezTo>
                <a:cubicBezTo>
                  <a:pt x="1897" y="376"/>
                  <a:pt x="1893" y="371"/>
                  <a:pt x="1895" y="371"/>
                </a:cubicBezTo>
                <a:cubicBezTo>
                  <a:pt x="1897" y="370"/>
                  <a:pt x="1896" y="360"/>
                  <a:pt x="1894" y="360"/>
                </a:cubicBezTo>
                <a:cubicBezTo>
                  <a:pt x="1892" y="359"/>
                  <a:pt x="1893" y="356"/>
                  <a:pt x="1897" y="358"/>
                </a:cubicBezTo>
                <a:cubicBezTo>
                  <a:pt x="1901" y="361"/>
                  <a:pt x="1907" y="361"/>
                  <a:pt x="1910" y="361"/>
                </a:cubicBezTo>
                <a:cubicBezTo>
                  <a:pt x="1913" y="361"/>
                  <a:pt x="1910" y="358"/>
                  <a:pt x="1907" y="358"/>
                </a:cubicBezTo>
                <a:cubicBezTo>
                  <a:pt x="1904" y="357"/>
                  <a:pt x="1908" y="355"/>
                  <a:pt x="1910" y="357"/>
                </a:cubicBezTo>
                <a:cubicBezTo>
                  <a:pt x="1912" y="359"/>
                  <a:pt x="1915" y="360"/>
                  <a:pt x="1916" y="358"/>
                </a:cubicBezTo>
                <a:cubicBezTo>
                  <a:pt x="1916" y="356"/>
                  <a:pt x="1918" y="351"/>
                  <a:pt x="1922" y="351"/>
                </a:cubicBezTo>
                <a:cubicBezTo>
                  <a:pt x="1925" y="352"/>
                  <a:pt x="1926" y="350"/>
                  <a:pt x="1923" y="348"/>
                </a:cubicBezTo>
                <a:close/>
                <a:moveTo>
                  <a:pt x="993" y="567"/>
                </a:moveTo>
                <a:cubicBezTo>
                  <a:pt x="984" y="576"/>
                  <a:pt x="965" y="578"/>
                  <a:pt x="965" y="585"/>
                </a:cubicBezTo>
                <a:cubicBezTo>
                  <a:pt x="965" y="592"/>
                  <a:pt x="942" y="595"/>
                  <a:pt x="940" y="592"/>
                </a:cubicBezTo>
                <a:cubicBezTo>
                  <a:pt x="938" y="589"/>
                  <a:pt x="957" y="589"/>
                  <a:pt x="961" y="579"/>
                </a:cubicBezTo>
                <a:cubicBezTo>
                  <a:pt x="966" y="569"/>
                  <a:pt x="983" y="563"/>
                  <a:pt x="991" y="550"/>
                </a:cubicBezTo>
                <a:cubicBezTo>
                  <a:pt x="997" y="541"/>
                  <a:pt x="1002" y="526"/>
                  <a:pt x="1006" y="527"/>
                </a:cubicBezTo>
                <a:cubicBezTo>
                  <a:pt x="1009" y="528"/>
                  <a:pt x="1003" y="559"/>
                  <a:pt x="993" y="567"/>
                </a:cubicBezTo>
                <a:close/>
                <a:moveTo>
                  <a:pt x="385" y="202"/>
                </a:moveTo>
                <a:cubicBezTo>
                  <a:pt x="385" y="206"/>
                  <a:pt x="383" y="208"/>
                  <a:pt x="377" y="208"/>
                </a:cubicBezTo>
                <a:cubicBezTo>
                  <a:pt x="370" y="208"/>
                  <a:pt x="380" y="212"/>
                  <a:pt x="380" y="216"/>
                </a:cubicBezTo>
                <a:cubicBezTo>
                  <a:pt x="381" y="219"/>
                  <a:pt x="374" y="217"/>
                  <a:pt x="374" y="222"/>
                </a:cubicBezTo>
                <a:cubicBezTo>
                  <a:pt x="373" y="228"/>
                  <a:pt x="361" y="222"/>
                  <a:pt x="360" y="230"/>
                </a:cubicBezTo>
                <a:cubicBezTo>
                  <a:pt x="358" y="237"/>
                  <a:pt x="366" y="236"/>
                  <a:pt x="371" y="236"/>
                </a:cubicBezTo>
                <a:cubicBezTo>
                  <a:pt x="376" y="237"/>
                  <a:pt x="369" y="242"/>
                  <a:pt x="373" y="245"/>
                </a:cubicBezTo>
                <a:cubicBezTo>
                  <a:pt x="377" y="248"/>
                  <a:pt x="380" y="247"/>
                  <a:pt x="377" y="241"/>
                </a:cubicBezTo>
                <a:cubicBezTo>
                  <a:pt x="375" y="235"/>
                  <a:pt x="391" y="243"/>
                  <a:pt x="386" y="247"/>
                </a:cubicBezTo>
                <a:cubicBezTo>
                  <a:pt x="381" y="252"/>
                  <a:pt x="394" y="255"/>
                  <a:pt x="401" y="255"/>
                </a:cubicBezTo>
                <a:cubicBezTo>
                  <a:pt x="407" y="256"/>
                  <a:pt x="429" y="260"/>
                  <a:pt x="430" y="255"/>
                </a:cubicBezTo>
                <a:cubicBezTo>
                  <a:pt x="430" y="252"/>
                  <a:pt x="422" y="249"/>
                  <a:pt x="415" y="242"/>
                </a:cubicBezTo>
                <a:cubicBezTo>
                  <a:pt x="408" y="234"/>
                  <a:pt x="403" y="222"/>
                  <a:pt x="411" y="217"/>
                </a:cubicBezTo>
                <a:cubicBezTo>
                  <a:pt x="419" y="212"/>
                  <a:pt x="412" y="210"/>
                  <a:pt x="420" y="204"/>
                </a:cubicBezTo>
                <a:cubicBezTo>
                  <a:pt x="428" y="199"/>
                  <a:pt x="423" y="193"/>
                  <a:pt x="430" y="193"/>
                </a:cubicBezTo>
                <a:cubicBezTo>
                  <a:pt x="436" y="192"/>
                  <a:pt x="429" y="186"/>
                  <a:pt x="436" y="185"/>
                </a:cubicBezTo>
                <a:cubicBezTo>
                  <a:pt x="442" y="184"/>
                  <a:pt x="444" y="177"/>
                  <a:pt x="443" y="174"/>
                </a:cubicBezTo>
                <a:cubicBezTo>
                  <a:pt x="442" y="171"/>
                  <a:pt x="450" y="174"/>
                  <a:pt x="453" y="170"/>
                </a:cubicBezTo>
                <a:cubicBezTo>
                  <a:pt x="457" y="166"/>
                  <a:pt x="466" y="169"/>
                  <a:pt x="468" y="163"/>
                </a:cubicBezTo>
                <a:cubicBezTo>
                  <a:pt x="471" y="158"/>
                  <a:pt x="509" y="145"/>
                  <a:pt x="531" y="140"/>
                </a:cubicBezTo>
                <a:cubicBezTo>
                  <a:pt x="553" y="135"/>
                  <a:pt x="568" y="126"/>
                  <a:pt x="560" y="120"/>
                </a:cubicBezTo>
                <a:cubicBezTo>
                  <a:pt x="552" y="114"/>
                  <a:pt x="531" y="122"/>
                  <a:pt x="525" y="126"/>
                </a:cubicBezTo>
                <a:cubicBezTo>
                  <a:pt x="520" y="131"/>
                  <a:pt x="512" y="128"/>
                  <a:pt x="507" y="131"/>
                </a:cubicBezTo>
                <a:cubicBezTo>
                  <a:pt x="502" y="134"/>
                  <a:pt x="490" y="136"/>
                  <a:pt x="485" y="133"/>
                </a:cubicBezTo>
                <a:cubicBezTo>
                  <a:pt x="479" y="129"/>
                  <a:pt x="472" y="137"/>
                  <a:pt x="468" y="137"/>
                </a:cubicBezTo>
                <a:cubicBezTo>
                  <a:pt x="464" y="136"/>
                  <a:pt x="459" y="141"/>
                  <a:pt x="454" y="141"/>
                </a:cubicBezTo>
                <a:cubicBezTo>
                  <a:pt x="449" y="140"/>
                  <a:pt x="440" y="144"/>
                  <a:pt x="439" y="147"/>
                </a:cubicBezTo>
                <a:cubicBezTo>
                  <a:pt x="439" y="150"/>
                  <a:pt x="431" y="149"/>
                  <a:pt x="431" y="152"/>
                </a:cubicBezTo>
                <a:cubicBezTo>
                  <a:pt x="431" y="156"/>
                  <a:pt x="424" y="159"/>
                  <a:pt x="421" y="156"/>
                </a:cubicBezTo>
                <a:cubicBezTo>
                  <a:pt x="418" y="153"/>
                  <a:pt x="414" y="159"/>
                  <a:pt x="418" y="163"/>
                </a:cubicBezTo>
                <a:cubicBezTo>
                  <a:pt x="423" y="168"/>
                  <a:pt x="410" y="168"/>
                  <a:pt x="412" y="171"/>
                </a:cubicBezTo>
                <a:cubicBezTo>
                  <a:pt x="414" y="173"/>
                  <a:pt x="407" y="175"/>
                  <a:pt x="409" y="178"/>
                </a:cubicBezTo>
                <a:cubicBezTo>
                  <a:pt x="410" y="181"/>
                  <a:pt x="404" y="182"/>
                  <a:pt x="399" y="183"/>
                </a:cubicBezTo>
                <a:cubicBezTo>
                  <a:pt x="394" y="184"/>
                  <a:pt x="391" y="191"/>
                  <a:pt x="398" y="191"/>
                </a:cubicBezTo>
                <a:cubicBezTo>
                  <a:pt x="404" y="191"/>
                  <a:pt x="394" y="192"/>
                  <a:pt x="395" y="197"/>
                </a:cubicBezTo>
                <a:cubicBezTo>
                  <a:pt x="395" y="202"/>
                  <a:pt x="384" y="199"/>
                  <a:pt x="385" y="202"/>
                </a:cubicBezTo>
                <a:close/>
                <a:moveTo>
                  <a:pt x="430" y="29"/>
                </a:moveTo>
                <a:cubicBezTo>
                  <a:pt x="431" y="32"/>
                  <a:pt x="429" y="32"/>
                  <a:pt x="422" y="32"/>
                </a:cubicBezTo>
                <a:cubicBezTo>
                  <a:pt x="415" y="32"/>
                  <a:pt x="412" y="36"/>
                  <a:pt x="415" y="39"/>
                </a:cubicBezTo>
                <a:cubicBezTo>
                  <a:pt x="419" y="42"/>
                  <a:pt x="437" y="41"/>
                  <a:pt x="440" y="37"/>
                </a:cubicBezTo>
                <a:cubicBezTo>
                  <a:pt x="443" y="33"/>
                  <a:pt x="451" y="36"/>
                  <a:pt x="452" y="32"/>
                </a:cubicBezTo>
                <a:cubicBezTo>
                  <a:pt x="453" y="28"/>
                  <a:pt x="429" y="26"/>
                  <a:pt x="430" y="29"/>
                </a:cubicBezTo>
                <a:close/>
                <a:moveTo>
                  <a:pt x="387" y="33"/>
                </a:moveTo>
                <a:cubicBezTo>
                  <a:pt x="387" y="28"/>
                  <a:pt x="370" y="34"/>
                  <a:pt x="373" y="35"/>
                </a:cubicBezTo>
                <a:cubicBezTo>
                  <a:pt x="376" y="36"/>
                  <a:pt x="387" y="39"/>
                  <a:pt x="387" y="33"/>
                </a:cubicBezTo>
                <a:close/>
                <a:moveTo>
                  <a:pt x="429" y="11"/>
                </a:moveTo>
                <a:cubicBezTo>
                  <a:pt x="437" y="11"/>
                  <a:pt x="434" y="6"/>
                  <a:pt x="440" y="7"/>
                </a:cubicBezTo>
                <a:cubicBezTo>
                  <a:pt x="445" y="7"/>
                  <a:pt x="452" y="7"/>
                  <a:pt x="449" y="4"/>
                </a:cubicBezTo>
                <a:cubicBezTo>
                  <a:pt x="447" y="0"/>
                  <a:pt x="427" y="2"/>
                  <a:pt x="429" y="4"/>
                </a:cubicBezTo>
                <a:cubicBezTo>
                  <a:pt x="431" y="7"/>
                  <a:pt x="414" y="6"/>
                  <a:pt x="414" y="7"/>
                </a:cubicBezTo>
                <a:cubicBezTo>
                  <a:pt x="415" y="9"/>
                  <a:pt x="421" y="11"/>
                  <a:pt x="429" y="11"/>
                </a:cubicBezTo>
                <a:close/>
                <a:moveTo>
                  <a:pt x="487" y="23"/>
                </a:moveTo>
                <a:cubicBezTo>
                  <a:pt x="490" y="20"/>
                  <a:pt x="483" y="20"/>
                  <a:pt x="482" y="17"/>
                </a:cubicBezTo>
                <a:cubicBezTo>
                  <a:pt x="482" y="14"/>
                  <a:pt x="463" y="13"/>
                  <a:pt x="464" y="16"/>
                </a:cubicBezTo>
                <a:cubicBezTo>
                  <a:pt x="465" y="20"/>
                  <a:pt x="451" y="23"/>
                  <a:pt x="455" y="27"/>
                </a:cubicBezTo>
                <a:cubicBezTo>
                  <a:pt x="463" y="33"/>
                  <a:pt x="485" y="26"/>
                  <a:pt x="487" y="23"/>
                </a:cubicBezTo>
                <a:close/>
                <a:moveTo>
                  <a:pt x="434" y="17"/>
                </a:moveTo>
                <a:cubicBezTo>
                  <a:pt x="435" y="10"/>
                  <a:pt x="424" y="16"/>
                  <a:pt x="415" y="12"/>
                </a:cubicBezTo>
                <a:cubicBezTo>
                  <a:pt x="406" y="9"/>
                  <a:pt x="401" y="9"/>
                  <a:pt x="407" y="14"/>
                </a:cubicBezTo>
                <a:cubicBezTo>
                  <a:pt x="410" y="16"/>
                  <a:pt x="392" y="18"/>
                  <a:pt x="395" y="21"/>
                </a:cubicBezTo>
                <a:cubicBezTo>
                  <a:pt x="401" y="27"/>
                  <a:pt x="433" y="24"/>
                  <a:pt x="434" y="17"/>
                </a:cubicBezTo>
                <a:close/>
              </a:path>
            </a:pathLst>
          </a:custGeom>
          <a:solidFill>
            <a:srgbClr val="BFBFBF"/>
          </a:solidFill>
          <a:ln w="9525">
            <a:noFill/>
            <a:round/>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0" name="Freeform 158"/>
          <p:cNvSpPr/>
          <p:nvPr/>
        </p:nvSpPr>
        <p:spPr bwMode="auto">
          <a:xfrm>
            <a:off x="6225215" y="4360008"/>
            <a:ext cx="461717" cy="496581"/>
          </a:xfrm>
          <a:custGeom>
            <a:cxnLst>
              <a:cxn ang="0">
                <a:pos x="184" y="102"/>
              </a:cxn>
              <a:cxn ang="0">
                <a:pos x="184" y="95"/>
              </a:cxn>
              <a:cxn ang="0">
                <a:pos x="181" y="91"/>
              </a:cxn>
              <a:cxn ang="0">
                <a:pos x="186" y="81"/>
              </a:cxn>
              <a:cxn ang="0">
                <a:pos x="189" y="71"/>
              </a:cxn>
              <a:cxn ang="0">
                <a:pos x="194" y="54"/>
              </a:cxn>
              <a:cxn ang="0">
                <a:pos x="203" y="44"/>
              </a:cxn>
              <a:cxn ang="0">
                <a:pos x="203" y="33"/>
              </a:cxn>
              <a:cxn ang="0">
                <a:pos x="204" y="23"/>
              </a:cxn>
              <a:cxn ang="0">
                <a:pos x="185" y="13"/>
              </a:cxn>
              <a:cxn ang="0">
                <a:pos x="172" y="13"/>
              </a:cxn>
              <a:cxn ang="0">
                <a:pos x="164" y="4"/>
              </a:cxn>
              <a:cxn ang="0">
                <a:pos x="156" y="6"/>
              </a:cxn>
              <a:cxn ang="0">
                <a:pos x="134" y="6"/>
              </a:cxn>
              <a:cxn ang="0">
                <a:pos x="114" y="9"/>
              </a:cxn>
              <a:cxn ang="0">
                <a:pos x="89" y="13"/>
              </a:cxn>
              <a:cxn ang="0">
                <a:pos x="68" y="16"/>
              </a:cxn>
              <a:cxn ang="0">
                <a:pos x="66" y="35"/>
              </a:cxn>
              <a:cxn ang="0">
                <a:pos x="53" y="71"/>
              </a:cxn>
              <a:cxn ang="0">
                <a:pos x="43" y="102"/>
              </a:cxn>
              <a:cxn ang="0">
                <a:pos x="32" y="117"/>
              </a:cxn>
              <a:cxn ang="0">
                <a:pos x="18" y="117"/>
              </a:cxn>
              <a:cxn ang="0">
                <a:pos x="0" y="121"/>
              </a:cxn>
              <a:cxn ang="0">
                <a:pos x="4" y="135"/>
              </a:cxn>
              <a:cxn ang="0">
                <a:pos x="47" y="132"/>
              </a:cxn>
              <a:cxn ang="0">
                <a:pos x="53" y="150"/>
              </a:cxn>
              <a:cxn ang="0">
                <a:pos x="76" y="155"/>
              </a:cxn>
              <a:cxn ang="0">
                <a:pos x="89" y="145"/>
              </a:cxn>
              <a:cxn ang="0">
                <a:pos x="102" y="149"/>
              </a:cxn>
              <a:cxn ang="0">
                <a:pos x="103" y="174"/>
              </a:cxn>
              <a:cxn ang="0">
                <a:pos x="108" y="192"/>
              </a:cxn>
              <a:cxn ang="0">
                <a:pos x="124" y="188"/>
              </a:cxn>
              <a:cxn ang="0">
                <a:pos x="130" y="191"/>
              </a:cxn>
              <a:cxn ang="0">
                <a:pos x="140" y="193"/>
              </a:cxn>
              <a:cxn ang="0">
                <a:pos x="153" y="201"/>
              </a:cxn>
              <a:cxn ang="0">
                <a:pos x="162" y="198"/>
              </a:cxn>
              <a:cxn ang="0">
                <a:pos x="177" y="206"/>
              </a:cxn>
              <a:cxn ang="0">
                <a:pos x="189" y="216"/>
              </a:cxn>
              <a:cxn ang="0">
                <a:pos x="190" y="203"/>
              </a:cxn>
              <a:cxn ang="0">
                <a:pos x="175" y="196"/>
              </a:cxn>
              <a:cxn ang="0">
                <a:pos x="178" y="173"/>
              </a:cxn>
              <a:cxn ang="0">
                <a:pos x="182" y="160"/>
              </a:cxn>
              <a:cxn ang="0">
                <a:pos x="196" y="157"/>
              </a:cxn>
              <a:cxn ang="0">
                <a:pos x="189" y="144"/>
              </a:cxn>
            </a:cxnLst>
            <a:rect b="b" l="0" r="r" t="0"/>
            <a:pathLst>
              <a:path h="218" w="206">
                <a:moveTo>
                  <a:pt x="189" y="144"/>
                </a:moveTo>
                <a:cubicBezTo>
                  <a:pt x="183" y="141"/>
                  <a:pt x="181" y="103"/>
                  <a:pt x="184" y="102"/>
                </a:cubicBezTo>
                <a:cubicBezTo>
                  <a:pt x="184" y="102"/>
                  <a:pt x="185" y="102"/>
                  <a:pt x="185" y="103"/>
                </a:cubicBezTo>
                <a:cubicBezTo>
                  <a:pt x="184" y="95"/>
                  <a:pt x="184" y="95"/>
                  <a:pt x="184" y="95"/>
                </a:cubicBezTo>
                <a:cubicBezTo>
                  <a:pt x="184" y="95"/>
                  <a:pt x="184" y="94"/>
                  <a:pt x="184" y="94"/>
                </a:cubicBezTo>
                <a:cubicBezTo>
                  <a:pt x="183" y="94"/>
                  <a:pt x="181" y="93"/>
                  <a:pt x="181" y="91"/>
                </a:cubicBezTo>
                <a:cubicBezTo>
                  <a:pt x="181" y="88"/>
                  <a:pt x="184" y="88"/>
                  <a:pt x="184" y="88"/>
                </a:cubicBezTo>
                <a:cubicBezTo>
                  <a:pt x="184" y="88"/>
                  <a:pt x="183" y="82"/>
                  <a:pt x="186" y="81"/>
                </a:cubicBezTo>
                <a:cubicBezTo>
                  <a:pt x="187" y="80"/>
                  <a:pt x="187" y="80"/>
                  <a:pt x="187" y="79"/>
                </a:cubicBezTo>
                <a:cubicBezTo>
                  <a:pt x="189" y="78"/>
                  <a:pt x="189" y="74"/>
                  <a:pt x="189" y="71"/>
                </a:cubicBezTo>
                <a:cubicBezTo>
                  <a:pt x="189" y="68"/>
                  <a:pt x="190" y="64"/>
                  <a:pt x="191" y="62"/>
                </a:cubicBezTo>
                <a:cubicBezTo>
                  <a:pt x="193" y="59"/>
                  <a:pt x="192" y="55"/>
                  <a:pt x="194" y="54"/>
                </a:cubicBezTo>
                <a:cubicBezTo>
                  <a:pt x="196" y="52"/>
                  <a:pt x="196" y="48"/>
                  <a:pt x="198" y="47"/>
                </a:cubicBezTo>
                <a:cubicBezTo>
                  <a:pt x="201" y="47"/>
                  <a:pt x="203" y="46"/>
                  <a:pt x="203" y="44"/>
                </a:cubicBezTo>
                <a:cubicBezTo>
                  <a:pt x="203" y="43"/>
                  <a:pt x="206" y="41"/>
                  <a:pt x="206" y="38"/>
                </a:cubicBezTo>
                <a:cubicBezTo>
                  <a:pt x="206" y="36"/>
                  <a:pt x="203" y="36"/>
                  <a:pt x="203" y="33"/>
                </a:cubicBezTo>
                <a:cubicBezTo>
                  <a:pt x="203" y="30"/>
                  <a:pt x="204" y="23"/>
                  <a:pt x="204" y="23"/>
                </a:cubicBezTo>
                <a:cubicBezTo>
                  <a:pt x="204" y="23"/>
                  <a:pt x="204" y="23"/>
                  <a:pt x="204" y="23"/>
                </a:cubicBezTo>
                <a:cubicBezTo>
                  <a:pt x="198" y="18"/>
                  <a:pt x="192" y="13"/>
                  <a:pt x="191" y="12"/>
                </a:cubicBezTo>
                <a:cubicBezTo>
                  <a:pt x="189" y="11"/>
                  <a:pt x="185" y="13"/>
                  <a:pt x="185" y="13"/>
                </a:cubicBezTo>
                <a:cubicBezTo>
                  <a:pt x="185" y="13"/>
                  <a:pt x="182" y="10"/>
                  <a:pt x="179" y="13"/>
                </a:cubicBezTo>
                <a:cubicBezTo>
                  <a:pt x="176" y="15"/>
                  <a:pt x="172" y="13"/>
                  <a:pt x="172" y="13"/>
                </a:cubicBezTo>
                <a:cubicBezTo>
                  <a:pt x="172" y="13"/>
                  <a:pt x="168" y="11"/>
                  <a:pt x="167" y="7"/>
                </a:cubicBezTo>
                <a:cubicBezTo>
                  <a:pt x="166" y="6"/>
                  <a:pt x="165" y="5"/>
                  <a:pt x="164" y="4"/>
                </a:cubicBezTo>
                <a:cubicBezTo>
                  <a:pt x="164" y="5"/>
                  <a:pt x="164" y="5"/>
                  <a:pt x="164" y="5"/>
                </a:cubicBezTo>
                <a:cubicBezTo>
                  <a:pt x="156" y="6"/>
                  <a:pt x="156" y="6"/>
                  <a:pt x="156" y="6"/>
                </a:cubicBezTo>
                <a:cubicBezTo>
                  <a:pt x="156" y="6"/>
                  <a:pt x="146" y="0"/>
                  <a:pt x="143" y="5"/>
                </a:cubicBezTo>
                <a:cubicBezTo>
                  <a:pt x="141" y="9"/>
                  <a:pt x="139" y="6"/>
                  <a:pt x="134" y="6"/>
                </a:cubicBezTo>
                <a:cubicBezTo>
                  <a:pt x="130" y="6"/>
                  <a:pt x="125" y="8"/>
                  <a:pt x="123" y="9"/>
                </a:cubicBezTo>
                <a:cubicBezTo>
                  <a:pt x="120" y="11"/>
                  <a:pt x="116" y="8"/>
                  <a:pt x="114" y="9"/>
                </a:cubicBezTo>
                <a:cubicBezTo>
                  <a:pt x="111" y="11"/>
                  <a:pt x="110" y="17"/>
                  <a:pt x="110" y="17"/>
                </a:cubicBezTo>
                <a:cubicBezTo>
                  <a:pt x="89" y="13"/>
                  <a:pt x="89" y="13"/>
                  <a:pt x="89" y="13"/>
                </a:cubicBezTo>
                <a:cubicBezTo>
                  <a:pt x="89" y="13"/>
                  <a:pt x="84" y="7"/>
                  <a:pt x="79" y="7"/>
                </a:cubicBezTo>
                <a:cubicBezTo>
                  <a:pt x="75" y="7"/>
                  <a:pt x="68" y="16"/>
                  <a:pt x="68" y="16"/>
                </a:cubicBezTo>
                <a:cubicBezTo>
                  <a:pt x="68" y="23"/>
                  <a:pt x="68" y="23"/>
                  <a:pt x="68" y="23"/>
                </a:cubicBezTo>
                <a:cubicBezTo>
                  <a:pt x="69" y="28"/>
                  <a:pt x="67" y="33"/>
                  <a:pt x="66" y="35"/>
                </a:cubicBezTo>
                <a:cubicBezTo>
                  <a:pt x="64" y="38"/>
                  <a:pt x="62" y="40"/>
                  <a:pt x="62" y="47"/>
                </a:cubicBezTo>
                <a:cubicBezTo>
                  <a:pt x="62" y="54"/>
                  <a:pt x="53" y="65"/>
                  <a:pt x="53" y="71"/>
                </a:cubicBezTo>
                <a:cubicBezTo>
                  <a:pt x="53" y="76"/>
                  <a:pt x="44" y="80"/>
                  <a:pt x="44" y="83"/>
                </a:cubicBezTo>
                <a:cubicBezTo>
                  <a:pt x="44" y="87"/>
                  <a:pt x="43" y="94"/>
                  <a:pt x="43" y="102"/>
                </a:cubicBezTo>
                <a:cubicBezTo>
                  <a:pt x="43" y="110"/>
                  <a:pt x="39" y="103"/>
                  <a:pt x="39" y="110"/>
                </a:cubicBezTo>
                <a:cubicBezTo>
                  <a:pt x="39" y="117"/>
                  <a:pt x="35" y="113"/>
                  <a:pt x="32" y="117"/>
                </a:cubicBezTo>
                <a:cubicBezTo>
                  <a:pt x="28" y="120"/>
                  <a:pt x="27" y="121"/>
                  <a:pt x="27" y="117"/>
                </a:cubicBezTo>
                <a:cubicBezTo>
                  <a:pt x="27" y="114"/>
                  <a:pt x="22" y="113"/>
                  <a:pt x="18" y="117"/>
                </a:cubicBezTo>
                <a:cubicBezTo>
                  <a:pt x="14" y="120"/>
                  <a:pt x="12" y="117"/>
                  <a:pt x="10" y="116"/>
                </a:cubicBezTo>
                <a:cubicBezTo>
                  <a:pt x="9" y="115"/>
                  <a:pt x="4" y="118"/>
                  <a:pt x="0" y="121"/>
                </a:cubicBezTo>
                <a:cubicBezTo>
                  <a:pt x="2" y="126"/>
                  <a:pt x="3" y="130"/>
                  <a:pt x="4" y="134"/>
                </a:cubicBezTo>
                <a:cubicBezTo>
                  <a:pt x="4" y="134"/>
                  <a:pt x="4" y="135"/>
                  <a:pt x="4" y="135"/>
                </a:cubicBezTo>
                <a:cubicBezTo>
                  <a:pt x="6" y="133"/>
                  <a:pt x="9" y="132"/>
                  <a:pt x="10" y="132"/>
                </a:cubicBezTo>
                <a:cubicBezTo>
                  <a:pt x="14" y="131"/>
                  <a:pt x="47" y="132"/>
                  <a:pt x="47" y="132"/>
                </a:cubicBezTo>
                <a:cubicBezTo>
                  <a:pt x="47" y="132"/>
                  <a:pt x="50" y="137"/>
                  <a:pt x="49" y="141"/>
                </a:cubicBezTo>
                <a:cubicBezTo>
                  <a:pt x="48" y="146"/>
                  <a:pt x="51" y="144"/>
                  <a:pt x="53" y="150"/>
                </a:cubicBezTo>
                <a:cubicBezTo>
                  <a:pt x="56" y="156"/>
                  <a:pt x="58" y="158"/>
                  <a:pt x="63" y="157"/>
                </a:cubicBezTo>
                <a:cubicBezTo>
                  <a:pt x="68" y="155"/>
                  <a:pt x="74" y="154"/>
                  <a:pt x="76" y="155"/>
                </a:cubicBezTo>
                <a:cubicBezTo>
                  <a:pt x="78" y="155"/>
                  <a:pt x="77" y="146"/>
                  <a:pt x="80" y="145"/>
                </a:cubicBezTo>
                <a:cubicBezTo>
                  <a:pt x="83" y="143"/>
                  <a:pt x="89" y="145"/>
                  <a:pt x="89" y="145"/>
                </a:cubicBezTo>
                <a:cubicBezTo>
                  <a:pt x="89" y="145"/>
                  <a:pt x="90" y="147"/>
                  <a:pt x="95" y="147"/>
                </a:cubicBezTo>
                <a:cubicBezTo>
                  <a:pt x="100" y="147"/>
                  <a:pt x="102" y="145"/>
                  <a:pt x="102" y="149"/>
                </a:cubicBezTo>
                <a:cubicBezTo>
                  <a:pt x="102" y="152"/>
                  <a:pt x="103" y="156"/>
                  <a:pt x="104" y="158"/>
                </a:cubicBezTo>
                <a:cubicBezTo>
                  <a:pt x="106" y="159"/>
                  <a:pt x="100" y="172"/>
                  <a:pt x="103" y="174"/>
                </a:cubicBezTo>
                <a:cubicBezTo>
                  <a:pt x="105" y="176"/>
                  <a:pt x="109" y="180"/>
                  <a:pt x="108" y="183"/>
                </a:cubicBezTo>
                <a:cubicBezTo>
                  <a:pt x="108" y="185"/>
                  <a:pt x="106" y="191"/>
                  <a:pt x="108" y="192"/>
                </a:cubicBezTo>
                <a:cubicBezTo>
                  <a:pt x="110" y="192"/>
                  <a:pt x="111" y="189"/>
                  <a:pt x="114" y="189"/>
                </a:cubicBezTo>
                <a:cubicBezTo>
                  <a:pt x="118" y="189"/>
                  <a:pt x="121" y="189"/>
                  <a:pt x="124" y="188"/>
                </a:cubicBezTo>
                <a:cubicBezTo>
                  <a:pt x="126" y="187"/>
                  <a:pt x="127" y="187"/>
                  <a:pt x="127" y="188"/>
                </a:cubicBezTo>
                <a:cubicBezTo>
                  <a:pt x="129" y="189"/>
                  <a:pt x="130" y="191"/>
                  <a:pt x="130" y="191"/>
                </a:cubicBezTo>
                <a:cubicBezTo>
                  <a:pt x="130" y="191"/>
                  <a:pt x="131" y="194"/>
                  <a:pt x="133" y="193"/>
                </a:cubicBezTo>
                <a:cubicBezTo>
                  <a:pt x="135" y="192"/>
                  <a:pt x="141" y="191"/>
                  <a:pt x="140" y="193"/>
                </a:cubicBezTo>
                <a:cubicBezTo>
                  <a:pt x="140" y="195"/>
                  <a:pt x="142" y="199"/>
                  <a:pt x="144" y="198"/>
                </a:cubicBezTo>
                <a:cubicBezTo>
                  <a:pt x="146" y="197"/>
                  <a:pt x="151" y="201"/>
                  <a:pt x="153" y="201"/>
                </a:cubicBezTo>
                <a:cubicBezTo>
                  <a:pt x="156" y="201"/>
                  <a:pt x="158" y="201"/>
                  <a:pt x="158" y="200"/>
                </a:cubicBezTo>
                <a:cubicBezTo>
                  <a:pt x="158" y="198"/>
                  <a:pt x="161" y="196"/>
                  <a:pt x="162" y="198"/>
                </a:cubicBezTo>
                <a:cubicBezTo>
                  <a:pt x="163" y="200"/>
                  <a:pt x="166" y="204"/>
                  <a:pt x="168" y="204"/>
                </a:cubicBezTo>
                <a:cubicBezTo>
                  <a:pt x="171" y="204"/>
                  <a:pt x="177" y="204"/>
                  <a:pt x="177" y="206"/>
                </a:cubicBezTo>
                <a:cubicBezTo>
                  <a:pt x="177" y="208"/>
                  <a:pt x="179" y="214"/>
                  <a:pt x="181" y="216"/>
                </a:cubicBezTo>
                <a:cubicBezTo>
                  <a:pt x="184" y="218"/>
                  <a:pt x="189" y="216"/>
                  <a:pt x="189" y="216"/>
                </a:cubicBezTo>
                <a:cubicBezTo>
                  <a:pt x="189" y="216"/>
                  <a:pt x="191" y="214"/>
                  <a:pt x="191" y="211"/>
                </a:cubicBezTo>
                <a:cubicBezTo>
                  <a:pt x="191" y="207"/>
                  <a:pt x="191" y="203"/>
                  <a:pt x="190" y="203"/>
                </a:cubicBezTo>
                <a:cubicBezTo>
                  <a:pt x="188" y="203"/>
                  <a:pt x="186" y="206"/>
                  <a:pt x="182" y="205"/>
                </a:cubicBezTo>
                <a:cubicBezTo>
                  <a:pt x="179" y="204"/>
                  <a:pt x="176" y="197"/>
                  <a:pt x="175" y="196"/>
                </a:cubicBezTo>
                <a:cubicBezTo>
                  <a:pt x="173" y="195"/>
                  <a:pt x="177" y="189"/>
                  <a:pt x="177" y="186"/>
                </a:cubicBezTo>
                <a:cubicBezTo>
                  <a:pt x="177" y="183"/>
                  <a:pt x="180" y="174"/>
                  <a:pt x="178" y="173"/>
                </a:cubicBezTo>
                <a:cubicBezTo>
                  <a:pt x="176" y="172"/>
                  <a:pt x="177" y="169"/>
                  <a:pt x="179" y="167"/>
                </a:cubicBezTo>
                <a:cubicBezTo>
                  <a:pt x="182" y="165"/>
                  <a:pt x="178" y="160"/>
                  <a:pt x="182" y="160"/>
                </a:cubicBezTo>
                <a:cubicBezTo>
                  <a:pt x="186" y="160"/>
                  <a:pt x="194" y="160"/>
                  <a:pt x="196" y="157"/>
                </a:cubicBezTo>
                <a:cubicBezTo>
                  <a:pt x="196" y="157"/>
                  <a:pt x="196" y="157"/>
                  <a:pt x="196" y="157"/>
                </a:cubicBezTo>
                <a:cubicBezTo>
                  <a:pt x="197" y="156"/>
                  <a:pt x="197" y="156"/>
                  <a:pt x="197" y="155"/>
                </a:cubicBezTo>
                <a:cubicBezTo>
                  <a:pt x="195" y="151"/>
                  <a:pt x="192" y="145"/>
                  <a:pt x="189" y="144"/>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1" name="Freeform 159"/>
          <p:cNvSpPr/>
          <p:nvPr/>
        </p:nvSpPr>
        <p:spPr bwMode="auto">
          <a:xfrm>
            <a:off x="6636866" y="4566602"/>
            <a:ext cx="40794" cy="54966"/>
          </a:xfrm>
          <a:custGeom>
            <a:cxnLst>
              <a:cxn ang="0">
                <a:pos x="1" y="12"/>
              </a:cxn>
              <a:cxn ang="0">
                <a:pos x="4" y="24"/>
              </a:cxn>
              <a:cxn ang="0">
                <a:pos x="9" y="21"/>
              </a:cxn>
              <a:cxn ang="0">
                <a:pos x="18" y="8"/>
              </a:cxn>
              <a:cxn ang="0">
                <a:pos x="15" y="6"/>
              </a:cxn>
              <a:cxn ang="0">
                <a:pos x="14" y="0"/>
              </a:cxn>
              <a:cxn ang="0">
                <a:pos x="9" y="0"/>
              </a:cxn>
              <a:cxn ang="0">
                <a:pos x="3" y="4"/>
              </a:cxn>
              <a:cxn ang="0">
                <a:pos x="0" y="3"/>
              </a:cxn>
              <a:cxn ang="0">
                <a:pos x="0" y="4"/>
              </a:cxn>
              <a:cxn ang="0">
                <a:pos x="1" y="12"/>
              </a:cxn>
            </a:cxnLst>
            <a:rect b="b" l="0" r="r" t="0"/>
            <a:pathLst>
              <a:path h="24" w="18">
                <a:moveTo>
                  <a:pt x="1" y="12"/>
                </a:moveTo>
                <a:cubicBezTo>
                  <a:pt x="2" y="14"/>
                  <a:pt x="3" y="19"/>
                  <a:pt x="4" y="24"/>
                </a:cubicBezTo>
                <a:cubicBezTo>
                  <a:pt x="6" y="22"/>
                  <a:pt x="8" y="21"/>
                  <a:pt x="9" y="21"/>
                </a:cubicBezTo>
                <a:cubicBezTo>
                  <a:pt x="11" y="20"/>
                  <a:pt x="18" y="8"/>
                  <a:pt x="18" y="8"/>
                </a:cubicBezTo>
                <a:cubicBezTo>
                  <a:pt x="15" y="6"/>
                  <a:pt x="15" y="6"/>
                  <a:pt x="15" y="6"/>
                </a:cubicBezTo>
                <a:cubicBezTo>
                  <a:pt x="15" y="6"/>
                  <a:pt x="15" y="3"/>
                  <a:pt x="14" y="0"/>
                </a:cubicBezTo>
                <a:cubicBezTo>
                  <a:pt x="12" y="0"/>
                  <a:pt x="9" y="0"/>
                  <a:pt x="9" y="0"/>
                </a:cubicBezTo>
                <a:cubicBezTo>
                  <a:pt x="9" y="0"/>
                  <a:pt x="10" y="5"/>
                  <a:pt x="3" y="4"/>
                </a:cubicBezTo>
                <a:cubicBezTo>
                  <a:pt x="2" y="3"/>
                  <a:pt x="1" y="3"/>
                  <a:pt x="0" y="3"/>
                </a:cubicBezTo>
                <a:cubicBezTo>
                  <a:pt x="0" y="3"/>
                  <a:pt x="0" y="4"/>
                  <a:pt x="0" y="4"/>
                </a:cubicBezTo>
                <a:lnTo>
                  <a:pt x="1" y="12"/>
                </a:ln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2" name="Freeform 160"/>
          <p:cNvSpPr/>
          <p:nvPr/>
        </p:nvSpPr>
        <p:spPr bwMode="auto">
          <a:xfrm>
            <a:off x="6660972" y="4778880"/>
            <a:ext cx="268872" cy="439720"/>
          </a:xfrm>
          <a:custGeom>
            <a:cxnLst>
              <a:cxn ang="0">
                <a:pos x="119" y="50"/>
              </a:cxn>
              <a:cxn ang="0">
                <a:pos x="116" y="28"/>
              </a:cxn>
              <a:cxn ang="0">
                <a:pos x="115" y="1"/>
              </a:cxn>
              <a:cxn ang="0">
                <a:pos x="115" y="0"/>
              </a:cxn>
              <a:cxn ang="0">
                <a:pos x="103" y="7"/>
              </a:cxn>
              <a:cxn ang="0">
                <a:pos x="95" y="9"/>
              </a:cxn>
              <a:cxn ang="0">
                <a:pos x="89" y="8"/>
              </a:cxn>
              <a:cxn ang="0">
                <a:pos x="85" y="13"/>
              </a:cxn>
              <a:cxn ang="0">
                <a:pos x="78" y="13"/>
              </a:cxn>
              <a:cxn ang="0">
                <a:pos x="69" y="15"/>
              </a:cxn>
              <a:cxn ang="0">
                <a:pos x="65" y="11"/>
              </a:cxn>
              <a:cxn ang="0">
                <a:pos x="58" y="13"/>
              </a:cxn>
              <a:cxn ang="0">
                <a:pos x="52" y="12"/>
              </a:cxn>
              <a:cxn ang="0">
                <a:pos x="51" y="16"/>
              </a:cxn>
              <a:cxn ang="0">
                <a:pos x="56" y="40"/>
              </a:cxn>
              <a:cxn ang="0">
                <a:pos x="63" y="46"/>
              </a:cxn>
              <a:cxn ang="0">
                <a:pos x="63" y="58"/>
              </a:cxn>
              <a:cxn ang="0">
                <a:pos x="57" y="65"/>
              </a:cxn>
              <a:cxn ang="0">
                <a:pos x="56" y="75"/>
              </a:cxn>
              <a:cxn ang="0">
                <a:pos x="46" y="62"/>
              </a:cxn>
              <a:cxn ang="0">
                <a:pos x="48" y="47"/>
              </a:cxn>
              <a:cxn ang="0">
                <a:pos x="39" y="46"/>
              </a:cxn>
              <a:cxn ang="0">
                <a:pos x="31" y="40"/>
              </a:cxn>
              <a:cxn ang="0">
                <a:pos x="0" y="52"/>
              </a:cxn>
              <a:cxn ang="0">
                <a:pos x="2" y="60"/>
              </a:cxn>
              <a:cxn ang="0">
                <a:pos x="2" y="60"/>
              </a:cxn>
              <a:cxn ang="0">
                <a:pos x="3" y="64"/>
              </a:cxn>
              <a:cxn ang="0">
                <a:pos x="18" y="67"/>
              </a:cxn>
              <a:cxn ang="0">
                <a:pos x="31" y="72"/>
              </a:cxn>
              <a:cxn ang="0">
                <a:pos x="31" y="89"/>
              </a:cxn>
              <a:cxn ang="0">
                <a:pos x="28" y="99"/>
              </a:cxn>
              <a:cxn ang="0">
                <a:pos x="32" y="108"/>
              </a:cxn>
              <a:cxn ang="0">
                <a:pos x="26" y="116"/>
              </a:cxn>
              <a:cxn ang="0">
                <a:pos x="23" y="127"/>
              </a:cxn>
              <a:cxn ang="0">
                <a:pos x="11" y="138"/>
              </a:cxn>
              <a:cxn ang="0">
                <a:pos x="12" y="139"/>
              </a:cxn>
              <a:cxn ang="0">
                <a:pos x="19" y="160"/>
              </a:cxn>
              <a:cxn ang="0">
                <a:pos x="20" y="180"/>
              </a:cxn>
              <a:cxn ang="0">
                <a:pos x="21" y="193"/>
              </a:cxn>
              <a:cxn ang="0">
                <a:pos x="30" y="193"/>
              </a:cxn>
              <a:cxn ang="0">
                <a:pos x="30" y="187"/>
              </a:cxn>
              <a:cxn ang="0">
                <a:pos x="26" y="183"/>
              </a:cxn>
              <a:cxn ang="0">
                <a:pos x="43" y="170"/>
              </a:cxn>
              <a:cxn ang="0">
                <a:pos x="57" y="161"/>
              </a:cxn>
              <a:cxn ang="0">
                <a:pos x="59" y="145"/>
              </a:cxn>
              <a:cxn ang="0">
                <a:pos x="57" y="130"/>
              </a:cxn>
              <a:cxn ang="0">
                <a:pos x="51" y="116"/>
              </a:cxn>
              <a:cxn ang="0">
                <a:pos x="53" y="108"/>
              </a:cxn>
              <a:cxn ang="0">
                <a:pos x="58" y="102"/>
              </a:cxn>
              <a:cxn ang="0">
                <a:pos x="68" y="96"/>
              </a:cxn>
              <a:cxn ang="0">
                <a:pos x="79" y="83"/>
              </a:cxn>
              <a:cxn ang="0">
                <a:pos x="101" y="73"/>
              </a:cxn>
              <a:cxn ang="0">
                <a:pos x="119" y="50"/>
              </a:cxn>
            </a:cxnLst>
            <a:rect b="b" l="0" r="r" t="0"/>
            <a:pathLst>
              <a:path h="193" w="120">
                <a:moveTo>
                  <a:pt x="119" y="50"/>
                </a:moveTo>
                <a:cubicBezTo>
                  <a:pt x="118" y="47"/>
                  <a:pt x="116" y="33"/>
                  <a:pt x="116" y="28"/>
                </a:cubicBezTo>
                <a:cubicBezTo>
                  <a:pt x="117" y="22"/>
                  <a:pt x="115" y="8"/>
                  <a:pt x="115" y="1"/>
                </a:cubicBezTo>
                <a:cubicBezTo>
                  <a:pt x="115" y="0"/>
                  <a:pt x="115" y="0"/>
                  <a:pt x="115" y="0"/>
                </a:cubicBezTo>
                <a:cubicBezTo>
                  <a:pt x="110" y="3"/>
                  <a:pt x="104" y="5"/>
                  <a:pt x="103" y="7"/>
                </a:cubicBezTo>
                <a:cubicBezTo>
                  <a:pt x="102" y="9"/>
                  <a:pt x="98" y="6"/>
                  <a:pt x="95" y="9"/>
                </a:cubicBezTo>
                <a:cubicBezTo>
                  <a:pt x="93" y="11"/>
                  <a:pt x="91" y="9"/>
                  <a:pt x="89" y="8"/>
                </a:cubicBezTo>
                <a:cubicBezTo>
                  <a:pt x="86" y="8"/>
                  <a:pt x="85" y="11"/>
                  <a:pt x="85" y="13"/>
                </a:cubicBezTo>
                <a:cubicBezTo>
                  <a:pt x="85" y="15"/>
                  <a:pt x="80" y="14"/>
                  <a:pt x="78" y="13"/>
                </a:cubicBezTo>
                <a:cubicBezTo>
                  <a:pt x="77" y="13"/>
                  <a:pt x="71" y="15"/>
                  <a:pt x="69" y="15"/>
                </a:cubicBezTo>
                <a:cubicBezTo>
                  <a:pt x="66" y="15"/>
                  <a:pt x="68" y="12"/>
                  <a:pt x="65" y="11"/>
                </a:cubicBezTo>
                <a:cubicBezTo>
                  <a:pt x="62" y="10"/>
                  <a:pt x="60" y="13"/>
                  <a:pt x="58" y="13"/>
                </a:cubicBezTo>
                <a:cubicBezTo>
                  <a:pt x="57" y="13"/>
                  <a:pt x="54" y="12"/>
                  <a:pt x="52" y="12"/>
                </a:cubicBezTo>
                <a:cubicBezTo>
                  <a:pt x="52" y="13"/>
                  <a:pt x="52" y="15"/>
                  <a:pt x="51" y="16"/>
                </a:cubicBezTo>
                <a:cubicBezTo>
                  <a:pt x="49" y="21"/>
                  <a:pt x="56" y="34"/>
                  <a:pt x="56" y="40"/>
                </a:cubicBezTo>
                <a:cubicBezTo>
                  <a:pt x="59" y="42"/>
                  <a:pt x="62" y="44"/>
                  <a:pt x="63" y="46"/>
                </a:cubicBezTo>
                <a:cubicBezTo>
                  <a:pt x="66" y="50"/>
                  <a:pt x="63" y="50"/>
                  <a:pt x="63" y="58"/>
                </a:cubicBezTo>
                <a:cubicBezTo>
                  <a:pt x="64" y="66"/>
                  <a:pt x="60" y="62"/>
                  <a:pt x="57" y="65"/>
                </a:cubicBezTo>
                <a:cubicBezTo>
                  <a:pt x="54" y="68"/>
                  <a:pt x="57" y="74"/>
                  <a:pt x="56" y="75"/>
                </a:cubicBezTo>
                <a:cubicBezTo>
                  <a:pt x="55" y="77"/>
                  <a:pt x="46" y="64"/>
                  <a:pt x="46" y="62"/>
                </a:cubicBezTo>
                <a:cubicBezTo>
                  <a:pt x="45" y="60"/>
                  <a:pt x="49" y="52"/>
                  <a:pt x="48" y="47"/>
                </a:cubicBezTo>
                <a:cubicBezTo>
                  <a:pt x="47" y="42"/>
                  <a:pt x="41" y="45"/>
                  <a:pt x="39" y="46"/>
                </a:cubicBezTo>
                <a:cubicBezTo>
                  <a:pt x="37" y="46"/>
                  <a:pt x="32" y="40"/>
                  <a:pt x="31" y="40"/>
                </a:cubicBezTo>
                <a:cubicBezTo>
                  <a:pt x="30" y="40"/>
                  <a:pt x="0" y="52"/>
                  <a:pt x="0" y="52"/>
                </a:cubicBezTo>
                <a:cubicBezTo>
                  <a:pt x="2" y="60"/>
                  <a:pt x="2" y="60"/>
                  <a:pt x="2" y="60"/>
                </a:cubicBezTo>
                <a:cubicBezTo>
                  <a:pt x="2" y="60"/>
                  <a:pt x="2" y="60"/>
                  <a:pt x="2" y="60"/>
                </a:cubicBezTo>
                <a:cubicBezTo>
                  <a:pt x="3" y="64"/>
                  <a:pt x="3" y="64"/>
                  <a:pt x="3" y="64"/>
                </a:cubicBezTo>
                <a:cubicBezTo>
                  <a:pt x="3" y="64"/>
                  <a:pt x="13" y="64"/>
                  <a:pt x="18" y="67"/>
                </a:cubicBezTo>
                <a:cubicBezTo>
                  <a:pt x="22" y="70"/>
                  <a:pt x="29" y="71"/>
                  <a:pt x="31" y="72"/>
                </a:cubicBezTo>
                <a:cubicBezTo>
                  <a:pt x="32" y="73"/>
                  <a:pt x="31" y="84"/>
                  <a:pt x="31" y="89"/>
                </a:cubicBezTo>
                <a:cubicBezTo>
                  <a:pt x="32" y="95"/>
                  <a:pt x="25" y="96"/>
                  <a:pt x="28" y="99"/>
                </a:cubicBezTo>
                <a:cubicBezTo>
                  <a:pt x="31" y="102"/>
                  <a:pt x="30" y="107"/>
                  <a:pt x="32" y="108"/>
                </a:cubicBezTo>
                <a:cubicBezTo>
                  <a:pt x="34" y="108"/>
                  <a:pt x="28" y="115"/>
                  <a:pt x="26" y="116"/>
                </a:cubicBezTo>
                <a:cubicBezTo>
                  <a:pt x="23" y="118"/>
                  <a:pt x="26" y="123"/>
                  <a:pt x="23" y="127"/>
                </a:cubicBezTo>
                <a:cubicBezTo>
                  <a:pt x="21" y="130"/>
                  <a:pt x="15" y="135"/>
                  <a:pt x="11" y="138"/>
                </a:cubicBezTo>
                <a:cubicBezTo>
                  <a:pt x="12" y="139"/>
                  <a:pt x="12" y="139"/>
                  <a:pt x="12" y="139"/>
                </a:cubicBezTo>
                <a:cubicBezTo>
                  <a:pt x="13" y="141"/>
                  <a:pt x="16" y="158"/>
                  <a:pt x="19" y="160"/>
                </a:cubicBezTo>
                <a:cubicBezTo>
                  <a:pt x="22" y="162"/>
                  <a:pt x="20" y="179"/>
                  <a:pt x="20" y="180"/>
                </a:cubicBezTo>
                <a:cubicBezTo>
                  <a:pt x="20" y="182"/>
                  <a:pt x="21" y="193"/>
                  <a:pt x="21" y="193"/>
                </a:cubicBezTo>
                <a:cubicBezTo>
                  <a:pt x="21" y="193"/>
                  <a:pt x="26" y="193"/>
                  <a:pt x="30" y="193"/>
                </a:cubicBezTo>
                <a:cubicBezTo>
                  <a:pt x="30" y="190"/>
                  <a:pt x="30" y="188"/>
                  <a:pt x="30" y="187"/>
                </a:cubicBezTo>
                <a:cubicBezTo>
                  <a:pt x="30" y="182"/>
                  <a:pt x="27" y="186"/>
                  <a:pt x="26" y="183"/>
                </a:cubicBezTo>
                <a:cubicBezTo>
                  <a:pt x="24" y="179"/>
                  <a:pt x="34" y="173"/>
                  <a:pt x="43" y="170"/>
                </a:cubicBezTo>
                <a:cubicBezTo>
                  <a:pt x="53" y="166"/>
                  <a:pt x="56" y="164"/>
                  <a:pt x="57" y="161"/>
                </a:cubicBezTo>
                <a:cubicBezTo>
                  <a:pt x="58" y="158"/>
                  <a:pt x="57" y="148"/>
                  <a:pt x="59" y="145"/>
                </a:cubicBezTo>
                <a:cubicBezTo>
                  <a:pt x="60" y="141"/>
                  <a:pt x="58" y="139"/>
                  <a:pt x="57" y="130"/>
                </a:cubicBezTo>
                <a:cubicBezTo>
                  <a:pt x="55" y="122"/>
                  <a:pt x="52" y="121"/>
                  <a:pt x="51" y="116"/>
                </a:cubicBezTo>
                <a:cubicBezTo>
                  <a:pt x="50" y="111"/>
                  <a:pt x="50" y="108"/>
                  <a:pt x="53" y="108"/>
                </a:cubicBezTo>
                <a:cubicBezTo>
                  <a:pt x="56" y="107"/>
                  <a:pt x="56" y="106"/>
                  <a:pt x="58" y="102"/>
                </a:cubicBezTo>
                <a:cubicBezTo>
                  <a:pt x="60" y="97"/>
                  <a:pt x="63" y="99"/>
                  <a:pt x="68" y="96"/>
                </a:cubicBezTo>
                <a:cubicBezTo>
                  <a:pt x="72" y="92"/>
                  <a:pt x="72" y="88"/>
                  <a:pt x="79" y="83"/>
                </a:cubicBezTo>
                <a:cubicBezTo>
                  <a:pt x="87" y="77"/>
                  <a:pt x="94" y="77"/>
                  <a:pt x="101" y="73"/>
                </a:cubicBezTo>
                <a:cubicBezTo>
                  <a:pt x="108" y="69"/>
                  <a:pt x="120" y="53"/>
                  <a:pt x="119" y="5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3" name="Freeform 161"/>
          <p:cNvSpPr/>
          <p:nvPr/>
        </p:nvSpPr>
        <p:spPr bwMode="auto">
          <a:xfrm>
            <a:off x="6646138" y="4528695"/>
            <a:ext cx="272580" cy="284302"/>
          </a:xfrm>
          <a:custGeom>
            <a:cxnLst>
              <a:cxn ang="0">
                <a:pos x="114" y="100"/>
              </a:cxn>
              <a:cxn ang="0">
                <a:pos x="110" y="88"/>
              </a:cxn>
              <a:cxn ang="0">
                <a:pos x="109" y="79"/>
              </a:cxn>
              <a:cxn ang="0">
                <a:pos x="111" y="71"/>
              </a:cxn>
              <a:cxn ang="0">
                <a:pos x="105" y="61"/>
              </a:cxn>
              <a:cxn ang="0">
                <a:pos x="110" y="44"/>
              </a:cxn>
              <a:cxn ang="0">
                <a:pos x="91" y="30"/>
              </a:cxn>
              <a:cxn ang="0">
                <a:pos x="92" y="24"/>
              </a:cxn>
              <a:cxn ang="0">
                <a:pos x="49" y="1"/>
              </a:cxn>
              <a:cxn ang="0">
                <a:pos x="44" y="12"/>
              </a:cxn>
              <a:cxn ang="0">
                <a:pos x="44" y="19"/>
              </a:cxn>
              <a:cxn ang="0">
                <a:pos x="26" y="18"/>
              </a:cxn>
              <a:cxn ang="0">
                <a:pos x="26" y="0"/>
              </a:cxn>
              <a:cxn ang="0">
                <a:pos x="17" y="1"/>
              </a:cxn>
              <a:cxn ang="0">
                <a:pos x="11" y="2"/>
              </a:cxn>
              <a:cxn ang="0">
                <a:pos x="13" y="7"/>
              </a:cxn>
              <a:cxn ang="0">
                <a:pos x="15" y="15"/>
              </a:cxn>
              <a:cxn ang="0">
                <a:pos x="10" y="17"/>
              </a:cxn>
              <a:cxn ang="0">
                <a:pos x="11" y="23"/>
              </a:cxn>
              <a:cxn ang="0">
                <a:pos x="14" y="25"/>
              </a:cxn>
              <a:cxn ang="0">
                <a:pos x="5" y="38"/>
              </a:cxn>
              <a:cxn ang="0">
                <a:pos x="0" y="41"/>
              </a:cxn>
              <a:cxn ang="0">
                <a:pos x="7" y="62"/>
              </a:cxn>
              <a:cxn ang="0">
                <a:pos x="13" y="77"/>
              </a:cxn>
              <a:cxn ang="0">
                <a:pos x="15" y="86"/>
              </a:cxn>
              <a:cxn ang="0">
                <a:pos x="9" y="81"/>
              </a:cxn>
              <a:cxn ang="0">
                <a:pos x="8" y="83"/>
              </a:cxn>
              <a:cxn ang="0">
                <a:pos x="8" y="83"/>
              </a:cxn>
              <a:cxn ang="0">
                <a:pos x="16" y="88"/>
              </a:cxn>
              <a:cxn ang="0">
                <a:pos x="26" y="92"/>
              </a:cxn>
              <a:cxn ang="0">
                <a:pos x="41" y="99"/>
              </a:cxn>
              <a:cxn ang="0">
                <a:pos x="42" y="100"/>
              </a:cxn>
              <a:cxn ang="0">
                <a:pos x="49" y="100"/>
              </a:cxn>
              <a:cxn ang="0">
                <a:pos x="51" y="99"/>
              </a:cxn>
              <a:cxn ang="0">
                <a:pos x="59" y="122"/>
              </a:cxn>
              <a:cxn ang="0">
                <a:pos x="65" y="123"/>
              </a:cxn>
              <a:cxn ang="0">
                <a:pos x="72" y="121"/>
              </a:cxn>
              <a:cxn ang="0">
                <a:pos x="76" y="125"/>
              </a:cxn>
              <a:cxn ang="0">
                <a:pos x="85" y="123"/>
              </a:cxn>
              <a:cxn ang="0">
                <a:pos x="92" y="123"/>
              </a:cxn>
              <a:cxn ang="0">
                <a:pos x="96" y="118"/>
              </a:cxn>
              <a:cxn ang="0">
                <a:pos x="102" y="119"/>
              </a:cxn>
              <a:cxn ang="0">
                <a:pos x="110" y="117"/>
              </a:cxn>
              <a:cxn ang="0">
                <a:pos x="122" y="110"/>
              </a:cxn>
              <a:cxn ang="0">
                <a:pos x="114" y="100"/>
              </a:cxn>
            </a:cxnLst>
            <a:rect b="b" l="0" r="r" t="0"/>
            <a:pathLst>
              <a:path h="125" w="122">
                <a:moveTo>
                  <a:pt x="114" y="100"/>
                </a:moveTo>
                <a:cubicBezTo>
                  <a:pt x="114" y="93"/>
                  <a:pt x="110" y="93"/>
                  <a:pt x="110" y="88"/>
                </a:cubicBezTo>
                <a:cubicBezTo>
                  <a:pt x="110" y="84"/>
                  <a:pt x="111" y="80"/>
                  <a:pt x="109" y="79"/>
                </a:cubicBezTo>
                <a:cubicBezTo>
                  <a:pt x="107" y="79"/>
                  <a:pt x="108" y="75"/>
                  <a:pt x="111" y="71"/>
                </a:cubicBezTo>
                <a:cubicBezTo>
                  <a:pt x="114" y="67"/>
                  <a:pt x="106" y="66"/>
                  <a:pt x="105" y="61"/>
                </a:cubicBezTo>
                <a:cubicBezTo>
                  <a:pt x="105" y="59"/>
                  <a:pt x="107" y="52"/>
                  <a:pt x="110" y="44"/>
                </a:cubicBezTo>
                <a:cubicBezTo>
                  <a:pt x="101" y="37"/>
                  <a:pt x="91" y="30"/>
                  <a:pt x="91" y="30"/>
                </a:cubicBezTo>
                <a:cubicBezTo>
                  <a:pt x="92" y="24"/>
                  <a:pt x="92" y="24"/>
                  <a:pt x="92" y="24"/>
                </a:cubicBezTo>
                <a:cubicBezTo>
                  <a:pt x="49" y="1"/>
                  <a:pt x="49" y="1"/>
                  <a:pt x="49" y="1"/>
                </a:cubicBezTo>
                <a:cubicBezTo>
                  <a:pt x="49" y="6"/>
                  <a:pt x="47" y="10"/>
                  <a:pt x="44" y="12"/>
                </a:cubicBezTo>
                <a:cubicBezTo>
                  <a:pt x="40" y="13"/>
                  <a:pt x="48" y="18"/>
                  <a:pt x="44" y="19"/>
                </a:cubicBezTo>
                <a:cubicBezTo>
                  <a:pt x="41" y="19"/>
                  <a:pt x="32" y="15"/>
                  <a:pt x="26" y="18"/>
                </a:cubicBezTo>
                <a:cubicBezTo>
                  <a:pt x="22" y="19"/>
                  <a:pt x="23" y="9"/>
                  <a:pt x="26" y="0"/>
                </a:cubicBezTo>
                <a:cubicBezTo>
                  <a:pt x="17" y="1"/>
                  <a:pt x="17" y="1"/>
                  <a:pt x="17" y="1"/>
                </a:cubicBezTo>
                <a:cubicBezTo>
                  <a:pt x="17" y="1"/>
                  <a:pt x="14" y="2"/>
                  <a:pt x="11" y="2"/>
                </a:cubicBezTo>
                <a:cubicBezTo>
                  <a:pt x="13" y="7"/>
                  <a:pt x="13" y="7"/>
                  <a:pt x="13" y="7"/>
                </a:cubicBezTo>
                <a:cubicBezTo>
                  <a:pt x="13" y="7"/>
                  <a:pt x="15" y="12"/>
                  <a:pt x="15" y="15"/>
                </a:cubicBezTo>
                <a:cubicBezTo>
                  <a:pt x="15" y="16"/>
                  <a:pt x="13" y="17"/>
                  <a:pt x="10" y="17"/>
                </a:cubicBezTo>
                <a:cubicBezTo>
                  <a:pt x="11" y="20"/>
                  <a:pt x="11" y="23"/>
                  <a:pt x="11" y="23"/>
                </a:cubicBezTo>
                <a:cubicBezTo>
                  <a:pt x="14" y="25"/>
                  <a:pt x="14" y="25"/>
                  <a:pt x="14" y="25"/>
                </a:cubicBezTo>
                <a:cubicBezTo>
                  <a:pt x="14" y="25"/>
                  <a:pt x="7" y="37"/>
                  <a:pt x="5" y="38"/>
                </a:cubicBezTo>
                <a:cubicBezTo>
                  <a:pt x="4" y="38"/>
                  <a:pt x="2" y="39"/>
                  <a:pt x="0" y="41"/>
                </a:cubicBezTo>
                <a:cubicBezTo>
                  <a:pt x="1" y="49"/>
                  <a:pt x="3" y="59"/>
                  <a:pt x="7" y="62"/>
                </a:cubicBezTo>
                <a:cubicBezTo>
                  <a:pt x="12" y="68"/>
                  <a:pt x="11" y="74"/>
                  <a:pt x="13" y="77"/>
                </a:cubicBezTo>
                <a:cubicBezTo>
                  <a:pt x="14" y="81"/>
                  <a:pt x="19" y="85"/>
                  <a:pt x="15" y="86"/>
                </a:cubicBezTo>
                <a:cubicBezTo>
                  <a:pt x="13" y="87"/>
                  <a:pt x="11" y="85"/>
                  <a:pt x="9" y="81"/>
                </a:cubicBezTo>
                <a:cubicBezTo>
                  <a:pt x="9" y="82"/>
                  <a:pt x="9" y="82"/>
                  <a:pt x="8" y="83"/>
                </a:cubicBezTo>
                <a:cubicBezTo>
                  <a:pt x="8" y="83"/>
                  <a:pt x="8" y="83"/>
                  <a:pt x="8" y="83"/>
                </a:cubicBezTo>
                <a:cubicBezTo>
                  <a:pt x="11" y="86"/>
                  <a:pt x="15" y="88"/>
                  <a:pt x="16" y="88"/>
                </a:cubicBezTo>
                <a:cubicBezTo>
                  <a:pt x="19" y="88"/>
                  <a:pt x="24" y="92"/>
                  <a:pt x="26" y="92"/>
                </a:cubicBezTo>
                <a:cubicBezTo>
                  <a:pt x="29" y="93"/>
                  <a:pt x="40" y="97"/>
                  <a:pt x="41" y="99"/>
                </a:cubicBezTo>
                <a:cubicBezTo>
                  <a:pt x="41" y="99"/>
                  <a:pt x="41" y="99"/>
                  <a:pt x="42" y="100"/>
                </a:cubicBezTo>
                <a:cubicBezTo>
                  <a:pt x="44" y="100"/>
                  <a:pt x="47" y="99"/>
                  <a:pt x="49" y="100"/>
                </a:cubicBezTo>
                <a:cubicBezTo>
                  <a:pt x="50" y="99"/>
                  <a:pt x="50" y="99"/>
                  <a:pt x="51" y="99"/>
                </a:cubicBezTo>
                <a:cubicBezTo>
                  <a:pt x="55" y="99"/>
                  <a:pt x="59" y="113"/>
                  <a:pt x="59" y="122"/>
                </a:cubicBezTo>
                <a:cubicBezTo>
                  <a:pt x="61" y="122"/>
                  <a:pt x="64" y="123"/>
                  <a:pt x="65" y="123"/>
                </a:cubicBezTo>
                <a:cubicBezTo>
                  <a:pt x="67" y="123"/>
                  <a:pt x="69" y="120"/>
                  <a:pt x="72" y="121"/>
                </a:cubicBezTo>
                <a:cubicBezTo>
                  <a:pt x="75" y="122"/>
                  <a:pt x="73" y="125"/>
                  <a:pt x="76" y="125"/>
                </a:cubicBezTo>
                <a:cubicBezTo>
                  <a:pt x="78" y="125"/>
                  <a:pt x="84" y="123"/>
                  <a:pt x="85" y="123"/>
                </a:cubicBezTo>
                <a:cubicBezTo>
                  <a:pt x="87" y="124"/>
                  <a:pt x="92" y="125"/>
                  <a:pt x="92" y="123"/>
                </a:cubicBezTo>
                <a:cubicBezTo>
                  <a:pt x="92" y="121"/>
                  <a:pt x="93" y="118"/>
                  <a:pt x="96" y="118"/>
                </a:cubicBezTo>
                <a:cubicBezTo>
                  <a:pt x="98" y="119"/>
                  <a:pt x="100" y="121"/>
                  <a:pt x="102" y="119"/>
                </a:cubicBezTo>
                <a:cubicBezTo>
                  <a:pt x="105" y="116"/>
                  <a:pt x="109" y="119"/>
                  <a:pt x="110" y="117"/>
                </a:cubicBezTo>
                <a:cubicBezTo>
                  <a:pt x="111" y="115"/>
                  <a:pt x="117" y="113"/>
                  <a:pt x="122" y="110"/>
                </a:cubicBezTo>
                <a:cubicBezTo>
                  <a:pt x="122" y="104"/>
                  <a:pt x="115" y="107"/>
                  <a:pt x="114" y="10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4" name="Freeform 162"/>
          <p:cNvSpPr/>
          <p:nvPr/>
        </p:nvSpPr>
        <p:spPr bwMode="auto">
          <a:xfrm>
            <a:off x="6725872" y="4754240"/>
            <a:ext cx="83443" cy="200907"/>
          </a:xfrm>
          <a:custGeom>
            <a:cxnLst>
              <a:cxn ang="0">
                <a:pos x="34" y="57"/>
              </a:cxn>
              <a:cxn ang="0">
                <a:pos x="27" y="51"/>
              </a:cxn>
              <a:cxn ang="0">
                <a:pos x="27" y="53"/>
              </a:cxn>
              <a:cxn ang="0">
                <a:pos x="15" y="35"/>
              </a:cxn>
              <a:cxn ang="0">
                <a:pos x="16" y="15"/>
              </a:cxn>
              <a:cxn ang="0">
                <a:pos x="13" y="1"/>
              </a:cxn>
              <a:cxn ang="0">
                <a:pos x="6" y="1"/>
              </a:cxn>
              <a:cxn ang="0">
                <a:pos x="10" y="12"/>
              </a:cxn>
              <a:cxn ang="0">
                <a:pos x="6" y="14"/>
              </a:cxn>
              <a:cxn ang="0">
                <a:pos x="7" y="32"/>
              </a:cxn>
              <a:cxn ang="0">
                <a:pos x="2" y="35"/>
              </a:cxn>
              <a:cxn ang="0">
                <a:pos x="0" y="46"/>
              </a:cxn>
              <a:cxn ang="0">
                <a:pos x="2" y="51"/>
              </a:cxn>
              <a:cxn ang="0">
                <a:pos x="2" y="51"/>
              </a:cxn>
              <a:cxn ang="0">
                <a:pos x="10" y="57"/>
              </a:cxn>
              <a:cxn ang="0">
                <a:pos x="19" y="58"/>
              </a:cxn>
              <a:cxn ang="0">
                <a:pos x="17" y="73"/>
              </a:cxn>
              <a:cxn ang="0">
                <a:pos x="27" y="86"/>
              </a:cxn>
              <a:cxn ang="0">
                <a:pos x="28" y="76"/>
              </a:cxn>
              <a:cxn ang="0">
                <a:pos x="34" y="69"/>
              </a:cxn>
              <a:cxn ang="0">
                <a:pos x="34" y="57"/>
              </a:cxn>
            </a:cxnLst>
            <a:rect b="b" l="0" r="r" t="0"/>
            <a:pathLst>
              <a:path h="88" w="37">
                <a:moveTo>
                  <a:pt x="34" y="57"/>
                </a:moveTo>
                <a:cubicBezTo>
                  <a:pt x="33" y="55"/>
                  <a:pt x="30" y="53"/>
                  <a:pt x="27" y="51"/>
                </a:cubicBezTo>
                <a:cubicBezTo>
                  <a:pt x="27" y="51"/>
                  <a:pt x="27" y="52"/>
                  <a:pt x="27" y="53"/>
                </a:cubicBezTo>
                <a:cubicBezTo>
                  <a:pt x="24" y="57"/>
                  <a:pt x="16" y="44"/>
                  <a:pt x="15" y="35"/>
                </a:cubicBezTo>
                <a:cubicBezTo>
                  <a:pt x="14" y="27"/>
                  <a:pt x="19" y="23"/>
                  <a:pt x="16" y="15"/>
                </a:cubicBezTo>
                <a:cubicBezTo>
                  <a:pt x="13" y="9"/>
                  <a:pt x="11" y="3"/>
                  <a:pt x="13" y="1"/>
                </a:cubicBezTo>
                <a:cubicBezTo>
                  <a:pt x="11" y="0"/>
                  <a:pt x="8" y="1"/>
                  <a:pt x="6" y="1"/>
                </a:cubicBezTo>
                <a:cubicBezTo>
                  <a:pt x="7" y="4"/>
                  <a:pt x="10" y="10"/>
                  <a:pt x="10" y="12"/>
                </a:cubicBezTo>
                <a:cubicBezTo>
                  <a:pt x="10" y="14"/>
                  <a:pt x="7" y="11"/>
                  <a:pt x="6" y="14"/>
                </a:cubicBezTo>
                <a:cubicBezTo>
                  <a:pt x="5" y="17"/>
                  <a:pt x="4" y="30"/>
                  <a:pt x="7" y="32"/>
                </a:cubicBezTo>
                <a:cubicBezTo>
                  <a:pt x="9" y="35"/>
                  <a:pt x="2" y="33"/>
                  <a:pt x="2" y="35"/>
                </a:cubicBezTo>
                <a:cubicBezTo>
                  <a:pt x="2" y="38"/>
                  <a:pt x="1" y="46"/>
                  <a:pt x="0" y="46"/>
                </a:cubicBezTo>
                <a:cubicBezTo>
                  <a:pt x="0" y="47"/>
                  <a:pt x="1" y="49"/>
                  <a:pt x="2" y="51"/>
                </a:cubicBezTo>
                <a:cubicBezTo>
                  <a:pt x="2" y="51"/>
                  <a:pt x="2" y="51"/>
                  <a:pt x="2" y="51"/>
                </a:cubicBezTo>
                <a:cubicBezTo>
                  <a:pt x="3" y="51"/>
                  <a:pt x="8" y="57"/>
                  <a:pt x="10" y="57"/>
                </a:cubicBezTo>
                <a:cubicBezTo>
                  <a:pt x="12" y="56"/>
                  <a:pt x="18" y="53"/>
                  <a:pt x="19" y="58"/>
                </a:cubicBezTo>
                <a:cubicBezTo>
                  <a:pt x="20" y="63"/>
                  <a:pt x="16" y="71"/>
                  <a:pt x="17" y="73"/>
                </a:cubicBezTo>
                <a:cubicBezTo>
                  <a:pt x="17" y="75"/>
                  <a:pt x="26" y="88"/>
                  <a:pt x="27" y="86"/>
                </a:cubicBezTo>
                <a:cubicBezTo>
                  <a:pt x="28" y="85"/>
                  <a:pt x="25" y="79"/>
                  <a:pt x="28" y="76"/>
                </a:cubicBezTo>
                <a:cubicBezTo>
                  <a:pt x="31" y="73"/>
                  <a:pt x="35" y="77"/>
                  <a:pt x="34" y="69"/>
                </a:cubicBezTo>
                <a:cubicBezTo>
                  <a:pt x="34" y="61"/>
                  <a:pt x="37" y="61"/>
                  <a:pt x="34" y="5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5" name="Freeform 163"/>
          <p:cNvSpPr/>
          <p:nvPr/>
        </p:nvSpPr>
        <p:spPr bwMode="auto">
          <a:xfrm>
            <a:off x="10028350" y="5042333"/>
            <a:ext cx="85297" cy="68232"/>
          </a:xfrm>
          <a:custGeom>
            <a:cxnLst>
              <a:cxn ang="0">
                <a:pos x="1" y="5"/>
              </a:cxn>
              <a:cxn ang="0">
                <a:pos x="34" y="27"/>
              </a:cxn>
              <a:cxn ang="0">
                <a:pos x="1" y="5"/>
              </a:cxn>
            </a:cxnLst>
            <a:rect b="b" l="0" r="r" t="0"/>
            <a:pathLst>
              <a:path h="30" w="38">
                <a:moveTo>
                  <a:pt x="1" y="5"/>
                </a:moveTo>
                <a:cubicBezTo>
                  <a:pt x="0" y="0"/>
                  <a:pt x="38" y="25"/>
                  <a:pt x="34" y="27"/>
                </a:cubicBezTo>
                <a:cubicBezTo>
                  <a:pt x="30" y="30"/>
                  <a:pt x="2" y="9"/>
                  <a:pt x="1" y="5"/>
                </a:cubicBezTo>
                <a:close/>
              </a:path>
            </a:pathLst>
          </a:custGeom>
          <a:solidFill>
            <a:schemeClr val="bg1">
              <a:lumMod val="50000"/>
            </a:schemeClr>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6" name="Freeform 164"/>
          <p:cNvSpPr/>
          <p:nvPr/>
        </p:nvSpPr>
        <p:spPr bwMode="auto">
          <a:xfrm>
            <a:off x="7619636" y="3383906"/>
            <a:ext cx="194700" cy="132674"/>
          </a:xfrm>
          <a:custGeom>
            <a:cxnLst>
              <a:cxn ang="0">
                <a:pos x="71" y="47"/>
              </a:cxn>
              <a:cxn ang="0">
                <a:pos x="75" y="51"/>
              </a:cxn>
              <a:cxn ang="0">
                <a:pos x="83" y="53"/>
              </a:cxn>
              <a:cxn ang="0">
                <a:pos x="87" y="52"/>
              </a:cxn>
              <a:cxn ang="0">
                <a:pos x="84" y="37"/>
              </a:cxn>
              <a:cxn ang="0">
                <a:pos x="73" y="30"/>
              </a:cxn>
              <a:cxn ang="0">
                <a:pos x="72" y="20"/>
              </a:cxn>
              <a:cxn ang="0">
                <a:pos x="57" y="21"/>
              </a:cxn>
              <a:cxn ang="0">
                <a:pos x="47" y="19"/>
              </a:cxn>
              <a:cxn ang="0">
                <a:pos x="37" y="19"/>
              </a:cxn>
              <a:cxn ang="0">
                <a:pos x="21" y="18"/>
              </a:cxn>
              <a:cxn ang="0">
                <a:pos x="29" y="11"/>
              </a:cxn>
              <a:cxn ang="0">
                <a:pos x="33" y="11"/>
              </a:cxn>
              <a:cxn ang="0">
                <a:pos x="37" y="2"/>
              </a:cxn>
              <a:cxn ang="0">
                <a:pos x="29" y="4"/>
              </a:cxn>
              <a:cxn ang="0">
                <a:pos x="20" y="6"/>
              </a:cxn>
              <a:cxn ang="0">
                <a:pos x="15" y="12"/>
              </a:cxn>
              <a:cxn ang="0">
                <a:pos x="11" y="18"/>
              </a:cxn>
              <a:cxn ang="0">
                <a:pos x="1" y="22"/>
              </a:cxn>
              <a:cxn ang="0">
                <a:pos x="8" y="31"/>
              </a:cxn>
              <a:cxn ang="0">
                <a:pos x="9" y="41"/>
              </a:cxn>
              <a:cxn ang="0">
                <a:pos x="4" y="52"/>
              </a:cxn>
              <a:cxn ang="0">
                <a:pos x="10" y="53"/>
              </a:cxn>
              <a:cxn ang="0">
                <a:pos x="21" y="50"/>
              </a:cxn>
              <a:cxn ang="0">
                <a:pos x="32" y="44"/>
              </a:cxn>
              <a:cxn ang="0">
                <a:pos x="42" y="35"/>
              </a:cxn>
              <a:cxn ang="0">
                <a:pos x="47" y="44"/>
              </a:cxn>
              <a:cxn ang="0">
                <a:pos x="47" y="57"/>
              </a:cxn>
              <a:cxn ang="0">
                <a:pos x="52" y="58"/>
              </a:cxn>
              <a:cxn ang="0">
                <a:pos x="58" y="56"/>
              </a:cxn>
              <a:cxn ang="0">
                <a:pos x="71" y="47"/>
              </a:cxn>
            </a:cxnLst>
            <a:rect b="b" l="0" r="r" t="0"/>
            <a:pathLst>
              <a:path h="57" w="87">
                <a:moveTo>
                  <a:pt x="71" y="47"/>
                </a:moveTo>
                <a:cubicBezTo>
                  <a:pt x="73" y="49"/>
                  <a:pt x="73" y="51"/>
                  <a:pt x="75" y="51"/>
                </a:cubicBezTo>
                <a:cubicBezTo>
                  <a:pt x="77" y="50"/>
                  <a:pt x="81" y="51"/>
                  <a:pt x="83" y="53"/>
                </a:cubicBezTo>
                <a:cubicBezTo>
                  <a:pt x="85" y="53"/>
                  <a:pt x="87" y="52"/>
                  <a:pt x="87" y="52"/>
                </a:cubicBezTo>
                <a:cubicBezTo>
                  <a:pt x="87" y="52"/>
                  <a:pt x="85" y="41"/>
                  <a:pt x="84" y="37"/>
                </a:cubicBezTo>
                <a:cubicBezTo>
                  <a:pt x="84" y="34"/>
                  <a:pt x="73" y="30"/>
                  <a:pt x="73" y="30"/>
                </a:cubicBezTo>
                <a:cubicBezTo>
                  <a:pt x="72" y="20"/>
                  <a:pt x="72" y="20"/>
                  <a:pt x="72" y="20"/>
                </a:cubicBezTo>
                <a:cubicBezTo>
                  <a:pt x="72" y="20"/>
                  <a:pt x="59" y="22"/>
                  <a:pt x="57" y="21"/>
                </a:cubicBezTo>
                <a:cubicBezTo>
                  <a:pt x="55" y="20"/>
                  <a:pt x="50" y="23"/>
                  <a:pt x="47" y="19"/>
                </a:cubicBezTo>
                <a:cubicBezTo>
                  <a:pt x="45" y="16"/>
                  <a:pt x="41" y="22"/>
                  <a:pt x="37" y="19"/>
                </a:cubicBezTo>
                <a:cubicBezTo>
                  <a:pt x="33" y="16"/>
                  <a:pt x="22" y="20"/>
                  <a:pt x="21" y="18"/>
                </a:cubicBezTo>
                <a:cubicBezTo>
                  <a:pt x="21" y="15"/>
                  <a:pt x="26" y="11"/>
                  <a:pt x="29" y="11"/>
                </a:cubicBezTo>
                <a:cubicBezTo>
                  <a:pt x="30" y="11"/>
                  <a:pt x="31" y="11"/>
                  <a:pt x="33" y="11"/>
                </a:cubicBezTo>
                <a:cubicBezTo>
                  <a:pt x="34" y="9"/>
                  <a:pt x="37" y="3"/>
                  <a:pt x="37" y="2"/>
                </a:cubicBezTo>
                <a:cubicBezTo>
                  <a:pt x="36" y="0"/>
                  <a:pt x="32" y="2"/>
                  <a:pt x="29" y="4"/>
                </a:cubicBezTo>
                <a:cubicBezTo>
                  <a:pt x="26" y="6"/>
                  <a:pt x="21" y="3"/>
                  <a:pt x="20" y="6"/>
                </a:cubicBezTo>
                <a:cubicBezTo>
                  <a:pt x="19" y="9"/>
                  <a:pt x="18" y="12"/>
                  <a:pt x="15" y="12"/>
                </a:cubicBezTo>
                <a:cubicBezTo>
                  <a:pt x="12" y="12"/>
                  <a:pt x="14" y="17"/>
                  <a:pt x="11" y="18"/>
                </a:cubicBezTo>
                <a:cubicBezTo>
                  <a:pt x="8" y="19"/>
                  <a:pt x="1" y="19"/>
                  <a:pt x="1" y="22"/>
                </a:cubicBezTo>
                <a:cubicBezTo>
                  <a:pt x="0" y="25"/>
                  <a:pt x="8" y="27"/>
                  <a:pt x="8" y="31"/>
                </a:cubicBezTo>
                <a:cubicBezTo>
                  <a:pt x="7" y="34"/>
                  <a:pt x="12" y="38"/>
                  <a:pt x="9" y="41"/>
                </a:cubicBezTo>
                <a:cubicBezTo>
                  <a:pt x="6" y="43"/>
                  <a:pt x="4" y="46"/>
                  <a:pt x="4" y="52"/>
                </a:cubicBezTo>
                <a:cubicBezTo>
                  <a:pt x="7" y="54"/>
                  <a:pt x="9" y="55"/>
                  <a:pt x="10" y="53"/>
                </a:cubicBezTo>
                <a:cubicBezTo>
                  <a:pt x="11" y="49"/>
                  <a:pt x="21" y="53"/>
                  <a:pt x="21" y="50"/>
                </a:cubicBezTo>
                <a:cubicBezTo>
                  <a:pt x="21" y="47"/>
                  <a:pt x="32" y="48"/>
                  <a:pt x="32" y="44"/>
                </a:cubicBezTo>
                <a:cubicBezTo>
                  <a:pt x="32" y="41"/>
                  <a:pt x="38" y="34"/>
                  <a:pt x="42" y="35"/>
                </a:cubicBezTo>
                <a:cubicBezTo>
                  <a:pt x="46" y="35"/>
                  <a:pt x="42" y="42"/>
                  <a:pt x="47" y="44"/>
                </a:cubicBezTo>
                <a:cubicBezTo>
                  <a:pt x="51" y="46"/>
                  <a:pt x="44" y="54"/>
                  <a:pt x="47" y="57"/>
                </a:cubicBezTo>
                <a:cubicBezTo>
                  <a:pt x="48" y="58"/>
                  <a:pt x="50" y="58"/>
                  <a:pt x="52" y="58"/>
                </a:cubicBezTo>
                <a:cubicBezTo>
                  <a:pt x="54" y="57"/>
                  <a:pt x="56" y="56"/>
                  <a:pt x="58" y="56"/>
                </a:cubicBezTo>
                <a:cubicBezTo>
                  <a:pt x="63" y="52"/>
                  <a:pt x="69" y="46"/>
                  <a:pt x="71" y="4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7" name="Freeform 165"/>
          <p:cNvSpPr/>
          <p:nvPr/>
        </p:nvSpPr>
        <p:spPr bwMode="auto">
          <a:xfrm>
            <a:off x="3929613" y="3834998"/>
            <a:ext cx="22251" cy="47384"/>
          </a:xfrm>
          <a:custGeom>
            <a:cxnLst>
              <a:cxn ang="0">
                <a:pos x="8" y="19"/>
              </a:cxn>
              <a:cxn ang="0">
                <a:pos x="4" y="15"/>
              </a:cxn>
              <a:cxn ang="0">
                <a:pos x="0" y="7"/>
              </a:cxn>
              <a:cxn ang="0">
                <a:pos x="4" y="4"/>
              </a:cxn>
              <a:cxn ang="0">
                <a:pos x="5" y="12"/>
              </a:cxn>
              <a:cxn ang="0">
                <a:pos x="8" y="19"/>
              </a:cxn>
            </a:cxnLst>
            <a:rect b="b" l="0" r="r" t="0"/>
            <a:pathLst>
              <a:path h="21" w="10">
                <a:moveTo>
                  <a:pt x="8" y="19"/>
                </a:moveTo>
                <a:cubicBezTo>
                  <a:pt x="8" y="21"/>
                  <a:pt x="4" y="17"/>
                  <a:pt x="4" y="15"/>
                </a:cubicBezTo>
                <a:cubicBezTo>
                  <a:pt x="4" y="12"/>
                  <a:pt x="0" y="12"/>
                  <a:pt x="0" y="7"/>
                </a:cubicBezTo>
                <a:cubicBezTo>
                  <a:pt x="0" y="3"/>
                  <a:pt x="2" y="0"/>
                  <a:pt x="4" y="4"/>
                </a:cubicBezTo>
                <a:cubicBezTo>
                  <a:pt x="7" y="8"/>
                  <a:pt x="5" y="10"/>
                  <a:pt x="5" y="12"/>
                </a:cubicBezTo>
                <a:cubicBezTo>
                  <a:pt x="6" y="14"/>
                  <a:pt x="10" y="17"/>
                  <a:pt x="8" y="1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8" name="Freeform 166"/>
          <p:cNvSpPr/>
          <p:nvPr/>
        </p:nvSpPr>
        <p:spPr bwMode="auto">
          <a:xfrm>
            <a:off x="4344972" y="4225439"/>
            <a:ext cx="29669" cy="24640"/>
          </a:xfrm>
          <a:custGeom>
            <a:cxnLst>
              <a:cxn ang="0">
                <a:pos x="3" y="10"/>
              </a:cxn>
              <a:cxn ang="0">
                <a:pos x="2" y="4"/>
              </a:cxn>
              <a:cxn ang="0">
                <a:pos x="11" y="2"/>
              </a:cxn>
              <a:cxn ang="0">
                <a:pos x="11" y="8"/>
              </a:cxn>
              <a:cxn ang="0">
                <a:pos x="3" y="10"/>
              </a:cxn>
            </a:cxnLst>
            <a:rect b="b" l="0" r="r" t="0"/>
            <a:pathLst>
              <a:path h="11" w="13">
                <a:moveTo>
                  <a:pt x="3" y="10"/>
                </a:moveTo>
                <a:cubicBezTo>
                  <a:pt x="1" y="8"/>
                  <a:pt x="5" y="5"/>
                  <a:pt x="2" y="4"/>
                </a:cubicBezTo>
                <a:cubicBezTo>
                  <a:pt x="0" y="3"/>
                  <a:pt x="8" y="0"/>
                  <a:pt x="11" y="2"/>
                </a:cubicBezTo>
                <a:cubicBezTo>
                  <a:pt x="13" y="4"/>
                  <a:pt x="13" y="7"/>
                  <a:pt x="11" y="8"/>
                </a:cubicBezTo>
                <a:cubicBezTo>
                  <a:pt x="9" y="9"/>
                  <a:pt x="4" y="11"/>
                  <a:pt x="3" y="1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69" name="Freeform 167"/>
          <p:cNvSpPr/>
          <p:nvPr/>
        </p:nvSpPr>
        <p:spPr bwMode="auto">
          <a:xfrm>
            <a:off x="7000305" y="3370638"/>
            <a:ext cx="83443" cy="73919"/>
          </a:xfrm>
          <a:custGeom>
            <a:cxnLst>
              <a:cxn ang="0">
                <a:pos x="35" y="26"/>
              </a:cxn>
              <a:cxn ang="0">
                <a:pos x="28" y="17"/>
              </a:cxn>
              <a:cxn ang="0">
                <a:pos x="24" y="8"/>
              </a:cxn>
              <a:cxn ang="0">
                <a:pos x="21" y="2"/>
              </a:cxn>
              <a:cxn ang="0">
                <a:pos x="11" y="1"/>
              </a:cxn>
              <a:cxn ang="0">
                <a:pos x="0" y="3"/>
              </a:cxn>
              <a:cxn ang="0">
                <a:pos x="2" y="12"/>
              </a:cxn>
              <a:cxn ang="0">
                <a:pos x="11" y="16"/>
              </a:cxn>
              <a:cxn ang="0">
                <a:pos x="13" y="20"/>
              </a:cxn>
              <a:cxn ang="0">
                <a:pos x="14" y="20"/>
              </a:cxn>
              <a:cxn ang="0">
                <a:pos x="17" y="22"/>
              </a:cxn>
              <a:cxn ang="0">
                <a:pos x="22" y="25"/>
              </a:cxn>
              <a:cxn ang="0">
                <a:pos x="28" y="27"/>
              </a:cxn>
              <a:cxn ang="0">
                <a:pos x="30" y="33"/>
              </a:cxn>
              <a:cxn ang="0">
                <a:pos x="37" y="31"/>
              </a:cxn>
              <a:cxn ang="0">
                <a:pos x="35" y="26"/>
              </a:cxn>
            </a:cxnLst>
            <a:rect b="b" l="0" r="r" t="0"/>
            <a:pathLst>
              <a:path h="33" w="37">
                <a:moveTo>
                  <a:pt x="35" y="26"/>
                </a:moveTo>
                <a:cubicBezTo>
                  <a:pt x="35" y="23"/>
                  <a:pt x="28" y="21"/>
                  <a:pt x="28" y="17"/>
                </a:cubicBezTo>
                <a:cubicBezTo>
                  <a:pt x="28" y="14"/>
                  <a:pt x="23" y="11"/>
                  <a:pt x="24" y="8"/>
                </a:cubicBezTo>
                <a:cubicBezTo>
                  <a:pt x="24" y="6"/>
                  <a:pt x="22" y="4"/>
                  <a:pt x="21" y="2"/>
                </a:cubicBezTo>
                <a:cubicBezTo>
                  <a:pt x="18" y="1"/>
                  <a:pt x="14" y="0"/>
                  <a:pt x="11" y="1"/>
                </a:cubicBezTo>
                <a:cubicBezTo>
                  <a:pt x="7" y="1"/>
                  <a:pt x="4" y="2"/>
                  <a:pt x="0" y="3"/>
                </a:cubicBezTo>
                <a:cubicBezTo>
                  <a:pt x="2" y="6"/>
                  <a:pt x="0" y="7"/>
                  <a:pt x="2" y="12"/>
                </a:cubicBezTo>
                <a:cubicBezTo>
                  <a:pt x="4" y="17"/>
                  <a:pt x="9" y="14"/>
                  <a:pt x="11" y="16"/>
                </a:cubicBezTo>
                <a:cubicBezTo>
                  <a:pt x="11" y="16"/>
                  <a:pt x="12" y="18"/>
                  <a:pt x="13" y="20"/>
                </a:cubicBezTo>
                <a:cubicBezTo>
                  <a:pt x="13" y="20"/>
                  <a:pt x="13" y="20"/>
                  <a:pt x="14" y="20"/>
                </a:cubicBezTo>
                <a:cubicBezTo>
                  <a:pt x="16" y="20"/>
                  <a:pt x="16" y="21"/>
                  <a:pt x="17" y="22"/>
                </a:cubicBezTo>
                <a:cubicBezTo>
                  <a:pt x="19" y="23"/>
                  <a:pt x="21" y="24"/>
                  <a:pt x="22" y="25"/>
                </a:cubicBezTo>
                <a:cubicBezTo>
                  <a:pt x="24" y="25"/>
                  <a:pt x="25" y="23"/>
                  <a:pt x="28" y="27"/>
                </a:cubicBezTo>
                <a:cubicBezTo>
                  <a:pt x="30" y="29"/>
                  <a:pt x="30" y="30"/>
                  <a:pt x="30" y="33"/>
                </a:cubicBezTo>
                <a:cubicBezTo>
                  <a:pt x="33" y="33"/>
                  <a:pt x="35" y="32"/>
                  <a:pt x="37" y="31"/>
                </a:cubicBezTo>
                <a:cubicBezTo>
                  <a:pt x="36" y="29"/>
                  <a:pt x="35" y="27"/>
                  <a:pt x="35" y="26"/>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0" name="Freeform 168"/>
          <p:cNvSpPr>
            <a:spLocks noEditPoints="1"/>
          </p:cNvSpPr>
          <p:nvPr/>
        </p:nvSpPr>
        <p:spPr bwMode="auto">
          <a:xfrm>
            <a:off x="7039246" y="3353580"/>
            <a:ext cx="124238" cy="104245"/>
          </a:xfrm>
          <a:custGeom>
            <a:cxnLst>
              <a:cxn ang="0">
                <a:pos x="53" y="15"/>
              </a:cxn>
              <a:cxn ang="0">
                <a:pos x="43" y="2"/>
              </a:cxn>
              <a:cxn ang="0">
                <a:pos x="35" y="8"/>
              </a:cxn>
              <a:cxn ang="0">
                <a:pos x="30" y="8"/>
              </a:cxn>
              <a:cxn ang="0">
                <a:pos x="22" y="2"/>
              </a:cxn>
              <a:cxn ang="0">
                <a:pos x="18" y="0"/>
              </a:cxn>
              <a:cxn ang="0">
                <a:pos x="16" y="4"/>
              </a:cxn>
              <a:cxn ang="0">
                <a:pos x="20" y="9"/>
              </a:cxn>
              <a:cxn ang="0">
                <a:pos x="11" y="9"/>
              </a:cxn>
              <a:cxn ang="0">
                <a:pos x="3" y="6"/>
              </a:cxn>
              <a:cxn ang="0">
                <a:pos x="7" y="15"/>
              </a:cxn>
              <a:cxn ang="0">
                <a:pos x="11" y="24"/>
              </a:cxn>
              <a:cxn ang="0">
                <a:pos x="18" y="33"/>
              </a:cxn>
              <a:cxn ang="0">
                <a:pos x="20" y="38"/>
              </a:cxn>
              <a:cxn ang="0">
                <a:pos x="34" y="30"/>
              </a:cxn>
              <a:cxn ang="0">
                <a:pos x="36" y="40"/>
              </a:cxn>
              <a:cxn ang="0">
                <a:pos x="44" y="46"/>
              </a:cxn>
              <a:cxn ang="0">
                <a:pos x="46" y="39"/>
              </a:cxn>
              <a:cxn ang="0">
                <a:pos x="53" y="15"/>
              </a:cxn>
              <a:cxn ang="0">
                <a:pos x="5" y="32"/>
              </a:cxn>
              <a:cxn ang="0">
                <a:pos x="0" y="29"/>
              </a:cxn>
              <a:cxn ang="0">
                <a:pos x="3" y="35"/>
              </a:cxn>
              <a:cxn ang="0">
                <a:pos x="11" y="40"/>
              </a:cxn>
              <a:cxn ang="0">
                <a:pos x="13" y="40"/>
              </a:cxn>
              <a:cxn ang="0">
                <a:pos x="11" y="34"/>
              </a:cxn>
              <a:cxn ang="0">
                <a:pos x="5" y="32"/>
              </a:cxn>
            </a:cxnLst>
            <a:rect b="b" l="0" r="r" t="0"/>
            <a:pathLst>
              <a:path h="46" w="56">
                <a:moveTo>
                  <a:pt x="53" y="15"/>
                </a:moveTo>
                <a:cubicBezTo>
                  <a:pt x="51" y="13"/>
                  <a:pt x="47" y="8"/>
                  <a:pt x="43" y="2"/>
                </a:cubicBezTo>
                <a:cubicBezTo>
                  <a:pt x="41" y="6"/>
                  <a:pt x="36" y="5"/>
                  <a:pt x="35" y="8"/>
                </a:cubicBezTo>
                <a:cubicBezTo>
                  <a:pt x="34" y="10"/>
                  <a:pt x="32" y="7"/>
                  <a:pt x="30" y="8"/>
                </a:cubicBezTo>
                <a:cubicBezTo>
                  <a:pt x="29" y="8"/>
                  <a:pt x="25" y="2"/>
                  <a:pt x="22" y="2"/>
                </a:cubicBezTo>
                <a:cubicBezTo>
                  <a:pt x="21" y="1"/>
                  <a:pt x="20" y="1"/>
                  <a:pt x="18" y="0"/>
                </a:cubicBezTo>
                <a:cubicBezTo>
                  <a:pt x="17" y="2"/>
                  <a:pt x="16" y="3"/>
                  <a:pt x="16" y="4"/>
                </a:cubicBezTo>
                <a:cubicBezTo>
                  <a:pt x="17" y="6"/>
                  <a:pt x="21" y="8"/>
                  <a:pt x="20" y="9"/>
                </a:cubicBezTo>
                <a:cubicBezTo>
                  <a:pt x="18" y="11"/>
                  <a:pt x="13" y="10"/>
                  <a:pt x="11" y="9"/>
                </a:cubicBezTo>
                <a:cubicBezTo>
                  <a:pt x="9" y="7"/>
                  <a:pt x="4" y="4"/>
                  <a:pt x="3" y="6"/>
                </a:cubicBezTo>
                <a:cubicBezTo>
                  <a:pt x="2" y="8"/>
                  <a:pt x="8" y="13"/>
                  <a:pt x="7" y="15"/>
                </a:cubicBezTo>
                <a:cubicBezTo>
                  <a:pt x="6" y="18"/>
                  <a:pt x="11" y="21"/>
                  <a:pt x="11" y="24"/>
                </a:cubicBezTo>
                <a:cubicBezTo>
                  <a:pt x="11" y="28"/>
                  <a:pt x="18" y="30"/>
                  <a:pt x="18" y="33"/>
                </a:cubicBezTo>
                <a:cubicBezTo>
                  <a:pt x="18" y="34"/>
                  <a:pt x="19" y="36"/>
                  <a:pt x="20" y="38"/>
                </a:cubicBezTo>
                <a:cubicBezTo>
                  <a:pt x="26" y="36"/>
                  <a:pt x="30" y="32"/>
                  <a:pt x="34" y="30"/>
                </a:cubicBezTo>
                <a:cubicBezTo>
                  <a:pt x="39" y="27"/>
                  <a:pt x="37" y="38"/>
                  <a:pt x="36" y="40"/>
                </a:cubicBezTo>
                <a:cubicBezTo>
                  <a:pt x="35" y="41"/>
                  <a:pt x="40" y="44"/>
                  <a:pt x="44" y="46"/>
                </a:cubicBezTo>
                <a:cubicBezTo>
                  <a:pt x="44" y="43"/>
                  <a:pt x="44" y="41"/>
                  <a:pt x="46" y="39"/>
                </a:cubicBezTo>
                <a:cubicBezTo>
                  <a:pt x="52" y="32"/>
                  <a:pt x="56" y="21"/>
                  <a:pt x="53" y="15"/>
                </a:cubicBezTo>
                <a:close/>
                <a:moveTo>
                  <a:pt x="5" y="32"/>
                </a:moveTo>
                <a:cubicBezTo>
                  <a:pt x="4" y="31"/>
                  <a:pt x="2" y="30"/>
                  <a:pt x="0" y="29"/>
                </a:cubicBezTo>
                <a:cubicBezTo>
                  <a:pt x="0" y="31"/>
                  <a:pt x="0" y="34"/>
                  <a:pt x="3" y="35"/>
                </a:cubicBezTo>
                <a:cubicBezTo>
                  <a:pt x="8" y="37"/>
                  <a:pt x="1" y="38"/>
                  <a:pt x="11" y="40"/>
                </a:cubicBezTo>
                <a:cubicBezTo>
                  <a:pt x="12" y="40"/>
                  <a:pt x="12" y="40"/>
                  <a:pt x="13" y="40"/>
                </a:cubicBezTo>
                <a:cubicBezTo>
                  <a:pt x="13" y="37"/>
                  <a:pt x="13" y="36"/>
                  <a:pt x="11" y="34"/>
                </a:cubicBezTo>
                <a:cubicBezTo>
                  <a:pt x="8" y="30"/>
                  <a:pt x="7" y="32"/>
                  <a:pt x="5" y="32"/>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1" name="Freeform 169"/>
          <p:cNvSpPr/>
          <p:nvPr/>
        </p:nvSpPr>
        <p:spPr bwMode="auto">
          <a:xfrm>
            <a:off x="7437916" y="3461614"/>
            <a:ext cx="361586" cy="263454"/>
          </a:xfrm>
          <a:custGeom>
            <a:cxnLst>
              <a:cxn ang="0">
                <a:pos x="156" y="17"/>
              </a:cxn>
              <a:cxn ang="0">
                <a:pos x="152" y="13"/>
              </a:cxn>
              <a:cxn ang="0">
                <a:pos x="139" y="22"/>
              </a:cxn>
              <a:cxn ang="0">
                <a:pos x="134" y="24"/>
              </a:cxn>
              <a:cxn ang="0">
                <a:pos x="128" y="23"/>
              </a:cxn>
              <a:cxn ang="0">
                <a:pos x="128" y="10"/>
              </a:cxn>
              <a:cxn ang="0">
                <a:pos x="123" y="1"/>
              </a:cxn>
              <a:cxn ang="0">
                <a:pos x="113" y="10"/>
              </a:cxn>
              <a:cxn ang="0">
                <a:pos x="102" y="16"/>
              </a:cxn>
              <a:cxn ang="0">
                <a:pos x="91" y="19"/>
              </a:cxn>
              <a:cxn ang="0">
                <a:pos x="81" y="16"/>
              </a:cxn>
              <a:cxn ang="0">
                <a:pos x="72" y="13"/>
              </a:cxn>
              <a:cxn ang="0">
                <a:pos x="62" y="11"/>
              </a:cxn>
              <a:cxn ang="0">
                <a:pos x="53" y="17"/>
              </a:cxn>
              <a:cxn ang="0">
                <a:pos x="47" y="28"/>
              </a:cxn>
              <a:cxn ang="0">
                <a:pos x="31" y="37"/>
              </a:cxn>
              <a:cxn ang="0">
                <a:pos x="21" y="41"/>
              </a:cxn>
              <a:cxn ang="0">
                <a:pos x="13" y="38"/>
              </a:cxn>
              <a:cxn ang="0">
                <a:pos x="8" y="44"/>
              </a:cxn>
              <a:cxn ang="0">
                <a:pos x="3" y="53"/>
              </a:cxn>
              <a:cxn ang="0">
                <a:pos x="2" y="62"/>
              </a:cxn>
              <a:cxn ang="0">
                <a:pos x="2" y="74"/>
              </a:cxn>
              <a:cxn ang="0">
                <a:pos x="4" y="87"/>
              </a:cxn>
              <a:cxn ang="0">
                <a:pos x="15" y="93"/>
              </a:cxn>
              <a:cxn ang="0">
                <a:pos x="3" y="109"/>
              </a:cxn>
              <a:cxn ang="0">
                <a:pos x="6" y="113"/>
              </a:cxn>
              <a:cxn ang="0">
                <a:pos x="23" y="115"/>
              </a:cxn>
              <a:cxn ang="0">
                <a:pos x="68" y="109"/>
              </a:cxn>
              <a:cxn ang="0">
                <a:pos x="67" y="98"/>
              </a:cxn>
              <a:cxn ang="0">
                <a:pos x="76" y="93"/>
              </a:cxn>
              <a:cxn ang="0">
                <a:pos x="84" y="91"/>
              </a:cxn>
              <a:cxn ang="0">
                <a:pos x="96" y="87"/>
              </a:cxn>
              <a:cxn ang="0">
                <a:pos x="101" y="82"/>
              </a:cxn>
              <a:cxn ang="0">
                <a:pos x="105" y="70"/>
              </a:cxn>
              <a:cxn ang="0">
                <a:pos x="113" y="65"/>
              </a:cxn>
              <a:cxn ang="0">
                <a:pos x="109" y="58"/>
              </a:cxn>
              <a:cxn ang="0">
                <a:pos x="122" y="58"/>
              </a:cxn>
              <a:cxn ang="0">
                <a:pos x="123" y="49"/>
              </a:cxn>
              <a:cxn ang="0">
                <a:pos x="128" y="41"/>
              </a:cxn>
              <a:cxn ang="0">
                <a:pos x="126" y="34"/>
              </a:cxn>
              <a:cxn ang="0">
                <a:pos x="128" y="29"/>
              </a:cxn>
              <a:cxn ang="0">
                <a:pos x="129" y="28"/>
              </a:cxn>
              <a:cxn ang="0">
                <a:pos x="135" y="26"/>
              </a:cxn>
              <a:cxn ang="0">
                <a:pos x="150" y="21"/>
              </a:cxn>
              <a:cxn ang="0">
                <a:pos x="162" y="18"/>
              </a:cxn>
              <a:cxn ang="0">
                <a:pos x="156" y="17"/>
              </a:cxn>
            </a:cxnLst>
            <a:rect b="b" l="0" r="r" t="0"/>
            <a:pathLst>
              <a:path h="115" w="162">
                <a:moveTo>
                  <a:pt x="156" y="17"/>
                </a:moveTo>
                <a:cubicBezTo>
                  <a:pt x="154" y="17"/>
                  <a:pt x="154" y="15"/>
                  <a:pt x="152" y="13"/>
                </a:cubicBezTo>
                <a:cubicBezTo>
                  <a:pt x="150" y="12"/>
                  <a:pt x="144" y="18"/>
                  <a:pt x="139" y="22"/>
                </a:cubicBezTo>
                <a:cubicBezTo>
                  <a:pt x="137" y="22"/>
                  <a:pt x="135" y="23"/>
                  <a:pt x="134" y="24"/>
                </a:cubicBezTo>
                <a:cubicBezTo>
                  <a:pt x="131" y="24"/>
                  <a:pt x="129" y="24"/>
                  <a:pt x="128" y="23"/>
                </a:cubicBezTo>
                <a:cubicBezTo>
                  <a:pt x="125" y="20"/>
                  <a:pt x="132" y="12"/>
                  <a:pt x="128" y="10"/>
                </a:cubicBezTo>
                <a:cubicBezTo>
                  <a:pt x="123" y="8"/>
                  <a:pt x="127" y="1"/>
                  <a:pt x="123" y="1"/>
                </a:cubicBezTo>
                <a:cubicBezTo>
                  <a:pt x="119" y="0"/>
                  <a:pt x="113" y="7"/>
                  <a:pt x="113" y="10"/>
                </a:cubicBezTo>
                <a:cubicBezTo>
                  <a:pt x="113" y="14"/>
                  <a:pt x="102" y="13"/>
                  <a:pt x="102" y="16"/>
                </a:cubicBezTo>
                <a:cubicBezTo>
                  <a:pt x="102" y="19"/>
                  <a:pt x="92" y="15"/>
                  <a:pt x="91" y="19"/>
                </a:cubicBezTo>
                <a:cubicBezTo>
                  <a:pt x="89" y="22"/>
                  <a:pt x="84" y="16"/>
                  <a:pt x="81" y="16"/>
                </a:cubicBezTo>
                <a:cubicBezTo>
                  <a:pt x="78" y="16"/>
                  <a:pt x="76" y="12"/>
                  <a:pt x="72" y="13"/>
                </a:cubicBezTo>
                <a:cubicBezTo>
                  <a:pt x="68" y="14"/>
                  <a:pt x="65" y="12"/>
                  <a:pt x="62" y="11"/>
                </a:cubicBezTo>
                <a:cubicBezTo>
                  <a:pt x="59" y="11"/>
                  <a:pt x="57" y="18"/>
                  <a:pt x="53" y="17"/>
                </a:cubicBezTo>
                <a:cubicBezTo>
                  <a:pt x="50" y="15"/>
                  <a:pt x="48" y="23"/>
                  <a:pt x="47" y="28"/>
                </a:cubicBezTo>
                <a:cubicBezTo>
                  <a:pt x="45" y="32"/>
                  <a:pt x="30" y="32"/>
                  <a:pt x="31" y="37"/>
                </a:cubicBezTo>
                <a:cubicBezTo>
                  <a:pt x="31" y="42"/>
                  <a:pt x="22" y="44"/>
                  <a:pt x="21" y="41"/>
                </a:cubicBezTo>
                <a:cubicBezTo>
                  <a:pt x="20" y="38"/>
                  <a:pt x="14" y="39"/>
                  <a:pt x="13" y="38"/>
                </a:cubicBezTo>
                <a:cubicBezTo>
                  <a:pt x="11" y="38"/>
                  <a:pt x="7" y="39"/>
                  <a:pt x="8" y="44"/>
                </a:cubicBezTo>
                <a:cubicBezTo>
                  <a:pt x="8" y="48"/>
                  <a:pt x="4" y="51"/>
                  <a:pt x="3" y="53"/>
                </a:cubicBezTo>
                <a:cubicBezTo>
                  <a:pt x="3" y="54"/>
                  <a:pt x="0" y="60"/>
                  <a:pt x="2" y="62"/>
                </a:cubicBezTo>
                <a:cubicBezTo>
                  <a:pt x="4" y="65"/>
                  <a:pt x="0" y="70"/>
                  <a:pt x="2" y="74"/>
                </a:cubicBezTo>
                <a:cubicBezTo>
                  <a:pt x="4" y="79"/>
                  <a:pt x="3" y="86"/>
                  <a:pt x="4" y="87"/>
                </a:cubicBezTo>
                <a:cubicBezTo>
                  <a:pt x="5" y="89"/>
                  <a:pt x="13" y="88"/>
                  <a:pt x="15" y="93"/>
                </a:cubicBezTo>
                <a:cubicBezTo>
                  <a:pt x="17" y="98"/>
                  <a:pt x="4" y="107"/>
                  <a:pt x="3" y="109"/>
                </a:cubicBezTo>
                <a:cubicBezTo>
                  <a:pt x="3" y="110"/>
                  <a:pt x="4" y="112"/>
                  <a:pt x="6" y="113"/>
                </a:cubicBezTo>
                <a:cubicBezTo>
                  <a:pt x="11" y="113"/>
                  <a:pt x="17" y="114"/>
                  <a:pt x="23" y="115"/>
                </a:cubicBezTo>
                <a:cubicBezTo>
                  <a:pt x="30" y="116"/>
                  <a:pt x="68" y="111"/>
                  <a:pt x="68" y="109"/>
                </a:cubicBezTo>
                <a:cubicBezTo>
                  <a:pt x="69" y="108"/>
                  <a:pt x="67" y="100"/>
                  <a:pt x="67" y="98"/>
                </a:cubicBezTo>
                <a:cubicBezTo>
                  <a:pt x="68" y="96"/>
                  <a:pt x="72" y="92"/>
                  <a:pt x="76" y="93"/>
                </a:cubicBezTo>
                <a:cubicBezTo>
                  <a:pt x="80" y="93"/>
                  <a:pt x="84" y="94"/>
                  <a:pt x="84" y="91"/>
                </a:cubicBezTo>
                <a:cubicBezTo>
                  <a:pt x="84" y="88"/>
                  <a:pt x="95" y="84"/>
                  <a:pt x="96" y="87"/>
                </a:cubicBezTo>
                <a:cubicBezTo>
                  <a:pt x="97" y="89"/>
                  <a:pt x="101" y="88"/>
                  <a:pt x="101" y="82"/>
                </a:cubicBezTo>
                <a:cubicBezTo>
                  <a:pt x="102" y="75"/>
                  <a:pt x="101" y="70"/>
                  <a:pt x="105" y="70"/>
                </a:cubicBezTo>
                <a:cubicBezTo>
                  <a:pt x="109" y="69"/>
                  <a:pt x="113" y="67"/>
                  <a:pt x="113" y="65"/>
                </a:cubicBezTo>
                <a:cubicBezTo>
                  <a:pt x="112" y="63"/>
                  <a:pt x="108" y="59"/>
                  <a:pt x="109" y="58"/>
                </a:cubicBezTo>
                <a:cubicBezTo>
                  <a:pt x="110" y="56"/>
                  <a:pt x="120" y="61"/>
                  <a:pt x="122" y="58"/>
                </a:cubicBezTo>
                <a:cubicBezTo>
                  <a:pt x="123" y="55"/>
                  <a:pt x="121" y="52"/>
                  <a:pt x="123" y="49"/>
                </a:cubicBezTo>
                <a:cubicBezTo>
                  <a:pt x="124" y="46"/>
                  <a:pt x="128" y="44"/>
                  <a:pt x="128" y="41"/>
                </a:cubicBezTo>
                <a:cubicBezTo>
                  <a:pt x="128" y="38"/>
                  <a:pt x="128" y="37"/>
                  <a:pt x="126" y="34"/>
                </a:cubicBezTo>
                <a:cubicBezTo>
                  <a:pt x="124" y="32"/>
                  <a:pt x="125" y="29"/>
                  <a:pt x="128" y="29"/>
                </a:cubicBezTo>
                <a:cubicBezTo>
                  <a:pt x="128" y="28"/>
                  <a:pt x="129" y="28"/>
                  <a:pt x="129" y="28"/>
                </a:cubicBezTo>
                <a:cubicBezTo>
                  <a:pt x="132" y="27"/>
                  <a:pt x="134" y="27"/>
                  <a:pt x="135" y="26"/>
                </a:cubicBezTo>
                <a:cubicBezTo>
                  <a:pt x="139" y="23"/>
                  <a:pt x="147" y="20"/>
                  <a:pt x="150" y="21"/>
                </a:cubicBezTo>
                <a:cubicBezTo>
                  <a:pt x="153" y="22"/>
                  <a:pt x="158" y="21"/>
                  <a:pt x="162" y="18"/>
                </a:cubicBezTo>
                <a:cubicBezTo>
                  <a:pt x="160" y="17"/>
                  <a:pt x="157" y="16"/>
                  <a:pt x="156" y="1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2" name="Freeform 170"/>
          <p:cNvSpPr/>
          <p:nvPr/>
        </p:nvSpPr>
        <p:spPr bwMode="auto">
          <a:xfrm>
            <a:off x="7452751" y="3501417"/>
            <a:ext cx="415359" cy="382860"/>
          </a:xfrm>
          <a:custGeom>
            <a:cxnLst>
              <a:cxn ang="0">
                <a:pos x="172" y="9"/>
              </a:cxn>
              <a:cxn ang="0">
                <a:pos x="158" y="1"/>
              </a:cxn>
              <a:cxn ang="0">
                <a:pos x="144" y="3"/>
              </a:cxn>
              <a:cxn ang="0">
                <a:pos x="123" y="10"/>
              </a:cxn>
              <a:cxn ang="0">
                <a:pos x="120" y="16"/>
              </a:cxn>
              <a:cxn ang="0">
                <a:pos x="117" y="31"/>
              </a:cxn>
              <a:cxn ang="0">
                <a:pos x="103" y="40"/>
              </a:cxn>
              <a:cxn ang="0">
                <a:pos x="99" y="52"/>
              </a:cxn>
              <a:cxn ang="0">
                <a:pos x="90" y="69"/>
              </a:cxn>
              <a:cxn ang="0">
                <a:pos x="70" y="75"/>
              </a:cxn>
              <a:cxn ang="0">
                <a:pos x="62" y="91"/>
              </a:cxn>
              <a:cxn ang="0">
                <a:pos x="0" y="95"/>
              </a:cxn>
              <a:cxn ang="0">
                <a:pos x="17" y="111"/>
              </a:cxn>
              <a:cxn ang="0">
                <a:pos x="25" y="132"/>
              </a:cxn>
              <a:cxn ang="0">
                <a:pos x="7" y="146"/>
              </a:cxn>
              <a:cxn ang="0">
                <a:pos x="29" y="148"/>
              </a:cxn>
              <a:cxn ang="0">
                <a:pos x="55" y="146"/>
              </a:cxn>
              <a:cxn ang="0">
                <a:pos x="70" y="155"/>
              </a:cxn>
              <a:cxn ang="0">
                <a:pos x="82" y="167"/>
              </a:cxn>
              <a:cxn ang="0">
                <a:pos x="84" y="167"/>
              </a:cxn>
              <a:cxn ang="0">
                <a:pos x="105" y="160"/>
              </a:cxn>
              <a:cxn ang="0">
                <a:pos x="110" y="147"/>
              </a:cxn>
              <a:cxn ang="0">
                <a:pos x="98" y="128"/>
              </a:cxn>
              <a:cxn ang="0">
                <a:pos x="114" y="118"/>
              </a:cxn>
              <a:cxn ang="0">
                <a:pos x="128" y="109"/>
              </a:cxn>
              <a:cxn ang="0">
                <a:pos x="142" y="91"/>
              </a:cxn>
              <a:cxn ang="0">
                <a:pos x="154" y="80"/>
              </a:cxn>
              <a:cxn ang="0">
                <a:pos x="162" y="63"/>
              </a:cxn>
              <a:cxn ang="0">
                <a:pos x="150" y="47"/>
              </a:cxn>
              <a:cxn ang="0">
                <a:pos x="154" y="30"/>
              </a:cxn>
              <a:cxn ang="0">
                <a:pos x="182" y="29"/>
              </a:cxn>
              <a:cxn ang="0">
                <a:pos x="177" y="17"/>
              </a:cxn>
            </a:cxnLst>
            <a:rect b="b" l="0" r="r" t="0"/>
            <a:pathLst>
              <a:path h="168" w="186">
                <a:moveTo>
                  <a:pt x="177" y="17"/>
                </a:moveTo>
                <a:cubicBezTo>
                  <a:pt x="172" y="15"/>
                  <a:pt x="172" y="10"/>
                  <a:pt x="172" y="9"/>
                </a:cubicBezTo>
                <a:cubicBezTo>
                  <a:pt x="172" y="7"/>
                  <a:pt x="166" y="4"/>
                  <a:pt x="161" y="0"/>
                </a:cubicBezTo>
                <a:cubicBezTo>
                  <a:pt x="161" y="1"/>
                  <a:pt x="159" y="1"/>
                  <a:pt x="158" y="1"/>
                </a:cubicBezTo>
                <a:cubicBezTo>
                  <a:pt x="157" y="1"/>
                  <a:pt x="157" y="0"/>
                  <a:pt x="156" y="0"/>
                </a:cubicBezTo>
                <a:cubicBezTo>
                  <a:pt x="152" y="3"/>
                  <a:pt x="147" y="4"/>
                  <a:pt x="144" y="3"/>
                </a:cubicBezTo>
                <a:cubicBezTo>
                  <a:pt x="141" y="2"/>
                  <a:pt x="133" y="5"/>
                  <a:pt x="129" y="8"/>
                </a:cubicBezTo>
                <a:cubicBezTo>
                  <a:pt x="128" y="9"/>
                  <a:pt x="126" y="9"/>
                  <a:pt x="123" y="10"/>
                </a:cubicBezTo>
                <a:cubicBezTo>
                  <a:pt x="123" y="10"/>
                  <a:pt x="122" y="10"/>
                  <a:pt x="122" y="11"/>
                </a:cubicBezTo>
                <a:cubicBezTo>
                  <a:pt x="119" y="11"/>
                  <a:pt x="118" y="14"/>
                  <a:pt x="120" y="16"/>
                </a:cubicBezTo>
                <a:cubicBezTo>
                  <a:pt x="122" y="19"/>
                  <a:pt x="122" y="20"/>
                  <a:pt x="122" y="23"/>
                </a:cubicBezTo>
                <a:cubicBezTo>
                  <a:pt x="122" y="26"/>
                  <a:pt x="118" y="28"/>
                  <a:pt x="117" y="31"/>
                </a:cubicBezTo>
                <a:cubicBezTo>
                  <a:pt x="115" y="34"/>
                  <a:pt x="117" y="37"/>
                  <a:pt x="116" y="40"/>
                </a:cubicBezTo>
                <a:cubicBezTo>
                  <a:pt x="114" y="43"/>
                  <a:pt x="104" y="38"/>
                  <a:pt x="103" y="40"/>
                </a:cubicBezTo>
                <a:cubicBezTo>
                  <a:pt x="102" y="41"/>
                  <a:pt x="106" y="45"/>
                  <a:pt x="107" y="47"/>
                </a:cubicBezTo>
                <a:cubicBezTo>
                  <a:pt x="107" y="49"/>
                  <a:pt x="103" y="51"/>
                  <a:pt x="99" y="52"/>
                </a:cubicBezTo>
                <a:cubicBezTo>
                  <a:pt x="95" y="52"/>
                  <a:pt x="96" y="57"/>
                  <a:pt x="95" y="64"/>
                </a:cubicBezTo>
                <a:cubicBezTo>
                  <a:pt x="95" y="70"/>
                  <a:pt x="91" y="71"/>
                  <a:pt x="90" y="69"/>
                </a:cubicBezTo>
                <a:cubicBezTo>
                  <a:pt x="89" y="66"/>
                  <a:pt x="78" y="70"/>
                  <a:pt x="78" y="73"/>
                </a:cubicBezTo>
                <a:cubicBezTo>
                  <a:pt x="78" y="76"/>
                  <a:pt x="74" y="75"/>
                  <a:pt x="70" y="75"/>
                </a:cubicBezTo>
                <a:cubicBezTo>
                  <a:pt x="66" y="74"/>
                  <a:pt x="62" y="78"/>
                  <a:pt x="61" y="80"/>
                </a:cubicBezTo>
                <a:cubicBezTo>
                  <a:pt x="61" y="82"/>
                  <a:pt x="63" y="90"/>
                  <a:pt x="62" y="91"/>
                </a:cubicBezTo>
                <a:cubicBezTo>
                  <a:pt x="62" y="93"/>
                  <a:pt x="24" y="98"/>
                  <a:pt x="17" y="97"/>
                </a:cubicBezTo>
                <a:cubicBezTo>
                  <a:pt x="11" y="96"/>
                  <a:pt x="5" y="95"/>
                  <a:pt x="0" y="95"/>
                </a:cubicBezTo>
                <a:cubicBezTo>
                  <a:pt x="2" y="97"/>
                  <a:pt x="4" y="99"/>
                  <a:pt x="5" y="101"/>
                </a:cubicBezTo>
                <a:cubicBezTo>
                  <a:pt x="6" y="105"/>
                  <a:pt x="11" y="109"/>
                  <a:pt x="17" y="111"/>
                </a:cubicBezTo>
                <a:cubicBezTo>
                  <a:pt x="22" y="113"/>
                  <a:pt x="19" y="122"/>
                  <a:pt x="22" y="123"/>
                </a:cubicBezTo>
                <a:cubicBezTo>
                  <a:pt x="25" y="124"/>
                  <a:pt x="28" y="131"/>
                  <a:pt x="25" y="132"/>
                </a:cubicBezTo>
                <a:cubicBezTo>
                  <a:pt x="21" y="132"/>
                  <a:pt x="18" y="133"/>
                  <a:pt x="14" y="135"/>
                </a:cubicBezTo>
                <a:cubicBezTo>
                  <a:pt x="11" y="137"/>
                  <a:pt x="7" y="141"/>
                  <a:pt x="7" y="146"/>
                </a:cubicBezTo>
                <a:cubicBezTo>
                  <a:pt x="7" y="147"/>
                  <a:pt x="7" y="148"/>
                  <a:pt x="7" y="149"/>
                </a:cubicBezTo>
                <a:cubicBezTo>
                  <a:pt x="17" y="149"/>
                  <a:pt x="27" y="149"/>
                  <a:pt x="29" y="148"/>
                </a:cubicBezTo>
                <a:cubicBezTo>
                  <a:pt x="30" y="146"/>
                  <a:pt x="35" y="145"/>
                  <a:pt x="37" y="146"/>
                </a:cubicBezTo>
                <a:cubicBezTo>
                  <a:pt x="40" y="148"/>
                  <a:pt x="51" y="149"/>
                  <a:pt x="55" y="146"/>
                </a:cubicBezTo>
                <a:cubicBezTo>
                  <a:pt x="61" y="143"/>
                  <a:pt x="64" y="146"/>
                  <a:pt x="64" y="149"/>
                </a:cubicBezTo>
                <a:cubicBezTo>
                  <a:pt x="65" y="152"/>
                  <a:pt x="67" y="153"/>
                  <a:pt x="70" y="155"/>
                </a:cubicBezTo>
                <a:cubicBezTo>
                  <a:pt x="72" y="157"/>
                  <a:pt x="70" y="160"/>
                  <a:pt x="72" y="163"/>
                </a:cubicBezTo>
                <a:cubicBezTo>
                  <a:pt x="74" y="165"/>
                  <a:pt x="77" y="165"/>
                  <a:pt x="82" y="167"/>
                </a:cubicBezTo>
                <a:cubicBezTo>
                  <a:pt x="82" y="167"/>
                  <a:pt x="83" y="168"/>
                  <a:pt x="83" y="168"/>
                </a:cubicBezTo>
                <a:cubicBezTo>
                  <a:pt x="84" y="168"/>
                  <a:pt x="84" y="168"/>
                  <a:pt x="84" y="167"/>
                </a:cubicBezTo>
                <a:cubicBezTo>
                  <a:pt x="87" y="164"/>
                  <a:pt x="87" y="159"/>
                  <a:pt x="94" y="160"/>
                </a:cubicBezTo>
                <a:cubicBezTo>
                  <a:pt x="102" y="162"/>
                  <a:pt x="101" y="159"/>
                  <a:pt x="105" y="160"/>
                </a:cubicBezTo>
                <a:cubicBezTo>
                  <a:pt x="109" y="161"/>
                  <a:pt x="112" y="160"/>
                  <a:pt x="114" y="158"/>
                </a:cubicBezTo>
                <a:cubicBezTo>
                  <a:pt x="115" y="155"/>
                  <a:pt x="112" y="150"/>
                  <a:pt x="110" y="147"/>
                </a:cubicBezTo>
                <a:cubicBezTo>
                  <a:pt x="107" y="145"/>
                  <a:pt x="104" y="140"/>
                  <a:pt x="105" y="136"/>
                </a:cubicBezTo>
                <a:cubicBezTo>
                  <a:pt x="105" y="131"/>
                  <a:pt x="98" y="131"/>
                  <a:pt x="98" y="128"/>
                </a:cubicBezTo>
                <a:cubicBezTo>
                  <a:pt x="98" y="124"/>
                  <a:pt x="105" y="118"/>
                  <a:pt x="106" y="117"/>
                </a:cubicBezTo>
                <a:cubicBezTo>
                  <a:pt x="107" y="116"/>
                  <a:pt x="113" y="121"/>
                  <a:pt x="114" y="118"/>
                </a:cubicBezTo>
                <a:cubicBezTo>
                  <a:pt x="116" y="115"/>
                  <a:pt x="120" y="117"/>
                  <a:pt x="122" y="117"/>
                </a:cubicBezTo>
                <a:cubicBezTo>
                  <a:pt x="124" y="118"/>
                  <a:pt x="128" y="113"/>
                  <a:pt x="128" y="109"/>
                </a:cubicBezTo>
                <a:cubicBezTo>
                  <a:pt x="129" y="105"/>
                  <a:pt x="136" y="105"/>
                  <a:pt x="138" y="103"/>
                </a:cubicBezTo>
                <a:cubicBezTo>
                  <a:pt x="139" y="102"/>
                  <a:pt x="141" y="93"/>
                  <a:pt x="142" y="91"/>
                </a:cubicBezTo>
                <a:cubicBezTo>
                  <a:pt x="143" y="89"/>
                  <a:pt x="149" y="91"/>
                  <a:pt x="149" y="86"/>
                </a:cubicBezTo>
                <a:cubicBezTo>
                  <a:pt x="149" y="81"/>
                  <a:pt x="151" y="80"/>
                  <a:pt x="154" y="80"/>
                </a:cubicBezTo>
                <a:cubicBezTo>
                  <a:pt x="157" y="79"/>
                  <a:pt x="156" y="75"/>
                  <a:pt x="156" y="71"/>
                </a:cubicBezTo>
                <a:cubicBezTo>
                  <a:pt x="157" y="68"/>
                  <a:pt x="159" y="64"/>
                  <a:pt x="162" y="63"/>
                </a:cubicBezTo>
                <a:cubicBezTo>
                  <a:pt x="166" y="62"/>
                  <a:pt x="161" y="57"/>
                  <a:pt x="157" y="58"/>
                </a:cubicBezTo>
                <a:cubicBezTo>
                  <a:pt x="153" y="59"/>
                  <a:pt x="150" y="47"/>
                  <a:pt x="150" y="47"/>
                </a:cubicBezTo>
                <a:cubicBezTo>
                  <a:pt x="150" y="47"/>
                  <a:pt x="151" y="38"/>
                  <a:pt x="148" y="36"/>
                </a:cubicBezTo>
                <a:cubicBezTo>
                  <a:pt x="146" y="35"/>
                  <a:pt x="149" y="30"/>
                  <a:pt x="154" y="30"/>
                </a:cubicBezTo>
                <a:cubicBezTo>
                  <a:pt x="159" y="30"/>
                  <a:pt x="168" y="36"/>
                  <a:pt x="171" y="33"/>
                </a:cubicBezTo>
                <a:cubicBezTo>
                  <a:pt x="174" y="31"/>
                  <a:pt x="180" y="30"/>
                  <a:pt x="182" y="29"/>
                </a:cubicBezTo>
                <a:cubicBezTo>
                  <a:pt x="183" y="28"/>
                  <a:pt x="185" y="24"/>
                  <a:pt x="186" y="22"/>
                </a:cubicBezTo>
                <a:cubicBezTo>
                  <a:pt x="184" y="21"/>
                  <a:pt x="181" y="19"/>
                  <a:pt x="177" y="1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3" name="Freeform 171"/>
          <p:cNvSpPr>
            <a:spLocks noEditPoints="1"/>
          </p:cNvSpPr>
          <p:nvPr/>
        </p:nvSpPr>
        <p:spPr bwMode="auto">
          <a:xfrm>
            <a:off x="8285324" y="4358114"/>
            <a:ext cx="1158928" cy="430244"/>
          </a:xfrm>
          <a:custGeom>
            <a:cxnLst>
              <a:cxn ang="0">
                <a:pos x="38" y="80"/>
              </a:cxn>
              <a:cxn ang="0">
                <a:pos x="147" y="101"/>
              </a:cxn>
              <a:cxn ang="0">
                <a:pos x="22" y="52"/>
              </a:cxn>
              <a:cxn ang="0">
                <a:pos x="278" y="134"/>
              </a:cxn>
              <a:cxn ang="0">
                <a:pos x="290" y="107"/>
              </a:cxn>
              <a:cxn ang="0">
                <a:pos x="306" y="111"/>
              </a:cxn>
              <a:cxn ang="0">
                <a:pos x="317" y="76"/>
              </a:cxn>
              <a:cxn ang="0">
                <a:pos x="318" y="63"/>
              </a:cxn>
              <a:cxn ang="0">
                <a:pos x="297" y="53"/>
              </a:cxn>
              <a:cxn ang="0">
                <a:pos x="266" y="97"/>
              </a:cxn>
              <a:cxn ang="0">
                <a:pos x="123" y="106"/>
              </a:cxn>
              <a:cxn ang="0">
                <a:pos x="118" y="87"/>
              </a:cxn>
              <a:cxn ang="0">
                <a:pos x="114" y="95"/>
              </a:cxn>
              <a:cxn ang="0">
                <a:pos x="95" y="71"/>
              </a:cxn>
              <a:cxn ang="0">
                <a:pos x="78" y="50"/>
              </a:cxn>
              <a:cxn ang="0">
                <a:pos x="52" y="34"/>
              </a:cxn>
              <a:cxn ang="0">
                <a:pos x="2" y="5"/>
              </a:cxn>
              <a:cxn ang="0">
                <a:pos x="45" y="65"/>
              </a:cxn>
              <a:cxn ang="0">
                <a:pos x="99" y="128"/>
              </a:cxn>
              <a:cxn ang="0">
                <a:pos x="121" y="117"/>
              </a:cxn>
              <a:cxn ang="0">
                <a:pos x="373" y="53"/>
              </a:cxn>
              <a:cxn ang="0">
                <a:pos x="376" y="64"/>
              </a:cxn>
              <a:cxn ang="0">
                <a:pos x="348" y="106"/>
              </a:cxn>
              <a:cxn ang="0">
                <a:pos x="277" y="167"/>
              </a:cxn>
              <a:cxn ang="0">
                <a:pos x="322" y="162"/>
              </a:cxn>
              <a:cxn ang="0">
                <a:pos x="387" y="107"/>
              </a:cxn>
              <a:cxn ang="0">
                <a:pos x="218" y="158"/>
              </a:cxn>
              <a:cxn ang="0">
                <a:pos x="196" y="147"/>
              </a:cxn>
              <a:cxn ang="0">
                <a:pos x="122" y="138"/>
              </a:cxn>
              <a:cxn ang="0">
                <a:pos x="131" y="153"/>
              </a:cxn>
              <a:cxn ang="0">
                <a:pos x="201" y="164"/>
              </a:cxn>
              <a:cxn ang="0">
                <a:pos x="218" y="158"/>
              </a:cxn>
              <a:cxn ang="0">
                <a:pos x="452" y="106"/>
              </a:cxn>
              <a:cxn ang="0">
                <a:pos x="404" y="82"/>
              </a:cxn>
              <a:cxn ang="0">
                <a:pos x="435" y="94"/>
              </a:cxn>
              <a:cxn ang="0">
                <a:pos x="417" y="101"/>
              </a:cxn>
              <a:cxn ang="0">
                <a:pos x="444" y="114"/>
              </a:cxn>
              <a:cxn ang="0">
                <a:pos x="492" y="143"/>
              </a:cxn>
              <a:cxn ang="0">
                <a:pos x="507" y="161"/>
              </a:cxn>
              <a:cxn ang="0">
                <a:pos x="480" y="86"/>
              </a:cxn>
              <a:cxn ang="0">
                <a:pos x="330" y="175"/>
              </a:cxn>
              <a:cxn ang="0">
                <a:pos x="336" y="177"/>
              </a:cxn>
              <a:cxn ang="0">
                <a:pos x="339" y="174"/>
              </a:cxn>
              <a:cxn ang="0">
                <a:pos x="250" y="67"/>
              </a:cxn>
              <a:cxn ang="0">
                <a:pos x="255" y="39"/>
              </a:cxn>
              <a:cxn ang="0">
                <a:pos x="254" y="20"/>
              </a:cxn>
              <a:cxn ang="0">
                <a:pos x="225" y="36"/>
              </a:cxn>
              <a:cxn ang="0">
                <a:pos x="201" y="51"/>
              </a:cxn>
              <a:cxn ang="0">
                <a:pos x="165" y="52"/>
              </a:cxn>
              <a:cxn ang="0">
                <a:pos x="153" y="61"/>
              </a:cxn>
              <a:cxn ang="0">
                <a:pos x="180" y="103"/>
              </a:cxn>
              <a:cxn ang="0">
                <a:pos x="218" y="112"/>
              </a:cxn>
              <a:cxn ang="0">
                <a:pos x="268" y="178"/>
              </a:cxn>
              <a:cxn ang="0">
                <a:pos x="268" y="178"/>
              </a:cxn>
              <a:cxn ang="0">
                <a:pos x="236" y="169"/>
              </a:cxn>
              <a:cxn ang="0">
                <a:pos x="251" y="161"/>
              </a:cxn>
            </a:cxnLst>
            <a:rect b="b" l="0" r="r" t="0"/>
            <a:pathLst>
              <a:path h="189" w="519">
                <a:moveTo>
                  <a:pt x="38" y="80"/>
                </a:moveTo>
                <a:cubicBezTo>
                  <a:pt x="37" y="82"/>
                  <a:pt x="41" y="89"/>
                  <a:pt x="43" y="87"/>
                </a:cubicBezTo>
                <a:cubicBezTo>
                  <a:pt x="46" y="85"/>
                  <a:pt x="40" y="75"/>
                  <a:pt x="38" y="80"/>
                </a:cubicBezTo>
                <a:close/>
                <a:moveTo>
                  <a:pt x="147" y="101"/>
                </a:moveTo>
                <a:cubicBezTo>
                  <a:pt x="147" y="98"/>
                  <a:pt x="138" y="99"/>
                  <a:pt x="141" y="103"/>
                </a:cubicBezTo>
                <a:cubicBezTo>
                  <a:pt x="144" y="108"/>
                  <a:pt x="147" y="104"/>
                  <a:pt x="147" y="101"/>
                </a:cubicBezTo>
                <a:close/>
                <a:moveTo>
                  <a:pt x="22" y="52"/>
                </a:moveTo>
                <a:cubicBezTo>
                  <a:pt x="21" y="55"/>
                  <a:pt x="25" y="65"/>
                  <a:pt x="29" y="61"/>
                </a:cubicBezTo>
                <a:cubicBezTo>
                  <a:pt x="33" y="57"/>
                  <a:pt x="22" y="48"/>
                  <a:pt x="22" y="52"/>
                </a:cubicBezTo>
                <a:close/>
                <a:moveTo>
                  <a:pt x="273" y="109"/>
                </a:moveTo>
                <a:cubicBezTo>
                  <a:pt x="278" y="109"/>
                  <a:pt x="278" y="116"/>
                  <a:pt x="277" y="121"/>
                </a:cubicBezTo>
                <a:cubicBezTo>
                  <a:pt x="276" y="125"/>
                  <a:pt x="274" y="135"/>
                  <a:pt x="278" y="134"/>
                </a:cubicBezTo>
                <a:cubicBezTo>
                  <a:pt x="283" y="132"/>
                  <a:pt x="287" y="125"/>
                  <a:pt x="284" y="123"/>
                </a:cubicBezTo>
                <a:cubicBezTo>
                  <a:pt x="281" y="120"/>
                  <a:pt x="281" y="106"/>
                  <a:pt x="282" y="102"/>
                </a:cubicBezTo>
                <a:cubicBezTo>
                  <a:pt x="284" y="98"/>
                  <a:pt x="293" y="101"/>
                  <a:pt x="290" y="107"/>
                </a:cubicBezTo>
                <a:cubicBezTo>
                  <a:pt x="287" y="112"/>
                  <a:pt x="295" y="112"/>
                  <a:pt x="295" y="118"/>
                </a:cubicBezTo>
                <a:cubicBezTo>
                  <a:pt x="295" y="124"/>
                  <a:pt x="300" y="121"/>
                  <a:pt x="306" y="119"/>
                </a:cubicBezTo>
                <a:cubicBezTo>
                  <a:pt x="311" y="118"/>
                  <a:pt x="310" y="115"/>
                  <a:pt x="306" y="111"/>
                </a:cubicBezTo>
                <a:cubicBezTo>
                  <a:pt x="303" y="107"/>
                  <a:pt x="309" y="101"/>
                  <a:pt x="304" y="98"/>
                </a:cubicBezTo>
                <a:cubicBezTo>
                  <a:pt x="299" y="94"/>
                  <a:pt x="296" y="89"/>
                  <a:pt x="300" y="88"/>
                </a:cubicBezTo>
                <a:cubicBezTo>
                  <a:pt x="305" y="87"/>
                  <a:pt x="319" y="79"/>
                  <a:pt x="317" y="76"/>
                </a:cubicBezTo>
                <a:cubicBezTo>
                  <a:pt x="316" y="73"/>
                  <a:pt x="296" y="77"/>
                  <a:pt x="294" y="83"/>
                </a:cubicBezTo>
                <a:cubicBezTo>
                  <a:pt x="293" y="89"/>
                  <a:pt x="279" y="82"/>
                  <a:pt x="280" y="72"/>
                </a:cubicBezTo>
                <a:cubicBezTo>
                  <a:pt x="282" y="61"/>
                  <a:pt x="310" y="60"/>
                  <a:pt x="318" y="63"/>
                </a:cubicBezTo>
                <a:cubicBezTo>
                  <a:pt x="326" y="67"/>
                  <a:pt x="334" y="57"/>
                  <a:pt x="337" y="52"/>
                </a:cubicBezTo>
                <a:cubicBezTo>
                  <a:pt x="340" y="46"/>
                  <a:pt x="331" y="53"/>
                  <a:pt x="325" y="56"/>
                </a:cubicBezTo>
                <a:cubicBezTo>
                  <a:pt x="320" y="60"/>
                  <a:pt x="305" y="56"/>
                  <a:pt x="297" y="53"/>
                </a:cubicBezTo>
                <a:cubicBezTo>
                  <a:pt x="289" y="51"/>
                  <a:pt x="290" y="58"/>
                  <a:pt x="283" y="59"/>
                </a:cubicBezTo>
                <a:cubicBezTo>
                  <a:pt x="277" y="60"/>
                  <a:pt x="278" y="74"/>
                  <a:pt x="275" y="76"/>
                </a:cubicBezTo>
                <a:cubicBezTo>
                  <a:pt x="272" y="77"/>
                  <a:pt x="272" y="88"/>
                  <a:pt x="266" y="97"/>
                </a:cubicBezTo>
                <a:cubicBezTo>
                  <a:pt x="260" y="107"/>
                  <a:pt x="268" y="108"/>
                  <a:pt x="273" y="109"/>
                </a:cubicBezTo>
                <a:close/>
                <a:moveTo>
                  <a:pt x="121" y="117"/>
                </a:moveTo>
                <a:cubicBezTo>
                  <a:pt x="121" y="113"/>
                  <a:pt x="123" y="108"/>
                  <a:pt x="123" y="106"/>
                </a:cubicBezTo>
                <a:cubicBezTo>
                  <a:pt x="123" y="103"/>
                  <a:pt x="124" y="102"/>
                  <a:pt x="127" y="103"/>
                </a:cubicBezTo>
                <a:cubicBezTo>
                  <a:pt x="130" y="104"/>
                  <a:pt x="130" y="97"/>
                  <a:pt x="128" y="96"/>
                </a:cubicBezTo>
                <a:cubicBezTo>
                  <a:pt x="125" y="95"/>
                  <a:pt x="124" y="87"/>
                  <a:pt x="118" y="87"/>
                </a:cubicBezTo>
                <a:cubicBezTo>
                  <a:pt x="113" y="87"/>
                  <a:pt x="114" y="92"/>
                  <a:pt x="117" y="92"/>
                </a:cubicBezTo>
                <a:cubicBezTo>
                  <a:pt x="120" y="92"/>
                  <a:pt x="122" y="95"/>
                  <a:pt x="121" y="97"/>
                </a:cubicBezTo>
                <a:cubicBezTo>
                  <a:pt x="120" y="100"/>
                  <a:pt x="119" y="95"/>
                  <a:pt x="114" y="95"/>
                </a:cubicBezTo>
                <a:cubicBezTo>
                  <a:pt x="110" y="96"/>
                  <a:pt x="113" y="90"/>
                  <a:pt x="107" y="89"/>
                </a:cubicBezTo>
                <a:cubicBezTo>
                  <a:pt x="102" y="89"/>
                  <a:pt x="103" y="79"/>
                  <a:pt x="97" y="79"/>
                </a:cubicBezTo>
                <a:cubicBezTo>
                  <a:pt x="92" y="79"/>
                  <a:pt x="91" y="75"/>
                  <a:pt x="95" y="71"/>
                </a:cubicBezTo>
                <a:cubicBezTo>
                  <a:pt x="99" y="68"/>
                  <a:pt x="89" y="65"/>
                  <a:pt x="89" y="61"/>
                </a:cubicBezTo>
                <a:cubicBezTo>
                  <a:pt x="89" y="57"/>
                  <a:pt x="83" y="59"/>
                  <a:pt x="83" y="56"/>
                </a:cubicBezTo>
                <a:cubicBezTo>
                  <a:pt x="83" y="53"/>
                  <a:pt x="81" y="54"/>
                  <a:pt x="78" y="50"/>
                </a:cubicBezTo>
                <a:cubicBezTo>
                  <a:pt x="75" y="46"/>
                  <a:pt x="73" y="50"/>
                  <a:pt x="71" y="47"/>
                </a:cubicBezTo>
                <a:cubicBezTo>
                  <a:pt x="68" y="44"/>
                  <a:pt x="64" y="42"/>
                  <a:pt x="62" y="43"/>
                </a:cubicBezTo>
                <a:cubicBezTo>
                  <a:pt x="60" y="44"/>
                  <a:pt x="54" y="39"/>
                  <a:pt x="52" y="34"/>
                </a:cubicBezTo>
                <a:cubicBezTo>
                  <a:pt x="51" y="29"/>
                  <a:pt x="35" y="22"/>
                  <a:pt x="33" y="17"/>
                </a:cubicBezTo>
                <a:cubicBezTo>
                  <a:pt x="31" y="11"/>
                  <a:pt x="26" y="9"/>
                  <a:pt x="17" y="9"/>
                </a:cubicBezTo>
                <a:cubicBezTo>
                  <a:pt x="8" y="9"/>
                  <a:pt x="4" y="0"/>
                  <a:pt x="2" y="5"/>
                </a:cubicBezTo>
                <a:cubicBezTo>
                  <a:pt x="0" y="10"/>
                  <a:pt x="12" y="23"/>
                  <a:pt x="18" y="26"/>
                </a:cubicBezTo>
                <a:cubicBezTo>
                  <a:pt x="23" y="30"/>
                  <a:pt x="26" y="42"/>
                  <a:pt x="33" y="42"/>
                </a:cubicBezTo>
                <a:cubicBezTo>
                  <a:pt x="40" y="43"/>
                  <a:pt x="40" y="64"/>
                  <a:pt x="45" y="65"/>
                </a:cubicBezTo>
                <a:cubicBezTo>
                  <a:pt x="50" y="66"/>
                  <a:pt x="61" y="82"/>
                  <a:pt x="63" y="91"/>
                </a:cubicBezTo>
                <a:cubicBezTo>
                  <a:pt x="64" y="100"/>
                  <a:pt x="75" y="104"/>
                  <a:pt x="79" y="110"/>
                </a:cubicBezTo>
                <a:cubicBezTo>
                  <a:pt x="83" y="117"/>
                  <a:pt x="97" y="125"/>
                  <a:pt x="99" y="128"/>
                </a:cubicBezTo>
                <a:cubicBezTo>
                  <a:pt x="101" y="131"/>
                  <a:pt x="103" y="137"/>
                  <a:pt x="105" y="134"/>
                </a:cubicBezTo>
                <a:cubicBezTo>
                  <a:pt x="107" y="131"/>
                  <a:pt x="114" y="134"/>
                  <a:pt x="117" y="134"/>
                </a:cubicBezTo>
                <a:cubicBezTo>
                  <a:pt x="120" y="134"/>
                  <a:pt x="121" y="122"/>
                  <a:pt x="121" y="117"/>
                </a:cubicBezTo>
                <a:close/>
                <a:moveTo>
                  <a:pt x="376" y="64"/>
                </a:moveTo>
                <a:cubicBezTo>
                  <a:pt x="383" y="65"/>
                  <a:pt x="380" y="60"/>
                  <a:pt x="380" y="56"/>
                </a:cubicBezTo>
                <a:cubicBezTo>
                  <a:pt x="380" y="51"/>
                  <a:pt x="373" y="55"/>
                  <a:pt x="373" y="53"/>
                </a:cubicBezTo>
                <a:cubicBezTo>
                  <a:pt x="373" y="50"/>
                  <a:pt x="371" y="41"/>
                  <a:pt x="365" y="48"/>
                </a:cubicBezTo>
                <a:cubicBezTo>
                  <a:pt x="360" y="56"/>
                  <a:pt x="367" y="74"/>
                  <a:pt x="371" y="73"/>
                </a:cubicBezTo>
                <a:cubicBezTo>
                  <a:pt x="375" y="72"/>
                  <a:pt x="368" y="63"/>
                  <a:pt x="376" y="64"/>
                </a:cubicBezTo>
                <a:close/>
                <a:moveTo>
                  <a:pt x="348" y="106"/>
                </a:moveTo>
                <a:cubicBezTo>
                  <a:pt x="350" y="111"/>
                  <a:pt x="359" y="114"/>
                  <a:pt x="362" y="109"/>
                </a:cubicBezTo>
                <a:cubicBezTo>
                  <a:pt x="365" y="105"/>
                  <a:pt x="347" y="99"/>
                  <a:pt x="348" y="106"/>
                </a:cubicBezTo>
                <a:close/>
                <a:moveTo>
                  <a:pt x="322" y="162"/>
                </a:moveTo>
                <a:cubicBezTo>
                  <a:pt x="313" y="161"/>
                  <a:pt x="307" y="167"/>
                  <a:pt x="298" y="164"/>
                </a:cubicBezTo>
                <a:cubicBezTo>
                  <a:pt x="289" y="161"/>
                  <a:pt x="276" y="164"/>
                  <a:pt x="277" y="167"/>
                </a:cubicBezTo>
                <a:cubicBezTo>
                  <a:pt x="278" y="170"/>
                  <a:pt x="286" y="170"/>
                  <a:pt x="295" y="170"/>
                </a:cubicBezTo>
                <a:cubicBezTo>
                  <a:pt x="304" y="171"/>
                  <a:pt x="312" y="166"/>
                  <a:pt x="318" y="165"/>
                </a:cubicBezTo>
                <a:cubicBezTo>
                  <a:pt x="324" y="165"/>
                  <a:pt x="331" y="163"/>
                  <a:pt x="322" y="162"/>
                </a:cubicBezTo>
                <a:close/>
                <a:moveTo>
                  <a:pt x="393" y="101"/>
                </a:moveTo>
                <a:cubicBezTo>
                  <a:pt x="385" y="98"/>
                  <a:pt x="370" y="100"/>
                  <a:pt x="371" y="105"/>
                </a:cubicBezTo>
                <a:cubicBezTo>
                  <a:pt x="373" y="109"/>
                  <a:pt x="380" y="107"/>
                  <a:pt x="387" y="107"/>
                </a:cubicBezTo>
                <a:cubicBezTo>
                  <a:pt x="394" y="107"/>
                  <a:pt x="397" y="112"/>
                  <a:pt x="401" y="112"/>
                </a:cubicBezTo>
                <a:cubicBezTo>
                  <a:pt x="405" y="112"/>
                  <a:pt x="402" y="104"/>
                  <a:pt x="393" y="101"/>
                </a:cubicBezTo>
                <a:close/>
                <a:moveTo>
                  <a:pt x="218" y="158"/>
                </a:moveTo>
                <a:cubicBezTo>
                  <a:pt x="217" y="154"/>
                  <a:pt x="204" y="158"/>
                  <a:pt x="198" y="155"/>
                </a:cubicBezTo>
                <a:cubicBezTo>
                  <a:pt x="192" y="153"/>
                  <a:pt x="205" y="150"/>
                  <a:pt x="209" y="148"/>
                </a:cubicBezTo>
                <a:cubicBezTo>
                  <a:pt x="214" y="145"/>
                  <a:pt x="207" y="144"/>
                  <a:pt x="196" y="147"/>
                </a:cubicBezTo>
                <a:cubicBezTo>
                  <a:pt x="185" y="151"/>
                  <a:pt x="173" y="140"/>
                  <a:pt x="173" y="145"/>
                </a:cubicBezTo>
                <a:cubicBezTo>
                  <a:pt x="172" y="149"/>
                  <a:pt x="153" y="143"/>
                  <a:pt x="149" y="139"/>
                </a:cubicBezTo>
                <a:cubicBezTo>
                  <a:pt x="144" y="136"/>
                  <a:pt x="126" y="132"/>
                  <a:pt x="122" y="138"/>
                </a:cubicBezTo>
                <a:cubicBezTo>
                  <a:pt x="119" y="144"/>
                  <a:pt x="116" y="139"/>
                  <a:pt x="117" y="145"/>
                </a:cubicBezTo>
                <a:cubicBezTo>
                  <a:pt x="118" y="149"/>
                  <a:pt x="122" y="146"/>
                  <a:pt x="125" y="146"/>
                </a:cubicBezTo>
                <a:cubicBezTo>
                  <a:pt x="128" y="146"/>
                  <a:pt x="127" y="152"/>
                  <a:pt x="131" y="153"/>
                </a:cubicBezTo>
                <a:cubicBezTo>
                  <a:pt x="136" y="153"/>
                  <a:pt x="150" y="157"/>
                  <a:pt x="151" y="154"/>
                </a:cubicBezTo>
                <a:cubicBezTo>
                  <a:pt x="153" y="151"/>
                  <a:pt x="166" y="154"/>
                  <a:pt x="173" y="160"/>
                </a:cubicBezTo>
                <a:cubicBezTo>
                  <a:pt x="179" y="165"/>
                  <a:pt x="195" y="165"/>
                  <a:pt x="201" y="164"/>
                </a:cubicBezTo>
                <a:cubicBezTo>
                  <a:pt x="207" y="163"/>
                  <a:pt x="213" y="168"/>
                  <a:pt x="216" y="165"/>
                </a:cubicBezTo>
                <a:cubicBezTo>
                  <a:pt x="218" y="162"/>
                  <a:pt x="222" y="170"/>
                  <a:pt x="229" y="165"/>
                </a:cubicBezTo>
                <a:cubicBezTo>
                  <a:pt x="236" y="160"/>
                  <a:pt x="218" y="162"/>
                  <a:pt x="218" y="158"/>
                </a:cubicBezTo>
                <a:close/>
                <a:moveTo>
                  <a:pt x="480" y="86"/>
                </a:moveTo>
                <a:cubicBezTo>
                  <a:pt x="475" y="86"/>
                  <a:pt x="474" y="95"/>
                  <a:pt x="470" y="95"/>
                </a:cubicBezTo>
                <a:cubicBezTo>
                  <a:pt x="466" y="95"/>
                  <a:pt x="460" y="104"/>
                  <a:pt x="452" y="106"/>
                </a:cubicBezTo>
                <a:cubicBezTo>
                  <a:pt x="444" y="109"/>
                  <a:pt x="443" y="83"/>
                  <a:pt x="440" y="78"/>
                </a:cubicBezTo>
                <a:cubicBezTo>
                  <a:pt x="436" y="73"/>
                  <a:pt x="416" y="69"/>
                  <a:pt x="414" y="75"/>
                </a:cubicBezTo>
                <a:cubicBezTo>
                  <a:pt x="412" y="81"/>
                  <a:pt x="405" y="78"/>
                  <a:pt x="404" y="82"/>
                </a:cubicBezTo>
                <a:cubicBezTo>
                  <a:pt x="404" y="87"/>
                  <a:pt x="406" y="85"/>
                  <a:pt x="410" y="85"/>
                </a:cubicBezTo>
                <a:cubicBezTo>
                  <a:pt x="415" y="85"/>
                  <a:pt x="415" y="89"/>
                  <a:pt x="417" y="93"/>
                </a:cubicBezTo>
                <a:cubicBezTo>
                  <a:pt x="419" y="97"/>
                  <a:pt x="431" y="94"/>
                  <a:pt x="435" y="94"/>
                </a:cubicBezTo>
                <a:cubicBezTo>
                  <a:pt x="439" y="94"/>
                  <a:pt x="439" y="99"/>
                  <a:pt x="434" y="97"/>
                </a:cubicBezTo>
                <a:cubicBezTo>
                  <a:pt x="428" y="95"/>
                  <a:pt x="428" y="100"/>
                  <a:pt x="424" y="99"/>
                </a:cubicBezTo>
                <a:cubicBezTo>
                  <a:pt x="420" y="98"/>
                  <a:pt x="415" y="98"/>
                  <a:pt x="417" y="101"/>
                </a:cubicBezTo>
                <a:cubicBezTo>
                  <a:pt x="420" y="103"/>
                  <a:pt x="424" y="105"/>
                  <a:pt x="424" y="111"/>
                </a:cubicBezTo>
                <a:cubicBezTo>
                  <a:pt x="424" y="116"/>
                  <a:pt x="432" y="115"/>
                  <a:pt x="432" y="111"/>
                </a:cubicBezTo>
                <a:cubicBezTo>
                  <a:pt x="432" y="106"/>
                  <a:pt x="436" y="112"/>
                  <a:pt x="444" y="114"/>
                </a:cubicBezTo>
                <a:cubicBezTo>
                  <a:pt x="451" y="116"/>
                  <a:pt x="446" y="119"/>
                  <a:pt x="454" y="119"/>
                </a:cubicBezTo>
                <a:cubicBezTo>
                  <a:pt x="461" y="120"/>
                  <a:pt x="479" y="125"/>
                  <a:pt x="485" y="130"/>
                </a:cubicBezTo>
                <a:cubicBezTo>
                  <a:pt x="492" y="135"/>
                  <a:pt x="487" y="139"/>
                  <a:pt x="492" y="143"/>
                </a:cubicBezTo>
                <a:cubicBezTo>
                  <a:pt x="496" y="148"/>
                  <a:pt x="497" y="153"/>
                  <a:pt x="491" y="153"/>
                </a:cubicBezTo>
                <a:cubicBezTo>
                  <a:pt x="485" y="153"/>
                  <a:pt x="479" y="159"/>
                  <a:pt x="481" y="162"/>
                </a:cubicBezTo>
                <a:cubicBezTo>
                  <a:pt x="482" y="165"/>
                  <a:pt x="502" y="161"/>
                  <a:pt x="507" y="161"/>
                </a:cubicBezTo>
                <a:cubicBezTo>
                  <a:pt x="510" y="161"/>
                  <a:pt x="513" y="166"/>
                  <a:pt x="519" y="170"/>
                </a:cubicBezTo>
                <a:cubicBezTo>
                  <a:pt x="519" y="99"/>
                  <a:pt x="519" y="99"/>
                  <a:pt x="519" y="99"/>
                </a:cubicBezTo>
                <a:cubicBezTo>
                  <a:pt x="504" y="94"/>
                  <a:pt x="484" y="85"/>
                  <a:pt x="480" y="86"/>
                </a:cubicBezTo>
                <a:close/>
                <a:moveTo>
                  <a:pt x="336" y="170"/>
                </a:moveTo>
                <a:cubicBezTo>
                  <a:pt x="335" y="171"/>
                  <a:pt x="334" y="171"/>
                  <a:pt x="332" y="172"/>
                </a:cubicBezTo>
                <a:cubicBezTo>
                  <a:pt x="332" y="173"/>
                  <a:pt x="331" y="174"/>
                  <a:pt x="330" y="175"/>
                </a:cubicBezTo>
                <a:cubicBezTo>
                  <a:pt x="329" y="176"/>
                  <a:pt x="328" y="174"/>
                  <a:pt x="327" y="173"/>
                </a:cubicBezTo>
                <a:cubicBezTo>
                  <a:pt x="320" y="175"/>
                  <a:pt x="317" y="183"/>
                  <a:pt x="321" y="186"/>
                </a:cubicBezTo>
                <a:cubicBezTo>
                  <a:pt x="326" y="188"/>
                  <a:pt x="332" y="182"/>
                  <a:pt x="336" y="177"/>
                </a:cubicBezTo>
                <a:cubicBezTo>
                  <a:pt x="336" y="177"/>
                  <a:pt x="337" y="176"/>
                  <a:pt x="337" y="176"/>
                </a:cubicBezTo>
                <a:cubicBezTo>
                  <a:pt x="337" y="175"/>
                  <a:pt x="338" y="175"/>
                  <a:pt x="338" y="174"/>
                </a:cubicBezTo>
                <a:cubicBezTo>
                  <a:pt x="338" y="174"/>
                  <a:pt x="339" y="174"/>
                  <a:pt x="339" y="174"/>
                </a:cubicBezTo>
                <a:cubicBezTo>
                  <a:pt x="338" y="172"/>
                  <a:pt x="337" y="171"/>
                  <a:pt x="336" y="170"/>
                </a:cubicBezTo>
                <a:close/>
                <a:moveTo>
                  <a:pt x="243" y="84"/>
                </a:moveTo>
                <a:cubicBezTo>
                  <a:pt x="249" y="81"/>
                  <a:pt x="250" y="74"/>
                  <a:pt x="250" y="67"/>
                </a:cubicBezTo>
                <a:cubicBezTo>
                  <a:pt x="249" y="60"/>
                  <a:pt x="264" y="60"/>
                  <a:pt x="267" y="57"/>
                </a:cubicBezTo>
                <a:cubicBezTo>
                  <a:pt x="269" y="55"/>
                  <a:pt x="263" y="50"/>
                  <a:pt x="259" y="48"/>
                </a:cubicBezTo>
                <a:cubicBezTo>
                  <a:pt x="255" y="46"/>
                  <a:pt x="258" y="42"/>
                  <a:pt x="255" y="39"/>
                </a:cubicBezTo>
                <a:cubicBezTo>
                  <a:pt x="252" y="37"/>
                  <a:pt x="247" y="30"/>
                  <a:pt x="252" y="29"/>
                </a:cubicBezTo>
                <a:cubicBezTo>
                  <a:pt x="256" y="29"/>
                  <a:pt x="249" y="23"/>
                  <a:pt x="252" y="21"/>
                </a:cubicBezTo>
                <a:cubicBezTo>
                  <a:pt x="253" y="21"/>
                  <a:pt x="253" y="20"/>
                  <a:pt x="254" y="20"/>
                </a:cubicBezTo>
                <a:cubicBezTo>
                  <a:pt x="252" y="19"/>
                  <a:pt x="250" y="18"/>
                  <a:pt x="249" y="18"/>
                </a:cubicBezTo>
                <a:cubicBezTo>
                  <a:pt x="243" y="18"/>
                  <a:pt x="231" y="17"/>
                  <a:pt x="231" y="26"/>
                </a:cubicBezTo>
                <a:cubicBezTo>
                  <a:pt x="232" y="34"/>
                  <a:pt x="224" y="31"/>
                  <a:pt x="225" y="36"/>
                </a:cubicBezTo>
                <a:cubicBezTo>
                  <a:pt x="225" y="40"/>
                  <a:pt x="221" y="40"/>
                  <a:pt x="221" y="46"/>
                </a:cubicBezTo>
                <a:cubicBezTo>
                  <a:pt x="222" y="52"/>
                  <a:pt x="218" y="50"/>
                  <a:pt x="211" y="53"/>
                </a:cubicBezTo>
                <a:cubicBezTo>
                  <a:pt x="205" y="56"/>
                  <a:pt x="207" y="51"/>
                  <a:pt x="201" y="51"/>
                </a:cubicBezTo>
                <a:cubicBezTo>
                  <a:pt x="194" y="51"/>
                  <a:pt x="193" y="54"/>
                  <a:pt x="189" y="56"/>
                </a:cubicBezTo>
                <a:cubicBezTo>
                  <a:pt x="185" y="57"/>
                  <a:pt x="177" y="55"/>
                  <a:pt x="175" y="57"/>
                </a:cubicBezTo>
                <a:cubicBezTo>
                  <a:pt x="172" y="59"/>
                  <a:pt x="168" y="52"/>
                  <a:pt x="165" y="52"/>
                </a:cubicBezTo>
                <a:cubicBezTo>
                  <a:pt x="164" y="52"/>
                  <a:pt x="163" y="49"/>
                  <a:pt x="162" y="45"/>
                </a:cubicBezTo>
                <a:cubicBezTo>
                  <a:pt x="162" y="45"/>
                  <a:pt x="161" y="45"/>
                  <a:pt x="161" y="45"/>
                </a:cubicBezTo>
                <a:cubicBezTo>
                  <a:pt x="156" y="45"/>
                  <a:pt x="149" y="57"/>
                  <a:pt x="153" y="61"/>
                </a:cubicBezTo>
                <a:cubicBezTo>
                  <a:pt x="158" y="65"/>
                  <a:pt x="157" y="73"/>
                  <a:pt x="159" y="76"/>
                </a:cubicBezTo>
                <a:cubicBezTo>
                  <a:pt x="162" y="80"/>
                  <a:pt x="169" y="81"/>
                  <a:pt x="169" y="88"/>
                </a:cubicBezTo>
                <a:cubicBezTo>
                  <a:pt x="169" y="95"/>
                  <a:pt x="175" y="106"/>
                  <a:pt x="180" y="103"/>
                </a:cubicBezTo>
                <a:cubicBezTo>
                  <a:pt x="184" y="100"/>
                  <a:pt x="187" y="104"/>
                  <a:pt x="189" y="107"/>
                </a:cubicBezTo>
                <a:cubicBezTo>
                  <a:pt x="190" y="110"/>
                  <a:pt x="200" y="105"/>
                  <a:pt x="204" y="105"/>
                </a:cubicBezTo>
                <a:cubicBezTo>
                  <a:pt x="207" y="106"/>
                  <a:pt x="217" y="108"/>
                  <a:pt x="218" y="112"/>
                </a:cubicBezTo>
                <a:cubicBezTo>
                  <a:pt x="219" y="116"/>
                  <a:pt x="228" y="112"/>
                  <a:pt x="234" y="109"/>
                </a:cubicBezTo>
                <a:cubicBezTo>
                  <a:pt x="241" y="107"/>
                  <a:pt x="237" y="88"/>
                  <a:pt x="243" y="84"/>
                </a:cubicBezTo>
                <a:close/>
                <a:moveTo>
                  <a:pt x="268" y="178"/>
                </a:moveTo>
                <a:cubicBezTo>
                  <a:pt x="270" y="181"/>
                  <a:pt x="276" y="181"/>
                  <a:pt x="278" y="183"/>
                </a:cubicBezTo>
                <a:cubicBezTo>
                  <a:pt x="280" y="185"/>
                  <a:pt x="289" y="189"/>
                  <a:pt x="289" y="183"/>
                </a:cubicBezTo>
                <a:cubicBezTo>
                  <a:pt x="289" y="178"/>
                  <a:pt x="266" y="174"/>
                  <a:pt x="268" y="178"/>
                </a:cubicBezTo>
                <a:close/>
                <a:moveTo>
                  <a:pt x="251" y="161"/>
                </a:moveTo>
                <a:cubicBezTo>
                  <a:pt x="250" y="164"/>
                  <a:pt x="244" y="165"/>
                  <a:pt x="241" y="163"/>
                </a:cubicBezTo>
                <a:cubicBezTo>
                  <a:pt x="238" y="160"/>
                  <a:pt x="234" y="166"/>
                  <a:pt x="236" y="169"/>
                </a:cubicBezTo>
                <a:cubicBezTo>
                  <a:pt x="237" y="170"/>
                  <a:pt x="244" y="175"/>
                  <a:pt x="252" y="171"/>
                </a:cubicBezTo>
                <a:cubicBezTo>
                  <a:pt x="260" y="167"/>
                  <a:pt x="266" y="171"/>
                  <a:pt x="268" y="167"/>
                </a:cubicBezTo>
                <a:cubicBezTo>
                  <a:pt x="270" y="162"/>
                  <a:pt x="253" y="158"/>
                  <a:pt x="251" y="161"/>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4" name="Freeform 172"/>
          <p:cNvSpPr>
            <a:spLocks noEditPoints="1"/>
          </p:cNvSpPr>
          <p:nvPr/>
        </p:nvSpPr>
        <p:spPr bwMode="auto">
          <a:xfrm>
            <a:off x="9015912" y="4722020"/>
            <a:ext cx="81588" cy="36012"/>
          </a:xfrm>
          <a:custGeom>
            <a:cxnLst>
              <a:cxn ang="0">
                <a:pos x="3" y="12"/>
              </a:cxn>
              <a:cxn ang="0">
                <a:pos x="0" y="13"/>
              </a:cxn>
              <a:cxn ang="0">
                <a:pos x="3" y="15"/>
              </a:cxn>
              <a:cxn ang="0">
                <a:pos x="5" y="12"/>
              </a:cxn>
              <a:cxn ang="0">
                <a:pos x="4" y="12"/>
              </a:cxn>
              <a:cxn ang="0">
                <a:pos x="3" y="12"/>
              </a:cxn>
              <a:cxn ang="0">
                <a:pos x="19" y="3"/>
              </a:cxn>
              <a:cxn ang="0">
                <a:pos x="10" y="9"/>
              </a:cxn>
              <a:cxn ang="0">
                <a:pos x="9" y="10"/>
              </a:cxn>
              <a:cxn ang="0">
                <a:pos x="12" y="14"/>
              </a:cxn>
              <a:cxn ang="0">
                <a:pos x="36" y="3"/>
              </a:cxn>
              <a:cxn ang="0">
                <a:pos x="19" y="3"/>
              </a:cxn>
            </a:cxnLst>
            <a:rect b="b" l="0" r="r" t="0"/>
            <a:pathLst>
              <a:path h="16" w="37">
                <a:moveTo>
                  <a:pt x="3" y="12"/>
                </a:moveTo>
                <a:cubicBezTo>
                  <a:pt x="2" y="12"/>
                  <a:pt x="1" y="12"/>
                  <a:pt x="0" y="13"/>
                </a:cubicBezTo>
                <a:cubicBezTo>
                  <a:pt x="1" y="14"/>
                  <a:pt x="2" y="16"/>
                  <a:pt x="3" y="15"/>
                </a:cubicBezTo>
                <a:cubicBezTo>
                  <a:pt x="4" y="14"/>
                  <a:pt x="5" y="13"/>
                  <a:pt x="5" y="12"/>
                </a:cubicBezTo>
                <a:cubicBezTo>
                  <a:pt x="5" y="12"/>
                  <a:pt x="4" y="12"/>
                  <a:pt x="4" y="12"/>
                </a:cubicBezTo>
                <a:cubicBezTo>
                  <a:pt x="3" y="12"/>
                  <a:pt x="3" y="12"/>
                  <a:pt x="3" y="12"/>
                </a:cubicBezTo>
                <a:close/>
                <a:moveTo>
                  <a:pt x="19" y="3"/>
                </a:moveTo>
                <a:cubicBezTo>
                  <a:pt x="15" y="3"/>
                  <a:pt x="13" y="7"/>
                  <a:pt x="10" y="9"/>
                </a:cubicBezTo>
                <a:cubicBezTo>
                  <a:pt x="9" y="10"/>
                  <a:pt x="9" y="10"/>
                  <a:pt x="9" y="10"/>
                </a:cubicBezTo>
                <a:cubicBezTo>
                  <a:pt x="10" y="11"/>
                  <a:pt x="11" y="12"/>
                  <a:pt x="12" y="14"/>
                </a:cubicBezTo>
                <a:cubicBezTo>
                  <a:pt x="19" y="10"/>
                  <a:pt x="35" y="5"/>
                  <a:pt x="36" y="3"/>
                </a:cubicBezTo>
                <a:cubicBezTo>
                  <a:pt x="37" y="0"/>
                  <a:pt x="26" y="4"/>
                  <a:pt x="19" y="3"/>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5" name="Freeform 173"/>
          <p:cNvSpPr/>
          <p:nvPr/>
        </p:nvSpPr>
        <p:spPr bwMode="auto">
          <a:xfrm>
            <a:off x="6245613" y="3192475"/>
            <a:ext cx="85297" cy="47384"/>
          </a:xfrm>
          <a:custGeom>
            <a:cxnLst>
              <a:cxn ang="0">
                <a:pos x="0" y="19"/>
              </a:cxn>
              <a:cxn ang="0">
                <a:pos x="7" y="18"/>
              </a:cxn>
              <a:cxn ang="0">
                <a:pos x="9" y="21"/>
              </a:cxn>
              <a:cxn ang="0">
                <a:pos x="17" y="20"/>
              </a:cxn>
              <a:cxn ang="0">
                <a:pos x="24" y="20"/>
              </a:cxn>
              <a:cxn ang="0">
                <a:pos x="28" y="15"/>
              </a:cxn>
              <a:cxn ang="0">
                <a:pos x="31" y="9"/>
              </a:cxn>
              <a:cxn ang="0">
                <a:pos x="38" y="5"/>
              </a:cxn>
              <a:cxn ang="0">
                <a:pos x="35" y="0"/>
              </a:cxn>
              <a:cxn ang="0">
                <a:pos x="27" y="3"/>
              </a:cxn>
              <a:cxn ang="0">
                <a:pos x="18" y="6"/>
              </a:cxn>
              <a:cxn ang="0">
                <a:pos x="5" y="4"/>
              </a:cxn>
              <a:cxn ang="0">
                <a:pos x="1" y="4"/>
              </a:cxn>
              <a:cxn ang="0">
                <a:pos x="0" y="19"/>
              </a:cxn>
            </a:cxnLst>
            <a:rect b="b" l="0" r="r" t="0"/>
            <a:pathLst>
              <a:path h="21" w="38">
                <a:moveTo>
                  <a:pt x="0" y="19"/>
                </a:moveTo>
                <a:cubicBezTo>
                  <a:pt x="3" y="18"/>
                  <a:pt x="6" y="17"/>
                  <a:pt x="7" y="18"/>
                </a:cubicBezTo>
                <a:cubicBezTo>
                  <a:pt x="8" y="18"/>
                  <a:pt x="9" y="20"/>
                  <a:pt x="9" y="21"/>
                </a:cubicBezTo>
                <a:cubicBezTo>
                  <a:pt x="11" y="21"/>
                  <a:pt x="16" y="20"/>
                  <a:pt x="17" y="20"/>
                </a:cubicBezTo>
                <a:cubicBezTo>
                  <a:pt x="19" y="19"/>
                  <a:pt x="24" y="21"/>
                  <a:pt x="24" y="20"/>
                </a:cubicBezTo>
                <a:cubicBezTo>
                  <a:pt x="25" y="18"/>
                  <a:pt x="26" y="15"/>
                  <a:pt x="28" y="15"/>
                </a:cubicBezTo>
                <a:cubicBezTo>
                  <a:pt x="30" y="15"/>
                  <a:pt x="29" y="10"/>
                  <a:pt x="31" y="9"/>
                </a:cubicBezTo>
                <a:cubicBezTo>
                  <a:pt x="33" y="9"/>
                  <a:pt x="38" y="5"/>
                  <a:pt x="38" y="5"/>
                </a:cubicBezTo>
                <a:cubicBezTo>
                  <a:pt x="38" y="5"/>
                  <a:pt x="36" y="1"/>
                  <a:pt x="35" y="0"/>
                </a:cubicBezTo>
                <a:cubicBezTo>
                  <a:pt x="34" y="0"/>
                  <a:pt x="32" y="3"/>
                  <a:pt x="27" y="3"/>
                </a:cubicBezTo>
                <a:cubicBezTo>
                  <a:pt x="23" y="3"/>
                  <a:pt x="20" y="6"/>
                  <a:pt x="18" y="6"/>
                </a:cubicBezTo>
                <a:cubicBezTo>
                  <a:pt x="16" y="6"/>
                  <a:pt x="9" y="4"/>
                  <a:pt x="5" y="4"/>
                </a:cubicBezTo>
                <a:cubicBezTo>
                  <a:pt x="4" y="4"/>
                  <a:pt x="2" y="4"/>
                  <a:pt x="1" y="4"/>
                </a:cubicBezTo>
                <a:cubicBezTo>
                  <a:pt x="0" y="7"/>
                  <a:pt x="0" y="13"/>
                  <a:pt x="0" y="1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6" name="Freeform 174"/>
          <p:cNvSpPr>
            <a:spLocks noEditPoints="1"/>
          </p:cNvSpPr>
          <p:nvPr/>
        </p:nvSpPr>
        <p:spPr bwMode="auto">
          <a:xfrm>
            <a:off x="6087998" y="3186790"/>
            <a:ext cx="289268" cy="322209"/>
          </a:xfrm>
          <a:custGeom>
            <a:cxnLst>
              <a:cxn ang="0">
                <a:pos x="90" y="122"/>
              </a:cxn>
              <a:cxn ang="0">
                <a:pos x="77" y="122"/>
              </a:cxn>
              <a:cxn ang="0">
                <a:pos x="67" y="127"/>
              </a:cxn>
              <a:cxn ang="0">
                <a:pos x="79" y="133"/>
              </a:cxn>
              <a:cxn ang="0">
                <a:pos x="92" y="141"/>
              </a:cxn>
              <a:cxn ang="0">
                <a:pos x="95" y="134"/>
              </a:cxn>
              <a:cxn ang="0">
                <a:pos x="99" y="123"/>
              </a:cxn>
              <a:cxn ang="0">
                <a:pos x="90" y="122"/>
              </a:cxn>
              <a:cxn ang="0">
                <a:pos x="26" y="85"/>
              </a:cxn>
              <a:cxn ang="0">
                <a:pos x="18" y="87"/>
              </a:cxn>
              <a:cxn ang="0">
                <a:pos x="22" y="101"/>
              </a:cxn>
              <a:cxn ang="0">
                <a:pos x="27" y="112"/>
              </a:cxn>
              <a:cxn ang="0">
                <a:pos x="34" y="107"/>
              </a:cxn>
              <a:cxn ang="0">
                <a:pos x="36" y="89"/>
              </a:cxn>
              <a:cxn ang="0">
                <a:pos x="26" y="85"/>
              </a:cxn>
              <a:cxn ang="0">
                <a:pos x="108" y="79"/>
              </a:cxn>
              <a:cxn ang="0">
                <a:pos x="99" y="73"/>
              </a:cxn>
              <a:cxn ang="0">
                <a:pos x="82" y="55"/>
              </a:cxn>
              <a:cxn ang="0">
                <a:pos x="66" y="38"/>
              </a:cxn>
              <a:cxn ang="0">
                <a:pos x="66" y="27"/>
              </a:cxn>
              <a:cxn ang="0">
                <a:pos x="71" y="21"/>
              </a:cxn>
              <a:cxn ang="0">
                <a:pos x="72" y="6"/>
              </a:cxn>
              <a:cxn ang="0">
                <a:pos x="66" y="5"/>
              </a:cxn>
              <a:cxn ang="0">
                <a:pos x="64" y="0"/>
              </a:cxn>
              <a:cxn ang="0">
                <a:pos x="55" y="1"/>
              </a:cxn>
              <a:cxn ang="0">
                <a:pos x="48" y="3"/>
              </a:cxn>
              <a:cxn ang="0">
                <a:pos x="46" y="2"/>
              </a:cxn>
              <a:cxn ang="0">
                <a:pos x="44" y="5"/>
              </a:cxn>
              <a:cxn ang="0">
                <a:pos x="42" y="7"/>
              </a:cxn>
              <a:cxn ang="0">
                <a:pos x="39" y="9"/>
              </a:cxn>
              <a:cxn ang="0">
                <a:pos x="34" y="10"/>
              </a:cxn>
              <a:cxn ang="0">
                <a:pos x="30" y="12"/>
              </a:cxn>
              <a:cxn ang="0">
                <a:pos x="27" y="16"/>
              </a:cxn>
              <a:cxn ang="0">
                <a:pos x="20" y="9"/>
              </a:cxn>
              <a:cxn ang="0">
                <a:pos x="15" y="17"/>
              </a:cxn>
              <a:cxn ang="0">
                <a:pos x="5" y="17"/>
              </a:cxn>
              <a:cxn ang="0">
                <a:pos x="6" y="23"/>
              </a:cxn>
              <a:cxn ang="0">
                <a:pos x="4" y="27"/>
              </a:cxn>
              <a:cxn ang="0">
                <a:pos x="2" y="30"/>
              </a:cxn>
              <a:cxn ang="0">
                <a:pos x="5" y="36"/>
              </a:cxn>
              <a:cxn ang="0">
                <a:pos x="8" y="41"/>
              </a:cxn>
              <a:cxn ang="0">
                <a:pos x="13" y="43"/>
              </a:cxn>
              <a:cxn ang="0">
                <a:pos x="12" y="47"/>
              </a:cxn>
              <a:cxn ang="0">
                <a:pos x="17" y="45"/>
              </a:cxn>
              <a:cxn ang="0">
                <a:pos x="25" y="38"/>
              </a:cxn>
              <a:cxn ang="0">
                <a:pos x="41" y="45"/>
              </a:cxn>
              <a:cxn ang="0">
                <a:pos x="44" y="52"/>
              </a:cxn>
              <a:cxn ang="0">
                <a:pos x="55" y="65"/>
              </a:cxn>
              <a:cxn ang="0">
                <a:pos x="70" y="79"/>
              </a:cxn>
              <a:cxn ang="0">
                <a:pos x="81" y="83"/>
              </a:cxn>
              <a:cxn ang="0">
                <a:pos x="91" y="90"/>
              </a:cxn>
              <a:cxn ang="0">
                <a:pos x="99" y="96"/>
              </a:cxn>
              <a:cxn ang="0">
                <a:pos x="103" y="103"/>
              </a:cxn>
              <a:cxn ang="0">
                <a:pos x="103" y="115"/>
              </a:cxn>
              <a:cxn ang="0">
                <a:pos x="104" y="124"/>
              </a:cxn>
              <a:cxn ang="0">
                <a:pos x="109" y="115"/>
              </a:cxn>
              <a:cxn ang="0">
                <a:pos x="116" y="108"/>
              </a:cxn>
              <a:cxn ang="0">
                <a:pos x="111" y="99"/>
              </a:cxn>
              <a:cxn ang="0">
                <a:pos x="121" y="95"/>
              </a:cxn>
              <a:cxn ang="0">
                <a:pos x="130" y="95"/>
              </a:cxn>
              <a:cxn ang="0">
                <a:pos x="108" y="79"/>
              </a:cxn>
            </a:cxnLst>
            <a:rect b="b" l="0" r="r" t="0"/>
            <a:pathLst>
              <a:path h="141" w="130">
                <a:moveTo>
                  <a:pt x="90" y="122"/>
                </a:moveTo>
                <a:cubicBezTo>
                  <a:pt x="84" y="124"/>
                  <a:pt x="81" y="124"/>
                  <a:pt x="77" y="122"/>
                </a:cubicBezTo>
                <a:cubicBezTo>
                  <a:pt x="73" y="120"/>
                  <a:pt x="66" y="124"/>
                  <a:pt x="67" y="127"/>
                </a:cubicBezTo>
                <a:cubicBezTo>
                  <a:pt x="68" y="129"/>
                  <a:pt x="71" y="131"/>
                  <a:pt x="79" y="133"/>
                </a:cubicBezTo>
                <a:cubicBezTo>
                  <a:pt x="87" y="135"/>
                  <a:pt x="88" y="141"/>
                  <a:pt x="92" y="141"/>
                </a:cubicBezTo>
                <a:cubicBezTo>
                  <a:pt x="95" y="141"/>
                  <a:pt x="96" y="138"/>
                  <a:pt x="95" y="134"/>
                </a:cubicBezTo>
                <a:cubicBezTo>
                  <a:pt x="94" y="129"/>
                  <a:pt x="99" y="124"/>
                  <a:pt x="99" y="123"/>
                </a:cubicBezTo>
                <a:cubicBezTo>
                  <a:pt x="100" y="122"/>
                  <a:pt x="97" y="121"/>
                  <a:pt x="90" y="122"/>
                </a:cubicBezTo>
                <a:close/>
                <a:moveTo>
                  <a:pt x="26" y="85"/>
                </a:moveTo>
                <a:cubicBezTo>
                  <a:pt x="22" y="88"/>
                  <a:pt x="19" y="84"/>
                  <a:pt x="18" y="87"/>
                </a:cubicBezTo>
                <a:cubicBezTo>
                  <a:pt x="16" y="90"/>
                  <a:pt x="23" y="95"/>
                  <a:pt x="22" y="101"/>
                </a:cubicBezTo>
                <a:cubicBezTo>
                  <a:pt x="20" y="108"/>
                  <a:pt x="23" y="116"/>
                  <a:pt x="27" y="112"/>
                </a:cubicBezTo>
                <a:cubicBezTo>
                  <a:pt x="30" y="108"/>
                  <a:pt x="32" y="110"/>
                  <a:pt x="34" y="107"/>
                </a:cubicBezTo>
                <a:cubicBezTo>
                  <a:pt x="37" y="104"/>
                  <a:pt x="35" y="94"/>
                  <a:pt x="36" y="89"/>
                </a:cubicBezTo>
                <a:cubicBezTo>
                  <a:pt x="38" y="84"/>
                  <a:pt x="30" y="81"/>
                  <a:pt x="26" y="85"/>
                </a:cubicBezTo>
                <a:close/>
                <a:moveTo>
                  <a:pt x="108" y="79"/>
                </a:moveTo>
                <a:cubicBezTo>
                  <a:pt x="103" y="77"/>
                  <a:pt x="106" y="72"/>
                  <a:pt x="99" y="73"/>
                </a:cubicBezTo>
                <a:cubicBezTo>
                  <a:pt x="92" y="73"/>
                  <a:pt x="84" y="64"/>
                  <a:pt x="82" y="55"/>
                </a:cubicBezTo>
                <a:cubicBezTo>
                  <a:pt x="79" y="45"/>
                  <a:pt x="69" y="44"/>
                  <a:pt x="66" y="38"/>
                </a:cubicBezTo>
                <a:cubicBezTo>
                  <a:pt x="63" y="33"/>
                  <a:pt x="68" y="32"/>
                  <a:pt x="66" y="27"/>
                </a:cubicBezTo>
                <a:cubicBezTo>
                  <a:pt x="65" y="24"/>
                  <a:pt x="68" y="22"/>
                  <a:pt x="71" y="21"/>
                </a:cubicBezTo>
                <a:cubicBezTo>
                  <a:pt x="71" y="15"/>
                  <a:pt x="71" y="9"/>
                  <a:pt x="72" y="6"/>
                </a:cubicBezTo>
                <a:cubicBezTo>
                  <a:pt x="69" y="5"/>
                  <a:pt x="67" y="5"/>
                  <a:pt x="66" y="5"/>
                </a:cubicBezTo>
                <a:cubicBezTo>
                  <a:pt x="65" y="4"/>
                  <a:pt x="64" y="0"/>
                  <a:pt x="64" y="0"/>
                </a:cubicBezTo>
                <a:cubicBezTo>
                  <a:pt x="63" y="0"/>
                  <a:pt x="56" y="0"/>
                  <a:pt x="55" y="1"/>
                </a:cubicBezTo>
                <a:cubicBezTo>
                  <a:pt x="53" y="2"/>
                  <a:pt x="50" y="5"/>
                  <a:pt x="48" y="3"/>
                </a:cubicBezTo>
                <a:cubicBezTo>
                  <a:pt x="47" y="3"/>
                  <a:pt x="47" y="3"/>
                  <a:pt x="46" y="2"/>
                </a:cubicBezTo>
                <a:cubicBezTo>
                  <a:pt x="44" y="5"/>
                  <a:pt x="44" y="5"/>
                  <a:pt x="44" y="5"/>
                </a:cubicBezTo>
                <a:cubicBezTo>
                  <a:pt x="44" y="5"/>
                  <a:pt x="44" y="7"/>
                  <a:pt x="42" y="7"/>
                </a:cubicBezTo>
                <a:cubicBezTo>
                  <a:pt x="41" y="7"/>
                  <a:pt x="39" y="6"/>
                  <a:pt x="39" y="9"/>
                </a:cubicBezTo>
                <a:cubicBezTo>
                  <a:pt x="39" y="11"/>
                  <a:pt x="35" y="10"/>
                  <a:pt x="34" y="10"/>
                </a:cubicBezTo>
                <a:cubicBezTo>
                  <a:pt x="32" y="10"/>
                  <a:pt x="30" y="10"/>
                  <a:pt x="30" y="12"/>
                </a:cubicBezTo>
                <a:cubicBezTo>
                  <a:pt x="30" y="14"/>
                  <a:pt x="29" y="19"/>
                  <a:pt x="27" y="16"/>
                </a:cubicBezTo>
                <a:cubicBezTo>
                  <a:pt x="24" y="14"/>
                  <a:pt x="21" y="8"/>
                  <a:pt x="20" y="9"/>
                </a:cubicBezTo>
                <a:cubicBezTo>
                  <a:pt x="19" y="9"/>
                  <a:pt x="17" y="17"/>
                  <a:pt x="15" y="17"/>
                </a:cubicBezTo>
                <a:cubicBezTo>
                  <a:pt x="13" y="17"/>
                  <a:pt x="8" y="17"/>
                  <a:pt x="5" y="17"/>
                </a:cubicBezTo>
                <a:cubicBezTo>
                  <a:pt x="4" y="20"/>
                  <a:pt x="5" y="22"/>
                  <a:pt x="6" y="23"/>
                </a:cubicBezTo>
                <a:cubicBezTo>
                  <a:pt x="8" y="23"/>
                  <a:pt x="6" y="26"/>
                  <a:pt x="4" y="27"/>
                </a:cubicBezTo>
                <a:cubicBezTo>
                  <a:pt x="3" y="28"/>
                  <a:pt x="0" y="27"/>
                  <a:pt x="2" y="30"/>
                </a:cubicBezTo>
                <a:cubicBezTo>
                  <a:pt x="4" y="33"/>
                  <a:pt x="7" y="33"/>
                  <a:pt x="5" y="36"/>
                </a:cubicBezTo>
                <a:cubicBezTo>
                  <a:pt x="3" y="38"/>
                  <a:pt x="5" y="41"/>
                  <a:pt x="8" y="41"/>
                </a:cubicBezTo>
                <a:cubicBezTo>
                  <a:pt x="10" y="41"/>
                  <a:pt x="14" y="41"/>
                  <a:pt x="13" y="43"/>
                </a:cubicBezTo>
                <a:cubicBezTo>
                  <a:pt x="12" y="44"/>
                  <a:pt x="12" y="45"/>
                  <a:pt x="12" y="47"/>
                </a:cubicBezTo>
                <a:cubicBezTo>
                  <a:pt x="14" y="46"/>
                  <a:pt x="15" y="46"/>
                  <a:pt x="17" y="45"/>
                </a:cubicBezTo>
                <a:cubicBezTo>
                  <a:pt x="21" y="43"/>
                  <a:pt x="19" y="40"/>
                  <a:pt x="25" y="38"/>
                </a:cubicBezTo>
                <a:cubicBezTo>
                  <a:pt x="31" y="37"/>
                  <a:pt x="38" y="42"/>
                  <a:pt x="41" y="45"/>
                </a:cubicBezTo>
                <a:cubicBezTo>
                  <a:pt x="43" y="49"/>
                  <a:pt x="44" y="49"/>
                  <a:pt x="44" y="52"/>
                </a:cubicBezTo>
                <a:cubicBezTo>
                  <a:pt x="45" y="55"/>
                  <a:pt x="47" y="60"/>
                  <a:pt x="55" y="65"/>
                </a:cubicBezTo>
                <a:cubicBezTo>
                  <a:pt x="63" y="71"/>
                  <a:pt x="66" y="76"/>
                  <a:pt x="70" y="79"/>
                </a:cubicBezTo>
                <a:cubicBezTo>
                  <a:pt x="74" y="81"/>
                  <a:pt x="79" y="80"/>
                  <a:pt x="81" y="83"/>
                </a:cubicBezTo>
                <a:cubicBezTo>
                  <a:pt x="84" y="86"/>
                  <a:pt x="87" y="88"/>
                  <a:pt x="91" y="90"/>
                </a:cubicBezTo>
                <a:cubicBezTo>
                  <a:pt x="95" y="92"/>
                  <a:pt x="95" y="96"/>
                  <a:pt x="99" y="96"/>
                </a:cubicBezTo>
                <a:cubicBezTo>
                  <a:pt x="103" y="97"/>
                  <a:pt x="100" y="100"/>
                  <a:pt x="103" y="103"/>
                </a:cubicBezTo>
                <a:cubicBezTo>
                  <a:pt x="105" y="106"/>
                  <a:pt x="106" y="112"/>
                  <a:pt x="103" y="115"/>
                </a:cubicBezTo>
                <a:cubicBezTo>
                  <a:pt x="101" y="119"/>
                  <a:pt x="102" y="124"/>
                  <a:pt x="104" y="124"/>
                </a:cubicBezTo>
                <a:cubicBezTo>
                  <a:pt x="105" y="124"/>
                  <a:pt x="109" y="118"/>
                  <a:pt x="109" y="115"/>
                </a:cubicBezTo>
                <a:cubicBezTo>
                  <a:pt x="110" y="112"/>
                  <a:pt x="113" y="112"/>
                  <a:pt x="116" y="108"/>
                </a:cubicBezTo>
                <a:cubicBezTo>
                  <a:pt x="118" y="105"/>
                  <a:pt x="112" y="104"/>
                  <a:pt x="111" y="99"/>
                </a:cubicBezTo>
                <a:cubicBezTo>
                  <a:pt x="109" y="95"/>
                  <a:pt x="116" y="91"/>
                  <a:pt x="121" y="95"/>
                </a:cubicBezTo>
                <a:cubicBezTo>
                  <a:pt x="127" y="98"/>
                  <a:pt x="130" y="101"/>
                  <a:pt x="130" y="95"/>
                </a:cubicBezTo>
                <a:cubicBezTo>
                  <a:pt x="130" y="89"/>
                  <a:pt x="112" y="82"/>
                  <a:pt x="108" y="79"/>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7" name="Freeform 175"/>
          <p:cNvSpPr/>
          <p:nvPr/>
        </p:nvSpPr>
        <p:spPr bwMode="auto">
          <a:xfrm>
            <a:off x="6377266" y="3306196"/>
            <a:ext cx="31523" cy="39803"/>
          </a:xfrm>
          <a:custGeom>
            <a:cxnLst>
              <a:cxn ang="0">
                <a:pos x="5" y="0"/>
              </a:cxn>
              <a:cxn ang="0">
                <a:pos x="1" y="8"/>
              </a:cxn>
              <a:cxn ang="0">
                <a:pos x="0" y="12"/>
              </a:cxn>
              <a:cxn ang="0">
                <a:pos x="8" y="18"/>
              </a:cxn>
              <a:cxn ang="0">
                <a:pos x="9" y="18"/>
              </a:cxn>
              <a:cxn ang="0">
                <a:pos x="14" y="10"/>
              </a:cxn>
              <a:cxn ang="0">
                <a:pos x="5" y="0"/>
              </a:cxn>
            </a:cxnLst>
            <a:rect b="b" l="0" r="r" t="0"/>
            <a:pathLst>
              <a:path h="18" w="14">
                <a:moveTo>
                  <a:pt x="5" y="0"/>
                </a:moveTo>
                <a:cubicBezTo>
                  <a:pt x="3" y="3"/>
                  <a:pt x="0" y="7"/>
                  <a:pt x="1" y="8"/>
                </a:cubicBezTo>
                <a:cubicBezTo>
                  <a:pt x="1" y="9"/>
                  <a:pt x="0" y="10"/>
                  <a:pt x="0" y="12"/>
                </a:cubicBezTo>
                <a:cubicBezTo>
                  <a:pt x="3" y="14"/>
                  <a:pt x="6" y="16"/>
                  <a:pt x="8" y="18"/>
                </a:cubicBezTo>
                <a:cubicBezTo>
                  <a:pt x="8" y="18"/>
                  <a:pt x="8" y="18"/>
                  <a:pt x="9" y="18"/>
                </a:cubicBezTo>
                <a:cubicBezTo>
                  <a:pt x="9" y="14"/>
                  <a:pt x="12" y="10"/>
                  <a:pt x="14" y="10"/>
                </a:cubicBezTo>
                <a:cubicBezTo>
                  <a:pt x="11" y="7"/>
                  <a:pt x="7" y="2"/>
                  <a:pt x="5" y="0"/>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
        <p:nvSpPr>
          <p:cNvPr id="178" name="Freeform 176"/>
          <p:cNvSpPr/>
          <p:nvPr/>
        </p:nvSpPr>
        <p:spPr bwMode="auto">
          <a:xfrm>
            <a:off x="6384683" y="3215219"/>
            <a:ext cx="105695" cy="126989"/>
          </a:xfrm>
          <a:custGeom>
            <a:cxnLst>
              <a:cxn ang="0">
                <a:pos x="41" y="37"/>
              </a:cxn>
              <a:cxn ang="0">
                <a:pos x="41" y="29"/>
              </a:cxn>
              <a:cxn ang="0">
                <a:pos x="42" y="23"/>
              </a:cxn>
              <a:cxn ang="0">
                <a:pos x="29" y="20"/>
              </a:cxn>
              <a:cxn ang="0">
                <a:pos x="28" y="13"/>
              </a:cxn>
              <a:cxn ang="0">
                <a:pos x="24" y="9"/>
              </a:cxn>
              <a:cxn ang="0">
                <a:pos x="20" y="2"/>
              </a:cxn>
              <a:cxn ang="0">
                <a:pos x="20" y="2"/>
              </a:cxn>
              <a:cxn ang="0">
                <a:pos x="17" y="1"/>
              </a:cxn>
              <a:cxn ang="0">
                <a:pos x="12" y="0"/>
              </a:cxn>
              <a:cxn ang="0">
                <a:pos x="0" y="3"/>
              </a:cxn>
              <a:cxn ang="0">
                <a:pos x="3" y="10"/>
              </a:cxn>
              <a:cxn ang="0">
                <a:pos x="7" y="18"/>
              </a:cxn>
              <a:cxn ang="0">
                <a:pos x="6" y="36"/>
              </a:cxn>
              <a:cxn ang="0">
                <a:pos x="2" y="40"/>
              </a:cxn>
              <a:cxn ang="0">
                <a:pos x="11" y="50"/>
              </a:cxn>
              <a:cxn ang="0">
                <a:pos x="11" y="50"/>
              </a:cxn>
              <a:cxn ang="0">
                <a:pos x="21" y="56"/>
              </a:cxn>
              <a:cxn ang="0">
                <a:pos x="41" y="52"/>
              </a:cxn>
              <a:cxn ang="0">
                <a:pos x="41" y="49"/>
              </a:cxn>
              <a:cxn ang="0">
                <a:pos x="45" y="44"/>
              </a:cxn>
              <a:cxn ang="0">
                <a:pos x="41" y="37"/>
              </a:cxn>
            </a:cxnLst>
            <a:rect b="b" l="0" r="r" t="0"/>
            <a:pathLst>
              <a:path h="56" w="47">
                <a:moveTo>
                  <a:pt x="41" y="37"/>
                </a:moveTo>
                <a:cubicBezTo>
                  <a:pt x="39" y="35"/>
                  <a:pt x="39" y="31"/>
                  <a:pt x="41" y="29"/>
                </a:cubicBezTo>
                <a:cubicBezTo>
                  <a:pt x="44" y="28"/>
                  <a:pt x="42" y="26"/>
                  <a:pt x="42" y="23"/>
                </a:cubicBezTo>
                <a:cubicBezTo>
                  <a:pt x="42" y="21"/>
                  <a:pt x="31" y="20"/>
                  <a:pt x="29" y="20"/>
                </a:cubicBezTo>
                <a:cubicBezTo>
                  <a:pt x="27" y="19"/>
                  <a:pt x="30" y="13"/>
                  <a:pt x="28" y="13"/>
                </a:cubicBezTo>
                <a:cubicBezTo>
                  <a:pt x="25" y="13"/>
                  <a:pt x="24" y="11"/>
                  <a:pt x="24" y="9"/>
                </a:cubicBezTo>
                <a:cubicBezTo>
                  <a:pt x="24" y="7"/>
                  <a:pt x="20" y="3"/>
                  <a:pt x="20" y="2"/>
                </a:cubicBezTo>
                <a:cubicBezTo>
                  <a:pt x="20" y="2"/>
                  <a:pt x="20" y="2"/>
                  <a:pt x="20" y="2"/>
                </a:cubicBezTo>
                <a:cubicBezTo>
                  <a:pt x="19" y="1"/>
                  <a:pt x="17" y="1"/>
                  <a:pt x="17" y="1"/>
                </a:cubicBezTo>
                <a:cubicBezTo>
                  <a:pt x="15" y="1"/>
                  <a:pt x="12" y="0"/>
                  <a:pt x="12" y="0"/>
                </a:cubicBezTo>
                <a:cubicBezTo>
                  <a:pt x="12" y="0"/>
                  <a:pt x="5" y="2"/>
                  <a:pt x="0" y="3"/>
                </a:cubicBezTo>
                <a:cubicBezTo>
                  <a:pt x="1" y="6"/>
                  <a:pt x="2" y="9"/>
                  <a:pt x="3" y="10"/>
                </a:cubicBezTo>
                <a:cubicBezTo>
                  <a:pt x="7" y="11"/>
                  <a:pt x="6" y="15"/>
                  <a:pt x="7" y="18"/>
                </a:cubicBezTo>
                <a:cubicBezTo>
                  <a:pt x="8" y="21"/>
                  <a:pt x="8" y="36"/>
                  <a:pt x="6" y="36"/>
                </a:cubicBezTo>
                <a:cubicBezTo>
                  <a:pt x="5" y="36"/>
                  <a:pt x="4" y="37"/>
                  <a:pt x="2" y="40"/>
                </a:cubicBezTo>
                <a:cubicBezTo>
                  <a:pt x="4" y="42"/>
                  <a:pt x="8" y="47"/>
                  <a:pt x="11" y="50"/>
                </a:cubicBezTo>
                <a:cubicBezTo>
                  <a:pt x="11" y="50"/>
                  <a:pt x="11" y="50"/>
                  <a:pt x="11" y="50"/>
                </a:cubicBezTo>
                <a:cubicBezTo>
                  <a:pt x="13" y="50"/>
                  <a:pt x="21" y="56"/>
                  <a:pt x="21" y="56"/>
                </a:cubicBezTo>
                <a:cubicBezTo>
                  <a:pt x="21" y="56"/>
                  <a:pt x="33" y="53"/>
                  <a:pt x="41" y="52"/>
                </a:cubicBezTo>
                <a:cubicBezTo>
                  <a:pt x="41" y="51"/>
                  <a:pt x="41" y="50"/>
                  <a:pt x="41" y="49"/>
                </a:cubicBezTo>
                <a:cubicBezTo>
                  <a:pt x="41" y="47"/>
                  <a:pt x="43" y="44"/>
                  <a:pt x="45" y="44"/>
                </a:cubicBezTo>
                <a:cubicBezTo>
                  <a:pt x="47" y="44"/>
                  <a:pt x="44" y="39"/>
                  <a:pt x="41" y="37"/>
                </a:cubicBezTo>
                <a:close/>
              </a:path>
            </a:pathLst>
          </a:custGeom>
          <a:solidFill>
            <a:srgbClr val="BFBFBF"/>
          </a:solidFill>
          <a:ln cap="flat" w="1">
            <a:solidFill>
              <a:srgbClr val="FFFFFF"/>
            </a:solidFill>
            <a:prstDash val="solid"/>
            <a:miter lim="800000"/>
          </a:ln>
        </p:spPr>
        <p:txBody>
          <a:bodyPr anchor="t" anchorCtr="0" bIns="45720" compatLnSpc="1" lIns="91440" numCol="1" rIns="91440" tIns="45720" vert="horz" wrap="square">
            <a:prstTxWarp prst="textNoShape">
              <a:avLst/>
            </a:prstTxWarp>
          </a:bodyPr>
          <a:lstStyle/>
          <a:p>
            <a:endParaRPr altLang="en-US" lang="zh-CN">
              <a:ea charset="-122" panose="020b0503020204020204" pitchFamily="34" typeface="微软雅黑"/>
            </a:endParaRPr>
          </a:p>
        </p:txBody>
      </p:sp>
    </p:spTree>
    <p:extLst>
      <p:ext uri="{BB962C8B-B14F-4D97-AF65-F5344CB8AC3E}">
        <p14:creationId val="509729186"/>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708E9952-F982-4A4B-89FE-F88E1A05710A}" type="slidenum">
              <a:rPr altLang="en-US" lang="zh-CN" smtClean="0"/>
              <a:t>7</a:t>
            </a:fld>
          </a:p>
        </p:txBody>
      </p:sp>
      <p:sp>
        <p:nvSpPr>
          <p:cNvPr id="5" name="内蒙古"/>
          <p:cNvSpPr/>
          <p:nvPr/>
        </p:nvSpPr>
        <p:spPr bwMode="auto">
          <a:xfrm>
            <a:off x="3194123" y="1892236"/>
            <a:ext cx="2106217" cy="1797334"/>
          </a:xfrm>
          <a:custGeom>
            <a:gdLst>
              <a:gd fmla="*/ 2147483646 w 1428" name="T0"/>
              <a:gd fmla="*/ 2147483646 h 1218" name="T1"/>
              <a:gd fmla="*/ 2147483646 w 1428" name="T2"/>
              <a:gd fmla="*/ 2147483646 h 1218" name="T3"/>
              <a:gd fmla="*/ 2147483646 w 1428" name="T4"/>
              <a:gd fmla="*/ 2147483646 h 1218" name="T5"/>
              <a:gd fmla="*/ 2147483646 w 1428" name="T6"/>
              <a:gd fmla="*/ 2147483646 h 1218" name="T7"/>
              <a:gd fmla="*/ 2147483646 w 1428" name="T8"/>
              <a:gd fmla="*/ 2147483646 h 1218" name="T9"/>
              <a:gd fmla="*/ 2147483646 w 1428" name="T10"/>
              <a:gd fmla="*/ 2147483646 h 1218" name="T11"/>
              <a:gd fmla="*/ 2147483646 w 1428" name="T12"/>
              <a:gd fmla="*/ 2147483646 h 1218" name="T13"/>
              <a:gd fmla="*/ 2147483646 w 1428" name="T14"/>
              <a:gd fmla="*/ 2147483646 h 1218" name="T15"/>
              <a:gd fmla="*/ 2147483646 w 1428" name="T16"/>
              <a:gd fmla="*/ 2147483646 h 1218" name="T17"/>
              <a:gd fmla="*/ 2147483646 w 1428" name="T18"/>
              <a:gd fmla="*/ 2147483646 h 1218" name="T19"/>
              <a:gd fmla="*/ 2147483646 w 1428" name="T20"/>
              <a:gd fmla="*/ 2147483646 h 1218" name="T21"/>
              <a:gd fmla="*/ 2147483646 w 1428" name="T22"/>
              <a:gd fmla="*/ 2147483646 h 1218" name="T23"/>
              <a:gd fmla="*/ 2147483646 w 1428" name="T24"/>
              <a:gd fmla="*/ 2147483646 h 1218" name="T25"/>
              <a:gd fmla="*/ 2147483646 w 1428" name="T26"/>
              <a:gd fmla="*/ 2147483646 h 1218" name="T27"/>
              <a:gd fmla="*/ 2147483646 w 1428" name="T28"/>
              <a:gd fmla="*/ 2147483646 h 1218" name="T29"/>
              <a:gd fmla="*/ 2147483646 w 1428" name="T30"/>
              <a:gd fmla="*/ 2147483646 h 1218" name="T31"/>
              <a:gd fmla="*/ 2147483646 w 1428" name="T32"/>
              <a:gd fmla="*/ 2147483646 h 1218" name="T33"/>
              <a:gd fmla="*/ 2147483646 w 1428" name="T34"/>
              <a:gd fmla="*/ 2147483646 h 1218" name="T35"/>
              <a:gd fmla="*/ 2147483646 w 1428" name="T36"/>
              <a:gd fmla="*/ 2147483646 h 1218" name="T37"/>
              <a:gd fmla="*/ 2147483646 w 1428" name="T38"/>
              <a:gd fmla="*/ 2147483646 h 1218" name="T39"/>
              <a:gd fmla="*/ 2147483646 w 1428" name="T40"/>
              <a:gd fmla="*/ 2147483646 h 1218" name="T41"/>
              <a:gd fmla="*/ 2147483646 w 1428" name="T42"/>
              <a:gd fmla="*/ 2147483646 h 1218" name="T43"/>
              <a:gd fmla="*/ 0 w 1428" name="T44"/>
              <a:gd fmla="*/ 2147483646 h 1218" name="T45"/>
              <a:gd fmla="*/ 2147483646 w 1428" name="T46"/>
              <a:gd fmla="*/ 2147483646 h 1218" name="T47"/>
              <a:gd fmla="*/ 2147483646 w 1428" name="T48"/>
              <a:gd fmla="*/ 2147483646 h 1218" name="T49"/>
              <a:gd fmla="*/ 2147483646 w 1428" name="T50"/>
              <a:gd fmla="*/ 2147483646 h 1218" name="T51"/>
              <a:gd fmla="*/ 2147483646 w 1428" name="T52"/>
              <a:gd fmla="*/ 2147483646 h 1218" name="T53"/>
              <a:gd fmla="*/ 2147483646 w 1428" name="T54"/>
              <a:gd fmla="*/ 2147483646 h 1218" name="T55"/>
              <a:gd fmla="*/ 2147483646 w 1428" name="T56"/>
              <a:gd fmla="*/ 2147483646 h 1218" name="T57"/>
              <a:gd fmla="*/ 2147483646 w 1428" name="T58"/>
              <a:gd fmla="*/ 2147483646 h 1218" name="T59"/>
              <a:gd fmla="*/ 2147483646 w 1428" name="T60"/>
              <a:gd fmla="*/ 2147483646 h 1218" name="T61"/>
              <a:gd fmla="*/ 2147483646 w 1428" name="T62"/>
              <a:gd fmla="*/ 2147483646 h 1218" name="T63"/>
              <a:gd fmla="*/ 2147483646 w 1428" name="T64"/>
              <a:gd fmla="*/ 2147483646 h 1218" name="T65"/>
              <a:gd fmla="*/ 2147483646 w 1428" name="T66"/>
              <a:gd fmla="*/ 2147483646 h 1218" name="T67"/>
              <a:gd fmla="*/ 2147483646 w 1428" name="T68"/>
              <a:gd fmla="*/ 2147483646 h 1218" name="T69"/>
              <a:gd fmla="*/ 2147483646 w 1428" name="T70"/>
              <a:gd fmla="*/ 2147483646 h 1218" name="T71"/>
              <a:gd fmla="*/ 2147483646 w 1428" name="T72"/>
              <a:gd fmla="*/ 2147483646 h 1218" name="T73"/>
              <a:gd fmla="*/ 2147483646 w 1428" name="T74"/>
              <a:gd fmla="*/ 2147483646 h 1218" name="T75"/>
              <a:gd fmla="*/ 2147483646 w 1428" name="T76"/>
              <a:gd fmla="*/ 2147483646 h 1218" name="T77"/>
              <a:gd fmla="*/ 2147483646 w 1428" name="T78"/>
              <a:gd fmla="*/ 2147483646 h 1218" name="T79"/>
              <a:gd fmla="*/ 2147483646 w 1428" name="T80"/>
              <a:gd fmla="*/ 2147483646 h 1218" name="T81"/>
              <a:gd fmla="*/ 2147483646 w 1428" name="T82"/>
              <a:gd fmla="*/ 2147483646 h 1218" name="T83"/>
              <a:gd fmla="*/ 2147483646 w 1428" name="T84"/>
              <a:gd fmla="*/ 2147483646 h 1218" name="T85"/>
              <a:gd fmla="*/ 2147483646 w 1428" name="T86"/>
              <a:gd fmla="*/ 2147483646 h 1218" name="T87"/>
              <a:gd fmla="*/ 2147483646 w 1428" name="T88"/>
              <a:gd fmla="*/ 2147483646 h 1218" name="T89"/>
              <a:gd fmla="*/ 2147483646 w 1428" name="T90"/>
              <a:gd fmla="*/ 2147483646 h 1218" name="T91"/>
              <a:gd fmla="*/ 2147483646 w 1428" name="T92"/>
              <a:gd fmla="*/ 2147483646 h 1218" name="T93"/>
              <a:gd fmla="*/ 2147483646 w 1428" name="T94"/>
              <a:gd fmla="*/ 2147483646 h 1218" name="T95"/>
              <a:gd fmla="*/ 2147483646 w 1428" name="T96"/>
              <a:gd fmla="*/ 2147483646 h 1218" name="T97"/>
              <a:gd fmla="*/ 2147483646 w 1428" name="T98"/>
              <a:gd fmla="*/ 2147483646 h 1218" name="T99"/>
              <a:gd fmla="*/ 2147483646 w 1428" name="T100"/>
              <a:gd fmla="*/ 2147483646 h 1218" name="T101"/>
              <a:gd fmla="*/ 2147483646 w 1428" name="T102"/>
              <a:gd fmla="*/ 2147483646 h 1218" name="T103"/>
              <a:gd fmla="*/ 2147483646 w 1428" name="T104"/>
              <a:gd fmla="*/ 2147483646 h 1218" name="T105"/>
              <a:gd fmla="*/ 2147483646 w 1428" name="T106"/>
              <a:gd fmla="*/ 2147483646 h 1218" name="T107"/>
              <a:gd fmla="*/ 2147483646 w 1428" name="T108"/>
              <a:gd fmla="*/ 2147483646 h 1218" name="T109"/>
              <a:gd fmla="*/ 2147483646 w 1428" name="T110"/>
              <a:gd fmla="*/ 2147483646 h 1218" name="T111"/>
              <a:gd fmla="*/ 2147483646 w 1428" name="T112"/>
              <a:gd fmla="*/ 2147483646 h 1218" name="T113"/>
              <a:gd fmla="*/ 2147483646 w 1428" name="T114"/>
              <a:gd fmla="*/ 2147483646 h 1218" name="T115"/>
              <a:gd fmla="*/ 2147483646 w 1428" name="T116"/>
              <a:gd fmla="*/ 2147483646 h 1218"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b" l="0" r="r" t="0"/>
            <a:pathLst>
              <a:path h="1218" w="1428">
                <a:moveTo>
                  <a:pt x="1398" y="128"/>
                </a:moveTo>
                <a:lnTo>
                  <a:pt x="1394" y="112"/>
                </a:lnTo>
                <a:lnTo>
                  <a:pt x="1378" y="86"/>
                </a:lnTo>
                <a:lnTo>
                  <a:pt x="1366" y="80"/>
                </a:lnTo>
                <a:lnTo>
                  <a:pt x="1354" y="86"/>
                </a:lnTo>
                <a:lnTo>
                  <a:pt x="1348" y="100"/>
                </a:lnTo>
                <a:lnTo>
                  <a:pt x="1346" y="102"/>
                </a:lnTo>
                <a:lnTo>
                  <a:pt x="1344" y="102"/>
                </a:lnTo>
                <a:lnTo>
                  <a:pt x="1322" y="106"/>
                </a:lnTo>
                <a:lnTo>
                  <a:pt x="1318" y="108"/>
                </a:lnTo>
                <a:lnTo>
                  <a:pt x="1316" y="112"/>
                </a:lnTo>
                <a:lnTo>
                  <a:pt x="1310" y="116"/>
                </a:lnTo>
                <a:lnTo>
                  <a:pt x="1298" y="126"/>
                </a:lnTo>
                <a:lnTo>
                  <a:pt x="1296" y="128"/>
                </a:lnTo>
                <a:lnTo>
                  <a:pt x="1286" y="130"/>
                </a:lnTo>
                <a:lnTo>
                  <a:pt x="1276" y="126"/>
                </a:lnTo>
                <a:lnTo>
                  <a:pt x="1264" y="118"/>
                </a:lnTo>
                <a:lnTo>
                  <a:pt x="1262" y="116"/>
                </a:lnTo>
                <a:lnTo>
                  <a:pt x="1244" y="96"/>
                </a:lnTo>
                <a:lnTo>
                  <a:pt x="1240" y="90"/>
                </a:lnTo>
                <a:lnTo>
                  <a:pt x="1238" y="84"/>
                </a:lnTo>
                <a:lnTo>
                  <a:pt x="1238" y="62"/>
                </a:lnTo>
                <a:lnTo>
                  <a:pt x="1238" y="60"/>
                </a:lnTo>
                <a:lnTo>
                  <a:pt x="1242" y="56"/>
                </a:lnTo>
                <a:lnTo>
                  <a:pt x="1218" y="48"/>
                </a:lnTo>
                <a:lnTo>
                  <a:pt x="1218" y="56"/>
                </a:lnTo>
                <a:lnTo>
                  <a:pt x="1216" y="60"/>
                </a:lnTo>
                <a:lnTo>
                  <a:pt x="1210" y="64"/>
                </a:lnTo>
                <a:lnTo>
                  <a:pt x="1202" y="68"/>
                </a:lnTo>
                <a:lnTo>
                  <a:pt x="1200" y="68"/>
                </a:lnTo>
                <a:lnTo>
                  <a:pt x="1200" y="66"/>
                </a:lnTo>
                <a:lnTo>
                  <a:pt x="1188" y="64"/>
                </a:lnTo>
                <a:lnTo>
                  <a:pt x="1190" y="72"/>
                </a:lnTo>
                <a:lnTo>
                  <a:pt x="1170" y="60"/>
                </a:lnTo>
                <a:lnTo>
                  <a:pt x="1168" y="60"/>
                </a:lnTo>
                <a:lnTo>
                  <a:pt x="1168" y="58"/>
                </a:lnTo>
                <a:lnTo>
                  <a:pt x="1164" y="46"/>
                </a:lnTo>
                <a:lnTo>
                  <a:pt x="1162" y="32"/>
                </a:lnTo>
                <a:lnTo>
                  <a:pt x="1164" y="22"/>
                </a:lnTo>
                <a:lnTo>
                  <a:pt x="1166" y="16"/>
                </a:lnTo>
                <a:lnTo>
                  <a:pt x="1172" y="6"/>
                </a:lnTo>
                <a:lnTo>
                  <a:pt x="1170" y="0"/>
                </a:lnTo>
                <a:lnTo>
                  <a:pt x="1150" y="2"/>
                </a:lnTo>
                <a:lnTo>
                  <a:pt x="1142" y="4"/>
                </a:lnTo>
                <a:lnTo>
                  <a:pt x="1136" y="8"/>
                </a:lnTo>
                <a:lnTo>
                  <a:pt x="1132" y="14"/>
                </a:lnTo>
                <a:lnTo>
                  <a:pt x="1128" y="22"/>
                </a:lnTo>
                <a:lnTo>
                  <a:pt x="1116" y="40"/>
                </a:lnTo>
                <a:lnTo>
                  <a:pt x="1128" y="40"/>
                </a:lnTo>
                <a:lnTo>
                  <a:pt x="1130" y="40"/>
                </a:lnTo>
                <a:lnTo>
                  <a:pt x="1140" y="44"/>
                </a:lnTo>
                <a:lnTo>
                  <a:pt x="1142" y="44"/>
                </a:lnTo>
                <a:lnTo>
                  <a:pt x="1142" y="46"/>
                </a:lnTo>
                <a:lnTo>
                  <a:pt x="1142" y="48"/>
                </a:lnTo>
                <a:lnTo>
                  <a:pt x="1144" y="64"/>
                </a:lnTo>
                <a:lnTo>
                  <a:pt x="1150" y="80"/>
                </a:lnTo>
                <a:lnTo>
                  <a:pt x="1150" y="82"/>
                </a:lnTo>
                <a:lnTo>
                  <a:pt x="1150" y="84"/>
                </a:lnTo>
                <a:lnTo>
                  <a:pt x="1122" y="136"/>
                </a:lnTo>
                <a:lnTo>
                  <a:pt x="1120" y="142"/>
                </a:lnTo>
                <a:lnTo>
                  <a:pt x="1118" y="154"/>
                </a:lnTo>
                <a:lnTo>
                  <a:pt x="1114" y="190"/>
                </a:lnTo>
                <a:lnTo>
                  <a:pt x="1114" y="192"/>
                </a:lnTo>
                <a:lnTo>
                  <a:pt x="1104" y="212"/>
                </a:lnTo>
                <a:lnTo>
                  <a:pt x="1110" y="220"/>
                </a:lnTo>
                <a:lnTo>
                  <a:pt x="1110" y="222"/>
                </a:lnTo>
                <a:lnTo>
                  <a:pt x="1110" y="236"/>
                </a:lnTo>
                <a:lnTo>
                  <a:pt x="1110" y="242"/>
                </a:lnTo>
                <a:lnTo>
                  <a:pt x="1108" y="244"/>
                </a:lnTo>
                <a:lnTo>
                  <a:pt x="1106" y="244"/>
                </a:lnTo>
                <a:lnTo>
                  <a:pt x="1098" y="250"/>
                </a:lnTo>
                <a:lnTo>
                  <a:pt x="1088" y="262"/>
                </a:lnTo>
                <a:lnTo>
                  <a:pt x="1052" y="302"/>
                </a:lnTo>
                <a:lnTo>
                  <a:pt x="1050" y="304"/>
                </a:lnTo>
                <a:lnTo>
                  <a:pt x="1048" y="304"/>
                </a:lnTo>
                <a:lnTo>
                  <a:pt x="1046" y="302"/>
                </a:lnTo>
                <a:lnTo>
                  <a:pt x="1030" y="292"/>
                </a:lnTo>
                <a:lnTo>
                  <a:pt x="1020" y="282"/>
                </a:lnTo>
                <a:lnTo>
                  <a:pt x="1014" y="280"/>
                </a:lnTo>
                <a:lnTo>
                  <a:pt x="1008" y="278"/>
                </a:lnTo>
                <a:lnTo>
                  <a:pt x="982" y="276"/>
                </a:lnTo>
                <a:lnTo>
                  <a:pt x="982" y="314"/>
                </a:lnTo>
                <a:lnTo>
                  <a:pt x="966" y="384"/>
                </a:lnTo>
                <a:lnTo>
                  <a:pt x="964" y="392"/>
                </a:lnTo>
                <a:lnTo>
                  <a:pt x="964" y="402"/>
                </a:lnTo>
                <a:lnTo>
                  <a:pt x="962" y="432"/>
                </a:lnTo>
                <a:lnTo>
                  <a:pt x="968" y="440"/>
                </a:lnTo>
                <a:lnTo>
                  <a:pt x="974" y="430"/>
                </a:lnTo>
                <a:lnTo>
                  <a:pt x="974" y="428"/>
                </a:lnTo>
                <a:lnTo>
                  <a:pt x="994" y="420"/>
                </a:lnTo>
                <a:lnTo>
                  <a:pt x="1044" y="428"/>
                </a:lnTo>
                <a:lnTo>
                  <a:pt x="1050" y="420"/>
                </a:lnTo>
                <a:lnTo>
                  <a:pt x="1058" y="408"/>
                </a:lnTo>
                <a:lnTo>
                  <a:pt x="1060" y="406"/>
                </a:lnTo>
                <a:lnTo>
                  <a:pt x="1080" y="402"/>
                </a:lnTo>
                <a:lnTo>
                  <a:pt x="1106" y="400"/>
                </a:lnTo>
                <a:lnTo>
                  <a:pt x="1112" y="404"/>
                </a:lnTo>
                <a:lnTo>
                  <a:pt x="1120" y="410"/>
                </a:lnTo>
                <a:lnTo>
                  <a:pt x="1136" y="428"/>
                </a:lnTo>
                <a:lnTo>
                  <a:pt x="1158" y="440"/>
                </a:lnTo>
                <a:lnTo>
                  <a:pt x="1174" y="452"/>
                </a:lnTo>
                <a:lnTo>
                  <a:pt x="1184" y="462"/>
                </a:lnTo>
                <a:lnTo>
                  <a:pt x="1190" y="472"/>
                </a:lnTo>
                <a:lnTo>
                  <a:pt x="1192" y="480"/>
                </a:lnTo>
                <a:lnTo>
                  <a:pt x="1190" y="488"/>
                </a:lnTo>
                <a:lnTo>
                  <a:pt x="1186" y="492"/>
                </a:lnTo>
                <a:lnTo>
                  <a:pt x="1184" y="496"/>
                </a:lnTo>
                <a:lnTo>
                  <a:pt x="1174" y="498"/>
                </a:lnTo>
                <a:lnTo>
                  <a:pt x="1172" y="498"/>
                </a:lnTo>
                <a:lnTo>
                  <a:pt x="1126" y="498"/>
                </a:lnTo>
                <a:lnTo>
                  <a:pt x="1112" y="498"/>
                </a:lnTo>
                <a:lnTo>
                  <a:pt x="1102" y="500"/>
                </a:lnTo>
                <a:lnTo>
                  <a:pt x="1084" y="512"/>
                </a:lnTo>
                <a:lnTo>
                  <a:pt x="1054" y="532"/>
                </a:lnTo>
                <a:lnTo>
                  <a:pt x="1042" y="536"/>
                </a:lnTo>
                <a:lnTo>
                  <a:pt x="1034" y="538"/>
                </a:lnTo>
                <a:lnTo>
                  <a:pt x="1018" y="540"/>
                </a:lnTo>
                <a:lnTo>
                  <a:pt x="1010" y="580"/>
                </a:lnTo>
                <a:lnTo>
                  <a:pt x="1004" y="596"/>
                </a:lnTo>
                <a:lnTo>
                  <a:pt x="1000" y="602"/>
                </a:lnTo>
                <a:lnTo>
                  <a:pt x="996" y="606"/>
                </a:lnTo>
                <a:lnTo>
                  <a:pt x="990" y="610"/>
                </a:lnTo>
                <a:lnTo>
                  <a:pt x="984" y="614"/>
                </a:lnTo>
                <a:lnTo>
                  <a:pt x="966" y="620"/>
                </a:lnTo>
                <a:lnTo>
                  <a:pt x="956" y="622"/>
                </a:lnTo>
                <a:lnTo>
                  <a:pt x="946" y="626"/>
                </a:lnTo>
                <a:lnTo>
                  <a:pt x="926" y="634"/>
                </a:lnTo>
                <a:lnTo>
                  <a:pt x="914" y="664"/>
                </a:lnTo>
                <a:lnTo>
                  <a:pt x="912" y="664"/>
                </a:lnTo>
                <a:lnTo>
                  <a:pt x="910" y="664"/>
                </a:lnTo>
                <a:lnTo>
                  <a:pt x="874" y="680"/>
                </a:lnTo>
                <a:lnTo>
                  <a:pt x="872" y="680"/>
                </a:lnTo>
                <a:lnTo>
                  <a:pt x="854" y="676"/>
                </a:lnTo>
                <a:lnTo>
                  <a:pt x="834" y="670"/>
                </a:lnTo>
                <a:lnTo>
                  <a:pt x="820" y="664"/>
                </a:lnTo>
                <a:lnTo>
                  <a:pt x="814" y="662"/>
                </a:lnTo>
                <a:lnTo>
                  <a:pt x="806" y="660"/>
                </a:lnTo>
                <a:lnTo>
                  <a:pt x="798" y="660"/>
                </a:lnTo>
                <a:lnTo>
                  <a:pt x="790" y="662"/>
                </a:lnTo>
                <a:lnTo>
                  <a:pt x="784" y="672"/>
                </a:lnTo>
                <a:lnTo>
                  <a:pt x="778" y="684"/>
                </a:lnTo>
                <a:lnTo>
                  <a:pt x="776" y="698"/>
                </a:lnTo>
                <a:lnTo>
                  <a:pt x="776" y="710"/>
                </a:lnTo>
                <a:lnTo>
                  <a:pt x="778" y="722"/>
                </a:lnTo>
                <a:lnTo>
                  <a:pt x="782" y="728"/>
                </a:lnTo>
                <a:lnTo>
                  <a:pt x="786" y="728"/>
                </a:lnTo>
                <a:lnTo>
                  <a:pt x="794" y="724"/>
                </a:lnTo>
                <a:lnTo>
                  <a:pt x="794" y="748"/>
                </a:lnTo>
                <a:lnTo>
                  <a:pt x="794" y="756"/>
                </a:lnTo>
                <a:lnTo>
                  <a:pt x="792" y="760"/>
                </a:lnTo>
                <a:lnTo>
                  <a:pt x="790" y="764"/>
                </a:lnTo>
                <a:lnTo>
                  <a:pt x="786" y="768"/>
                </a:lnTo>
                <a:lnTo>
                  <a:pt x="776" y="774"/>
                </a:lnTo>
                <a:lnTo>
                  <a:pt x="764" y="778"/>
                </a:lnTo>
                <a:lnTo>
                  <a:pt x="758" y="780"/>
                </a:lnTo>
                <a:lnTo>
                  <a:pt x="750" y="786"/>
                </a:lnTo>
                <a:lnTo>
                  <a:pt x="738" y="798"/>
                </a:lnTo>
                <a:lnTo>
                  <a:pt x="724" y="818"/>
                </a:lnTo>
                <a:lnTo>
                  <a:pt x="708" y="844"/>
                </a:lnTo>
                <a:lnTo>
                  <a:pt x="706" y="844"/>
                </a:lnTo>
                <a:lnTo>
                  <a:pt x="682" y="860"/>
                </a:lnTo>
                <a:lnTo>
                  <a:pt x="688" y="860"/>
                </a:lnTo>
                <a:lnTo>
                  <a:pt x="688" y="862"/>
                </a:lnTo>
                <a:lnTo>
                  <a:pt x="688" y="864"/>
                </a:lnTo>
                <a:lnTo>
                  <a:pt x="686" y="868"/>
                </a:lnTo>
                <a:lnTo>
                  <a:pt x="678" y="868"/>
                </a:lnTo>
                <a:lnTo>
                  <a:pt x="610" y="868"/>
                </a:lnTo>
                <a:lnTo>
                  <a:pt x="584" y="868"/>
                </a:lnTo>
                <a:lnTo>
                  <a:pt x="558" y="870"/>
                </a:lnTo>
                <a:lnTo>
                  <a:pt x="532" y="874"/>
                </a:lnTo>
                <a:lnTo>
                  <a:pt x="510" y="882"/>
                </a:lnTo>
                <a:lnTo>
                  <a:pt x="488" y="890"/>
                </a:lnTo>
                <a:lnTo>
                  <a:pt x="468" y="900"/>
                </a:lnTo>
                <a:lnTo>
                  <a:pt x="450" y="914"/>
                </a:lnTo>
                <a:lnTo>
                  <a:pt x="434" y="928"/>
                </a:lnTo>
                <a:lnTo>
                  <a:pt x="432" y="930"/>
                </a:lnTo>
                <a:lnTo>
                  <a:pt x="430" y="930"/>
                </a:lnTo>
                <a:lnTo>
                  <a:pt x="402" y="934"/>
                </a:lnTo>
                <a:lnTo>
                  <a:pt x="400" y="934"/>
                </a:lnTo>
                <a:lnTo>
                  <a:pt x="398" y="934"/>
                </a:lnTo>
                <a:lnTo>
                  <a:pt x="390" y="916"/>
                </a:lnTo>
                <a:lnTo>
                  <a:pt x="362" y="922"/>
                </a:lnTo>
                <a:lnTo>
                  <a:pt x="350" y="922"/>
                </a:lnTo>
                <a:lnTo>
                  <a:pt x="336" y="920"/>
                </a:lnTo>
                <a:lnTo>
                  <a:pt x="320" y="916"/>
                </a:lnTo>
                <a:lnTo>
                  <a:pt x="304" y="908"/>
                </a:lnTo>
                <a:lnTo>
                  <a:pt x="290" y="900"/>
                </a:lnTo>
                <a:lnTo>
                  <a:pt x="274" y="892"/>
                </a:lnTo>
                <a:lnTo>
                  <a:pt x="246" y="872"/>
                </a:lnTo>
                <a:lnTo>
                  <a:pt x="238" y="866"/>
                </a:lnTo>
                <a:lnTo>
                  <a:pt x="226" y="860"/>
                </a:lnTo>
                <a:lnTo>
                  <a:pt x="214" y="856"/>
                </a:lnTo>
                <a:lnTo>
                  <a:pt x="202" y="854"/>
                </a:lnTo>
                <a:lnTo>
                  <a:pt x="176" y="852"/>
                </a:lnTo>
                <a:lnTo>
                  <a:pt x="148" y="856"/>
                </a:lnTo>
                <a:lnTo>
                  <a:pt x="116" y="858"/>
                </a:lnTo>
                <a:lnTo>
                  <a:pt x="86" y="856"/>
                </a:lnTo>
                <a:lnTo>
                  <a:pt x="68" y="854"/>
                </a:lnTo>
                <a:lnTo>
                  <a:pt x="48" y="852"/>
                </a:lnTo>
                <a:lnTo>
                  <a:pt x="2" y="838"/>
                </a:lnTo>
                <a:lnTo>
                  <a:pt x="0" y="844"/>
                </a:lnTo>
                <a:lnTo>
                  <a:pt x="2" y="844"/>
                </a:lnTo>
                <a:lnTo>
                  <a:pt x="2" y="852"/>
                </a:lnTo>
                <a:lnTo>
                  <a:pt x="10" y="868"/>
                </a:lnTo>
                <a:lnTo>
                  <a:pt x="26" y="888"/>
                </a:lnTo>
                <a:lnTo>
                  <a:pt x="28" y="892"/>
                </a:lnTo>
                <a:lnTo>
                  <a:pt x="24" y="906"/>
                </a:lnTo>
                <a:lnTo>
                  <a:pt x="24" y="908"/>
                </a:lnTo>
                <a:lnTo>
                  <a:pt x="14" y="920"/>
                </a:lnTo>
                <a:lnTo>
                  <a:pt x="24" y="930"/>
                </a:lnTo>
                <a:lnTo>
                  <a:pt x="30" y="936"/>
                </a:lnTo>
                <a:lnTo>
                  <a:pt x="30" y="940"/>
                </a:lnTo>
                <a:lnTo>
                  <a:pt x="34" y="956"/>
                </a:lnTo>
                <a:lnTo>
                  <a:pt x="46" y="968"/>
                </a:lnTo>
                <a:lnTo>
                  <a:pt x="46" y="970"/>
                </a:lnTo>
                <a:lnTo>
                  <a:pt x="46" y="980"/>
                </a:lnTo>
                <a:lnTo>
                  <a:pt x="46" y="988"/>
                </a:lnTo>
                <a:lnTo>
                  <a:pt x="54" y="994"/>
                </a:lnTo>
                <a:lnTo>
                  <a:pt x="58" y="992"/>
                </a:lnTo>
                <a:lnTo>
                  <a:pt x="60" y="990"/>
                </a:lnTo>
                <a:lnTo>
                  <a:pt x="64" y="982"/>
                </a:lnTo>
                <a:lnTo>
                  <a:pt x="72" y="980"/>
                </a:lnTo>
                <a:lnTo>
                  <a:pt x="78" y="976"/>
                </a:lnTo>
                <a:lnTo>
                  <a:pt x="120" y="972"/>
                </a:lnTo>
                <a:lnTo>
                  <a:pt x="138" y="966"/>
                </a:lnTo>
                <a:lnTo>
                  <a:pt x="142" y="964"/>
                </a:lnTo>
                <a:lnTo>
                  <a:pt x="150" y="984"/>
                </a:lnTo>
                <a:lnTo>
                  <a:pt x="150" y="990"/>
                </a:lnTo>
                <a:lnTo>
                  <a:pt x="148" y="996"/>
                </a:lnTo>
                <a:lnTo>
                  <a:pt x="126" y="1028"/>
                </a:lnTo>
                <a:lnTo>
                  <a:pt x="126" y="1034"/>
                </a:lnTo>
                <a:lnTo>
                  <a:pt x="138" y="1044"/>
                </a:lnTo>
                <a:lnTo>
                  <a:pt x="148" y="1052"/>
                </a:lnTo>
                <a:lnTo>
                  <a:pt x="156" y="1060"/>
                </a:lnTo>
                <a:lnTo>
                  <a:pt x="162" y="1064"/>
                </a:lnTo>
                <a:lnTo>
                  <a:pt x="170" y="1068"/>
                </a:lnTo>
                <a:lnTo>
                  <a:pt x="178" y="1076"/>
                </a:lnTo>
                <a:lnTo>
                  <a:pt x="178" y="1078"/>
                </a:lnTo>
                <a:lnTo>
                  <a:pt x="186" y="1082"/>
                </a:lnTo>
                <a:lnTo>
                  <a:pt x="190" y="1082"/>
                </a:lnTo>
                <a:lnTo>
                  <a:pt x="192" y="1092"/>
                </a:lnTo>
                <a:lnTo>
                  <a:pt x="194" y="1100"/>
                </a:lnTo>
                <a:lnTo>
                  <a:pt x="196" y="1112"/>
                </a:lnTo>
                <a:lnTo>
                  <a:pt x="216" y="1116"/>
                </a:lnTo>
                <a:lnTo>
                  <a:pt x="218" y="1116"/>
                </a:lnTo>
                <a:lnTo>
                  <a:pt x="218" y="1118"/>
                </a:lnTo>
                <a:lnTo>
                  <a:pt x="220" y="1120"/>
                </a:lnTo>
                <a:lnTo>
                  <a:pt x="226" y="1130"/>
                </a:lnTo>
                <a:lnTo>
                  <a:pt x="242" y="1136"/>
                </a:lnTo>
                <a:lnTo>
                  <a:pt x="252" y="1130"/>
                </a:lnTo>
                <a:lnTo>
                  <a:pt x="250" y="1124"/>
                </a:lnTo>
                <a:lnTo>
                  <a:pt x="240" y="1114"/>
                </a:lnTo>
                <a:lnTo>
                  <a:pt x="242" y="1112"/>
                </a:lnTo>
                <a:lnTo>
                  <a:pt x="250" y="1094"/>
                </a:lnTo>
                <a:lnTo>
                  <a:pt x="270" y="1094"/>
                </a:lnTo>
                <a:lnTo>
                  <a:pt x="270" y="1096"/>
                </a:lnTo>
                <a:lnTo>
                  <a:pt x="298" y="1104"/>
                </a:lnTo>
                <a:lnTo>
                  <a:pt x="314" y="1102"/>
                </a:lnTo>
                <a:lnTo>
                  <a:pt x="326" y="1092"/>
                </a:lnTo>
                <a:lnTo>
                  <a:pt x="334" y="1080"/>
                </a:lnTo>
                <a:lnTo>
                  <a:pt x="342" y="1074"/>
                </a:lnTo>
                <a:lnTo>
                  <a:pt x="348" y="1070"/>
                </a:lnTo>
                <a:lnTo>
                  <a:pt x="354" y="1072"/>
                </a:lnTo>
                <a:lnTo>
                  <a:pt x="360" y="1070"/>
                </a:lnTo>
                <a:lnTo>
                  <a:pt x="368" y="1072"/>
                </a:lnTo>
                <a:lnTo>
                  <a:pt x="374" y="1072"/>
                </a:lnTo>
                <a:lnTo>
                  <a:pt x="374" y="1076"/>
                </a:lnTo>
                <a:lnTo>
                  <a:pt x="378" y="1084"/>
                </a:lnTo>
                <a:lnTo>
                  <a:pt x="382" y="1096"/>
                </a:lnTo>
                <a:lnTo>
                  <a:pt x="386" y="1108"/>
                </a:lnTo>
                <a:lnTo>
                  <a:pt x="386" y="1110"/>
                </a:lnTo>
                <a:lnTo>
                  <a:pt x="382" y="1124"/>
                </a:lnTo>
                <a:lnTo>
                  <a:pt x="368" y="1140"/>
                </a:lnTo>
                <a:lnTo>
                  <a:pt x="366" y="1142"/>
                </a:lnTo>
                <a:lnTo>
                  <a:pt x="338" y="1154"/>
                </a:lnTo>
                <a:lnTo>
                  <a:pt x="334" y="1162"/>
                </a:lnTo>
                <a:lnTo>
                  <a:pt x="330" y="1186"/>
                </a:lnTo>
                <a:lnTo>
                  <a:pt x="332" y="1196"/>
                </a:lnTo>
                <a:lnTo>
                  <a:pt x="340" y="1208"/>
                </a:lnTo>
                <a:lnTo>
                  <a:pt x="342" y="1212"/>
                </a:lnTo>
                <a:lnTo>
                  <a:pt x="352" y="1218"/>
                </a:lnTo>
                <a:lnTo>
                  <a:pt x="386" y="1218"/>
                </a:lnTo>
                <a:lnTo>
                  <a:pt x="414" y="1214"/>
                </a:lnTo>
                <a:lnTo>
                  <a:pt x="418" y="1210"/>
                </a:lnTo>
                <a:lnTo>
                  <a:pt x="424" y="1204"/>
                </a:lnTo>
                <a:lnTo>
                  <a:pt x="428" y="1204"/>
                </a:lnTo>
                <a:lnTo>
                  <a:pt x="448" y="1206"/>
                </a:lnTo>
                <a:lnTo>
                  <a:pt x="450" y="1204"/>
                </a:lnTo>
                <a:lnTo>
                  <a:pt x="448" y="1196"/>
                </a:lnTo>
                <a:lnTo>
                  <a:pt x="450" y="1188"/>
                </a:lnTo>
                <a:lnTo>
                  <a:pt x="458" y="1174"/>
                </a:lnTo>
                <a:lnTo>
                  <a:pt x="458" y="1148"/>
                </a:lnTo>
                <a:lnTo>
                  <a:pt x="474" y="1106"/>
                </a:lnTo>
                <a:lnTo>
                  <a:pt x="474" y="1104"/>
                </a:lnTo>
                <a:lnTo>
                  <a:pt x="500" y="1084"/>
                </a:lnTo>
                <a:lnTo>
                  <a:pt x="502" y="1082"/>
                </a:lnTo>
                <a:lnTo>
                  <a:pt x="522" y="1092"/>
                </a:lnTo>
                <a:lnTo>
                  <a:pt x="536" y="1102"/>
                </a:lnTo>
                <a:lnTo>
                  <a:pt x="538" y="1108"/>
                </a:lnTo>
                <a:lnTo>
                  <a:pt x="540" y="1110"/>
                </a:lnTo>
                <a:lnTo>
                  <a:pt x="538" y="1128"/>
                </a:lnTo>
                <a:lnTo>
                  <a:pt x="530" y="1140"/>
                </a:lnTo>
                <a:lnTo>
                  <a:pt x="526" y="1156"/>
                </a:lnTo>
                <a:lnTo>
                  <a:pt x="526" y="1172"/>
                </a:lnTo>
                <a:lnTo>
                  <a:pt x="530" y="1180"/>
                </a:lnTo>
                <a:lnTo>
                  <a:pt x="538" y="1180"/>
                </a:lnTo>
                <a:lnTo>
                  <a:pt x="540" y="1180"/>
                </a:lnTo>
                <a:lnTo>
                  <a:pt x="552" y="1180"/>
                </a:lnTo>
                <a:lnTo>
                  <a:pt x="556" y="1182"/>
                </a:lnTo>
                <a:lnTo>
                  <a:pt x="560" y="1186"/>
                </a:lnTo>
                <a:lnTo>
                  <a:pt x="566" y="1196"/>
                </a:lnTo>
                <a:lnTo>
                  <a:pt x="572" y="1200"/>
                </a:lnTo>
                <a:lnTo>
                  <a:pt x="574" y="1200"/>
                </a:lnTo>
                <a:lnTo>
                  <a:pt x="602" y="1212"/>
                </a:lnTo>
                <a:lnTo>
                  <a:pt x="614" y="1216"/>
                </a:lnTo>
                <a:lnTo>
                  <a:pt x="630" y="1214"/>
                </a:lnTo>
                <a:lnTo>
                  <a:pt x="638" y="1204"/>
                </a:lnTo>
                <a:lnTo>
                  <a:pt x="646" y="1164"/>
                </a:lnTo>
                <a:lnTo>
                  <a:pt x="648" y="1144"/>
                </a:lnTo>
                <a:lnTo>
                  <a:pt x="648" y="1142"/>
                </a:lnTo>
                <a:lnTo>
                  <a:pt x="650" y="1140"/>
                </a:lnTo>
                <a:lnTo>
                  <a:pt x="666" y="1128"/>
                </a:lnTo>
                <a:lnTo>
                  <a:pt x="674" y="1116"/>
                </a:lnTo>
                <a:lnTo>
                  <a:pt x="690" y="1108"/>
                </a:lnTo>
                <a:lnTo>
                  <a:pt x="700" y="1102"/>
                </a:lnTo>
                <a:lnTo>
                  <a:pt x="712" y="1098"/>
                </a:lnTo>
                <a:lnTo>
                  <a:pt x="706" y="1074"/>
                </a:lnTo>
                <a:lnTo>
                  <a:pt x="734" y="1076"/>
                </a:lnTo>
                <a:lnTo>
                  <a:pt x="734" y="1078"/>
                </a:lnTo>
                <a:lnTo>
                  <a:pt x="748" y="1084"/>
                </a:lnTo>
                <a:lnTo>
                  <a:pt x="748" y="1082"/>
                </a:lnTo>
                <a:lnTo>
                  <a:pt x="752" y="1068"/>
                </a:lnTo>
                <a:lnTo>
                  <a:pt x="752" y="1064"/>
                </a:lnTo>
                <a:lnTo>
                  <a:pt x="754" y="1066"/>
                </a:lnTo>
                <a:lnTo>
                  <a:pt x="756" y="1066"/>
                </a:lnTo>
                <a:lnTo>
                  <a:pt x="768" y="1068"/>
                </a:lnTo>
                <a:lnTo>
                  <a:pt x="774" y="1068"/>
                </a:lnTo>
                <a:lnTo>
                  <a:pt x="786" y="1056"/>
                </a:lnTo>
                <a:lnTo>
                  <a:pt x="788" y="1056"/>
                </a:lnTo>
                <a:lnTo>
                  <a:pt x="788" y="1054"/>
                </a:lnTo>
                <a:lnTo>
                  <a:pt x="790" y="1054"/>
                </a:lnTo>
                <a:lnTo>
                  <a:pt x="806" y="1052"/>
                </a:lnTo>
                <a:lnTo>
                  <a:pt x="818" y="1038"/>
                </a:lnTo>
                <a:lnTo>
                  <a:pt x="826" y="1028"/>
                </a:lnTo>
                <a:lnTo>
                  <a:pt x="826" y="1016"/>
                </a:lnTo>
                <a:lnTo>
                  <a:pt x="828" y="1010"/>
                </a:lnTo>
                <a:lnTo>
                  <a:pt x="834" y="1004"/>
                </a:lnTo>
                <a:lnTo>
                  <a:pt x="836" y="1004"/>
                </a:lnTo>
                <a:lnTo>
                  <a:pt x="850" y="1006"/>
                </a:lnTo>
                <a:lnTo>
                  <a:pt x="858" y="1002"/>
                </a:lnTo>
                <a:lnTo>
                  <a:pt x="860" y="992"/>
                </a:lnTo>
                <a:lnTo>
                  <a:pt x="876" y="986"/>
                </a:lnTo>
                <a:lnTo>
                  <a:pt x="878" y="986"/>
                </a:lnTo>
                <a:lnTo>
                  <a:pt x="898" y="988"/>
                </a:lnTo>
                <a:lnTo>
                  <a:pt x="914" y="984"/>
                </a:lnTo>
                <a:lnTo>
                  <a:pt x="922" y="976"/>
                </a:lnTo>
                <a:lnTo>
                  <a:pt x="930" y="962"/>
                </a:lnTo>
                <a:lnTo>
                  <a:pt x="918" y="950"/>
                </a:lnTo>
                <a:lnTo>
                  <a:pt x="918" y="948"/>
                </a:lnTo>
                <a:lnTo>
                  <a:pt x="914" y="940"/>
                </a:lnTo>
                <a:lnTo>
                  <a:pt x="912" y="924"/>
                </a:lnTo>
                <a:lnTo>
                  <a:pt x="918" y="912"/>
                </a:lnTo>
                <a:lnTo>
                  <a:pt x="920" y="904"/>
                </a:lnTo>
                <a:lnTo>
                  <a:pt x="928" y="896"/>
                </a:lnTo>
                <a:lnTo>
                  <a:pt x="936" y="878"/>
                </a:lnTo>
                <a:lnTo>
                  <a:pt x="936" y="876"/>
                </a:lnTo>
                <a:lnTo>
                  <a:pt x="938" y="876"/>
                </a:lnTo>
                <a:lnTo>
                  <a:pt x="946" y="864"/>
                </a:lnTo>
                <a:lnTo>
                  <a:pt x="958" y="840"/>
                </a:lnTo>
                <a:lnTo>
                  <a:pt x="968" y="856"/>
                </a:lnTo>
                <a:lnTo>
                  <a:pt x="970" y="856"/>
                </a:lnTo>
                <a:lnTo>
                  <a:pt x="970" y="858"/>
                </a:lnTo>
                <a:lnTo>
                  <a:pt x="974" y="874"/>
                </a:lnTo>
                <a:lnTo>
                  <a:pt x="976" y="890"/>
                </a:lnTo>
                <a:lnTo>
                  <a:pt x="986" y="896"/>
                </a:lnTo>
                <a:lnTo>
                  <a:pt x="988" y="896"/>
                </a:lnTo>
                <a:lnTo>
                  <a:pt x="990" y="896"/>
                </a:lnTo>
                <a:lnTo>
                  <a:pt x="992" y="896"/>
                </a:lnTo>
                <a:lnTo>
                  <a:pt x="1002" y="880"/>
                </a:lnTo>
                <a:lnTo>
                  <a:pt x="1006" y="864"/>
                </a:lnTo>
                <a:lnTo>
                  <a:pt x="1010" y="864"/>
                </a:lnTo>
                <a:lnTo>
                  <a:pt x="1012" y="864"/>
                </a:lnTo>
                <a:lnTo>
                  <a:pt x="1034" y="872"/>
                </a:lnTo>
                <a:lnTo>
                  <a:pt x="1046" y="864"/>
                </a:lnTo>
                <a:lnTo>
                  <a:pt x="1048" y="864"/>
                </a:lnTo>
                <a:lnTo>
                  <a:pt x="1060" y="862"/>
                </a:lnTo>
                <a:lnTo>
                  <a:pt x="1068" y="848"/>
                </a:lnTo>
                <a:lnTo>
                  <a:pt x="1068" y="832"/>
                </a:lnTo>
                <a:lnTo>
                  <a:pt x="1074" y="806"/>
                </a:lnTo>
                <a:lnTo>
                  <a:pt x="1074" y="808"/>
                </a:lnTo>
                <a:lnTo>
                  <a:pt x="1078" y="808"/>
                </a:lnTo>
                <a:lnTo>
                  <a:pt x="1094" y="812"/>
                </a:lnTo>
                <a:lnTo>
                  <a:pt x="1102" y="796"/>
                </a:lnTo>
                <a:lnTo>
                  <a:pt x="1104" y="796"/>
                </a:lnTo>
                <a:lnTo>
                  <a:pt x="1106" y="796"/>
                </a:lnTo>
                <a:lnTo>
                  <a:pt x="1122" y="796"/>
                </a:lnTo>
                <a:lnTo>
                  <a:pt x="1124" y="796"/>
                </a:lnTo>
                <a:lnTo>
                  <a:pt x="1126" y="796"/>
                </a:lnTo>
                <a:lnTo>
                  <a:pt x="1134" y="808"/>
                </a:lnTo>
                <a:lnTo>
                  <a:pt x="1134" y="810"/>
                </a:lnTo>
                <a:lnTo>
                  <a:pt x="1134" y="812"/>
                </a:lnTo>
                <a:lnTo>
                  <a:pt x="1136" y="828"/>
                </a:lnTo>
                <a:lnTo>
                  <a:pt x="1144" y="834"/>
                </a:lnTo>
                <a:lnTo>
                  <a:pt x="1154" y="824"/>
                </a:lnTo>
                <a:lnTo>
                  <a:pt x="1158" y="828"/>
                </a:lnTo>
                <a:lnTo>
                  <a:pt x="1162" y="834"/>
                </a:lnTo>
                <a:lnTo>
                  <a:pt x="1162" y="840"/>
                </a:lnTo>
                <a:lnTo>
                  <a:pt x="1162" y="854"/>
                </a:lnTo>
                <a:lnTo>
                  <a:pt x="1158" y="868"/>
                </a:lnTo>
                <a:lnTo>
                  <a:pt x="1162" y="876"/>
                </a:lnTo>
                <a:lnTo>
                  <a:pt x="1170" y="884"/>
                </a:lnTo>
                <a:lnTo>
                  <a:pt x="1202" y="888"/>
                </a:lnTo>
                <a:lnTo>
                  <a:pt x="1204" y="890"/>
                </a:lnTo>
                <a:lnTo>
                  <a:pt x="1206" y="890"/>
                </a:lnTo>
                <a:lnTo>
                  <a:pt x="1208" y="892"/>
                </a:lnTo>
                <a:lnTo>
                  <a:pt x="1218" y="880"/>
                </a:lnTo>
                <a:lnTo>
                  <a:pt x="1226" y="872"/>
                </a:lnTo>
                <a:lnTo>
                  <a:pt x="1222" y="860"/>
                </a:lnTo>
                <a:lnTo>
                  <a:pt x="1214" y="808"/>
                </a:lnTo>
                <a:lnTo>
                  <a:pt x="1238" y="820"/>
                </a:lnTo>
                <a:lnTo>
                  <a:pt x="1250" y="832"/>
                </a:lnTo>
                <a:lnTo>
                  <a:pt x="1256" y="838"/>
                </a:lnTo>
                <a:lnTo>
                  <a:pt x="1266" y="832"/>
                </a:lnTo>
                <a:lnTo>
                  <a:pt x="1298" y="796"/>
                </a:lnTo>
                <a:lnTo>
                  <a:pt x="1300" y="796"/>
                </a:lnTo>
                <a:lnTo>
                  <a:pt x="1312" y="786"/>
                </a:lnTo>
                <a:lnTo>
                  <a:pt x="1326" y="768"/>
                </a:lnTo>
                <a:lnTo>
                  <a:pt x="1326" y="766"/>
                </a:lnTo>
                <a:lnTo>
                  <a:pt x="1344" y="770"/>
                </a:lnTo>
                <a:lnTo>
                  <a:pt x="1354" y="770"/>
                </a:lnTo>
                <a:lnTo>
                  <a:pt x="1354" y="762"/>
                </a:lnTo>
                <a:lnTo>
                  <a:pt x="1356" y="756"/>
                </a:lnTo>
                <a:lnTo>
                  <a:pt x="1370" y="740"/>
                </a:lnTo>
                <a:lnTo>
                  <a:pt x="1374" y="736"/>
                </a:lnTo>
                <a:lnTo>
                  <a:pt x="1390" y="742"/>
                </a:lnTo>
                <a:lnTo>
                  <a:pt x="1408" y="740"/>
                </a:lnTo>
                <a:lnTo>
                  <a:pt x="1422" y="726"/>
                </a:lnTo>
                <a:lnTo>
                  <a:pt x="1428" y="714"/>
                </a:lnTo>
                <a:lnTo>
                  <a:pt x="1424" y="708"/>
                </a:lnTo>
                <a:lnTo>
                  <a:pt x="1412" y="714"/>
                </a:lnTo>
                <a:lnTo>
                  <a:pt x="1412" y="712"/>
                </a:lnTo>
                <a:lnTo>
                  <a:pt x="1410" y="712"/>
                </a:lnTo>
                <a:lnTo>
                  <a:pt x="1396" y="700"/>
                </a:lnTo>
                <a:lnTo>
                  <a:pt x="1396" y="698"/>
                </a:lnTo>
                <a:lnTo>
                  <a:pt x="1402" y="676"/>
                </a:lnTo>
                <a:lnTo>
                  <a:pt x="1402" y="660"/>
                </a:lnTo>
                <a:lnTo>
                  <a:pt x="1398" y="648"/>
                </a:lnTo>
                <a:lnTo>
                  <a:pt x="1388" y="644"/>
                </a:lnTo>
                <a:lnTo>
                  <a:pt x="1388" y="642"/>
                </a:lnTo>
                <a:lnTo>
                  <a:pt x="1386" y="642"/>
                </a:lnTo>
                <a:lnTo>
                  <a:pt x="1386" y="640"/>
                </a:lnTo>
                <a:lnTo>
                  <a:pt x="1376" y="622"/>
                </a:lnTo>
                <a:lnTo>
                  <a:pt x="1374" y="620"/>
                </a:lnTo>
                <a:lnTo>
                  <a:pt x="1362" y="636"/>
                </a:lnTo>
                <a:lnTo>
                  <a:pt x="1348" y="644"/>
                </a:lnTo>
                <a:lnTo>
                  <a:pt x="1344" y="646"/>
                </a:lnTo>
                <a:lnTo>
                  <a:pt x="1344" y="644"/>
                </a:lnTo>
                <a:lnTo>
                  <a:pt x="1342" y="644"/>
                </a:lnTo>
                <a:lnTo>
                  <a:pt x="1328" y="630"/>
                </a:lnTo>
                <a:lnTo>
                  <a:pt x="1328" y="628"/>
                </a:lnTo>
                <a:lnTo>
                  <a:pt x="1318" y="606"/>
                </a:lnTo>
                <a:lnTo>
                  <a:pt x="1314" y="590"/>
                </a:lnTo>
                <a:lnTo>
                  <a:pt x="1314" y="588"/>
                </a:lnTo>
                <a:lnTo>
                  <a:pt x="1314" y="564"/>
                </a:lnTo>
                <a:lnTo>
                  <a:pt x="1312" y="550"/>
                </a:lnTo>
                <a:lnTo>
                  <a:pt x="1300" y="546"/>
                </a:lnTo>
                <a:lnTo>
                  <a:pt x="1274" y="526"/>
                </a:lnTo>
                <a:lnTo>
                  <a:pt x="1276" y="524"/>
                </a:lnTo>
                <a:lnTo>
                  <a:pt x="1288" y="510"/>
                </a:lnTo>
                <a:lnTo>
                  <a:pt x="1288" y="508"/>
                </a:lnTo>
                <a:lnTo>
                  <a:pt x="1290" y="508"/>
                </a:lnTo>
                <a:lnTo>
                  <a:pt x="1302" y="508"/>
                </a:lnTo>
                <a:lnTo>
                  <a:pt x="1304" y="508"/>
                </a:lnTo>
                <a:lnTo>
                  <a:pt x="1310" y="510"/>
                </a:lnTo>
                <a:lnTo>
                  <a:pt x="1314" y="514"/>
                </a:lnTo>
                <a:lnTo>
                  <a:pt x="1326" y="522"/>
                </a:lnTo>
                <a:lnTo>
                  <a:pt x="1338" y="512"/>
                </a:lnTo>
                <a:lnTo>
                  <a:pt x="1346" y="500"/>
                </a:lnTo>
                <a:lnTo>
                  <a:pt x="1346" y="490"/>
                </a:lnTo>
                <a:lnTo>
                  <a:pt x="1344" y="464"/>
                </a:lnTo>
                <a:lnTo>
                  <a:pt x="1342" y="454"/>
                </a:lnTo>
                <a:lnTo>
                  <a:pt x="1324" y="452"/>
                </a:lnTo>
                <a:lnTo>
                  <a:pt x="1324" y="440"/>
                </a:lnTo>
                <a:lnTo>
                  <a:pt x="1308" y="420"/>
                </a:lnTo>
                <a:lnTo>
                  <a:pt x="1306" y="420"/>
                </a:lnTo>
                <a:lnTo>
                  <a:pt x="1298" y="406"/>
                </a:lnTo>
                <a:lnTo>
                  <a:pt x="1298" y="404"/>
                </a:lnTo>
                <a:lnTo>
                  <a:pt x="1298" y="402"/>
                </a:lnTo>
                <a:lnTo>
                  <a:pt x="1314" y="380"/>
                </a:lnTo>
                <a:lnTo>
                  <a:pt x="1314" y="378"/>
                </a:lnTo>
                <a:lnTo>
                  <a:pt x="1316" y="378"/>
                </a:lnTo>
                <a:lnTo>
                  <a:pt x="1316" y="376"/>
                </a:lnTo>
                <a:lnTo>
                  <a:pt x="1318" y="376"/>
                </a:lnTo>
                <a:lnTo>
                  <a:pt x="1324" y="376"/>
                </a:lnTo>
                <a:lnTo>
                  <a:pt x="1334" y="368"/>
                </a:lnTo>
                <a:lnTo>
                  <a:pt x="1344" y="336"/>
                </a:lnTo>
                <a:lnTo>
                  <a:pt x="1358" y="322"/>
                </a:lnTo>
                <a:lnTo>
                  <a:pt x="1358" y="320"/>
                </a:lnTo>
                <a:lnTo>
                  <a:pt x="1374" y="316"/>
                </a:lnTo>
                <a:lnTo>
                  <a:pt x="1374" y="318"/>
                </a:lnTo>
                <a:lnTo>
                  <a:pt x="1382" y="326"/>
                </a:lnTo>
                <a:lnTo>
                  <a:pt x="1386" y="328"/>
                </a:lnTo>
                <a:lnTo>
                  <a:pt x="1392" y="302"/>
                </a:lnTo>
                <a:lnTo>
                  <a:pt x="1386" y="284"/>
                </a:lnTo>
                <a:lnTo>
                  <a:pt x="1386" y="282"/>
                </a:lnTo>
                <a:lnTo>
                  <a:pt x="1388" y="262"/>
                </a:lnTo>
                <a:lnTo>
                  <a:pt x="1388" y="260"/>
                </a:lnTo>
                <a:lnTo>
                  <a:pt x="1398" y="250"/>
                </a:lnTo>
                <a:lnTo>
                  <a:pt x="1404" y="240"/>
                </a:lnTo>
                <a:lnTo>
                  <a:pt x="1404" y="230"/>
                </a:lnTo>
                <a:lnTo>
                  <a:pt x="1402" y="220"/>
                </a:lnTo>
                <a:lnTo>
                  <a:pt x="1398" y="204"/>
                </a:lnTo>
                <a:lnTo>
                  <a:pt x="1398" y="186"/>
                </a:lnTo>
                <a:lnTo>
                  <a:pt x="1398" y="184"/>
                </a:lnTo>
                <a:lnTo>
                  <a:pt x="1402" y="168"/>
                </a:lnTo>
                <a:lnTo>
                  <a:pt x="1398" y="158"/>
                </a:lnTo>
                <a:lnTo>
                  <a:pt x="1396" y="152"/>
                </a:lnTo>
                <a:lnTo>
                  <a:pt x="1398" y="128"/>
                </a:lnTo>
                <a:close/>
              </a:path>
            </a:pathLst>
          </a:custGeom>
          <a:solidFill>
            <a:srgbClr val="BFBFBF"/>
          </a:solidFill>
          <a:ln>
            <a:noFill/>
          </a:ln>
        </p:spPr>
        <p:txBody>
          <a:bodyPr/>
          <a:lstStyle/>
          <a:p>
            <a:endParaRPr altLang="en-US" lang="zh-CN">
              <a:cs typeface="+mn-ea"/>
              <a:sym typeface="+mn-lt"/>
            </a:endParaRPr>
          </a:p>
        </p:txBody>
      </p:sp>
      <p:sp>
        <p:nvSpPr>
          <p:cNvPr id="6" name="甘肃"/>
          <p:cNvSpPr/>
          <p:nvPr/>
        </p:nvSpPr>
        <p:spPr bwMode="auto">
          <a:xfrm>
            <a:off x="2789990" y="3108167"/>
            <a:ext cx="1345147" cy="1139197"/>
          </a:xfrm>
          <a:custGeom>
            <a:gdLst>
              <a:gd fmla="*/ 2147483646 w 912" name="T0"/>
              <a:gd fmla="*/ 2147483646 h 772" name="T1"/>
              <a:gd fmla="*/ 2147483646 w 912" name="T2"/>
              <a:gd fmla="*/ 2147483646 h 772" name="T3"/>
              <a:gd fmla="*/ 2147483646 w 912" name="T4"/>
              <a:gd fmla="*/ 2147483646 h 772" name="T5"/>
              <a:gd fmla="*/ 2147483646 w 912" name="T6"/>
              <a:gd fmla="*/ 2147483646 h 772" name="T7"/>
              <a:gd fmla="*/ 2147483646 w 912" name="T8"/>
              <a:gd fmla="*/ 2147483646 h 772" name="T9"/>
              <a:gd fmla="*/ 2147483646 w 912" name="T10"/>
              <a:gd fmla="*/ 2147483646 h 772" name="T11"/>
              <a:gd fmla="*/ 2147483646 w 912" name="T12"/>
              <a:gd fmla="*/ 2147483646 h 772" name="T13"/>
              <a:gd fmla="*/ 2147483646 w 912" name="T14"/>
              <a:gd fmla="*/ 2147483646 h 772" name="T15"/>
              <a:gd fmla="*/ 2147483646 w 912" name="T16"/>
              <a:gd fmla="*/ 2147483646 h 772" name="T17"/>
              <a:gd fmla="*/ 2147483646 w 912" name="T18"/>
              <a:gd fmla="*/ 2147483646 h 772" name="T19"/>
              <a:gd fmla="*/ 2147483646 w 912" name="T20"/>
              <a:gd fmla="*/ 2147483646 h 772" name="T21"/>
              <a:gd fmla="*/ 2147483646 w 912" name="T22"/>
              <a:gd fmla="*/ 2147483646 h 772" name="T23"/>
              <a:gd fmla="*/ 2147483646 w 912" name="T24"/>
              <a:gd fmla="*/ 2147483646 h 772" name="T25"/>
              <a:gd fmla="*/ 2147483646 w 912" name="T26"/>
              <a:gd fmla="*/ 2147483646 h 772" name="T27"/>
              <a:gd fmla="*/ 2147483646 w 912" name="T28"/>
              <a:gd fmla="*/ 2147483646 h 772" name="T29"/>
              <a:gd fmla="*/ 2147483646 w 912" name="T30"/>
              <a:gd fmla="*/ 2147483646 h 772" name="T31"/>
              <a:gd fmla="*/ 2147483646 w 912" name="T32"/>
              <a:gd fmla="*/ 2147483646 h 772" name="T33"/>
              <a:gd fmla="*/ 2147483646 w 912" name="T34"/>
              <a:gd fmla="*/ 2147483646 h 772" name="T35"/>
              <a:gd fmla="*/ 2147483646 w 912" name="T36"/>
              <a:gd fmla="*/ 2147483646 h 772" name="T37"/>
              <a:gd fmla="*/ 2147483646 w 912" name="T38"/>
              <a:gd fmla="*/ 2147483646 h 772" name="T39"/>
              <a:gd fmla="*/ 2147483646 w 912" name="T40"/>
              <a:gd fmla="*/ 2147483646 h 772" name="T41"/>
              <a:gd fmla="*/ 2147483646 w 912" name="T42"/>
              <a:gd fmla="*/ 2147483646 h 772" name="T43"/>
              <a:gd fmla="*/ 2147483646 w 912" name="T44"/>
              <a:gd fmla="*/ 2147483646 h 772" name="T45"/>
              <a:gd fmla="*/ 2147483646 w 912" name="T46"/>
              <a:gd fmla="*/ 2147483646 h 772" name="T47"/>
              <a:gd fmla="*/ 2147483646 w 912" name="T48"/>
              <a:gd fmla="*/ 2147483646 h 772" name="T49"/>
              <a:gd fmla="*/ 2147483646 w 912" name="T50"/>
              <a:gd fmla="*/ 2147483646 h 772" name="T51"/>
              <a:gd fmla="*/ 2147483646 w 912" name="T52"/>
              <a:gd fmla="*/ 2147483646 h 772" name="T53"/>
              <a:gd fmla="*/ 2147483646 w 912" name="T54"/>
              <a:gd fmla="*/ 2147483646 h 772" name="T55"/>
              <a:gd fmla="*/ 2147483646 w 912" name="T56"/>
              <a:gd fmla="*/ 2147483646 h 772" name="T57"/>
              <a:gd fmla="*/ 2147483646 w 912" name="T58"/>
              <a:gd fmla="*/ 2147483646 h 772" name="T59"/>
              <a:gd fmla="*/ 2147483646 w 912" name="T60"/>
              <a:gd fmla="*/ 2147483646 h 772" name="T61"/>
              <a:gd fmla="*/ 2147483646 w 912" name="T62"/>
              <a:gd fmla="*/ 2147483646 h 772" name="T63"/>
              <a:gd fmla="*/ 2147483646 w 912" name="T64"/>
              <a:gd fmla="*/ 2147483646 h 772" name="T65"/>
              <a:gd fmla="*/ 2147483646 w 912" name="T66"/>
              <a:gd fmla="*/ 2147483646 h 772" name="T67"/>
              <a:gd fmla="*/ 2147483646 w 912" name="T68"/>
              <a:gd fmla="*/ 2147483646 h 772" name="T69"/>
              <a:gd fmla="*/ 2147483646 w 912" name="T70"/>
              <a:gd fmla="*/ 2147483646 h 772" name="T71"/>
              <a:gd fmla="*/ 2147483646 w 912" name="T72"/>
              <a:gd fmla="*/ 2147483646 h 772" name="T73"/>
              <a:gd fmla="*/ 2147483646 w 912" name="T74"/>
              <a:gd fmla="*/ 2147483646 h 772" name="T75"/>
              <a:gd fmla="*/ 2147483646 w 912" name="T76"/>
              <a:gd fmla="*/ 2147483646 h 772" name="T77"/>
              <a:gd fmla="*/ 2147483646 w 912" name="T78"/>
              <a:gd fmla="*/ 2147483646 h 772" name="T79"/>
              <a:gd fmla="*/ 2147483646 w 912" name="T80"/>
              <a:gd fmla="*/ 2147483646 h 772" name="T81"/>
              <a:gd fmla="*/ 2147483646 w 912" name="T82"/>
              <a:gd fmla="*/ 2147483646 h 772" name="T83"/>
              <a:gd fmla="*/ 2147483646 w 912" name="T84"/>
              <a:gd fmla="*/ 2147483646 h 772" name="T85"/>
              <a:gd fmla="*/ 2147483646 w 912" name="T86"/>
              <a:gd fmla="*/ 2147483646 h 772" name="T87"/>
              <a:gd fmla="*/ 2147483646 w 912" name="T88"/>
              <a:gd fmla="*/ 2147483646 h 772" name="T89"/>
              <a:gd fmla="*/ 2147483646 w 912" name="T90"/>
              <a:gd fmla="*/ 2147483646 h 772" name="T91"/>
              <a:gd fmla="*/ 2147483646 w 912" name="T92"/>
              <a:gd fmla="*/ 2147483646 h 772" name="T93"/>
              <a:gd fmla="*/ 2147483646 w 912" name="T94"/>
              <a:gd fmla="*/ 2147483646 h 772" name="T95"/>
              <a:gd fmla="*/ 2147483646 w 912" name="T96"/>
              <a:gd fmla="*/ 2147483646 h 772" name="T97"/>
              <a:gd fmla="*/ 2147483646 w 912" name="T98"/>
              <a:gd fmla="*/ 2147483646 h 772" name="T99"/>
              <a:gd fmla="*/ 2147483646 w 912" name="T100"/>
              <a:gd fmla="*/ 2147483646 h 772" name="T101"/>
              <a:gd fmla="*/ 2147483646 w 912" name="T102"/>
              <a:gd fmla="*/ 2147483646 h 772" name="T103"/>
              <a:gd fmla="*/ 2147483646 w 912" name="T104"/>
              <a:gd fmla="*/ 2147483646 h 772" name="T105"/>
              <a:gd fmla="*/ 2147483646 w 912" name="T106"/>
              <a:gd fmla="*/ 2147483646 h 772" name="T107"/>
              <a:gd fmla="*/ 2147483646 w 912" name="T108"/>
              <a:gd fmla="*/ 2147483646 h 772" name="T109"/>
              <a:gd fmla="*/ 2147483646 w 912" name="T110"/>
              <a:gd fmla="*/ 2147483646 h 772"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b="b" l="0" r="r" t="0"/>
            <a:pathLst>
              <a:path h="772" w="912">
                <a:moveTo>
                  <a:pt x="542" y="280"/>
                </a:moveTo>
                <a:lnTo>
                  <a:pt x="530" y="280"/>
                </a:lnTo>
                <a:lnTo>
                  <a:pt x="526" y="288"/>
                </a:lnTo>
                <a:lnTo>
                  <a:pt x="532" y="296"/>
                </a:lnTo>
                <a:lnTo>
                  <a:pt x="536" y="308"/>
                </a:lnTo>
                <a:lnTo>
                  <a:pt x="536" y="310"/>
                </a:lnTo>
                <a:lnTo>
                  <a:pt x="536" y="312"/>
                </a:lnTo>
                <a:lnTo>
                  <a:pt x="518" y="320"/>
                </a:lnTo>
                <a:lnTo>
                  <a:pt x="516" y="320"/>
                </a:lnTo>
                <a:lnTo>
                  <a:pt x="506" y="320"/>
                </a:lnTo>
                <a:lnTo>
                  <a:pt x="500" y="316"/>
                </a:lnTo>
                <a:lnTo>
                  <a:pt x="494" y="314"/>
                </a:lnTo>
                <a:lnTo>
                  <a:pt x="492" y="310"/>
                </a:lnTo>
                <a:lnTo>
                  <a:pt x="488" y="300"/>
                </a:lnTo>
                <a:lnTo>
                  <a:pt x="464" y="296"/>
                </a:lnTo>
                <a:lnTo>
                  <a:pt x="456" y="264"/>
                </a:lnTo>
                <a:lnTo>
                  <a:pt x="450" y="262"/>
                </a:lnTo>
                <a:lnTo>
                  <a:pt x="446" y="258"/>
                </a:lnTo>
                <a:lnTo>
                  <a:pt x="444" y="256"/>
                </a:lnTo>
                <a:lnTo>
                  <a:pt x="440" y="250"/>
                </a:lnTo>
                <a:lnTo>
                  <a:pt x="432" y="248"/>
                </a:lnTo>
                <a:lnTo>
                  <a:pt x="424" y="242"/>
                </a:lnTo>
                <a:lnTo>
                  <a:pt x="416" y="232"/>
                </a:lnTo>
                <a:lnTo>
                  <a:pt x="406" y="228"/>
                </a:lnTo>
                <a:lnTo>
                  <a:pt x="392" y="214"/>
                </a:lnTo>
                <a:lnTo>
                  <a:pt x="390" y="204"/>
                </a:lnTo>
                <a:lnTo>
                  <a:pt x="390" y="202"/>
                </a:lnTo>
                <a:lnTo>
                  <a:pt x="416" y="168"/>
                </a:lnTo>
                <a:lnTo>
                  <a:pt x="416" y="164"/>
                </a:lnTo>
                <a:lnTo>
                  <a:pt x="416" y="162"/>
                </a:lnTo>
                <a:lnTo>
                  <a:pt x="412" y="152"/>
                </a:lnTo>
                <a:lnTo>
                  <a:pt x="398" y="156"/>
                </a:lnTo>
                <a:lnTo>
                  <a:pt x="396" y="156"/>
                </a:lnTo>
                <a:lnTo>
                  <a:pt x="396" y="158"/>
                </a:lnTo>
                <a:lnTo>
                  <a:pt x="360" y="160"/>
                </a:lnTo>
                <a:lnTo>
                  <a:pt x="348" y="164"/>
                </a:lnTo>
                <a:lnTo>
                  <a:pt x="342" y="168"/>
                </a:lnTo>
                <a:lnTo>
                  <a:pt x="340" y="172"/>
                </a:lnTo>
                <a:lnTo>
                  <a:pt x="334" y="178"/>
                </a:lnTo>
                <a:lnTo>
                  <a:pt x="330" y="178"/>
                </a:lnTo>
                <a:lnTo>
                  <a:pt x="324" y="178"/>
                </a:lnTo>
                <a:lnTo>
                  <a:pt x="324" y="176"/>
                </a:lnTo>
                <a:lnTo>
                  <a:pt x="312" y="168"/>
                </a:lnTo>
                <a:lnTo>
                  <a:pt x="312" y="148"/>
                </a:lnTo>
                <a:lnTo>
                  <a:pt x="304" y="142"/>
                </a:lnTo>
                <a:lnTo>
                  <a:pt x="300" y="134"/>
                </a:lnTo>
                <a:lnTo>
                  <a:pt x="296" y="116"/>
                </a:lnTo>
                <a:lnTo>
                  <a:pt x="288" y="108"/>
                </a:lnTo>
                <a:lnTo>
                  <a:pt x="280" y="100"/>
                </a:lnTo>
                <a:lnTo>
                  <a:pt x="276" y="98"/>
                </a:lnTo>
                <a:lnTo>
                  <a:pt x="290" y="80"/>
                </a:lnTo>
                <a:lnTo>
                  <a:pt x="292" y="68"/>
                </a:lnTo>
                <a:lnTo>
                  <a:pt x="276" y="48"/>
                </a:lnTo>
                <a:lnTo>
                  <a:pt x="268" y="32"/>
                </a:lnTo>
                <a:lnTo>
                  <a:pt x="268" y="24"/>
                </a:lnTo>
                <a:lnTo>
                  <a:pt x="256" y="16"/>
                </a:lnTo>
                <a:lnTo>
                  <a:pt x="256" y="14"/>
                </a:lnTo>
                <a:lnTo>
                  <a:pt x="246" y="2"/>
                </a:lnTo>
                <a:lnTo>
                  <a:pt x="232" y="0"/>
                </a:lnTo>
                <a:lnTo>
                  <a:pt x="216" y="4"/>
                </a:lnTo>
                <a:lnTo>
                  <a:pt x="212" y="8"/>
                </a:lnTo>
                <a:lnTo>
                  <a:pt x="210" y="30"/>
                </a:lnTo>
                <a:lnTo>
                  <a:pt x="210" y="56"/>
                </a:lnTo>
                <a:lnTo>
                  <a:pt x="208" y="56"/>
                </a:lnTo>
                <a:lnTo>
                  <a:pt x="192" y="62"/>
                </a:lnTo>
                <a:lnTo>
                  <a:pt x="178" y="64"/>
                </a:lnTo>
                <a:lnTo>
                  <a:pt x="168" y="70"/>
                </a:lnTo>
                <a:lnTo>
                  <a:pt x="154" y="74"/>
                </a:lnTo>
                <a:lnTo>
                  <a:pt x="152" y="76"/>
                </a:lnTo>
                <a:lnTo>
                  <a:pt x="124" y="68"/>
                </a:lnTo>
                <a:lnTo>
                  <a:pt x="114" y="80"/>
                </a:lnTo>
                <a:lnTo>
                  <a:pt x="108" y="86"/>
                </a:lnTo>
                <a:lnTo>
                  <a:pt x="98" y="88"/>
                </a:lnTo>
                <a:lnTo>
                  <a:pt x="82" y="102"/>
                </a:lnTo>
                <a:lnTo>
                  <a:pt x="72" y="116"/>
                </a:lnTo>
                <a:lnTo>
                  <a:pt x="72" y="118"/>
                </a:lnTo>
                <a:lnTo>
                  <a:pt x="66" y="128"/>
                </a:lnTo>
                <a:lnTo>
                  <a:pt x="60" y="132"/>
                </a:lnTo>
                <a:lnTo>
                  <a:pt x="50" y="144"/>
                </a:lnTo>
                <a:lnTo>
                  <a:pt x="50" y="146"/>
                </a:lnTo>
                <a:lnTo>
                  <a:pt x="44" y="150"/>
                </a:lnTo>
                <a:lnTo>
                  <a:pt x="32" y="152"/>
                </a:lnTo>
                <a:lnTo>
                  <a:pt x="12" y="152"/>
                </a:lnTo>
                <a:lnTo>
                  <a:pt x="8" y="158"/>
                </a:lnTo>
                <a:lnTo>
                  <a:pt x="0" y="172"/>
                </a:lnTo>
                <a:lnTo>
                  <a:pt x="4" y="184"/>
                </a:lnTo>
                <a:lnTo>
                  <a:pt x="2" y="216"/>
                </a:lnTo>
                <a:lnTo>
                  <a:pt x="8" y="224"/>
                </a:lnTo>
                <a:lnTo>
                  <a:pt x="8" y="226"/>
                </a:lnTo>
                <a:lnTo>
                  <a:pt x="10" y="232"/>
                </a:lnTo>
                <a:lnTo>
                  <a:pt x="22" y="232"/>
                </a:lnTo>
                <a:lnTo>
                  <a:pt x="40" y="236"/>
                </a:lnTo>
                <a:lnTo>
                  <a:pt x="66" y="238"/>
                </a:lnTo>
                <a:lnTo>
                  <a:pt x="76" y="236"/>
                </a:lnTo>
                <a:lnTo>
                  <a:pt x="78" y="236"/>
                </a:lnTo>
                <a:lnTo>
                  <a:pt x="80" y="236"/>
                </a:lnTo>
                <a:lnTo>
                  <a:pt x="100" y="244"/>
                </a:lnTo>
                <a:lnTo>
                  <a:pt x="102" y="244"/>
                </a:lnTo>
                <a:lnTo>
                  <a:pt x="112" y="254"/>
                </a:lnTo>
                <a:lnTo>
                  <a:pt x="136" y="262"/>
                </a:lnTo>
                <a:lnTo>
                  <a:pt x="138" y="262"/>
                </a:lnTo>
                <a:lnTo>
                  <a:pt x="154" y="272"/>
                </a:lnTo>
                <a:lnTo>
                  <a:pt x="192" y="308"/>
                </a:lnTo>
                <a:lnTo>
                  <a:pt x="210" y="316"/>
                </a:lnTo>
                <a:lnTo>
                  <a:pt x="218" y="312"/>
                </a:lnTo>
                <a:lnTo>
                  <a:pt x="224" y="300"/>
                </a:lnTo>
                <a:lnTo>
                  <a:pt x="220" y="278"/>
                </a:lnTo>
                <a:lnTo>
                  <a:pt x="222" y="274"/>
                </a:lnTo>
                <a:lnTo>
                  <a:pt x="224" y="270"/>
                </a:lnTo>
                <a:lnTo>
                  <a:pt x="236" y="264"/>
                </a:lnTo>
                <a:lnTo>
                  <a:pt x="236" y="262"/>
                </a:lnTo>
                <a:lnTo>
                  <a:pt x="286" y="292"/>
                </a:lnTo>
                <a:lnTo>
                  <a:pt x="292" y="290"/>
                </a:lnTo>
                <a:lnTo>
                  <a:pt x="302" y="284"/>
                </a:lnTo>
                <a:lnTo>
                  <a:pt x="304" y="284"/>
                </a:lnTo>
                <a:lnTo>
                  <a:pt x="310" y="284"/>
                </a:lnTo>
                <a:lnTo>
                  <a:pt x="320" y="276"/>
                </a:lnTo>
                <a:lnTo>
                  <a:pt x="322" y="276"/>
                </a:lnTo>
                <a:lnTo>
                  <a:pt x="324" y="276"/>
                </a:lnTo>
                <a:lnTo>
                  <a:pt x="352" y="296"/>
                </a:lnTo>
                <a:lnTo>
                  <a:pt x="354" y="298"/>
                </a:lnTo>
                <a:lnTo>
                  <a:pt x="372" y="312"/>
                </a:lnTo>
                <a:lnTo>
                  <a:pt x="380" y="320"/>
                </a:lnTo>
                <a:lnTo>
                  <a:pt x="388" y="330"/>
                </a:lnTo>
                <a:lnTo>
                  <a:pt x="398" y="340"/>
                </a:lnTo>
                <a:lnTo>
                  <a:pt x="404" y="338"/>
                </a:lnTo>
                <a:lnTo>
                  <a:pt x="412" y="324"/>
                </a:lnTo>
                <a:lnTo>
                  <a:pt x="430" y="336"/>
                </a:lnTo>
                <a:lnTo>
                  <a:pt x="432" y="336"/>
                </a:lnTo>
                <a:lnTo>
                  <a:pt x="444" y="352"/>
                </a:lnTo>
                <a:lnTo>
                  <a:pt x="480" y="380"/>
                </a:lnTo>
                <a:lnTo>
                  <a:pt x="492" y="392"/>
                </a:lnTo>
                <a:lnTo>
                  <a:pt x="522" y="382"/>
                </a:lnTo>
                <a:lnTo>
                  <a:pt x="524" y="406"/>
                </a:lnTo>
                <a:lnTo>
                  <a:pt x="538" y="420"/>
                </a:lnTo>
                <a:lnTo>
                  <a:pt x="548" y="436"/>
                </a:lnTo>
                <a:lnTo>
                  <a:pt x="548" y="438"/>
                </a:lnTo>
                <a:lnTo>
                  <a:pt x="548" y="440"/>
                </a:lnTo>
                <a:lnTo>
                  <a:pt x="560" y="494"/>
                </a:lnTo>
                <a:lnTo>
                  <a:pt x="572" y="516"/>
                </a:lnTo>
                <a:lnTo>
                  <a:pt x="556" y="558"/>
                </a:lnTo>
                <a:lnTo>
                  <a:pt x="556" y="560"/>
                </a:lnTo>
                <a:lnTo>
                  <a:pt x="544" y="564"/>
                </a:lnTo>
                <a:lnTo>
                  <a:pt x="544" y="576"/>
                </a:lnTo>
                <a:lnTo>
                  <a:pt x="542" y="576"/>
                </a:lnTo>
                <a:lnTo>
                  <a:pt x="528" y="598"/>
                </a:lnTo>
                <a:lnTo>
                  <a:pt x="508" y="600"/>
                </a:lnTo>
                <a:lnTo>
                  <a:pt x="488" y="616"/>
                </a:lnTo>
                <a:lnTo>
                  <a:pt x="494" y="620"/>
                </a:lnTo>
                <a:lnTo>
                  <a:pt x="500" y="622"/>
                </a:lnTo>
                <a:lnTo>
                  <a:pt x="504" y="626"/>
                </a:lnTo>
                <a:lnTo>
                  <a:pt x="508" y="630"/>
                </a:lnTo>
                <a:lnTo>
                  <a:pt x="508" y="634"/>
                </a:lnTo>
                <a:lnTo>
                  <a:pt x="504" y="642"/>
                </a:lnTo>
                <a:lnTo>
                  <a:pt x="504" y="644"/>
                </a:lnTo>
                <a:lnTo>
                  <a:pt x="492" y="656"/>
                </a:lnTo>
                <a:lnTo>
                  <a:pt x="490" y="656"/>
                </a:lnTo>
                <a:lnTo>
                  <a:pt x="490" y="658"/>
                </a:lnTo>
                <a:lnTo>
                  <a:pt x="488" y="658"/>
                </a:lnTo>
                <a:lnTo>
                  <a:pt x="450" y="652"/>
                </a:lnTo>
                <a:lnTo>
                  <a:pt x="448" y="666"/>
                </a:lnTo>
                <a:lnTo>
                  <a:pt x="452" y="696"/>
                </a:lnTo>
                <a:lnTo>
                  <a:pt x="484" y="708"/>
                </a:lnTo>
                <a:lnTo>
                  <a:pt x="484" y="710"/>
                </a:lnTo>
                <a:lnTo>
                  <a:pt x="496" y="706"/>
                </a:lnTo>
                <a:lnTo>
                  <a:pt x="498" y="706"/>
                </a:lnTo>
                <a:lnTo>
                  <a:pt x="500" y="704"/>
                </a:lnTo>
                <a:lnTo>
                  <a:pt x="500" y="706"/>
                </a:lnTo>
                <a:lnTo>
                  <a:pt x="510" y="712"/>
                </a:lnTo>
                <a:lnTo>
                  <a:pt x="524" y="712"/>
                </a:lnTo>
                <a:lnTo>
                  <a:pt x="528" y="710"/>
                </a:lnTo>
                <a:lnTo>
                  <a:pt x="524" y="696"/>
                </a:lnTo>
                <a:lnTo>
                  <a:pt x="520" y="680"/>
                </a:lnTo>
                <a:lnTo>
                  <a:pt x="520" y="678"/>
                </a:lnTo>
                <a:lnTo>
                  <a:pt x="520" y="676"/>
                </a:lnTo>
                <a:lnTo>
                  <a:pt x="526" y="670"/>
                </a:lnTo>
                <a:lnTo>
                  <a:pt x="528" y="668"/>
                </a:lnTo>
                <a:lnTo>
                  <a:pt x="536" y="656"/>
                </a:lnTo>
                <a:lnTo>
                  <a:pt x="538" y="654"/>
                </a:lnTo>
                <a:lnTo>
                  <a:pt x="552" y="644"/>
                </a:lnTo>
                <a:lnTo>
                  <a:pt x="552" y="642"/>
                </a:lnTo>
                <a:lnTo>
                  <a:pt x="554" y="642"/>
                </a:lnTo>
                <a:lnTo>
                  <a:pt x="572" y="640"/>
                </a:lnTo>
                <a:lnTo>
                  <a:pt x="572" y="644"/>
                </a:lnTo>
                <a:lnTo>
                  <a:pt x="572" y="656"/>
                </a:lnTo>
                <a:lnTo>
                  <a:pt x="576" y="664"/>
                </a:lnTo>
                <a:lnTo>
                  <a:pt x="580" y="674"/>
                </a:lnTo>
                <a:lnTo>
                  <a:pt x="596" y="684"/>
                </a:lnTo>
                <a:lnTo>
                  <a:pt x="640" y="688"/>
                </a:lnTo>
                <a:lnTo>
                  <a:pt x="642" y="688"/>
                </a:lnTo>
                <a:lnTo>
                  <a:pt x="644" y="688"/>
                </a:lnTo>
                <a:lnTo>
                  <a:pt x="644" y="690"/>
                </a:lnTo>
                <a:lnTo>
                  <a:pt x="644" y="692"/>
                </a:lnTo>
                <a:lnTo>
                  <a:pt x="644" y="706"/>
                </a:lnTo>
                <a:lnTo>
                  <a:pt x="656" y="720"/>
                </a:lnTo>
                <a:lnTo>
                  <a:pt x="666" y="724"/>
                </a:lnTo>
                <a:lnTo>
                  <a:pt x="668" y="724"/>
                </a:lnTo>
                <a:lnTo>
                  <a:pt x="668" y="726"/>
                </a:lnTo>
                <a:lnTo>
                  <a:pt x="668" y="732"/>
                </a:lnTo>
                <a:lnTo>
                  <a:pt x="668" y="740"/>
                </a:lnTo>
                <a:lnTo>
                  <a:pt x="664" y="756"/>
                </a:lnTo>
                <a:lnTo>
                  <a:pt x="670" y="760"/>
                </a:lnTo>
                <a:lnTo>
                  <a:pt x="678" y="760"/>
                </a:lnTo>
                <a:lnTo>
                  <a:pt x="684" y="762"/>
                </a:lnTo>
                <a:lnTo>
                  <a:pt x="688" y="764"/>
                </a:lnTo>
                <a:lnTo>
                  <a:pt x="706" y="772"/>
                </a:lnTo>
                <a:lnTo>
                  <a:pt x="716" y="764"/>
                </a:lnTo>
                <a:lnTo>
                  <a:pt x="728" y="750"/>
                </a:lnTo>
                <a:lnTo>
                  <a:pt x="730" y="744"/>
                </a:lnTo>
                <a:lnTo>
                  <a:pt x="732" y="742"/>
                </a:lnTo>
                <a:lnTo>
                  <a:pt x="734" y="740"/>
                </a:lnTo>
                <a:lnTo>
                  <a:pt x="730" y="722"/>
                </a:lnTo>
                <a:lnTo>
                  <a:pt x="728" y="714"/>
                </a:lnTo>
                <a:lnTo>
                  <a:pt x="728" y="712"/>
                </a:lnTo>
                <a:lnTo>
                  <a:pt x="728" y="710"/>
                </a:lnTo>
                <a:lnTo>
                  <a:pt x="736" y="700"/>
                </a:lnTo>
                <a:lnTo>
                  <a:pt x="748" y="690"/>
                </a:lnTo>
                <a:lnTo>
                  <a:pt x="750" y="690"/>
                </a:lnTo>
                <a:lnTo>
                  <a:pt x="776" y="690"/>
                </a:lnTo>
                <a:lnTo>
                  <a:pt x="780" y="688"/>
                </a:lnTo>
                <a:lnTo>
                  <a:pt x="780" y="676"/>
                </a:lnTo>
                <a:lnTo>
                  <a:pt x="776" y="664"/>
                </a:lnTo>
                <a:lnTo>
                  <a:pt x="766" y="648"/>
                </a:lnTo>
                <a:lnTo>
                  <a:pt x="766" y="628"/>
                </a:lnTo>
                <a:lnTo>
                  <a:pt x="766" y="626"/>
                </a:lnTo>
                <a:lnTo>
                  <a:pt x="770" y="614"/>
                </a:lnTo>
                <a:lnTo>
                  <a:pt x="772" y="614"/>
                </a:lnTo>
                <a:lnTo>
                  <a:pt x="792" y="582"/>
                </a:lnTo>
                <a:lnTo>
                  <a:pt x="794" y="582"/>
                </a:lnTo>
                <a:lnTo>
                  <a:pt x="796" y="580"/>
                </a:lnTo>
                <a:lnTo>
                  <a:pt x="800" y="580"/>
                </a:lnTo>
                <a:lnTo>
                  <a:pt x="808" y="582"/>
                </a:lnTo>
                <a:lnTo>
                  <a:pt x="828" y="592"/>
                </a:lnTo>
                <a:lnTo>
                  <a:pt x="840" y="596"/>
                </a:lnTo>
                <a:lnTo>
                  <a:pt x="840" y="590"/>
                </a:lnTo>
                <a:lnTo>
                  <a:pt x="838" y="588"/>
                </a:lnTo>
                <a:lnTo>
                  <a:pt x="838" y="586"/>
                </a:lnTo>
                <a:lnTo>
                  <a:pt x="840" y="580"/>
                </a:lnTo>
                <a:lnTo>
                  <a:pt x="846" y="572"/>
                </a:lnTo>
                <a:lnTo>
                  <a:pt x="860" y="562"/>
                </a:lnTo>
                <a:lnTo>
                  <a:pt x="860" y="560"/>
                </a:lnTo>
                <a:lnTo>
                  <a:pt x="876" y="556"/>
                </a:lnTo>
                <a:lnTo>
                  <a:pt x="890" y="556"/>
                </a:lnTo>
                <a:lnTo>
                  <a:pt x="892" y="556"/>
                </a:lnTo>
                <a:lnTo>
                  <a:pt x="900" y="556"/>
                </a:lnTo>
                <a:lnTo>
                  <a:pt x="904" y="536"/>
                </a:lnTo>
                <a:lnTo>
                  <a:pt x="904" y="524"/>
                </a:lnTo>
                <a:lnTo>
                  <a:pt x="906" y="512"/>
                </a:lnTo>
                <a:lnTo>
                  <a:pt x="906" y="510"/>
                </a:lnTo>
                <a:lnTo>
                  <a:pt x="908" y="508"/>
                </a:lnTo>
                <a:lnTo>
                  <a:pt x="912" y="496"/>
                </a:lnTo>
                <a:lnTo>
                  <a:pt x="906" y="488"/>
                </a:lnTo>
                <a:lnTo>
                  <a:pt x="896" y="480"/>
                </a:lnTo>
                <a:lnTo>
                  <a:pt x="876" y="476"/>
                </a:lnTo>
                <a:lnTo>
                  <a:pt x="868" y="472"/>
                </a:lnTo>
                <a:lnTo>
                  <a:pt x="852" y="460"/>
                </a:lnTo>
                <a:lnTo>
                  <a:pt x="840" y="456"/>
                </a:lnTo>
                <a:lnTo>
                  <a:pt x="840" y="454"/>
                </a:lnTo>
                <a:lnTo>
                  <a:pt x="824" y="436"/>
                </a:lnTo>
                <a:lnTo>
                  <a:pt x="812" y="436"/>
                </a:lnTo>
                <a:lnTo>
                  <a:pt x="810" y="436"/>
                </a:lnTo>
                <a:lnTo>
                  <a:pt x="798" y="430"/>
                </a:lnTo>
                <a:lnTo>
                  <a:pt x="790" y="440"/>
                </a:lnTo>
                <a:lnTo>
                  <a:pt x="788" y="476"/>
                </a:lnTo>
                <a:lnTo>
                  <a:pt x="792" y="492"/>
                </a:lnTo>
                <a:lnTo>
                  <a:pt x="796" y="492"/>
                </a:lnTo>
                <a:lnTo>
                  <a:pt x="798" y="492"/>
                </a:lnTo>
                <a:lnTo>
                  <a:pt x="808" y="496"/>
                </a:lnTo>
                <a:lnTo>
                  <a:pt x="814" y="510"/>
                </a:lnTo>
                <a:lnTo>
                  <a:pt x="816" y="510"/>
                </a:lnTo>
                <a:lnTo>
                  <a:pt x="816" y="512"/>
                </a:lnTo>
                <a:lnTo>
                  <a:pt x="812" y="536"/>
                </a:lnTo>
                <a:lnTo>
                  <a:pt x="812" y="538"/>
                </a:lnTo>
                <a:lnTo>
                  <a:pt x="812" y="540"/>
                </a:lnTo>
                <a:lnTo>
                  <a:pt x="800" y="546"/>
                </a:lnTo>
                <a:lnTo>
                  <a:pt x="798" y="548"/>
                </a:lnTo>
                <a:lnTo>
                  <a:pt x="798" y="546"/>
                </a:lnTo>
                <a:lnTo>
                  <a:pt x="796" y="546"/>
                </a:lnTo>
                <a:lnTo>
                  <a:pt x="792" y="544"/>
                </a:lnTo>
                <a:lnTo>
                  <a:pt x="778" y="550"/>
                </a:lnTo>
                <a:lnTo>
                  <a:pt x="778" y="552"/>
                </a:lnTo>
                <a:lnTo>
                  <a:pt x="780" y="552"/>
                </a:lnTo>
                <a:lnTo>
                  <a:pt x="782" y="574"/>
                </a:lnTo>
                <a:lnTo>
                  <a:pt x="780" y="578"/>
                </a:lnTo>
                <a:lnTo>
                  <a:pt x="776" y="580"/>
                </a:lnTo>
                <a:lnTo>
                  <a:pt x="768" y="580"/>
                </a:lnTo>
                <a:lnTo>
                  <a:pt x="762" y="578"/>
                </a:lnTo>
                <a:lnTo>
                  <a:pt x="758" y="576"/>
                </a:lnTo>
                <a:lnTo>
                  <a:pt x="748" y="568"/>
                </a:lnTo>
                <a:lnTo>
                  <a:pt x="746" y="568"/>
                </a:lnTo>
                <a:lnTo>
                  <a:pt x="746" y="566"/>
                </a:lnTo>
                <a:lnTo>
                  <a:pt x="740" y="552"/>
                </a:lnTo>
                <a:lnTo>
                  <a:pt x="736" y="550"/>
                </a:lnTo>
                <a:lnTo>
                  <a:pt x="728" y="546"/>
                </a:lnTo>
                <a:lnTo>
                  <a:pt x="726" y="546"/>
                </a:lnTo>
                <a:lnTo>
                  <a:pt x="714" y="538"/>
                </a:lnTo>
                <a:lnTo>
                  <a:pt x="712" y="538"/>
                </a:lnTo>
                <a:lnTo>
                  <a:pt x="712" y="536"/>
                </a:lnTo>
                <a:lnTo>
                  <a:pt x="710" y="524"/>
                </a:lnTo>
                <a:lnTo>
                  <a:pt x="712" y="512"/>
                </a:lnTo>
                <a:lnTo>
                  <a:pt x="716" y="506"/>
                </a:lnTo>
                <a:lnTo>
                  <a:pt x="716" y="502"/>
                </a:lnTo>
                <a:lnTo>
                  <a:pt x="712" y="488"/>
                </a:lnTo>
                <a:lnTo>
                  <a:pt x="700" y="478"/>
                </a:lnTo>
                <a:lnTo>
                  <a:pt x="700" y="476"/>
                </a:lnTo>
                <a:lnTo>
                  <a:pt x="698" y="444"/>
                </a:lnTo>
                <a:lnTo>
                  <a:pt x="690" y="436"/>
                </a:lnTo>
                <a:lnTo>
                  <a:pt x="688" y="436"/>
                </a:lnTo>
                <a:lnTo>
                  <a:pt x="688" y="434"/>
                </a:lnTo>
                <a:lnTo>
                  <a:pt x="682" y="420"/>
                </a:lnTo>
                <a:lnTo>
                  <a:pt x="652" y="416"/>
                </a:lnTo>
                <a:lnTo>
                  <a:pt x="644" y="410"/>
                </a:lnTo>
                <a:lnTo>
                  <a:pt x="638" y="402"/>
                </a:lnTo>
                <a:lnTo>
                  <a:pt x="624" y="402"/>
                </a:lnTo>
                <a:lnTo>
                  <a:pt x="618" y="398"/>
                </a:lnTo>
                <a:lnTo>
                  <a:pt x="610" y="392"/>
                </a:lnTo>
                <a:lnTo>
                  <a:pt x="608" y="390"/>
                </a:lnTo>
                <a:lnTo>
                  <a:pt x="604" y="384"/>
                </a:lnTo>
                <a:lnTo>
                  <a:pt x="598" y="376"/>
                </a:lnTo>
                <a:lnTo>
                  <a:pt x="596" y="362"/>
                </a:lnTo>
                <a:lnTo>
                  <a:pt x="596" y="360"/>
                </a:lnTo>
                <a:lnTo>
                  <a:pt x="600" y="336"/>
                </a:lnTo>
                <a:lnTo>
                  <a:pt x="604" y="324"/>
                </a:lnTo>
                <a:lnTo>
                  <a:pt x="606" y="324"/>
                </a:lnTo>
                <a:lnTo>
                  <a:pt x="636" y="310"/>
                </a:lnTo>
                <a:lnTo>
                  <a:pt x="648" y="296"/>
                </a:lnTo>
                <a:lnTo>
                  <a:pt x="650" y="284"/>
                </a:lnTo>
                <a:lnTo>
                  <a:pt x="648" y="276"/>
                </a:lnTo>
                <a:lnTo>
                  <a:pt x="644" y="262"/>
                </a:lnTo>
                <a:lnTo>
                  <a:pt x="640" y="254"/>
                </a:lnTo>
                <a:lnTo>
                  <a:pt x="634" y="256"/>
                </a:lnTo>
                <a:lnTo>
                  <a:pt x="624" y="254"/>
                </a:lnTo>
                <a:lnTo>
                  <a:pt x="616" y="260"/>
                </a:lnTo>
                <a:lnTo>
                  <a:pt x="606" y="272"/>
                </a:lnTo>
                <a:lnTo>
                  <a:pt x="592" y="286"/>
                </a:lnTo>
                <a:lnTo>
                  <a:pt x="590" y="286"/>
                </a:lnTo>
                <a:lnTo>
                  <a:pt x="578" y="290"/>
                </a:lnTo>
                <a:lnTo>
                  <a:pt x="568" y="288"/>
                </a:lnTo>
                <a:lnTo>
                  <a:pt x="542" y="280"/>
                </a:lnTo>
                <a:close/>
              </a:path>
            </a:pathLst>
          </a:custGeom>
          <a:solidFill>
            <a:srgbClr val="BFBFBF"/>
          </a:solidFill>
          <a:ln>
            <a:noFill/>
          </a:ln>
        </p:spPr>
        <p:txBody>
          <a:bodyPr/>
          <a:lstStyle/>
          <a:p>
            <a:endParaRPr altLang="en-US" lang="zh-CN">
              <a:cs typeface="+mn-ea"/>
              <a:sym typeface="+mn-lt"/>
            </a:endParaRPr>
          </a:p>
        </p:txBody>
      </p:sp>
      <p:sp>
        <p:nvSpPr>
          <p:cNvPr id="7" name="宁夏"/>
          <p:cNvSpPr/>
          <p:nvPr/>
        </p:nvSpPr>
        <p:spPr bwMode="auto">
          <a:xfrm>
            <a:off x="3745753" y="3503640"/>
            <a:ext cx="271389" cy="448596"/>
          </a:xfrm>
          <a:custGeom>
            <a:gdLst>
              <a:gd fmla="*/ 2147483646 w 184" name="T0"/>
              <a:gd fmla="*/ 2147483646 h 304" name="T1"/>
              <a:gd fmla="*/ 2147483646 w 184" name="T2"/>
              <a:gd fmla="*/ 2147483646 h 304" name="T3"/>
              <a:gd fmla="*/ 2147483646 w 184" name="T4"/>
              <a:gd fmla="*/ 2147483646 h 304" name="T5"/>
              <a:gd fmla="*/ 2147483646 w 184" name="T6"/>
              <a:gd fmla="*/ 2147483646 h 304" name="T7"/>
              <a:gd fmla="*/ 2147483646 w 184" name="T8"/>
              <a:gd fmla="*/ 2147483646 h 304" name="T9"/>
              <a:gd fmla="*/ 2147483646 w 184" name="T10"/>
              <a:gd fmla="*/ 2147483646 h 304" name="T11"/>
              <a:gd fmla="*/ 2147483646 w 184" name="T12"/>
              <a:gd fmla="*/ 2147483646 h 304" name="T13"/>
              <a:gd fmla="*/ 2147483646 w 184" name="T14"/>
              <a:gd fmla="*/ 2147483646 h 304" name="T15"/>
              <a:gd fmla="*/ 2147483646 w 184" name="T16"/>
              <a:gd fmla="*/ 2147483646 h 304" name="T17"/>
              <a:gd fmla="*/ 2147483646 w 184" name="T18"/>
              <a:gd fmla="*/ 2147483646 h 304" name="T19"/>
              <a:gd fmla="*/ 2147483646 w 184" name="T20"/>
              <a:gd fmla="*/ 2147483646 h 304" name="T21"/>
              <a:gd fmla="*/ 2147483646 w 184" name="T22"/>
              <a:gd fmla="*/ 2147483646 h 304" name="T23"/>
              <a:gd fmla="*/ 2147483646 w 184" name="T24"/>
              <a:gd fmla="*/ 2147483646 h 304" name="T25"/>
              <a:gd fmla="*/ 2147483646 w 184" name="T26"/>
              <a:gd fmla="*/ 2147483646 h 304" name="T27"/>
              <a:gd fmla="*/ 2147483646 w 184" name="T28"/>
              <a:gd fmla="*/ 2147483646 h 304" name="T29"/>
              <a:gd fmla="*/ 2147483646 w 184" name="T30"/>
              <a:gd fmla="*/ 2147483646 h 304" name="T31"/>
              <a:gd fmla="*/ 2147483646 w 184" name="T32"/>
              <a:gd fmla="*/ 2147483646 h 304" name="T33"/>
              <a:gd fmla="*/ 2147483646 w 184" name="T34"/>
              <a:gd fmla="*/ 2147483646 h 304" name="T35"/>
              <a:gd fmla="*/ 2147483646 w 184" name="T36"/>
              <a:gd fmla="*/ 2147483646 h 304" name="T37"/>
              <a:gd fmla="*/ 2147483646 w 184" name="T38"/>
              <a:gd fmla="*/ 2147483646 h 304" name="T39"/>
              <a:gd fmla="*/ 2147483646 w 184" name="T40"/>
              <a:gd fmla="*/ 2147483646 h 304" name="T41"/>
              <a:gd fmla="*/ 2147483646 w 184" name="T42"/>
              <a:gd fmla="*/ 2147483646 h 304" name="T43"/>
              <a:gd fmla="*/ 2147483646 w 184" name="T44"/>
              <a:gd fmla="*/ 2147483646 h 304" name="T45"/>
              <a:gd fmla="*/ 2147483646 w 184" name="T46"/>
              <a:gd fmla="*/ 2147483646 h 304" name="T47"/>
              <a:gd fmla="*/ 2147483646 w 184" name="T48"/>
              <a:gd fmla="*/ 2147483646 h 304" name="T49"/>
              <a:gd fmla="*/ 2147483646 w 184" name="T50"/>
              <a:gd fmla="*/ 2147483646 h 304" name="T51"/>
              <a:gd fmla="*/ 2147483646 w 184" name="T52"/>
              <a:gd fmla="*/ 2147483646 h 304" name="T53"/>
              <a:gd fmla="*/ 2147483646 w 184" name="T54"/>
              <a:gd fmla="*/ 2147483646 h 304" name="T55"/>
              <a:gd fmla="*/ 2147483646 w 184" name="T56"/>
              <a:gd fmla="*/ 2147483646 h 304" name="T57"/>
              <a:gd fmla="*/ 2147483646 w 184" name="T58"/>
              <a:gd fmla="*/ 2147483646 h 304" name="T59"/>
              <a:gd fmla="*/ 2147483646 w 184" name="T60"/>
              <a:gd fmla="*/ 2147483646 h 304" name="T61"/>
              <a:gd fmla="*/ 2147483646 w 184" name="T62"/>
              <a:gd fmla="*/ 2147483646 h 304" name="T63"/>
              <a:gd fmla="*/ 2147483646 w 184" name="T64"/>
              <a:gd fmla="*/ 2147483646 h 304" name="T65"/>
              <a:gd fmla="*/ 2147483646 w 184" name="T66"/>
              <a:gd fmla="*/ 2147483646 h 304" name="T67"/>
              <a:gd fmla="*/ 2147483646 w 184" name="T68"/>
              <a:gd fmla="*/ 2147483646 h 304" name="T69"/>
              <a:gd fmla="*/ 2147483646 w 184" name="T70"/>
              <a:gd fmla="*/ 2147483646 h 304" name="T71"/>
              <a:gd fmla="*/ 2147483646 w 184" name="T72"/>
              <a:gd fmla="*/ 2147483646 h 304" name="T73"/>
              <a:gd fmla="*/ 2147483646 w 184" name="T74"/>
              <a:gd fmla="*/ 2147483646 h 304" name="T75"/>
              <a:gd fmla="*/ 2147483646 w 184" name="T76"/>
              <a:gd fmla="*/ 2147483646 h 304" name="T77"/>
              <a:gd fmla="*/ 2147483646 w 184" name="T78"/>
              <a:gd fmla="*/ 2147483646 h 304" name="T79"/>
              <a:gd fmla="*/ 2147483646 w 184" name="T80"/>
              <a:gd fmla="*/ 2147483646 h 304" name="T81"/>
              <a:gd fmla="*/ 2147483646 w 184" name="T82"/>
              <a:gd fmla="*/ 2147483646 h 304" name="T83"/>
              <a:gd fmla="*/ 2147483646 w 184" name="T84"/>
              <a:gd fmla="*/ 2147483646 h 304" name="T85"/>
              <a:gd fmla="*/ 2147483646 w 184" name="T86"/>
              <a:gd fmla="*/ 2147483646 h 304" name="T87"/>
              <a:gd fmla="*/ 2147483646 w 184" name="T88"/>
              <a:gd fmla="*/ 2147483646 h 304" name="T89"/>
              <a:gd fmla="*/ 2147483646 w 184" name="T90"/>
              <a:gd fmla="*/ 2147483646 h 304" name="T91"/>
              <a:gd fmla="*/ 2147483646 w 184" name="T92"/>
              <a:gd fmla="*/ 2147483646 h 304" name="T93"/>
              <a:gd fmla="*/ 2147483646 w 184" name="T94"/>
              <a:gd fmla="*/ 2147483646 h 304" name="T95"/>
              <a:gd fmla="*/ 2147483646 w 184" name="T96"/>
              <a:gd fmla="*/ 2147483646 h 304" name="T97"/>
              <a:gd fmla="*/ 2147483646 w 184" name="T98"/>
              <a:gd fmla="*/ 0 h 304"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b="b" l="0" r="r" t="0"/>
            <a:pathLst>
              <a:path h="304" w="184">
                <a:moveTo>
                  <a:pt x="108" y="18"/>
                </a:moveTo>
                <a:lnTo>
                  <a:pt x="92" y="58"/>
                </a:lnTo>
                <a:lnTo>
                  <a:pt x="92" y="84"/>
                </a:lnTo>
                <a:lnTo>
                  <a:pt x="92" y="86"/>
                </a:lnTo>
                <a:lnTo>
                  <a:pt x="84" y="100"/>
                </a:lnTo>
                <a:lnTo>
                  <a:pt x="84" y="108"/>
                </a:lnTo>
                <a:lnTo>
                  <a:pt x="84" y="112"/>
                </a:lnTo>
                <a:lnTo>
                  <a:pt x="82" y="116"/>
                </a:lnTo>
                <a:lnTo>
                  <a:pt x="80" y="120"/>
                </a:lnTo>
                <a:lnTo>
                  <a:pt x="76" y="122"/>
                </a:lnTo>
                <a:lnTo>
                  <a:pt x="76" y="124"/>
                </a:lnTo>
                <a:lnTo>
                  <a:pt x="74" y="124"/>
                </a:lnTo>
                <a:lnTo>
                  <a:pt x="74" y="122"/>
                </a:lnTo>
                <a:lnTo>
                  <a:pt x="54" y="120"/>
                </a:lnTo>
                <a:lnTo>
                  <a:pt x="44" y="130"/>
                </a:lnTo>
                <a:lnTo>
                  <a:pt x="12" y="134"/>
                </a:lnTo>
                <a:lnTo>
                  <a:pt x="0" y="134"/>
                </a:lnTo>
                <a:lnTo>
                  <a:pt x="8" y="140"/>
                </a:lnTo>
                <a:lnTo>
                  <a:pt x="36" y="144"/>
                </a:lnTo>
                <a:lnTo>
                  <a:pt x="38" y="144"/>
                </a:lnTo>
                <a:lnTo>
                  <a:pt x="40" y="144"/>
                </a:lnTo>
                <a:lnTo>
                  <a:pt x="48" y="162"/>
                </a:lnTo>
                <a:lnTo>
                  <a:pt x="56" y="168"/>
                </a:lnTo>
                <a:lnTo>
                  <a:pt x="60" y="174"/>
                </a:lnTo>
                <a:lnTo>
                  <a:pt x="60" y="184"/>
                </a:lnTo>
                <a:lnTo>
                  <a:pt x="60" y="206"/>
                </a:lnTo>
                <a:lnTo>
                  <a:pt x="70" y="216"/>
                </a:lnTo>
                <a:lnTo>
                  <a:pt x="72" y="216"/>
                </a:lnTo>
                <a:lnTo>
                  <a:pt x="76" y="232"/>
                </a:lnTo>
                <a:lnTo>
                  <a:pt x="76" y="240"/>
                </a:lnTo>
                <a:lnTo>
                  <a:pt x="72" y="248"/>
                </a:lnTo>
                <a:lnTo>
                  <a:pt x="70" y="256"/>
                </a:lnTo>
                <a:lnTo>
                  <a:pt x="72" y="264"/>
                </a:lnTo>
                <a:lnTo>
                  <a:pt x="82" y="270"/>
                </a:lnTo>
                <a:lnTo>
                  <a:pt x="94" y="276"/>
                </a:lnTo>
                <a:lnTo>
                  <a:pt x="100" y="280"/>
                </a:lnTo>
                <a:lnTo>
                  <a:pt x="106" y="292"/>
                </a:lnTo>
                <a:lnTo>
                  <a:pt x="114" y="298"/>
                </a:lnTo>
                <a:lnTo>
                  <a:pt x="116" y="302"/>
                </a:lnTo>
                <a:lnTo>
                  <a:pt x="124" y="304"/>
                </a:lnTo>
                <a:lnTo>
                  <a:pt x="122" y="288"/>
                </a:lnTo>
                <a:lnTo>
                  <a:pt x="122" y="282"/>
                </a:lnTo>
                <a:lnTo>
                  <a:pt x="122" y="278"/>
                </a:lnTo>
                <a:lnTo>
                  <a:pt x="126" y="274"/>
                </a:lnTo>
                <a:lnTo>
                  <a:pt x="128" y="272"/>
                </a:lnTo>
                <a:lnTo>
                  <a:pt x="140" y="268"/>
                </a:lnTo>
                <a:lnTo>
                  <a:pt x="142" y="268"/>
                </a:lnTo>
                <a:lnTo>
                  <a:pt x="144" y="268"/>
                </a:lnTo>
                <a:lnTo>
                  <a:pt x="148" y="270"/>
                </a:lnTo>
                <a:lnTo>
                  <a:pt x="156" y="266"/>
                </a:lnTo>
                <a:lnTo>
                  <a:pt x="156" y="264"/>
                </a:lnTo>
                <a:lnTo>
                  <a:pt x="158" y="244"/>
                </a:lnTo>
                <a:lnTo>
                  <a:pt x="154" y="236"/>
                </a:lnTo>
                <a:lnTo>
                  <a:pt x="148" y="232"/>
                </a:lnTo>
                <a:lnTo>
                  <a:pt x="140" y="232"/>
                </a:lnTo>
                <a:lnTo>
                  <a:pt x="138" y="232"/>
                </a:lnTo>
                <a:lnTo>
                  <a:pt x="136" y="230"/>
                </a:lnTo>
                <a:lnTo>
                  <a:pt x="132" y="210"/>
                </a:lnTo>
                <a:lnTo>
                  <a:pt x="134" y="168"/>
                </a:lnTo>
                <a:lnTo>
                  <a:pt x="136" y="168"/>
                </a:lnTo>
                <a:lnTo>
                  <a:pt x="148" y="150"/>
                </a:lnTo>
                <a:lnTo>
                  <a:pt x="164" y="160"/>
                </a:lnTo>
                <a:lnTo>
                  <a:pt x="176" y="160"/>
                </a:lnTo>
                <a:lnTo>
                  <a:pt x="184" y="108"/>
                </a:lnTo>
                <a:lnTo>
                  <a:pt x="180" y="100"/>
                </a:lnTo>
                <a:lnTo>
                  <a:pt x="174" y="96"/>
                </a:lnTo>
                <a:lnTo>
                  <a:pt x="168" y="96"/>
                </a:lnTo>
                <a:lnTo>
                  <a:pt x="166" y="96"/>
                </a:lnTo>
                <a:lnTo>
                  <a:pt x="154" y="98"/>
                </a:lnTo>
                <a:lnTo>
                  <a:pt x="152" y="96"/>
                </a:lnTo>
                <a:lnTo>
                  <a:pt x="144" y="84"/>
                </a:lnTo>
                <a:lnTo>
                  <a:pt x="142" y="84"/>
                </a:lnTo>
                <a:lnTo>
                  <a:pt x="142" y="64"/>
                </a:lnTo>
                <a:lnTo>
                  <a:pt x="146" y="52"/>
                </a:lnTo>
                <a:lnTo>
                  <a:pt x="148" y="48"/>
                </a:lnTo>
                <a:lnTo>
                  <a:pt x="150" y="42"/>
                </a:lnTo>
                <a:lnTo>
                  <a:pt x="152" y="36"/>
                </a:lnTo>
                <a:lnTo>
                  <a:pt x="156" y="32"/>
                </a:lnTo>
                <a:lnTo>
                  <a:pt x="156" y="20"/>
                </a:lnTo>
                <a:lnTo>
                  <a:pt x="144" y="8"/>
                </a:lnTo>
                <a:lnTo>
                  <a:pt x="128" y="0"/>
                </a:lnTo>
                <a:lnTo>
                  <a:pt x="108" y="18"/>
                </a:lnTo>
                <a:close/>
              </a:path>
            </a:pathLst>
          </a:custGeom>
          <a:solidFill>
            <a:srgbClr val="BFBFBF"/>
          </a:solidFill>
          <a:ln>
            <a:noFill/>
          </a:ln>
        </p:spPr>
        <p:txBody>
          <a:bodyPr/>
          <a:lstStyle/>
          <a:p>
            <a:endParaRPr altLang="en-US" lang="zh-CN">
              <a:cs typeface="+mn-ea"/>
              <a:sym typeface="+mn-lt"/>
            </a:endParaRPr>
          </a:p>
        </p:txBody>
      </p:sp>
      <p:sp>
        <p:nvSpPr>
          <p:cNvPr id="8" name="新疆"/>
          <p:cNvSpPr/>
          <p:nvPr/>
        </p:nvSpPr>
        <p:spPr bwMode="auto">
          <a:xfrm>
            <a:off x="1176403" y="2323124"/>
            <a:ext cx="1923325" cy="1454984"/>
          </a:xfrm>
          <a:custGeom>
            <a:gdLst>
              <a:gd fmla="*/ 2147483646 w 1304" name="T0"/>
              <a:gd fmla="*/ 2147483646 h 986" name="T1"/>
              <a:gd fmla="*/ 2147483646 w 1304" name="T2"/>
              <a:gd fmla="*/ 2147483646 h 986" name="T3"/>
              <a:gd fmla="*/ 2147483646 w 1304" name="T4"/>
              <a:gd fmla="*/ 2147483646 h 986" name="T5"/>
              <a:gd fmla="*/ 2147483646 w 1304" name="T6"/>
              <a:gd fmla="*/ 2147483646 h 986" name="T7"/>
              <a:gd fmla="*/ 2147483646 w 1304" name="T8"/>
              <a:gd fmla="*/ 2147483646 h 986" name="T9"/>
              <a:gd fmla="*/ 2147483646 w 1304" name="T10"/>
              <a:gd fmla="*/ 2147483646 h 986" name="T11"/>
              <a:gd fmla="*/ 2147483646 w 1304" name="T12"/>
              <a:gd fmla="*/ 2147483646 h 986" name="T13"/>
              <a:gd fmla="*/ 2147483646 w 1304" name="T14"/>
              <a:gd fmla="*/ 2147483646 h 986" name="T15"/>
              <a:gd fmla="*/ 2147483646 w 1304" name="T16"/>
              <a:gd fmla="*/ 2147483646 h 986" name="T17"/>
              <a:gd fmla="*/ 2147483646 w 1304" name="T18"/>
              <a:gd fmla="*/ 2147483646 h 986" name="T19"/>
              <a:gd fmla="*/ 2147483646 w 1304" name="T20"/>
              <a:gd fmla="*/ 2147483646 h 986" name="T21"/>
              <a:gd fmla="*/ 2147483646 w 1304" name="T22"/>
              <a:gd fmla="*/ 2147483646 h 986" name="T23"/>
              <a:gd fmla="*/ 2147483646 w 1304" name="T24"/>
              <a:gd fmla="*/ 2147483646 h 986" name="T25"/>
              <a:gd fmla="*/ 2147483646 w 1304" name="T26"/>
              <a:gd fmla="*/ 2147483646 h 986" name="T27"/>
              <a:gd fmla="*/ 2147483646 w 1304" name="T28"/>
              <a:gd fmla="*/ 2147483646 h 986" name="T29"/>
              <a:gd fmla="*/ 2147483646 w 1304" name="T30"/>
              <a:gd fmla="*/ 2147483646 h 986" name="T31"/>
              <a:gd fmla="*/ 2147483646 w 1304" name="T32"/>
              <a:gd fmla="*/ 2147483646 h 986" name="T33"/>
              <a:gd fmla="*/ 2147483646 w 1304" name="T34"/>
              <a:gd fmla="*/ 2147483646 h 986" name="T35"/>
              <a:gd fmla="*/ 2147483646 w 1304" name="T36"/>
              <a:gd fmla="*/ 2147483646 h 986" name="T37"/>
              <a:gd fmla="*/ 2147483646 w 1304" name="T38"/>
              <a:gd fmla="*/ 2147483646 h 986" name="T39"/>
              <a:gd fmla="*/ 2147483646 w 1304" name="T40"/>
              <a:gd fmla="*/ 2147483646 h 986" name="T41"/>
              <a:gd fmla="*/ 2147483646 w 1304" name="T42"/>
              <a:gd fmla="*/ 2147483646 h 986" name="T43"/>
              <a:gd fmla="*/ 2147483646 w 1304" name="T44"/>
              <a:gd fmla="*/ 2147483646 h 986" name="T45"/>
              <a:gd fmla="*/ 2147483646 w 1304" name="T46"/>
              <a:gd fmla="*/ 2147483646 h 986" name="T47"/>
              <a:gd fmla="*/ 2147483646 w 1304" name="T48"/>
              <a:gd fmla="*/ 2147483646 h 986" name="T49"/>
              <a:gd fmla="*/ 2147483646 w 1304" name="T50"/>
              <a:gd fmla="*/ 2147483646 h 986" name="T51"/>
              <a:gd fmla="*/ 2147483646 w 1304" name="T52"/>
              <a:gd fmla="*/ 2147483646 h 986" name="T53"/>
              <a:gd fmla="*/ 2147483646 w 1304" name="T54"/>
              <a:gd fmla="*/ 2147483646 h 986" name="T55"/>
              <a:gd fmla="*/ 2147483646 w 1304" name="T56"/>
              <a:gd fmla="*/ 2147483646 h 986" name="T57"/>
              <a:gd fmla="*/ 2147483646 w 1304" name="T58"/>
              <a:gd fmla="*/ 2147483646 h 986" name="T59"/>
              <a:gd fmla="*/ 2147483646 w 1304" name="T60"/>
              <a:gd fmla="*/ 2147483646 h 986" name="T61"/>
              <a:gd fmla="*/ 2147483646 w 1304" name="T62"/>
              <a:gd fmla="*/ 2147483646 h 986" name="T63"/>
              <a:gd fmla="*/ 2147483646 w 1304" name="T64"/>
              <a:gd fmla="*/ 2147483646 h 986" name="T65"/>
              <a:gd fmla="*/ 2147483646 w 1304" name="T66"/>
              <a:gd fmla="*/ 2147483646 h 986" name="T67"/>
              <a:gd fmla="*/ 2147483646 w 1304" name="T68"/>
              <a:gd fmla="*/ 2147483646 h 986" name="T69"/>
              <a:gd fmla="*/ 2147483646 w 1304" name="T70"/>
              <a:gd fmla="*/ 2147483646 h 986" name="T71"/>
              <a:gd fmla="*/ 2147483646 w 1304" name="T72"/>
              <a:gd fmla="*/ 2147483646 h 986" name="T73"/>
              <a:gd fmla="*/ 2147483646 w 1304" name="T74"/>
              <a:gd fmla="*/ 2147483646 h 986" name="T75"/>
              <a:gd fmla="*/ 2147483646 w 1304" name="T76"/>
              <a:gd fmla="*/ 2147483646 h 986" name="T77"/>
              <a:gd fmla="*/ 2147483646 w 1304" name="T78"/>
              <a:gd fmla="*/ 2147483646 h 986" name="T79"/>
              <a:gd fmla="*/ 2147483646 w 1304" name="T80"/>
              <a:gd fmla="*/ 2147483646 h 986" name="T81"/>
              <a:gd fmla="*/ 2147483646 w 1304" name="T82"/>
              <a:gd fmla="*/ 2147483646 h 986" name="T83"/>
              <a:gd fmla="*/ 2147483646 w 1304" name="T84"/>
              <a:gd fmla="*/ 2147483646 h 986" name="T85"/>
              <a:gd fmla="*/ 2147483646 w 1304" name="T86"/>
              <a:gd fmla="*/ 2147483646 h 986" name="T87"/>
              <a:gd fmla="*/ 2147483646 w 1304" name="T88"/>
              <a:gd fmla="*/ 2147483646 h 986" name="T89"/>
              <a:gd fmla="*/ 2147483646 w 1304" name="T90"/>
              <a:gd fmla="*/ 2147483646 h 986" name="T91"/>
              <a:gd fmla="*/ 2147483646 w 1304" name="T92"/>
              <a:gd fmla="*/ 2147483646 h 986" name="T93"/>
              <a:gd fmla="*/ 2147483646 w 1304" name="T94"/>
              <a:gd fmla="*/ 2147483646 h 986" name="T95"/>
              <a:gd fmla="*/ 2147483646 w 1304" name="T96"/>
              <a:gd fmla="*/ 2147483646 h 986" name="T97"/>
              <a:gd fmla="*/ 2147483646 w 1304" name="T98"/>
              <a:gd fmla="*/ 2147483646 h 986" name="T99"/>
              <a:gd fmla="*/ 2147483646 w 1304" name="T100"/>
              <a:gd fmla="*/ 2147483646 h 986" name="T101"/>
              <a:gd fmla="*/ 2147483646 w 1304" name="T102"/>
              <a:gd fmla="*/ 2147483646 h 986" name="T103"/>
              <a:gd fmla="*/ 2147483646 w 1304" name="T104"/>
              <a:gd fmla="*/ 2147483646 h 986" name="T105"/>
              <a:gd fmla="*/ 2147483646 w 1304" name="T106"/>
              <a:gd fmla="*/ 2147483646 h 986" name="T107"/>
              <a:gd fmla="*/ 2147483646 w 1304" name="T108"/>
              <a:gd fmla="*/ 2147483646 h 986" name="T109"/>
              <a:gd fmla="*/ 2147483646 w 1304" name="T110"/>
              <a:gd fmla="*/ 2147483646 h 986" name="T111"/>
              <a:gd fmla="*/ 2147483646 w 1304" name="T112"/>
              <a:gd fmla="*/ 2147483646 h 986" name="T113"/>
              <a:gd fmla="*/ 2147483646 w 1304" name="T114"/>
              <a:gd fmla="*/ 2147483646 h 98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b="b" l="0" r="r" t="0"/>
            <a:pathLst>
              <a:path h="985" w="1304">
                <a:moveTo>
                  <a:pt x="1302" y="530"/>
                </a:moveTo>
                <a:lnTo>
                  <a:pt x="1304" y="530"/>
                </a:lnTo>
                <a:lnTo>
                  <a:pt x="1304" y="528"/>
                </a:lnTo>
                <a:lnTo>
                  <a:pt x="1278" y="456"/>
                </a:lnTo>
                <a:lnTo>
                  <a:pt x="1262" y="444"/>
                </a:lnTo>
                <a:lnTo>
                  <a:pt x="1262" y="442"/>
                </a:lnTo>
                <a:lnTo>
                  <a:pt x="1258" y="412"/>
                </a:lnTo>
                <a:lnTo>
                  <a:pt x="1226" y="408"/>
                </a:lnTo>
                <a:lnTo>
                  <a:pt x="1224" y="408"/>
                </a:lnTo>
                <a:lnTo>
                  <a:pt x="1222" y="408"/>
                </a:lnTo>
                <a:lnTo>
                  <a:pt x="1222" y="406"/>
                </a:lnTo>
                <a:lnTo>
                  <a:pt x="1222" y="404"/>
                </a:lnTo>
                <a:lnTo>
                  <a:pt x="1218" y="396"/>
                </a:lnTo>
                <a:lnTo>
                  <a:pt x="1212" y="386"/>
                </a:lnTo>
                <a:lnTo>
                  <a:pt x="1202" y="378"/>
                </a:lnTo>
                <a:lnTo>
                  <a:pt x="1192" y="368"/>
                </a:lnTo>
                <a:lnTo>
                  <a:pt x="1178" y="360"/>
                </a:lnTo>
                <a:lnTo>
                  <a:pt x="1166" y="354"/>
                </a:lnTo>
                <a:lnTo>
                  <a:pt x="1152" y="346"/>
                </a:lnTo>
                <a:lnTo>
                  <a:pt x="1140" y="340"/>
                </a:lnTo>
                <a:lnTo>
                  <a:pt x="1116" y="336"/>
                </a:lnTo>
                <a:lnTo>
                  <a:pt x="1084" y="334"/>
                </a:lnTo>
                <a:lnTo>
                  <a:pt x="1042" y="332"/>
                </a:lnTo>
                <a:lnTo>
                  <a:pt x="1040" y="332"/>
                </a:lnTo>
                <a:lnTo>
                  <a:pt x="1032" y="320"/>
                </a:lnTo>
                <a:lnTo>
                  <a:pt x="1028" y="310"/>
                </a:lnTo>
                <a:lnTo>
                  <a:pt x="1026" y="300"/>
                </a:lnTo>
                <a:lnTo>
                  <a:pt x="1028" y="288"/>
                </a:lnTo>
                <a:lnTo>
                  <a:pt x="1034" y="272"/>
                </a:lnTo>
                <a:lnTo>
                  <a:pt x="1044" y="246"/>
                </a:lnTo>
                <a:lnTo>
                  <a:pt x="1058" y="214"/>
                </a:lnTo>
                <a:lnTo>
                  <a:pt x="1048" y="180"/>
                </a:lnTo>
                <a:lnTo>
                  <a:pt x="1036" y="124"/>
                </a:lnTo>
                <a:lnTo>
                  <a:pt x="1032" y="118"/>
                </a:lnTo>
                <a:lnTo>
                  <a:pt x="1024" y="112"/>
                </a:lnTo>
                <a:lnTo>
                  <a:pt x="1012" y="106"/>
                </a:lnTo>
                <a:lnTo>
                  <a:pt x="996" y="100"/>
                </a:lnTo>
                <a:lnTo>
                  <a:pt x="990" y="98"/>
                </a:lnTo>
                <a:lnTo>
                  <a:pt x="982" y="94"/>
                </a:lnTo>
                <a:lnTo>
                  <a:pt x="976" y="90"/>
                </a:lnTo>
                <a:lnTo>
                  <a:pt x="970" y="86"/>
                </a:lnTo>
                <a:lnTo>
                  <a:pt x="966" y="80"/>
                </a:lnTo>
                <a:lnTo>
                  <a:pt x="964" y="74"/>
                </a:lnTo>
                <a:lnTo>
                  <a:pt x="960" y="68"/>
                </a:lnTo>
                <a:lnTo>
                  <a:pt x="954" y="60"/>
                </a:lnTo>
                <a:lnTo>
                  <a:pt x="948" y="54"/>
                </a:lnTo>
                <a:lnTo>
                  <a:pt x="940" y="50"/>
                </a:lnTo>
                <a:lnTo>
                  <a:pt x="938" y="50"/>
                </a:lnTo>
                <a:lnTo>
                  <a:pt x="938" y="48"/>
                </a:lnTo>
                <a:lnTo>
                  <a:pt x="928" y="0"/>
                </a:lnTo>
                <a:lnTo>
                  <a:pt x="890" y="4"/>
                </a:lnTo>
                <a:lnTo>
                  <a:pt x="886" y="14"/>
                </a:lnTo>
                <a:lnTo>
                  <a:pt x="882" y="24"/>
                </a:lnTo>
                <a:lnTo>
                  <a:pt x="878" y="32"/>
                </a:lnTo>
                <a:lnTo>
                  <a:pt x="876" y="36"/>
                </a:lnTo>
                <a:lnTo>
                  <a:pt x="870" y="38"/>
                </a:lnTo>
                <a:lnTo>
                  <a:pt x="846" y="46"/>
                </a:lnTo>
                <a:lnTo>
                  <a:pt x="828" y="56"/>
                </a:lnTo>
                <a:lnTo>
                  <a:pt x="822" y="60"/>
                </a:lnTo>
                <a:lnTo>
                  <a:pt x="816" y="66"/>
                </a:lnTo>
                <a:lnTo>
                  <a:pt x="814" y="74"/>
                </a:lnTo>
                <a:lnTo>
                  <a:pt x="810" y="92"/>
                </a:lnTo>
                <a:lnTo>
                  <a:pt x="806" y="110"/>
                </a:lnTo>
                <a:lnTo>
                  <a:pt x="802" y="122"/>
                </a:lnTo>
                <a:lnTo>
                  <a:pt x="798" y="130"/>
                </a:lnTo>
                <a:lnTo>
                  <a:pt x="792" y="136"/>
                </a:lnTo>
                <a:lnTo>
                  <a:pt x="786" y="142"/>
                </a:lnTo>
                <a:lnTo>
                  <a:pt x="778" y="144"/>
                </a:lnTo>
                <a:lnTo>
                  <a:pt x="770" y="146"/>
                </a:lnTo>
                <a:lnTo>
                  <a:pt x="760" y="146"/>
                </a:lnTo>
                <a:lnTo>
                  <a:pt x="750" y="144"/>
                </a:lnTo>
                <a:lnTo>
                  <a:pt x="738" y="140"/>
                </a:lnTo>
                <a:lnTo>
                  <a:pt x="724" y="134"/>
                </a:lnTo>
                <a:lnTo>
                  <a:pt x="708" y="126"/>
                </a:lnTo>
                <a:lnTo>
                  <a:pt x="674" y="104"/>
                </a:lnTo>
                <a:lnTo>
                  <a:pt x="608" y="188"/>
                </a:lnTo>
                <a:lnTo>
                  <a:pt x="616" y="224"/>
                </a:lnTo>
                <a:lnTo>
                  <a:pt x="618" y="224"/>
                </a:lnTo>
                <a:lnTo>
                  <a:pt x="616" y="226"/>
                </a:lnTo>
                <a:lnTo>
                  <a:pt x="610" y="232"/>
                </a:lnTo>
                <a:lnTo>
                  <a:pt x="602" y="236"/>
                </a:lnTo>
                <a:lnTo>
                  <a:pt x="598" y="236"/>
                </a:lnTo>
                <a:lnTo>
                  <a:pt x="594" y="234"/>
                </a:lnTo>
                <a:lnTo>
                  <a:pt x="582" y="230"/>
                </a:lnTo>
                <a:lnTo>
                  <a:pt x="576" y="226"/>
                </a:lnTo>
                <a:lnTo>
                  <a:pt x="564" y="224"/>
                </a:lnTo>
                <a:lnTo>
                  <a:pt x="548" y="220"/>
                </a:lnTo>
                <a:lnTo>
                  <a:pt x="528" y="220"/>
                </a:lnTo>
                <a:lnTo>
                  <a:pt x="514" y="218"/>
                </a:lnTo>
                <a:lnTo>
                  <a:pt x="494" y="216"/>
                </a:lnTo>
                <a:lnTo>
                  <a:pt x="474" y="220"/>
                </a:lnTo>
                <a:lnTo>
                  <a:pt x="482" y="234"/>
                </a:lnTo>
                <a:lnTo>
                  <a:pt x="492" y="248"/>
                </a:lnTo>
                <a:lnTo>
                  <a:pt x="494" y="252"/>
                </a:lnTo>
                <a:lnTo>
                  <a:pt x="494" y="256"/>
                </a:lnTo>
                <a:lnTo>
                  <a:pt x="484" y="308"/>
                </a:lnTo>
                <a:lnTo>
                  <a:pt x="488" y="336"/>
                </a:lnTo>
                <a:lnTo>
                  <a:pt x="490" y="336"/>
                </a:lnTo>
                <a:lnTo>
                  <a:pt x="488" y="336"/>
                </a:lnTo>
                <a:lnTo>
                  <a:pt x="472" y="388"/>
                </a:lnTo>
                <a:lnTo>
                  <a:pt x="470" y="394"/>
                </a:lnTo>
                <a:lnTo>
                  <a:pt x="468" y="396"/>
                </a:lnTo>
                <a:lnTo>
                  <a:pt x="466" y="396"/>
                </a:lnTo>
                <a:lnTo>
                  <a:pt x="466" y="394"/>
                </a:lnTo>
                <a:lnTo>
                  <a:pt x="464" y="390"/>
                </a:lnTo>
                <a:lnTo>
                  <a:pt x="460" y="384"/>
                </a:lnTo>
                <a:lnTo>
                  <a:pt x="460" y="382"/>
                </a:lnTo>
                <a:lnTo>
                  <a:pt x="458" y="382"/>
                </a:lnTo>
                <a:lnTo>
                  <a:pt x="454" y="384"/>
                </a:lnTo>
                <a:lnTo>
                  <a:pt x="452" y="392"/>
                </a:lnTo>
                <a:lnTo>
                  <a:pt x="450" y="404"/>
                </a:lnTo>
                <a:lnTo>
                  <a:pt x="444" y="414"/>
                </a:lnTo>
                <a:lnTo>
                  <a:pt x="436" y="422"/>
                </a:lnTo>
                <a:lnTo>
                  <a:pt x="426" y="432"/>
                </a:lnTo>
                <a:lnTo>
                  <a:pt x="412" y="444"/>
                </a:lnTo>
                <a:lnTo>
                  <a:pt x="406" y="448"/>
                </a:lnTo>
                <a:lnTo>
                  <a:pt x="404" y="448"/>
                </a:lnTo>
                <a:lnTo>
                  <a:pt x="352" y="448"/>
                </a:lnTo>
                <a:lnTo>
                  <a:pt x="332" y="468"/>
                </a:lnTo>
                <a:lnTo>
                  <a:pt x="330" y="468"/>
                </a:lnTo>
                <a:lnTo>
                  <a:pt x="274" y="460"/>
                </a:lnTo>
                <a:lnTo>
                  <a:pt x="268" y="466"/>
                </a:lnTo>
                <a:lnTo>
                  <a:pt x="260" y="470"/>
                </a:lnTo>
                <a:lnTo>
                  <a:pt x="254" y="470"/>
                </a:lnTo>
                <a:lnTo>
                  <a:pt x="248" y="470"/>
                </a:lnTo>
                <a:lnTo>
                  <a:pt x="240" y="470"/>
                </a:lnTo>
                <a:lnTo>
                  <a:pt x="232" y="470"/>
                </a:lnTo>
                <a:lnTo>
                  <a:pt x="206" y="478"/>
                </a:lnTo>
                <a:lnTo>
                  <a:pt x="184" y="504"/>
                </a:lnTo>
                <a:lnTo>
                  <a:pt x="184" y="506"/>
                </a:lnTo>
                <a:lnTo>
                  <a:pt x="148" y="508"/>
                </a:lnTo>
                <a:lnTo>
                  <a:pt x="148" y="478"/>
                </a:lnTo>
                <a:lnTo>
                  <a:pt x="126" y="478"/>
                </a:lnTo>
                <a:lnTo>
                  <a:pt x="122" y="490"/>
                </a:lnTo>
                <a:lnTo>
                  <a:pt x="106" y="494"/>
                </a:lnTo>
                <a:lnTo>
                  <a:pt x="104" y="494"/>
                </a:lnTo>
                <a:lnTo>
                  <a:pt x="102" y="494"/>
                </a:lnTo>
                <a:lnTo>
                  <a:pt x="86" y="486"/>
                </a:lnTo>
                <a:lnTo>
                  <a:pt x="66" y="480"/>
                </a:lnTo>
                <a:lnTo>
                  <a:pt x="60" y="482"/>
                </a:lnTo>
                <a:lnTo>
                  <a:pt x="54" y="484"/>
                </a:lnTo>
                <a:lnTo>
                  <a:pt x="38" y="496"/>
                </a:lnTo>
                <a:lnTo>
                  <a:pt x="20" y="512"/>
                </a:lnTo>
                <a:lnTo>
                  <a:pt x="14" y="520"/>
                </a:lnTo>
                <a:lnTo>
                  <a:pt x="10" y="528"/>
                </a:lnTo>
                <a:lnTo>
                  <a:pt x="12" y="530"/>
                </a:lnTo>
                <a:lnTo>
                  <a:pt x="14" y="536"/>
                </a:lnTo>
                <a:lnTo>
                  <a:pt x="16" y="546"/>
                </a:lnTo>
                <a:lnTo>
                  <a:pt x="16" y="554"/>
                </a:lnTo>
                <a:lnTo>
                  <a:pt x="14" y="562"/>
                </a:lnTo>
                <a:lnTo>
                  <a:pt x="10" y="568"/>
                </a:lnTo>
                <a:lnTo>
                  <a:pt x="6" y="570"/>
                </a:lnTo>
                <a:lnTo>
                  <a:pt x="4" y="574"/>
                </a:lnTo>
                <a:lnTo>
                  <a:pt x="0" y="590"/>
                </a:lnTo>
                <a:lnTo>
                  <a:pt x="14" y="598"/>
                </a:lnTo>
                <a:lnTo>
                  <a:pt x="30" y="580"/>
                </a:lnTo>
                <a:lnTo>
                  <a:pt x="54" y="604"/>
                </a:lnTo>
                <a:lnTo>
                  <a:pt x="54" y="606"/>
                </a:lnTo>
                <a:lnTo>
                  <a:pt x="58" y="650"/>
                </a:lnTo>
                <a:lnTo>
                  <a:pt x="58" y="652"/>
                </a:lnTo>
                <a:lnTo>
                  <a:pt x="44" y="712"/>
                </a:lnTo>
                <a:lnTo>
                  <a:pt x="42" y="712"/>
                </a:lnTo>
                <a:lnTo>
                  <a:pt x="18" y="712"/>
                </a:lnTo>
                <a:lnTo>
                  <a:pt x="12" y="714"/>
                </a:lnTo>
                <a:lnTo>
                  <a:pt x="6" y="716"/>
                </a:lnTo>
                <a:lnTo>
                  <a:pt x="8" y="720"/>
                </a:lnTo>
                <a:lnTo>
                  <a:pt x="12" y="724"/>
                </a:lnTo>
                <a:lnTo>
                  <a:pt x="28" y="736"/>
                </a:lnTo>
                <a:lnTo>
                  <a:pt x="40" y="734"/>
                </a:lnTo>
                <a:lnTo>
                  <a:pt x="42" y="734"/>
                </a:lnTo>
                <a:lnTo>
                  <a:pt x="70" y="760"/>
                </a:lnTo>
                <a:lnTo>
                  <a:pt x="72" y="764"/>
                </a:lnTo>
                <a:lnTo>
                  <a:pt x="76" y="768"/>
                </a:lnTo>
                <a:lnTo>
                  <a:pt x="76" y="778"/>
                </a:lnTo>
                <a:lnTo>
                  <a:pt x="74" y="792"/>
                </a:lnTo>
                <a:lnTo>
                  <a:pt x="66" y="806"/>
                </a:lnTo>
                <a:lnTo>
                  <a:pt x="70" y="832"/>
                </a:lnTo>
                <a:lnTo>
                  <a:pt x="80" y="834"/>
                </a:lnTo>
                <a:lnTo>
                  <a:pt x="120" y="834"/>
                </a:lnTo>
                <a:lnTo>
                  <a:pt x="100" y="852"/>
                </a:lnTo>
                <a:lnTo>
                  <a:pt x="112" y="860"/>
                </a:lnTo>
                <a:lnTo>
                  <a:pt x="128" y="868"/>
                </a:lnTo>
                <a:lnTo>
                  <a:pt x="170" y="886"/>
                </a:lnTo>
                <a:lnTo>
                  <a:pt x="172" y="888"/>
                </a:lnTo>
                <a:lnTo>
                  <a:pt x="174" y="888"/>
                </a:lnTo>
                <a:lnTo>
                  <a:pt x="178" y="952"/>
                </a:lnTo>
                <a:lnTo>
                  <a:pt x="180" y="962"/>
                </a:lnTo>
                <a:lnTo>
                  <a:pt x="186" y="970"/>
                </a:lnTo>
                <a:lnTo>
                  <a:pt x="194" y="976"/>
                </a:lnTo>
                <a:lnTo>
                  <a:pt x="206" y="982"/>
                </a:lnTo>
                <a:lnTo>
                  <a:pt x="210" y="980"/>
                </a:lnTo>
                <a:lnTo>
                  <a:pt x="212" y="980"/>
                </a:lnTo>
                <a:lnTo>
                  <a:pt x="256" y="986"/>
                </a:lnTo>
                <a:lnTo>
                  <a:pt x="260" y="986"/>
                </a:lnTo>
                <a:lnTo>
                  <a:pt x="260" y="984"/>
                </a:lnTo>
                <a:lnTo>
                  <a:pt x="268" y="968"/>
                </a:lnTo>
                <a:lnTo>
                  <a:pt x="268" y="966"/>
                </a:lnTo>
                <a:lnTo>
                  <a:pt x="268" y="960"/>
                </a:lnTo>
                <a:lnTo>
                  <a:pt x="270" y="956"/>
                </a:lnTo>
                <a:lnTo>
                  <a:pt x="274" y="952"/>
                </a:lnTo>
                <a:lnTo>
                  <a:pt x="278" y="948"/>
                </a:lnTo>
                <a:lnTo>
                  <a:pt x="286" y="940"/>
                </a:lnTo>
                <a:lnTo>
                  <a:pt x="290" y="932"/>
                </a:lnTo>
                <a:lnTo>
                  <a:pt x="294" y="928"/>
                </a:lnTo>
                <a:lnTo>
                  <a:pt x="298" y="926"/>
                </a:lnTo>
                <a:lnTo>
                  <a:pt x="306" y="926"/>
                </a:lnTo>
                <a:lnTo>
                  <a:pt x="314" y="928"/>
                </a:lnTo>
                <a:lnTo>
                  <a:pt x="316" y="928"/>
                </a:lnTo>
                <a:lnTo>
                  <a:pt x="330" y="936"/>
                </a:lnTo>
                <a:lnTo>
                  <a:pt x="382" y="946"/>
                </a:lnTo>
                <a:lnTo>
                  <a:pt x="412" y="944"/>
                </a:lnTo>
                <a:lnTo>
                  <a:pt x="434" y="934"/>
                </a:lnTo>
                <a:lnTo>
                  <a:pt x="440" y="928"/>
                </a:lnTo>
                <a:lnTo>
                  <a:pt x="444" y="924"/>
                </a:lnTo>
                <a:lnTo>
                  <a:pt x="452" y="924"/>
                </a:lnTo>
                <a:lnTo>
                  <a:pt x="460" y="930"/>
                </a:lnTo>
                <a:lnTo>
                  <a:pt x="464" y="932"/>
                </a:lnTo>
                <a:lnTo>
                  <a:pt x="468" y="938"/>
                </a:lnTo>
                <a:lnTo>
                  <a:pt x="472" y="948"/>
                </a:lnTo>
                <a:lnTo>
                  <a:pt x="488" y="960"/>
                </a:lnTo>
                <a:lnTo>
                  <a:pt x="500" y="960"/>
                </a:lnTo>
                <a:lnTo>
                  <a:pt x="502" y="960"/>
                </a:lnTo>
                <a:lnTo>
                  <a:pt x="504" y="960"/>
                </a:lnTo>
                <a:lnTo>
                  <a:pt x="520" y="968"/>
                </a:lnTo>
                <a:lnTo>
                  <a:pt x="552" y="964"/>
                </a:lnTo>
                <a:lnTo>
                  <a:pt x="570" y="960"/>
                </a:lnTo>
                <a:lnTo>
                  <a:pt x="614" y="964"/>
                </a:lnTo>
                <a:lnTo>
                  <a:pt x="634" y="958"/>
                </a:lnTo>
                <a:lnTo>
                  <a:pt x="658" y="948"/>
                </a:lnTo>
                <a:lnTo>
                  <a:pt x="666" y="944"/>
                </a:lnTo>
                <a:lnTo>
                  <a:pt x="676" y="940"/>
                </a:lnTo>
                <a:lnTo>
                  <a:pt x="720" y="940"/>
                </a:lnTo>
                <a:lnTo>
                  <a:pt x="736" y="934"/>
                </a:lnTo>
                <a:lnTo>
                  <a:pt x="746" y="930"/>
                </a:lnTo>
                <a:lnTo>
                  <a:pt x="754" y="928"/>
                </a:lnTo>
                <a:lnTo>
                  <a:pt x="778" y="928"/>
                </a:lnTo>
                <a:lnTo>
                  <a:pt x="790" y="936"/>
                </a:lnTo>
                <a:lnTo>
                  <a:pt x="826" y="944"/>
                </a:lnTo>
                <a:lnTo>
                  <a:pt x="830" y="944"/>
                </a:lnTo>
                <a:lnTo>
                  <a:pt x="832" y="948"/>
                </a:lnTo>
                <a:lnTo>
                  <a:pt x="842" y="956"/>
                </a:lnTo>
                <a:lnTo>
                  <a:pt x="858" y="964"/>
                </a:lnTo>
                <a:lnTo>
                  <a:pt x="858" y="966"/>
                </a:lnTo>
                <a:lnTo>
                  <a:pt x="892" y="968"/>
                </a:lnTo>
                <a:lnTo>
                  <a:pt x="908" y="976"/>
                </a:lnTo>
                <a:lnTo>
                  <a:pt x="928" y="980"/>
                </a:lnTo>
                <a:lnTo>
                  <a:pt x="946" y="982"/>
                </a:lnTo>
                <a:lnTo>
                  <a:pt x="950" y="972"/>
                </a:lnTo>
                <a:lnTo>
                  <a:pt x="942" y="956"/>
                </a:lnTo>
                <a:lnTo>
                  <a:pt x="940" y="940"/>
                </a:lnTo>
                <a:lnTo>
                  <a:pt x="938" y="940"/>
                </a:lnTo>
                <a:lnTo>
                  <a:pt x="942" y="936"/>
                </a:lnTo>
                <a:lnTo>
                  <a:pt x="952" y="922"/>
                </a:lnTo>
                <a:lnTo>
                  <a:pt x="952" y="920"/>
                </a:lnTo>
                <a:lnTo>
                  <a:pt x="954" y="920"/>
                </a:lnTo>
                <a:lnTo>
                  <a:pt x="964" y="912"/>
                </a:lnTo>
                <a:lnTo>
                  <a:pt x="962" y="908"/>
                </a:lnTo>
                <a:lnTo>
                  <a:pt x="958" y="892"/>
                </a:lnTo>
                <a:lnTo>
                  <a:pt x="956" y="888"/>
                </a:lnTo>
                <a:lnTo>
                  <a:pt x="950" y="884"/>
                </a:lnTo>
                <a:lnTo>
                  <a:pt x="938" y="872"/>
                </a:lnTo>
                <a:lnTo>
                  <a:pt x="922" y="858"/>
                </a:lnTo>
                <a:lnTo>
                  <a:pt x="922" y="856"/>
                </a:lnTo>
                <a:lnTo>
                  <a:pt x="920" y="856"/>
                </a:lnTo>
                <a:lnTo>
                  <a:pt x="922" y="856"/>
                </a:lnTo>
                <a:lnTo>
                  <a:pt x="922" y="854"/>
                </a:lnTo>
                <a:lnTo>
                  <a:pt x="924" y="838"/>
                </a:lnTo>
                <a:lnTo>
                  <a:pt x="924" y="828"/>
                </a:lnTo>
                <a:lnTo>
                  <a:pt x="916" y="808"/>
                </a:lnTo>
                <a:lnTo>
                  <a:pt x="934" y="804"/>
                </a:lnTo>
                <a:lnTo>
                  <a:pt x="944" y="796"/>
                </a:lnTo>
                <a:lnTo>
                  <a:pt x="966" y="796"/>
                </a:lnTo>
                <a:lnTo>
                  <a:pt x="988" y="792"/>
                </a:lnTo>
                <a:lnTo>
                  <a:pt x="990" y="792"/>
                </a:lnTo>
                <a:lnTo>
                  <a:pt x="1004" y="794"/>
                </a:lnTo>
                <a:lnTo>
                  <a:pt x="1022" y="788"/>
                </a:lnTo>
                <a:lnTo>
                  <a:pt x="1042" y="784"/>
                </a:lnTo>
                <a:lnTo>
                  <a:pt x="1054" y="780"/>
                </a:lnTo>
                <a:lnTo>
                  <a:pt x="1056" y="780"/>
                </a:lnTo>
                <a:lnTo>
                  <a:pt x="1090" y="772"/>
                </a:lnTo>
                <a:lnTo>
                  <a:pt x="1096" y="768"/>
                </a:lnTo>
                <a:lnTo>
                  <a:pt x="1094" y="760"/>
                </a:lnTo>
                <a:lnTo>
                  <a:pt x="1088" y="750"/>
                </a:lnTo>
                <a:lnTo>
                  <a:pt x="1088" y="748"/>
                </a:lnTo>
                <a:lnTo>
                  <a:pt x="1086" y="748"/>
                </a:lnTo>
                <a:lnTo>
                  <a:pt x="1088" y="736"/>
                </a:lnTo>
                <a:lnTo>
                  <a:pt x="1090" y="734"/>
                </a:lnTo>
                <a:lnTo>
                  <a:pt x="1090" y="718"/>
                </a:lnTo>
                <a:lnTo>
                  <a:pt x="1086" y="704"/>
                </a:lnTo>
                <a:lnTo>
                  <a:pt x="1086" y="702"/>
                </a:lnTo>
                <a:lnTo>
                  <a:pt x="1094" y="686"/>
                </a:lnTo>
                <a:lnTo>
                  <a:pt x="1100" y="678"/>
                </a:lnTo>
                <a:lnTo>
                  <a:pt x="1102" y="676"/>
                </a:lnTo>
                <a:lnTo>
                  <a:pt x="1106" y="676"/>
                </a:lnTo>
                <a:lnTo>
                  <a:pt x="1126" y="676"/>
                </a:lnTo>
                <a:lnTo>
                  <a:pt x="1132" y="676"/>
                </a:lnTo>
                <a:lnTo>
                  <a:pt x="1138" y="672"/>
                </a:lnTo>
                <a:lnTo>
                  <a:pt x="1170" y="630"/>
                </a:lnTo>
                <a:lnTo>
                  <a:pt x="1170" y="628"/>
                </a:lnTo>
                <a:lnTo>
                  <a:pt x="1186" y="614"/>
                </a:lnTo>
                <a:lnTo>
                  <a:pt x="1188" y="612"/>
                </a:lnTo>
                <a:lnTo>
                  <a:pt x="1196" y="610"/>
                </a:lnTo>
                <a:lnTo>
                  <a:pt x="1202" y="608"/>
                </a:lnTo>
                <a:lnTo>
                  <a:pt x="1206" y="604"/>
                </a:lnTo>
                <a:lnTo>
                  <a:pt x="1214" y="596"/>
                </a:lnTo>
                <a:lnTo>
                  <a:pt x="1218" y="592"/>
                </a:lnTo>
                <a:lnTo>
                  <a:pt x="1246" y="598"/>
                </a:lnTo>
                <a:lnTo>
                  <a:pt x="1270" y="588"/>
                </a:lnTo>
                <a:lnTo>
                  <a:pt x="1284" y="586"/>
                </a:lnTo>
                <a:lnTo>
                  <a:pt x="1296" y="580"/>
                </a:lnTo>
                <a:lnTo>
                  <a:pt x="1296" y="562"/>
                </a:lnTo>
                <a:lnTo>
                  <a:pt x="1298" y="540"/>
                </a:lnTo>
                <a:lnTo>
                  <a:pt x="1298" y="538"/>
                </a:lnTo>
                <a:lnTo>
                  <a:pt x="1302" y="532"/>
                </a:lnTo>
                <a:lnTo>
                  <a:pt x="1302" y="530"/>
                </a:lnTo>
                <a:close/>
              </a:path>
            </a:pathLst>
          </a:custGeom>
          <a:solidFill>
            <a:srgbClr val="BFBFBF"/>
          </a:solidFill>
          <a:ln>
            <a:noFill/>
          </a:ln>
        </p:spPr>
        <p:txBody>
          <a:bodyPr/>
          <a:lstStyle/>
          <a:p>
            <a:endParaRPr altLang="en-US" lang="zh-CN">
              <a:cs typeface="+mn-ea"/>
              <a:sym typeface="+mn-lt"/>
            </a:endParaRPr>
          </a:p>
        </p:txBody>
      </p:sp>
      <p:sp>
        <p:nvSpPr>
          <p:cNvPr id="9" name="青海"/>
          <p:cNvSpPr/>
          <p:nvPr/>
        </p:nvSpPr>
        <p:spPr bwMode="auto">
          <a:xfrm>
            <a:off x="2424204" y="3465272"/>
            <a:ext cx="1197653" cy="858825"/>
          </a:xfrm>
          <a:custGeom>
            <a:gdLst>
              <a:gd fmla="*/ 2147483646 w 812" name="T0"/>
              <a:gd fmla="*/ 2147483646 h 582" name="T1"/>
              <a:gd fmla="*/ 2147483646 w 812" name="T2"/>
              <a:gd fmla="*/ 2147483646 h 582" name="T3"/>
              <a:gd fmla="*/ 2147483646 w 812" name="T4"/>
              <a:gd fmla="*/ 2147483646 h 582" name="T5"/>
              <a:gd fmla="*/ 2147483646 w 812" name="T6"/>
              <a:gd fmla="*/ 2147483646 h 582" name="T7"/>
              <a:gd fmla="*/ 2147483646 w 812" name="T8"/>
              <a:gd fmla="*/ 2147483646 h 582" name="T9"/>
              <a:gd fmla="*/ 2147483646 w 812" name="T10"/>
              <a:gd fmla="*/ 2147483646 h 582" name="T11"/>
              <a:gd fmla="*/ 2147483646 w 812" name="T12"/>
              <a:gd fmla="*/ 2147483646 h 582" name="T13"/>
              <a:gd fmla="*/ 2147483646 w 812" name="T14"/>
              <a:gd fmla="*/ 2147483646 h 582" name="T15"/>
              <a:gd fmla="*/ 2147483646 w 812" name="T16"/>
              <a:gd fmla="*/ 2147483646 h 582" name="T17"/>
              <a:gd fmla="*/ 2147483646 w 812" name="T18"/>
              <a:gd fmla="*/ 2147483646 h 582" name="T19"/>
              <a:gd fmla="*/ 2147483646 w 812" name="T20"/>
              <a:gd fmla="*/ 2147483646 h 582" name="T21"/>
              <a:gd fmla="*/ 2147483646 w 812" name="T22"/>
              <a:gd fmla="*/ 2147483646 h 582" name="T23"/>
              <a:gd fmla="*/ 2147483646 w 812" name="T24"/>
              <a:gd fmla="*/ 2147483646 h 582" name="T25"/>
              <a:gd fmla="*/ 2147483646 w 812" name="T26"/>
              <a:gd fmla="*/ 2147483646 h 582" name="T27"/>
              <a:gd fmla="*/ 2147483646 w 812" name="T28"/>
              <a:gd fmla="*/ 2147483646 h 582" name="T29"/>
              <a:gd fmla="*/ 2147483646 w 812" name="T30"/>
              <a:gd fmla="*/ 2147483646 h 582" name="T31"/>
              <a:gd fmla="*/ 2147483646 w 812" name="T32"/>
              <a:gd fmla="*/ 2147483646 h 582" name="T33"/>
              <a:gd fmla="*/ 0 w 812" name="T34"/>
              <a:gd fmla="*/ 2147483646 h 582" name="T35"/>
              <a:gd fmla="*/ 2147483646 w 812" name="T36"/>
              <a:gd fmla="*/ 2147483646 h 582" name="T37"/>
              <a:gd fmla="*/ 2147483646 w 812" name="T38"/>
              <a:gd fmla="*/ 2147483646 h 582" name="T39"/>
              <a:gd fmla="*/ 2147483646 w 812" name="T40"/>
              <a:gd fmla="*/ 2147483646 h 582" name="T41"/>
              <a:gd fmla="*/ 2147483646 w 812" name="T42"/>
              <a:gd fmla="*/ 2147483646 h 582" name="T43"/>
              <a:gd fmla="*/ 2147483646 w 812" name="T44"/>
              <a:gd fmla="*/ 2147483646 h 582" name="T45"/>
              <a:gd fmla="*/ 2147483646 w 812" name="T46"/>
              <a:gd fmla="*/ 2147483646 h 582" name="T47"/>
              <a:gd fmla="*/ 2147483646 w 812" name="T48"/>
              <a:gd fmla="*/ 2147483646 h 582" name="T49"/>
              <a:gd fmla="*/ 2147483646 w 812" name="T50"/>
              <a:gd fmla="*/ 2147483646 h 582" name="T51"/>
              <a:gd fmla="*/ 2147483646 w 812" name="T52"/>
              <a:gd fmla="*/ 2147483646 h 582" name="T53"/>
              <a:gd fmla="*/ 2147483646 w 812" name="T54"/>
              <a:gd fmla="*/ 2147483646 h 582" name="T55"/>
              <a:gd fmla="*/ 2147483646 w 812" name="T56"/>
              <a:gd fmla="*/ 2147483646 h 582" name="T57"/>
              <a:gd fmla="*/ 2147483646 w 812" name="T58"/>
              <a:gd fmla="*/ 2147483646 h 582" name="T59"/>
              <a:gd fmla="*/ 2147483646 w 812" name="T60"/>
              <a:gd fmla="*/ 2147483646 h 582" name="T61"/>
              <a:gd fmla="*/ 2147483646 w 812" name="T62"/>
              <a:gd fmla="*/ 2147483646 h 582" name="T63"/>
              <a:gd fmla="*/ 2147483646 w 812" name="T64"/>
              <a:gd fmla="*/ 2147483646 h 582" name="T65"/>
              <a:gd fmla="*/ 2147483646 w 812" name="T66"/>
              <a:gd fmla="*/ 2147483646 h 582" name="T67"/>
              <a:gd fmla="*/ 2147483646 w 812" name="T68"/>
              <a:gd fmla="*/ 2147483646 h 582" name="T69"/>
              <a:gd fmla="*/ 2147483646 w 812" name="T70"/>
              <a:gd fmla="*/ 2147483646 h 582" name="T71"/>
              <a:gd fmla="*/ 2147483646 w 812" name="T72"/>
              <a:gd fmla="*/ 2147483646 h 582" name="T73"/>
              <a:gd fmla="*/ 2147483646 w 812" name="T74"/>
              <a:gd fmla="*/ 2147483646 h 582" name="T75"/>
              <a:gd fmla="*/ 2147483646 w 812" name="T76"/>
              <a:gd fmla="*/ 2147483646 h 582" name="T77"/>
              <a:gd fmla="*/ 2147483646 w 812" name="T78"/>
              <a:gd fmla="*/ 2147483646 h 582" name="T79"/>
              <a:gd fmla="*/ 2147483646 w 812" name="T80"/>
              <a:gd fmla="*/ 2147483646 h 582" name="T81"/>
              <a:gd fmla="*/ 2147483646 w 812" name="T82"/>
              <a:gd fmla="*/ 2147483646 h 582" name="T83"/>
              <a:gd fmla="*/ 2147483646 w 812" name="T84"/>
              <a:gd fmla="*/ 2147483646 h 582" name="T85"/>
              <a:gd fmla="*/ 2147483646 w 812" name="T86"/>
              <a:gd fmla="*/ 2147483646 h 582" name="T87"/>
              <a:gd fmla="*/ 2147483646 w 812" name="T88"/>
              <a:gd fmla="*/ 2147483646 h 582" name="T89"/>
              <a:gd fmla="*/ 2147483646 w 812" name="T90"/>
              <a:gd fmla="*/ 2147483646 h 582" name="T91"/>
              <a:gd fmla="*/ 2147483646 w 812" name="T92"/>
              <a:gd fmla="*/ 2147483646 h 582" name="T93"/>
              <a:gd fmla="*/ 2147483646 w 812" name="T94"/>
              <a:gd fmla="*/ 2147483646 h 582" name="T95"/>
              <a:gd fmla="*/ 2147483646 w 812" name="T96"/>
              <a:gd fmla="*/ 2147483646 h 582" name="T97"/>
              <a:gd fmla="*/ 2147483646 w 812" name="T98"/>
              <a:gd fmla="*/ 2147483646 h 582" name="T99"/>
              <a:gd fmla="*/ 2147483646 w 812" name="T100"/>
              <a:gd fmla="*/ 2147483646 h 582" name="T101"/>
              <a:gd fmla="*/ 2147483646 w 812" name="T102"/>
              <a:gd fmla="*/ 2147483646 h 582" name="T103"/>
              <a:gd fmla="*/ 2147483646 w 812" name="T104"/>
              <a:gd fmla="*/ 2147483646 h 582" name="T105"/>
              <a:gd fmla="*/ 2147483646 w 812" name="T106"/>
              <a:gd fmla="*/ 2147483646 h 582"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b="b" l="0" r="r" t="0"/>
            <a:pathLst>
              <a:path h="582" w="812">
                <a:moveTo>
                  <a:pt x="484" y="30"/>
                </a:moveTo>
                <a:lnTo>
                  <a:pt x="476" y="36"/>
                </a:lnTo>
                <a:lnTo>
                  <a:pt x="480" y="56"/>
                </a:lnTo>
                <a:lnTo>
                  <a:pt x="480" y="58"/>
                </a:lnTo>
                <a:lnTo>
                  <a:pt x="482" y="58"/>
                </a:lnTo>
                <a:lnTo>
                  <a:pt x="480" y="58"/>
                </a:lnTo>
                <a:lnTo>
                  <a:pt x="472" y="78"/>
                </a:lnTo>
                <a:lnTo>
                  <a:pt x="460" y="82"/>
                </a:lnTo>
                <a:lnTo>
                  <a:pt x="458" y="84"/>
                </a:lnTo>
                <a:lnTo>
                  <a:pt x="456" y="84"/>
                </a:lnTo>
                <a:lnTo>
                  <a:pt x="436" y="74"/>
                </a:lnTo>
                <a:lnTo>
                  <a:pt x="396" y="38"/>
                </a:lnTo>
                <a:lnTo>
                  <a:pt x="380" y="28"/>
                </a:lnTo>
                <a:lnTo>
                  <a:pt x="356" y="20"/>
                </a:lnTo>
                <a:lnTo>
                  <a:pt x="356" y="18"/>
                </a:lnTo>
                <a:lnTo>
                  <a:pt x="344" y="10"/>
                </a:lnTo>
                <a:lnTo>
                  <a:pt x="324" y="4"/>
                </a:lnTo>
                <a:lnTo>
                  <a:pt x="314" y="6"/>
                </a:lnTo>
                <a:lnTo>
                  <a:pt x="312" y="6"/>
                </a:lnTo>
                <a:lnTo>
                  <a:pt x="288" y="4"/>
                </a:lnTo>
                <a:lnTo>
                  <a:pt x="286" y="4"/>
                </a:lnTo>
                <a:lnTo>
                  <a:pt x="268" y="0"/>
                </a:lnTo>
                <a:lnTo>
                  <a:pt x="256" y="0"/>
                </a:lnTo>
                <a:lnTo>
                  <a:pt x="248" y="6"/>
                </a:lnTo>
                <a:lnTo>
                  <a:pt x="240" y="8"/>
                </a:lnTo>
                <a:lnTo>
                  <a:pt x="228" y="10"/>
                </a:lnTo>
                <a:lnTo>
                  <a:pt x="212" y="14"/>
                </a:lnTo>
                <a:lnTo>
                  <a:pt x="198" y="18"/>
                </a:lnTo>
                <a:lnTo>
                  <a:pt x="196" y="20"/>
                </a:lnTo>
                <a:lnTo>
                  <a:pt x="180" y="22"/>
                </a:lnTo>
                <a:lnTo>
                  <a:pt x="160" y="28"/>
                </a:lnTo>
                <a:lnTo>
                  <a:pt x="158" y="28"/>
                </a:lnTo>
                <a:lnTo>
                  <a:pt x="144" y="26"/>
                </a:lnTo>
                <a:lnTo>
                  <a:pt x="120" y="30"/>
                </a:lnTo>
                <a:lnTo>
                  <a:pt x="100" y="30"/>
                </a:lnTo>
                <a:lnTo>
                  <a:pt x="92" y="38"/>
                </a:lnTo>
                <a:lnTo>
                  <a:pt x="82" y="40"/>
                </a:lnTo>
                <a:lnTo>
                  <a:pt x="86" y="50"/>
                </a:lnTo>
                <a:lnTo>
                  <a:pt x="86" y="66"/>
                </a:lnTo>
                <a:lnTo>
                  <a:pt x="84" y="78"/>
                </a:lnTo>
                <a:lnTo>
                  <a:pt x="98" y="90"/>
                </a:lnTo>
                <a:lnTo>
                  <a:pt x="110" y="102"/>
                </a:lnTo>
                <a:lnTo>
                  <a:pt x="118" y="110"/>
                </a:lnTo>
                <a:lnTo>
                  <a:pt x="120" y="114"/>
                </a:lnTo>
                <a:lnTo>
                  <a:pt x="120" y="118"/>
                </a:lnTo>
                <a:lnTo>
                  <a:pt x="124" y="130"/>
                </a:lnTo>
                <a:lnTo>
                  <a:pt x="130" y="142"/>
                </a:lnTo>
                <a:lnTo>
                  <a:pt x="128" y="142"/>
                </a:lnTo>
                <a:lnTo>
                  <a:pt x="112" y="154"/>
                </a:lnTo>
                <a:lnTo>
                  <a:pt x="102" y="166"/>
                </a:lnTo>
                <a:lnTo>
                  <a:pt x="104" y="178"/>
                </a:lnTo>
                <a:lnTo>
                  <a:pt x="112" y="196"/>
                </a:lnTo>
                <a:lnTo>
                  <a:pt x="112" y="198"/>
                </a:lnTo>
                <a:lnTo>
                  <a:pt x="112" y="204"/>
                </a:lnTo>
                <a:lnTo>
                  <a:pt x="108" y="210"/>
                </a:lnTo>
                <a:lnTo>
                  <a:pt x="106" y="214"/>
                </a:lnTo>
                <a:lnTo>
                  <a:pt x="102" y="216"/>
                </a:lnTo>
                <a:lnTo>
                  <a:pt x="96" y="216"/>
                </a:lnTo>
                <a:lnTo>
                  <a:pt x="80" y="214"/>
                </a:lnTo>
                <a:lnTo>
                  <a:pt x="60" y="210"/>
                </a:lnTo>
                <a:lnTo>
                  <a:pt x="58" y="210"/>
                </a:lnTo>
                <a:lnTo>
                  <a:pt x="44" y="202"/>
                </a:lnTo>
                <a:lnTo>
                  <a:pt x="20" y="202"/>
                </a:lnTo>
                <a:lnTo>
                  <a:pt x="22" y="202"/>
                </a:lnTo>
                <a:lnTo>
                  <a:pt x="20" y="242"/>
                </a:lnTo>
                <a:lnTo>
                  <a:pt x="18" y="246"/>
                </a:lnTo>
                <a:lnTo>
                  <a:pt x="16" y="248"/>
                </a:lnTo>
                <a:lnTo>
                  <a:pt x="8" y="250"/>
                </a:lnTo>
                <a:lnTo>
                  <a:pt x="6" y="254"/>
                </a:lnTo>
                <a:lnTo>
                  <a:pt x="6" y="262"/>
                </a:lnTo>
                <a:lnTo>
                  <a:pt x="4" y="262"/>
                </a:lnTo>
                <a:lnTo>
                  <a:pt x="4" y="272"/>
                </a:lnTo>
                <a:lnTo>
                  <a:pt x="10" y="280"/>
                </a:lnTo>
                <a:lnTo>
                  <a:pt x="14" y="284"/>
                </a:lnTo>
                <a:lnTo>
                  <a:pt x="18" y="304"/>
                </a:lnTo>
                <a:lnTo>
                  <a:pt x="18" y="310"/>
                </a:lnTo>
                <a:lnTo>
                  <a:pt x="16" y="322"/>
                </a:lnTo>
                <a:lnTo>
                  <a:pt x="10" y="338"/>
                </a:lnTo>
                <a:lnTo>
                  <a:pt x="0" y="358"/>
                </a:lnTo>
                <a:lnTo>
                  <a:pt x="0" y="362"/>
                </a:lnTo>
                <a:lnTo>
                  <a:pt x="0" y="370"/>
                </a:lnTo>
                <a:lnTo>
                  <a:pt x="12" y="384"/>
                </a:lnTo>
                <a:lnTo>
                  <a:pt x="16" y="394"/>
                </a:lnTo>
                <a:lnTo>
                  <a:pt x="26" y="406"/>
                </a:lnTo>
                <a:lnTo>
                  <a:pt x="40" y="422"/>
                </a:lnTo>
                <a:lnTo>
                  <a:pt x="48" y="430"/>
                </a:lnTo>
                <a:lnTo>
                  <a:pt x="52" y="430"/>
                </a:lnTo>
                <a:lnTo>
                  <a:pt x="68" y="422"/>
                </a:lnTo>
                <a:lnTo>
                  <a:pt x="72" y="418"/>
                </a:lnTo>
                <a:lnTo>
                  <a:pt x="76" y="418"/>
                </a:lnTo>
                <a:lnTo>
                  <a:pt x="84" y="420"/>
                </a:lnTo>
                <a:lnTo>
                  <a:pt x="92" y="424"/>
                </a:lnTo>
                <a:lnTo>
                  <a:pt x="92" y="426"/>
                </a:lnTo>
                <a:lnTo>
                  <a:pt x="100" y="434"/>
                </a:lnTo>
                <a:lnTo>
                  <a:pt x="104" y="444"/>
                </a:lnTo>
                <a:lnTo>
                  <a:pt x="108" y="448"/>
                </a:lnTo>
                <a:lnTo>
                  <a:pt x="110" y="450"/>
                </a:lnTo>
                <a:lnTo>
                  <a:pt x="120" y="458"/>
                </a:lnTo>
                <a:lnTo>
                  <a:pt x="126" y="458"/>
                </a:lnTo>
                <a:lnTo>
                  <a:pt x="132" y="460"/>
                </a:lnTo>
                <a:lnTo>
                  <a:pt x="136" y="464"/>
                </a:lnTo>
                <a:lnTo>
                  <a:pt x="144" y="468"/>
                </a:lnTo>
                <a:lnTo>
                  <a:pt x="160" y="474"/>
                </a:lnTo>
                <a:lnTo>
                  <a:pt x="162" y="474"/>
                </a:lnTo>
                <a:lnTo>
                  <a:pt x="186" y="482"/>
                </a:lnTo>
                <a:lnTo>
                  <a:pt x="188" y="482"/>
                </a:lnTo>
                <a:lnTo>
                  <a:pt x="204" y="490"/>
                </a:lnTo>
                <a:lnTo>
                  <a:pt x="232" y="498"/>
                </a:lnTo>
                <a:lnTo>
                  <a:pt x="234" y="498"/>
                </a:lnTo>
                <a:lnTo>
                  <a:pt x="272" y="500"/>
                </a:lnTo>
                <a:lnTo>
                  <a:pt x="288" y="494"/>
                </a:lnTo>
                <a:lnTo>
                  <a:pt x="304" y="494"/>
                </a:lnTo>
                <a:lnTo>
                  <a:pt x="304" y="496"/>
                </a:lnTo>
                <a:lnTo>
                  <a:pt x="316" y="512"/>
                </a:lnTo>
                <a:lnTo>
                  <a:pt x="324" y="526"/>
                </a:lnTo>
                <a:lnTo>
                  <a:pt x="332" y="532"/>
                </a:lnTo>
                <a:lnTo>
                  <a:pt x="340" y="536"/>
                </a:lnTo>
                <a:lnTo>
                  <a:pt x="340" y="538"/>
                </a:lnTo>
                <a:lnTo>
                  <a:pt x="342" y="538"/>
                </a:lnTo>
                <a:lnTo>
                  <a:pt x="348" y="554"/>
                </a:lnTo>
                <a:lnTo>
                  <a:pt x="350" y="554"/>
                </a:lnTo>
                <a:lnTo>
                  <a:pt x="350" y="556"/>
                </a:lnTo>
                <a:lnTo>
                  <a:pt x="354" y="574"/>
                </a:lnTo>
                <a:lnTo>
                  <a:pt x="364" y="578"/>
                </a:lnTo>
                <a:lnTo>
                  <a:pt x="366" y="578"/>
                </a:lnTo>
                <a:lnTo>
                  <a:pt x="376" y="582"/>
                </a:lnTo>
                <a:lnTo>
                  <a:pt x="388" y="580"/>
                </a:lnTo>
                <a:lnTo>
                  <a:pt x="390" y="568"/>
                </a:lnTo>
                <a:lnTo>
                  <a:pt x="392" y="566"/>
                </a:lnTo>
                <a:lnTo>
                  <a:pt x="404" y="554"/>
                </a:lnTo>
                <a:lnTo>
                  <a:pt x="420" y="558"/>
                </a:lnTo>
                <a:lnTo>
                  <a:pt x="428" y="574"/>
                </a:lnTo>
                <a:lnTo>
                  <a:pt x="442" y="570"/>
                </a:lnTo>
                <a:lnTo>
                  <a:pt x="444" y="554"/>
                </a:lnTo>
                <a:lnTo>
                  <a:pt x="444" y="552"/>
                </a:lnTo>
                <a:lnTo>
                  <a:pt x="456" y="546"/>
                </a:lnTo>
                <a:lnTo>
                  <a:pt x="452" y="524"/>
                </a:lnTo>
                <a:lnTo>
                  <a:pt x="452" y="522"/>
                </a:lnTo>
                <a:lnTo>
                  <a:pt x="464" y="496"/>
                </a:lnTo>
                <a:lnTo>
                  <a:pt x="476" y="492"/>
                </a:lnTo>
                <a:lnTo>
                  <a:pt x="472" y="470"/>
                </a:lnTo>
                <a:lnTo>
                  <a:pt x="484" y="470"/>
                </a:lnTo>
                <a:lnTo>
                  <a:pt x="484" y="458"/>
                </a:lnTo>
                <a:lnTo>
                  <a:pt x="476" y="438"/>
                </a:lnTo>
                <a:lnTo>
                  <a:pt x="476" y="436"/>
                </a:lnTo>
                <a:lnTo>
                  <a:pt x="478" y="420"/>
                </a:lnTo>
                <a:lnTo>
                  <a:pt x="478" y="418"/>
                </a:lnTo>
                <a:lnTo>
                  <a:pt x="480" y="418"/>
                </a:lnTo>
                <a:lnTo>
                  <a:pt x="488" y="406"/>
                </a:lnTo>
                <a:lnTo>
                  <a:pt x="490" y="406"/>
                </a:lnTo>
                <a:lnTo>
                  <a:pt x="492" y="406"/>
                </a:lnTo>
                <a:lnTo>
                  <a:pt x="514" y="410"/>
                </a:lnTo>
                <a:lnTo>
                  <a:pt x="532" y="414"/>
                </a:lnTo>
                <a:lnTo>
                  <a:pt x="548" y="410"/>
                </a:lnTo>
                <a:lnTo>
                  <a:pt x="556" y="426"/>
                </a:lnTo>
                <a:lnTo>
                  <a:pt x="556" y="428"/>
                </a:lnTo>
                <a:lnTo>
                  <a:pt x="556" y="440"/>
                </a:lnTo>
                <a:lnTo>
                  <a:pt x="560" y="452"/>
                </a:lnTo>
                <a:lnTo>
                  <a:pt x="562" y="458"/>
                </a:lnTo>
                <a:lnTo>
                  <a:pt x="568" y="462"/>
                </a:lnTo>
                <a:lnTo>
                  <a:pt x="578" y="464"/>
                </a:lnTo>
                <a:lnTo>
                  <a:pt x="580" y="468"/>
                </a:lnTo>
                <a:lnTo>
                  <a:pt x="580" y="470"/>
                </a:lnTo>
                <a:lnTo>
                  <a:pt x="584" y="478"/>
                </a:lnTo>
                <a:lnTo>
                  <a:pt x="590" y="486"/>
                </a:lnTo>
                <a:lnTo>
                  <a:pt x="598" y="498"/>
                </a:lnTo>
                <a:lnTo>
                  <a:pt x="602" y="506"/>
                </a:lnTo>
                <a:lnTo>
                  <a:pt x="610" y="506"/>
                </a:lnTo>
                <a:lnTo>
                  <a:pt x="624" y="494"/>
                </a:lnTo>
                <a:lnTo>
                  <a:pt x="632" y="512"/>
                </a:lnTo>
                <a:lnTo>
                  <a:pt x="650" y="518"/>
                </a:lnTo>
                <a:lnTo>
                  <a:pt x="652" y="518"/>
                </a:lnTo>
                <a:lnTo>
                  <a:pt x="660" y="534"/>
                </a:lnTo>
                <a:lnTo>
                  <a:pt x="664" y="538"/>
                </a:lnTo>
                <a:lnTo>
                  <a:pt x="664" y="522"/>
                </a:lnTo>
                <a:lnTo>
                  <a:pt x="664" y="518"/>
                </a:lnTo>
                <a:lnTo>
                  <a:pt x="700" y="518"/>
                </a:lnTo>
                <a:lnTo>
                  <a:pt x="700" y="514"/>
                </a:lnTo>
                <a:lnTo>
                  <a:pt x="702" y="512"/>
                </a:lnTo>
                <a:lnTo>
                  <a:pt x="700" y="508"/>
                </a:lnTo>
                <a:lnTo>
                  <a:pt x="698" y="500"/>
                </a:lnTo>
                <a:lnTo>
                  <a:pt x="696" y="494"/>
                </a:lnTo>
                <a:lnTo>
                  <a:pt x="696" y="486"/>
                </a:lnTo>
                <a:lnTo>
                  <a:pt x="698" y="480"/>
                </a:lnTo>
                <a:lnTo>
                  <a:pt x="702" y="478"/>
                </a:lnTo>
                <a:lnTo>
                  <a:pt x="706" y="478"/>
                </a:lnTo>
                <a:lnTo>
                  <a:pt x="720" y="482"/>
                </a:lnTo>
                <a:lnTo>
                  <a:pt x="722" y="472"/>
                </a:lnTo>
                <a:lnTo>
                  <a:pt x="696" y="460"/>
                </a:lnTo>
                <a:lnTo>
                  <a:pt x="694" y="460"/>
                </a:lnTo>
                <a:lnTo>
                  <a:pt x="692" y="458"/>
                </a:lnTo>
                <a:lnTo>
                  <a:pt x="688" y="426"/>
                </a:lnTo>
                <a:lnTo>
                  <a:pt x="690" y="406"/>
                </a:lnTo>
                <a:lnTo>
                  <a:pt x="690" y="402"/>
                </a:lnTo>
                <a:lnTo>
                  <a:pt x="734" y="406"/>
                </a:lnTo>
                <a:lnTo>
                  <a:pt x="744" y="396"/>
                </a:lnTo>
                <a:lnTo>
                  <a:pt x="746" y="392"/>
                </a:lnTo>
                <a:lnTo>
                  <a:pt x="744" y="388"/>
                </a:lnTo>
                <a:lnTo>
                  <a:pt x="732" y="382"/>
                </a:lnTo>
                <a:lnTo>
                  <a:pt x="730" y="378"/>
                </a:lnTo>
                <a:lnTo>
                  <a:pt x="728" y="374"/>
                </a:lnTo>
                <a:lnTo>
                  <a:pt x="730" y="372"/>
                </a:lnTo>
                <a:lnTo>
                  <a:pt x="732" y="368"/>
                </a:lnTo>
                <a:lnTo>
                  <a:pt x="752" y="350"/>
                </a:lnTo>
                <a:lnTo>
                  <a:pt x="772" y="348"/>
                </a:lnTo>
                <a:lnTo>
                  <a:pt x="782" y="330"/>
                </a:lnTo>
                <a:lnTo>
                  <a:pt x="782" y="314"/>
                </a:lnTo>
                <a:lnTo>
                  <a:pt x="796" y="310"/>
                </a:lnTo>
                <a:lnTo>
                  <a:pt x="804" y="290"/>
                </a:lnTo>
                <a:lnTo>
                  <a:pt x="812" y="276"/>
                </a:lnTo>
                <a:lnTo>
                  <a:pt x="800" y="256"/>
                </a:lnTo>
                <a:lnTo>
                  <a:pt x="800" y="254"/>
                </a:lnTo>
                <a:lnTo>
                  <a:pt x="792" y="228"/>
                </a:lnTo>
                <a:lnTo>
                  <a:pt x="792" y="226"/>
                </a:lnTo>
                <a:lnTo>
                  <a:pt x="788" y="198"/>
                </a:lnTo>
                <a:lnTo>
                  <a:pt x="778" y="182"/>
                </a:lnTo>
                <a:lnTo>
                  <a:pt x="764" y="168"/>
                </a:lnTo>
                <a:lnTo>
                  <a:pt x="764" y="166"/>
                </a:lnTo>
                <a:lnTo>
                  <a:pt x="762" y="150"/>
                </a:lnTo>
                <a:lnTo>
                  <a:pt x="736" y="158"/>
                </a:lnTo>
                <a:lnTo>
                  <a:pt x="724" y="144"/>
                </a:lnTo>
                <a:lnTo>
                  <a:pt x="688" y="118"/>
                </a:lnTo>
                <a:lnTo>
                  <a:pt x="686" y="118"/>
                </a:lnTo>
                <a:lnTo>
                  <a:pt x="672" y="100"/>
                </a:lnTo>
                <a:lnTo>
                  <a:pt x="664" y="94"/>
                </a:lnTo>
                <a:lnTo>
                  <a:pt x="658" y="102"/>
                </a:lnTo>
                <a:lnTo>
                  <a:pt x="658" y="104"/>
                </a:lnTo>
                <a:lnTo>
                  <a:pt x="658" y="106"/>
                </a:lnTo>
                <a:lnTo>
                  <a:pt x="656" y="106"/>
                </a:lnTo>
                <a:lnTo>
                  <a:pt x="644" y="106"/>
                </a:lnTo>
                <a:lnTo>
                  <a:pt x="642" y="106"/>
                </a:lnTo>
                <a:lnTo>
                  <a:pt x="616" y="78"/>
                </a:lnTo>
                <a:lnTo>
                  <a:pt x="606" y="72"/>
                </a:lnTo>
                <a:lnTo>
                  <a:pt x="596" y="62"/>
                </a:lnTo>
                <a:lnTo>
                  <a:pt x="584" y="54"/>
                </a:lnTo>
                <a:lnTo>
                  <a:pt x="584" y="52"/>
                </a:lnTo>
                <a:lnTo>
                  <a:pt x="570" y="44"/>
                </a:lnTo>
                <a:lnTo>
                  <a:pt x="562" y="50"/>
                </a:lnTo>
                <a:lnTo>
                  <a:pt x="560" y="52"/>
                </a:lnTo>
                <a:lnTo>
                  <a:pt x="552" y="50"/>
                </a:lnTo>
                <a:lnTo>
                  <a:pt x="544" y="54"/>
                </a:lnTo>
                <a:lnTo>
                  <a:pt x="542" y="56"/>
                </a:lnTo>
                <a:lnTo>
                  <a:pt x="530" y="58"/>
                </a:lnTo>
                <a:lnTo>
                  <a:pt x="484" y="30"/>
                </a:lnTo>
                <a:close/>
              </a:path>
            </a:pathLst>
          </a:custGeom>
          <a:solidFill>
            <a:srgbClr val="BFBFBF"/>
          </a:solidFill>
          <a:ln>
            <a:noFill/>
          </a:ln>
        </p:spPr>
        <p:txBody>
          <a:bodyPr/>
          <a:lstStyle/>
          <a:p>
            <a:endParaRPr altLang="en-US" lang="zh-CN">
              <a:cs typeface="+mn-ea"/>
              <a:sym typeface="+mn-lt"/>
            </a:endParaRPr>
          </a:p>
        </p:txBody>
      </p:sp>
      <p:sp>
        <p:nvSpPr>
          <p:cNvPr id="10" name="四川"/>
          <p:cNvSpPr/>
          <p:nvPr/>
        </p:nvSpPr>
        <p:spPr bwMode="auto">
          <a:xfrm>
            <a:off x="3111528" y="4067336"/>
            <a:ext cx="1035409" cy="908996"/>
          </a:xfrm>
          <a:custGeom>
            <a:gdLst>
              <a:gd fmla="*/ 2147483646 w 702" name="T0"/>
              <a:gd fmla="*/ 2147483646 h 616" name="T1"/>
              <a:gd fmla="*/ 2147483646 w 702" name="T2"/>
              <a:gd fmla="*/ 2147483646 h 616" name="T3"/>
              <a:gd fmla="*/ 2147483646 w 702" name="T4"/>
              <a:gd fmla="*/ 2147483646 h 616" name="T5"/>
              <a:gd fmla="*/ 2147483646 w 702" name="T6"/>
              <a:gd fmla="*/ 2147483646 h 616" name="T7"/>
              <a:gd fmla="*/ 2147483646 w 702" name="T8"/>
              <a:gd fmla="*/ 2147483646 h 616" name="T9"/>
              <a:gd fmla="*/ 2147483646 w 702" name="T10"/>
              <a:gd fmla="*/ 2147483646 h 616" name="T11"/>
              <a:gd fmla="*/ 2147483646 w 702" name="T12"/>
              <a:gd fmla="*/ 2147483646 h 616" name="T13"/>
              <a:gd fmla="*/ 2147483646 w 702" name="T14"/>
              <a:gd fmla="*/ 2147483646 h 616" name="T15"/>
              <a:gd fmla="*/ 2147483646 w 702" name="T16"/>
              <a:gd fmla="*/ 2147483646 h 616" name="T17"/>
              <a:gd fmla="*/ 2147483646 w 702" name="T18"/>
              <a:gd fmla="*/ 2147483646 h 616" name="T19"/>
              <a:gd fmla="*/ 2147483646 w 702" name="T20"/>
              <a:gd fmla="*/ 2147483646 h 616" name="T21"/>
              <a:gd fmla="*/ 2147483646 w 702" name="T22"/>
              <a:gd fmla="*/ 2147483646 h 616" name="T23"/>
              <a:gd fmla="*/ 2147483646 w 702" name="T24"/>
              <a:gd fmla="*/ 2147483646 h 616" name="T25"/>
              <a:gd fmla="*/ 2147483646 w 702" name="T26"/>
              <a:gd fmla="*/ 2147483646 h 616" name="T27"/>
              <a:gd fmla="*/ 2147483646 w 702" name="T28"/>
              <a:gd fmla="*/ 2147483646 h 616" name="T29"/>
              <a:gd fmla="*/ 2147483646 w 702" name="T30"/>
              <a:gd fmla="*/ 2147483646 h 616" name="T31"/>
              <a:gd fmla="*/ 2147483646 w 702" name="T32"/>
              <a:gd fmla="*/ 2147483646 h 616" name="T33"/>
              <a:gd fmla="*/ 2147483646 w 702" name="T34"/>
              <a:gd fmla="*/ 2147483646 h 616" name="T35"/>
              <a:gd fmla="*/ 2147483646 w 702" name="T36"/>
              <a:gd fmla="*/ 2147483646 h 616" name="T37"/>
              <a:gd fmla="*/ 2147483646 w 702" name="T38"/>
              <a:gd fmla="*/ 2147483646 h 616" name="T39"/>
              <a:gd fmla="*/ 2147483646 w 702" name="T40"/>
              <a:gd fmla="*/ 2147483646 h 616" name="T41"/>
              <a:gd fmla="*/ 2147483646 w 702" name="T42"/>
              <a:gd fmla="*/ 2147483646 h 616" name="T43"/>
              <a:gd fmla="*/ 2147483646 w 702" name="T44"/>
              <a:gd fmla="*/ 2147483646 h 616" name="T45"/>
              <a:gd fmla="*/ 2147483646 w 702" name="T46"/>
              <a:gd fmla="*/ 2147483646 h 616" name="T47"/>
              <a:gd fmla="*/ 2147483646 w 702" name="T48"/>
              <a:gd fmla="*/ 2147483646 h 616" name="T49"/>
              <a:gd fmla="*/ 2147483646 w 702" name="T50"/>
              <a:gd fmla="*/ 2147483646 h 616" name="T51"/>
              <a:gd fmla="*/ 2147483646 w 702" name="T52"/>
              <a:gd fmla="*/ 2147483646 h 616" name="T53"/>
              <a:gd fmla="*/ 2147483646 w 702" name="T54"/>
              <a:gd fmla="*/ 2147483646 h 616" name="T55"/>
              <a:gd fmla="*/ 2147483646 w 702" name="T56"/>
              <a:gd fmla="*/ 2147483646 h 616" name="T57"/>
              <a:gd fmla="*/ 2147483646 w 702" name="T58"/>
              <a:gd fmla="*/ 2147483646 h 616" name="T59"/>
              <a:gd fmla="*/ 2147483646 w 702" name="T60"/>
              <a:gd fmla="*/ 2147483646 h 616" name="T61"/>
              <a:gd fmla="*/ 2147483646 w 702" name="T62"/>
              <a:gd fmla="*/ 2147483646 h 616" name="T63"/>
              <a:gd fmla="*/ 2147483646 w 702" name="T64"/>
              <a:gd fmla="*/ 2147483646 h 616" name="T65"/>
              <a:gd fmla="*/ 2147483646 w 702" name="T66"/>
              <a:gd fmla="*/ 2147483646 h 616" name="T67"/>
              <a:gd fmla="*/ 2147483646 w 702" name="T68"/>
              <a:gd fmla="*/ 2147483646 h 616" name="T69"/>
              <a:gd fmla="*/ 2147483646 w 702" name="T70"/>
              <a:gd fmla="*/ 2147483646 h 616" name="T71"/>
              <a:gd fmla="*/ 2147483646 w 702" name="T72"/>
              <a:gd fmla="*/ 2147483646 h 616" name="T73"/>
              <a:gd fmla="*/ 2147483646 w 702" name="T74"/>
              <a:gd fmla="*/ 2147483646 h 616" name="T75"/>
              <a:gd fmla="*/ 2147483646 w 702" name="T76"/>
              <a:gd fmla="*/ 2147483646 h 616" name="T77"/>
              <a:gd fmla="*/ 2147483646 w 702" name="T78"/>
              <a:gd fmla="*/ 2147483646 h 616" name="T79"/>
              <a:gd fmla="*/ 2147483646 w 702" name="T80"/>
              <a:gd fmla="*/ 2147483646 h 616" name="T81"/>
              <a:gd fmla="*/ 2147483646 w 702" name="T82"/>
              <a:gd fmla="*/ 2147483646 h 616" name="T83"/>
              <a:gd fmla="*/ 2147483646 w 702" name="T84"/>
              <a:gd fmla="*/ 2147483646 h 616" name="T85"/>
              <a:gd fmla="*/ 2147483646 w 702" name="T86"/>
              <a:gd fmla="*/ 2147483646 h 616" name="T87"/>
              <a:gd fmla="*/ 2147483646 w 702" name="T88"/>
              <a:gd fmla="*/ 2147483646 h 616" name="T89"/>
              <a:gd fmla="*/ 2147483646 w 702" name="T90"/>
              <a:gd fmla="*/ 2147483646 h 616" name="T91"/>
              <a:gd fmla="*/ 2147483646 w 702" name="T92"/>
              <a:gd fmla="*/ 2147483646 h 616" name="T93"/>
              <a:gd fmla="*/ 2147483646 w 702" name="T94"/>
              <a:gd fmla="*/ 2147483646 h 616" name="T95"/>
              <a:gd fmla="*/ 2147483646 w 702" name="T96"/>
              <a:gd fmla="*/ 2147483646 h 616" name="T97"/>
              <a:gd fmla="*/ 2147483646 w 702" name="T98"/>
              <a:gd fmla="*/ 0 h 616" name="T99"/>
              <a:gd fmla="*/ 2147483646 w 702" name="T100"/>
              <a:gd fmla="*/ 2147483646 h 616" name="T101"/>
              <a:gd fmla="*/ 2147483646 w 702" name="T102"/>
              <a:gd fmla="*/ 2147483646 h 616" name="T103"/>
              <a:gd fmla="*/ 2147483646 w 702" name="T104"/>
              <a:gd fmla="*/ 2147483646 h 616" name="T105"/>
              <a:gd fmla="*/ 2147483646 w 702" name="T106"/>
              <a:gd fmla="*/ 2147483646 h 616" name="T107"/>
              <a:gd fmla="*/ 2147483646 w 702" name="T108"/>
              <a:gd fmla="*/ 2147483646 h 616" name="T109"/>
              <a:gd fmla="*/ 2147483646 w 702" name="T110"/>
              <a:gd fmla="*/ 2147483646 h 616" name="T111"/>
              <a:gd fmla="*/ 2147483646 w 702" name="T112"/>
              <a:gd fmla="*/ 2147483646 h 616" name="T113"/>
              <a:gd fmla="*/ 2147483646 w 702" name="T114"/>
              <a:gd fmla="*/ 2147483646 h 616" name="T115"/>
              <a:gd fmla="*/ 2147483646 w 702" name="T116"/>
              <a:gd fmla="*/ 2147483646 h 616" name="T117"/>
              <a:gd fmla="*/ 2147483646 w 702" name="T118"/>
              <a:gd fmla="*/ 2147483646 h 61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b="b" l="0" r="r" t="0"/>
            <a:pathLst>
              <a:path h="616" w="702">
                <a:moveTo>
                  <a:pt x="66" y="14"/>
                </a:moveTo>
                <a:lnTo>
                  <a:pt x="46" y="10"/>
                </a:lnTo>
                <a:lnTo>
                  <a:pt x="28" y="6"/>
                </a:lnTo>
                <a:lnTo>
                  <a:pt x="22" y="14"/>
                </a:lnTo>
                <a:lnTo>
                  <a:pt x="20" y="28"/>
                </a:lnTo>
                <a:lnTo>
                  <a:pt x="26" y="50"/>
                </a:lnTo>
                <a:lnTo>
                  <a:pt x="26" y="66"/>
                </a:lnTo>
                <a:lnTo>
                  <a:pt x="26" y="70"/>
                </a:lnTo>
                <a:lnTo>
                  <a:pt x="18" y="70"/>
                </a:lnTo>
                <a:lnTo>
                  <a:pt x="22" y="90"/>
                </a:lnTo>
                <a:lnTo>
                  <a:pt x="6" y="94"/>
                </a:lnTo>
                <a:lnTo>
                  <a:pt x="0" y="106"/>
                </a:lnTo>
                <a:lnTo>
                  <a:pt x="8" y="114"/>
                </a:lnTo>
                <a:lnTo>
                  <a:pt x="10" y="114"/>
                </a:lnTo>
                <a:lnTo>
                  <a:pt x="38" y="136"/>
                </a:lnTo>
                <a:lnTo>
                  <a:pt x="38" y="138"/>
                </a:lnTo>
                <a:lnTo>
                  <a:pt x="42" y="158"/>
                </a:lnTo>
                <a:lnTo>
                  <a:pt x="56" y="178"/>
                </a:lnTo>
                <a:lnTo>
                  <a:pt x="62" y="184"/>
                </a:lnTo>
                <a:lnTo>
                  <a:pt x="70" y="194"/>
                </a:lnTo>
                <a:lnTo>
                  <a:pt x="72" y="194"/>
                </a:lnTo>
                <a:lnTo>
                  <a:pt x="70" y="196"/>
                </a:lnTo>
                <a:lnTo>
                  <a:pt x="70" y="214"/>
                </a:lnTo>
                <a:lnTo>
                  <a:pt x="74" y="226"/>
                </a:lnTo>
                <a:lnTo>
                  <a:pt x="74" y="244"/>
                </a:lnTo>
                <a:lnTo>
                  <a:pt x="82" y="258"/>
                </a:lnTo>
                <a:lnTo>
                  <a:pt x="84" y="266"/>
                </a:lnTo>
                <a:lnTo>
                  <a:pt x="86" y="274"/>
                </a:lnTo>
                <a:lnTo>
                  <a:pt x="90" y="286"/>
                </a:lnTo>
                <a:lnTo>
                  <a:pt x="92" y="302"/>
                </a:lnTo>
                <a:lnTo>
                  <a:pt x="90" y="314"/>
                </a:lnTo>
                <a:lnTo>
                  <a:pt x="88" y="320"/>
                </a:lnTo>
                <a:lnTo>
                  <a:pt x="90" y="326"/>
                </a:lnTo>
                <a:lnTo>
                  <a:pt x="94" y="336"/>
                </a:lnTo>
                <a:lnTo>
                  <a:pt x="98" y="346"/>
                </a:lnTo>
                <a:lnTo>
                  <a:pt x="100" y="346"/>
                </a:lnTo>
                <a:lnTo>
                  <a:pt x="100" y="348"/>
                </a:lnTo>
                <a:lnTo>
                  <a:pt x="100" y="350"/>
                </a:lnTo>
                <a:lnTo>
                  <a:pt x="86" y="378"/>
                </a:lnTo>
                <a:lnTo>
                  <a:pt x="90" y="386"/>
                </a:lnTo>
                <a:lnTo>
                  <a:pt x="90" y="392"/>
                </a:lnTo>
                <a:lnTo>
                  <a:pt x="86" y="418"/>
                </a:lnTo>
                <a:lnTo>
                  <a:pt x="86" y="428"/>
                </a:lnTo>
                <a:lnTo>
                  <a:pt x="88" y="432"/>
                </a:lnTo>
                <a:lnTo>
                  <a:pt x="90" y="434"/>
                </a:lnTo>
                <a:lnTo>
                  <a:pt x="94" y="436"/>
                </a:lnTo>
                <a:lnTo>
                  <a:pt x="102" y="442"/>
                </a:lnTo>
                <a:lnTo>
                  <a:pt x="104" y="448"/>
                </a:lnTo>
                <a:lnTo>
                  <a:pt x="102" y="462"/>
                </a:lnTo>
                <a:lnTo>
                  <a:pt x="106" y="462"/>
                </a:lnTo>
                <a:lnTo>
                  <a:pt x="108" y="464"/>
                </a:lnTo>
                <a:lnTo>
                  <a:pt x="110" y="462"/>
                </a:lnTo>
                <a:lnTo>
                  <a:pt x="114" y="458"/>
                </a:lnTo>
                <a:lnTo>
                  <a:pt x="116" y="452"/>
                </a:lnTo>
                <a:lnTo>
                  <a:pt x="118" y="450"/>
                </a:lnTo>
                <a:lnTo>
                  <a:pt x="118" y="448"/>
                </a:lnTo>
                <a:lnTo>
                  <a:pt x="122" y="444"/>
                </a:lnTo>
                <a:lnTo>
                  <a:pt x="126" y="440"/>
                </a:lnTo>
                <a:lnTo>
                  <a:pt x="126" y="434"/>
                </a:lnTo>
                <a:lnTo>
                  <a:pt x="124" y="426"/>
                </a:lnTo>
                <a:lnTo>
                  <a:pt x="122" y="422"/>
                </a:lnTo>
                <a:lnTo>
                  <a:pt x="126" y="420"/>
                </a:lnTo>
                <a:lnTo>
                  <a:pt x="136" y="418"/>
                </a:lnTo>
                <a:lnTo>
                  <a:pt x="142" y="418"/>
                </a:lnTo>
                <a:lnTo>
                  <a:pt x="146" y="420"/>
                </a:lnTo>
                <a:lnTo>
                  <a:pt x="150" y="424"/>
                </a:lnTo>
                <a:lnTo>
                  <a:pt x="156" y="440"/>
                </a:lnTo>
                <a:lnTo>
                  <a:pt x="156" y="442"/>
                </a:lnTo>
                <a:lnTo>
                  <a:pt x="158" y="468"/>
                </a:lnTo>
                <a:lnTo>
                  <a:pt x="170" y="474"/>
                </a:lnTo>
                <a:lnTo>
                  <a:pt x="178" y="478"/>
                </a:lnTo>
                <a:lnTo>
                  <a:pt x="184" y="472"/>
                </a:lnTo>
                <a:lnTo>
                  <a:pt x="190" y="466"/>
                </a:lnTo>
                <a:lnTo>
                  <a:pt x="194" y="466"/>
                </a:lnTo>
                <a:lnTo>
                  <a:pt x="200" y="470"/>
                </a:lnTo>
                <a:lnTo>
                  <a:pt x="204" y="478"/>
                </a:lnTo>
                <a:lnTo>
                  <a:pt x="206" y="498"/>
                </a:lnTo>
                <a:lnTo>
                  <a:pt x="208" y="502"/>
                </a:lnTo>
                <a:lnTo>
                  <a:pt x="230" y="548"/>
                </a:lnTo>
                <a:lnTo>
                  <a:pt x="238" y="556"/>
                </a:lnTo>
                <a:lnTo>
                  <a:pt x="238" y="558"/>
                </a:lnTo>
                <a:lnTo>
                  <a:pt x="242" y="578"/>
                </a:lnTo>
                <a:lnTo>
                  <a:pt x="244" y="596"/>
                </a:lnTo>
                <a:lnTo>
                  <a:pt x="246" y="598"/>
                </a:lnTo>
                <a:lnTo>
                  <a:pt x="254" y="588"/>
                </a:lnTo>
                <a:lnTo>
                  <a:pt x="256" y="586"/>
                </a:lnTo>
                <a:lnTo>
                  <a:pt x="258" y="586"/>
                </a:lnTo>
                <a:lnTo>
                  <a:pt x="262" y="588"/>
                </a:lnTo>
                <a:lnTo>
                  <a:pt x="262" y="592"/>
                </a:lnTo>
                <a:lnTo>
                  <a:pt x="262" y="598"/>
                </a:lnTo>
                <a:lnTo>
                  <a:pt x="262" y="612"/>
                </a:lnTo>
                <a:lnTo>
                  <a:pt x="262" y="616"/>
                </a:lnTo>
                <a:lnTo>
                  <a:pt x="268" y="616"/>
                </a:lnTo>
                <a:lnTo>
                  <a:pt x="270" y="614"/>
                </a:lnTo>
                <a:lnTo>
                  <a:pt x="278" y="602"/>
                </a:lnTo>
                <a:lnTo>
                  <a:pt x="288" y="594"/>
                </a:lnTo>
                <a:lnTo>
                  <a:pt x="296" y="588"/>
                </a:lnTo>
                <a:lnTo>
                  <a:pt x="306" y="586"/>
                </a:lnTo>
                <a:lnTo>
                  <a:pt x="322" y="590"/>
                </a:lnTo>
                <a:lnTo>
                  <a:pt x="328" y="588"/>
                </a:lnTo>
                <a:lnTo>
                  <a:pt x="336" y="576"/>
                </a:lnTo>
                <a:lnTo>
                  <a:pt x="334" y="558"/>
                </a:lnTo>
                <a:lnTo>
                  <a:pt x="330" y="546"/>
                </a:lnTo>
                <a:lnTo>
                  <a:pt x="328" y="540"/>
                </a:lnTo>
                <a:lnTo>
                  <a:pt x="328" y="536"/>
                </a:lnTo>
                <a:lnTo>
                  <a:pt x="330" y="522"/>
                </a:lnTo>
                <a:lnTo>
                  <a:pt x="330" y="520"/>
                </a:lnTo>
                <a:lnTo>
                  <a:pt x="332" y="518"/>
                </a:lnTo>
                <a:lnTo>
                  <a:pt x="346" y="510"/>
                </a:lnTo>
                <a:lnTo>
                  <a:pt x="348" y="510"/>
                </a:lnTo>
                <a:lnTo>
                  <a:pt x="358" y="502"/>
                </a:lnTo>
                <a:lnTo>
                  <a:pt x="372" y="484"/>
                </a:lnTo>
                <a:lnTo>
                  <a:pt x="374" y="470"/>
                </a:lnTo>
                <a:lnTo>
                  <a:pt x="358" y="436"/>
                </a:lnTo>
                <a:lnTo>
                  <a:pt x="390" y="450"/>
                </a:lnTo>
                <a:lnTo>
                  <a:pt x="390" y="438"/>
                </a:lnTo>
                <a:lnTo>
                  <a:pt x="390" y="436"/>
                </a:lnTo>
                <a:lnTo>
                  <a:pt x="402" y="426"/>
                </a:lnTo>
                <a:lnTo>
                  <a:pt x="426" y="420"/>
                </a:lnTo>
                <a:lnTo>
                  <a:pt x="428" y="420"/>
                </a:lnTo>
                <a:lnTo>
                  <a:pt x="442" y="450"/>
                </a:lnTo>
                <a:lnTo>
                  <a:pt x="440" y="462"/>
                </a:lnTo>
                <a:lnTo>
                  <a:pt x="442" y="472"/>
                </a:lnTo>
                <a:lnTo>
                  <a:pt x="444" y="478"/>
                </a:lnTo>
                <a:lnTo>
                  <a:pt x="448" y="480"/>
                </a:lnTo>
                <a:lnTo>
                  <a:pt x="454" y="478"/>
                </a:lnTo>
                <a:lnTo>
                  <a:pt x="458" y="474"/>
                </a:lnTo>
                <a:lnTo>
                  <a:pt x="458" y="472"/>
                </a:lnTo>
                <a:lnTo>
                  <a:pt x="460" y="472"/>
                </a:lnTo>
                <a:lnTo>
                  <a:pt x="478" y="466"/>
                </a:lnTo>
                <a:lnTo>
                  <a:pt x="480" y="466"/>
                </a:lnTo>
                <a:lnTo>
                  <a:pt x="492" y="468"/>
                </a:lnTo>
                <a:lnTo>
                  <a:pt x="496" y="470"/>
                </a:lnTo>
                <a:lnTo>
                  <a:pt x="498" y="472"/>
                </a:lnTo>
                <a:lnTo>
                  <a:pt x="498" y="494"/>
                </a:lnTo>
                <a:lnTo>
                  <a:pt x="502" y="496"/>
                </a:lnTo>
                <a:lnTo>
                  <a:pt x="510" y="498"/>
                </a:lnTo>
                <a:lnTo>
                  <a:pt x="522" y="498"/>
                </a:lnTo>
                <a:lnTo>
                  <a:pt x="542" y="492"/>
                </a:lnTo>
                <a:lnTo>
                  <a:pt x="554" y="482"/>
                </a:lnTo>
                <a:lnTo>
                  <a:pt x="556" y="472"/>
                </a:lnTo>
                <a:lnTo>
                  <a:pt x="550" y="466"/>
                </a:lnTo>
                <a:lnTo>
                  <a:pt x="530" y="458"/>
                </a:lnTo>
                <a:lnTo>
                  <a:pt x="528" y="458"/>
                </a:lnTo>
                <a:lnTo>
                  <a:pt x="504" y="434"/>
                </a:lnTo>
                <a:lnTo>
                  <a:pt x="506" y="432"/>
                </a:lnTo>
                <a:lnTo>
                  <a:pt x="518" y="422"/>
                </a:lnTo>
                <a:lnTo>
                  <a:pt x="518" y="420"/>
                </a:lnTo>
                <a:lnTo>
                  <a:pt x="530" y="416"/>
                </a:lnTo>
                <a:lnTo>
                  <a:pt x="534" y="416"/>
                </a:lnTo>
                <a:lnTo>
                  <a:pt x="550" y="418"/>
                </a:lnTo>
                <a:lnTo>
                  <a:pt x="550" y="420"/>
                </a:lnTo>
                <a:lnTo>
                  <a:pt x="550" y="414"/>
                </a:lnTo>
                <a:lnTo>
                  <a:pt x="544" y="402"/>
                </a:lnTo>
                <a:lnTo>
                  <a:pt x="532" y="396"/>
                </a:lnTo>
                <a:lnTo>
                  <a:pt x="518" y="374"/>
                </a:lnTo>
                <a:lnTo>
                  <a:pt x="516" y="372"/>
                </a:lnTo>
                <a:lnTo>
                  <a:pt x="510" y="346"/>
                </a:lnTo>
                <a:lnTo>
                  <a:pt x="510" y="326"/>
                </a:lnTo>
                <a:lnTo>
                  <a:pt x="522" y="314"/>
                </a:lnTo>
                <a:lnTo>
                  <a:pt x="542" y="314"/>
                </a:lnTo>
                <a:lnTo>
                  <a:pt x="586" y="318"/>
                </a:lnTo>
                <a:lnTo>
                  <a:pt x="606" y="288"/>
                </a:lnTo>
                <a:lnTo>
                  <a:pt x="606" y="286"/>
                </a:lnTo>
                <a:lnTo>
                  <a:pt x="608" y="286"/>
                </a:lnTo>
                <a:lnTo>
                  <a:pt x="626" y="278"/>
                </a:lnTo>
                <a:lnTo>
                  <a:pt x="634" y="260"/>
                </a:lnTo>
                <a:lnTo>
                  <a:pt x="634" y="258"/>
                </a:lnTo>
                <a:lnTo>
                  <a:pt x="654" y="242"/>
                </a:lnTo>
                <a:lnTo>
                  <a:pt x="664" y="224"/>
                </a:lnTo>
                <a:lnTo>
                  <a:pt x="666" y="224"/>
                </a:lnTo>
                <a:lnTo>
                  <a:pt x="666" y="222"/>
                </a:lnTo>
                <a:lnTo>
                  <a:pt x="674" y="214"/>
                </a:lnTo>
                <a:lnTo>
                  <a:pt x="682" y="198"/>
                </a:lnTo>
                <a:lnTo>
                  <a:pt x="686" y="174"/>
                </a:lnTo>
                <a:lnTo>
                  <a:pt x="686" y="172"/>
                </a:lnTo>
                <a:lnTo>
                  <a:pt x="686" y="170"/>
                </a:lnTo>
                <a:lnTo>
                  <a:pt x="700" y="162"/>
                </a:lnTo>
                <a:lnTo>
                  <a:pt x="702" y="158"/>
                </a:lnTo>
                <a:lnTo>
                  <a:pt x="684" y="156"/>
                </a:lnTo>
                <a:lnTo>
                  <a:pt x="652" y="158"/>
                </a:lnTo>
                <a:lnTo>
                  <a:pt x="650" y="156"/>
                </a:lnTo>
                <a:lnTo>
                  <a:pt x="638" y="146"/>
                </a:lnTo>
                <a:lnTo>
                  <a:pt x="630" y="136"/>
                </a:lnTo>
                <a:lnTo>
                  <a:pt x="630" y="138"/>
                </a:lnTo>
                <a:lnTo>
                  <a:pt x="628" y="138"/>
                </a:lnTo>
                <a:lnTo>
                  <a:pt x="624" y="142"/>
                </a:lnTo>
                <a:lnTo>
                  <a:pt x="618" y="142"/>
                </a:lnTo>
                <a:lnTo>
                  <a:pt x="614" y="144"/>
                </a:lnTo>
                <a:lnTo>
                  <a:pt x="612" y="146"/>
                </a:lnTo>
                <a:lnTo>
                  <a:pt x="608" y="146"/>
                </a:lnTo>
                <a:lnTo>
                  <a:pt x="606" y="144"/>
                </a:lnTo>
                <a:lnTo>
                  <a:pt x="604" y="138"/>
                </a:lnTo>
                <a:lnTo>
                  <a:pt x="602" y="132"/>
                </a:lnTo>
                <a:lnTo>
                  <a:pt x="598" y="126"/>
                </a:lnTo>
                <a:lnTo>
                  <a:pt x="596" y="126"/>
                </a:lnTo>
                <a:lnTo>
                  <a:pt x="592" y="114"/>
                </a:lnTo>
                <a:lnTo>
                  <a:pt x="588" y="114"/>
                </a:lnTo>
                <a:lnTo>
                  <a:pt x="576" y="122"/>
                </a:lnTo>
                <a:lnTo>
                  <a:pt x="576" y="124"/>
                </a:lnTo>
                <a:lnTo>
                  <a:pt x="574" y="124"/>
                </a:lnTo>
                <a:lnTo>
                  <a:pt x="546" y="130"/>
                </a:lnTo>
                <a:lnTo>
                  <a:pt x="544" y="128"/>
                </a:lnTo>
                <a:lnTo>
                  <a:pt x="526" y="116"/>
                </a:lnTo>
                <a:lnTo>
                  <a:pt x="524" y="114"/>
                </a:lnTo>
                <a:lnTo>
                  <a:pt x="518" y="104"/>
                </a:lnTo>
                <a:lnTo>
                  <a:pt x="506" y="118"/>
                </a:lnTo>
                <a:lnTo>
                  <a:pt x="498" y="126"/>
                </a:lnTo>
                <a:lnTo>
                  <a:pt x="492" y="130"/>
                </a:lnTo>
                <a:lnTo>
                  <a:pt x="488" y="132"/>
                </a:lnTo>
                <a:lnTo>
                  <a:pt x="484" y="130"/>
                </a:lnTo>
                <a:lnTo>
                  <a:pt x="466" y="120"/>
                </a:lnTo>
                <a:lnTo>
                  <a:pt x="452" y="118"/>
                </a:lnTo>
                <a:lnTo>
                  <a:pt x="450" y="120"/>
                </a:lnTo>
                <a:lnTo>
                  <a:pt x="438" y="110"/>
                </a:lnTo>
                <a:lnTo>
                  <a:pt x="436" y="110"/>
                </a:lnTo>
                <a:lnTo>
                  <a:pt x="442" y="88"/>
                </a:lnTo>
                <a:lnTo>
                  <a:pt x="442" y="80"/>
                </a:lnTo>
                <a:lnTo>
                  <a:pt x="434" y="78"/>
                </a:lnTo>
                <a:lnTo>
                  <a:pt x="416" y="58"/>
                </a:lnTo>
                <a:lnTo>
                  <a:pt x="418" y="46"/>
                </a:lnTo>
                <a:lnTo>
                  <a:pt x="376" y="42"/>
                </a:lnTo>
                <a:lnTo>
                  <a:pt x="360" y="32"/>
                </a:lnTo>
                <a:lnTo>
                  <a:pt x="354" y="28"/>
                </a:lnTo>
                <a:lnTo>
                  <a:pt x="350" y="18"/>
                </a:lnTo>
                <a:lnTo>
                  <a:pt x="348" y="12"/>
                </a:lnTo>
                <a:lnTo>
                  <a:pt x="344" y="0"/>
                </a:lnTo>
                <a:lnTo>
                  <a:pt x="338" y="0"/>
                </a:lnTo>
                <a:lnTo>
                  <a:pt x="326" y="10"/>
                </a:lnTo>
                <a:lnTo>
                  <a:pt x="310" y="30"/>
                </a:lnTo>
                <a:lnTo>
                  <a:pt x="314" y="42"/>
                </a:lnTo>
                <a:lnTo>
                  <a:pt x="318" y="60"/>
                </a:lnTo>
                <a:lnTo>
                  <a:pt x="318" y="62"/>
                </a:lnTo>
                <a:lnTo>
                  <a:pt x="320" y="62"/>
                </a:lnTo>
                <a:lnTo>
                  <a:pt x="318" y="62"/>
                </a:lnTo>
                <a:lnTo>
                  <a:pt x="318" y="66"/>
                </a:lnTo>
                <a:lnTo>
                  <a:pt x="314" y="68"/>
                </a:lnTo>
                <a:lnTo>
                  <a:pt x="306" y="70"/>
                </a:lnTo>
                <a:lnTo>
                  <a:pt x="290" y="70"/>
                </a:lnTo>
                <a:lnTo>
                  <a:pt x="280" y="66"/>
                </a:lnTo>
                <a:lnTo>
                  <a:pt x="268" y="70"/>
                </a:lnTo>
                <a:lnTo>
                  <a:pt x="266" y="70"/>
                </a:lnTo>
                <a:lnTo>
                  <a:pt x="264" y="70"/>
                </a:lnTo>
                <a:lnTo>
                  <a:pt x="262" y="82"/>
                </a:lnTo>
                <a:lnTo>
                  <a:pt x="262" y="86"/>
                </a:lnTo>
                <a:lnTo>
                  <a:pt x="258" y="86"/>
                </a:lnTo>
                <a:lnTo>
                  <a:pt x="238" y="78"/>
                </a:lnTo>
                <a:lnTo>
                  <a:pt x="240" y="88"/>
                </a:lnTo>
                <a:lnTo>
                  <a:pt x="242" y="96"/>
                </a:lnTo>
                <a:lnTo>
                  <a:pt x="246" y="104"/>
                </a:lnTo>
                <a:lnTo>
                  <a:pt x="244" y="110"/>
                </a:lnTo>
                <a:lnTo>
                  <a:pt x="242" y="116"/>
                </a:lnTo>
                <a:lnTo>
                  <a:pt x="234" y="118"/>
                </a:lnTo>
                <a:lnTo>
                  <a:pt x="222" y="118"/>
                </a:lnTo>
                <a:lnTo>
                  <a:pt x="208" y="118"/>
                </a:lnTo>
                <a:lnTo>
                  <a:pt x="206" y="142"/>
                </a:lnTo>
                <a:lnTo>
                  <a:pt x="190" y="134"/>
                </a:lnTo>
                <a:lnTo>
                  <a:pt x="188" y="134"/>
                </a:lnTo>
                <a:lnTo>
                  <a:pt x="178" y="118"/>
                </a:lnTo>
                <a:lnTo>
                  <a:pt x="160" y="110"/>
                </a:lnTo>
                <a:lnTo>
                  <a:pt x="154" y="100"/>
                </a:lnTo>
                <a:lnTo>
                  <a:pt x="148" y="106"/>
                </a:lnTo>
                <a:lnTo>
                  <a:pt x="146" y="106"/>
                </a:lnTo>
                <a:lnTo>
                  <a:pt x="134" y="108"/>
                </a:lnTo>
                <a:lnTo>
                  <a:pt x="132" y="108"/>
                </a:lnTo>
                <a:lnTo>
                  <a:pt x="126" y="94"/>
                </a:lnTo>
                <a:lnTo>
                  <a:pt x="118" y="86"/>
                </a:lnTo>
                <a:lnTo>
                  <a:pt x="118" y="84"/>
                </a:lnTo>
                <a:lnTo>
                  <a:pt x="110" y="74"/>
                </a:lnTo>
                <a:lnTo>
                  <a:pt x="106" y="66"/>
                </a:lnTo>
                <a:lnTo>
                  <a:pt x="106" y="64"/>
                </a:lnTo>
                <a:lnTo>
                  <a:pt x="102" y="62"/>
                </a:lnTo>
                <a:lnTo>
                  <a:pt x="98" y="62"/>
                </a:lnTo>
                <a:lnTo>
                  <a:pt x="90" y="56"/>
                </a:lnTo>
                <a:lnTo>
                  <a:pt x="86" y="46"/>
                </a:lnTo>
                <a:lnTo>
                  <a:pt x="82" y="34"/>
                </a:lnTo>
                <a:lnTo>
                  <a:pt x="82" y="22"/>
                </a:lnTo>
                <a:lnTo>
                  <a:pt x="78" y="12"/>
                </a:lnTo>
                <a:lnTo>
                  <a:pt x="68" y="14"/>
                </a:lnTo>
                <a:lnTo>
                  <a:pt x="66" y="14"/>
                </a:lnTo>
                <a:close/>
              </a:path>
            </a:pathLst>
          </a:custGeom>
          <a:solidFill>
            <a:srgbClr val="BFBFBF"/>
          </a:solidFill>
          <a:ln>
            <a:noFill/>
          </a:ln>
        </p:spPr>
        <p:txBody>
          <a:bodyPr/>
          <a:lstStyle/>
          <a:p>
            <a:endParaRPr altLang="en-US" lang="zh-CN">
              <a:cs typeface="+mn-ea"/>
              <a:sym typeface="+mn-lt"/>
            </a:endParaRPr>
          </a:p>
        </p:txBody>
      </p:sp>
      <p:sp>
        <p:nvSpPr>
          <p:cNvPr id="11" name="西藏"/>
          <p:cNvSpPr/>
          <p:nvPr/>
        </p:nvSpPr>
        <p:spPr bwMode="auto">
          <a:xfrm>
            <a:off x="1391745" y="3698424"/>
            <a:ext cx="1852528" cy="1127392"/>
          </a:xfrm>
          <a:custGeom>
            <a:gdLst>
              <a:gd fmla="*/ 2147483646 w 1256" name="T0"/>
              <a:gd fmla="*/ 2147483646 h 764" name="T1"/>
              <a:gd fmla="*/ 2147483646 w 1256" name="T2"/>
              <a:gd fmla="*/ 2147483646 h 764" name="T3"/>
              <a:gd fmla="*/ 2147483646 w 1256" name="T4"/>
              <a:gd fmla="*/ 2147483646 h 764" name="T5"/>
              <a:gd fmla="*/ 2147483646 w 1256" name="T6"/>
              <a:gd fmla="*/ 2147483646 h 764" name="T7"/>
              <a:gd fmla="*/ 2147483646 w 1256" name="T8"/>
              <a:gd fmla="*/ 2147483646 h 764" name="T9"/>
              <a:gd fmla="*/ 2147483646 w 1256" name="T10"/>
              <a:gd fmla="*/ 2147483646 h 764" name="T11"/>
              <a:gd fmla="*/ 2147483646 w 1256" name="T12"/>
              <a:gd fmla="*/ 2147483646 h 764" name="T13"/>
              <a:gd fmla="*/ 2147483646 w 1256" name="T14"/>
              <a:gd fmla="*/ 2147483646 h 764" name="T15"/>
              <a:gd fmla="*/ 2147483646 w 1256" name="T16"/>
              <a:gd fmla="*/ 2147483646 h 764" name="T17"/>
              <a:gd fmla="*/ 2147483646 w 1256" name="T18"/>
              <a:gd fmla="*/ 2147483646 h 764" name="T19"/>
              <a:gd fmla="*/ 2147483646 w 1256" name="T20"/>
              <a:gd fmla="*/ 2147483646 h 764" name="T21"/>
              <a:gd fmla="*/ 2147483646 w 1256" name="T22"/>
              <a:gd fmla="*/ 2147483646 h 764" name="T23"/>
              <a:gd fmla="*/ 2147483646 w 1256" name="T24"/>
              <a:gd fmla="*/ 2147483646 h 764" name="T25"/>
              <a:gd fmla="*/ 2147483646 w 1256" name="T26"/>
              <a:gd fmla="*/ 2147483646 h 764" name="T27"/>
              <a:gd fmla="*/ 2147483646 w 1256" name="T28"/>
              <a:gd fmla="*/ 2147483646 h 764" name="T29"/>
              <a:gd fmla="*/ 2147483646 w 1256" name="T30"/>
              <a:gd fmla="*/ 2147483646 h 764" name="T31"/>
              <a:gd fmla="*/ 2147483646 w 1256" name="T32"/>
              <a:gd fmla="*/ 2147483646 h 764" name="T33"/>
              <a:gd fmla="*/ 2147483646 w 1256" name="T34"/>
              <a:gd fmla="*/ 2147483646 h 764" name="T35"/>
              <a:gd fmla="*/ 2147483646 w 1256" name="T36"/>
              <a:gd fmla="*/ 2147483646 h 764" name="T37"/>
              <a:gd fmla="*/ 2147483646 w 1256" name="T38"/>
              <a:gd fmla="*/ 2147483646 h 764" name="T39"/>
              <a:gd fmla="*/ 2147483646 w 1256" name="T40"/>
              <a:gd fmla="*/ 2147483646 h 764" name="T41"/>
              <a:gd fmla="*/ 2147483646 w 1256" name="T42"/>
              <a:gd fmla="*/ 2147483646 h 764" name="T43"/>
              <a:gd fmla="*/ 2147483646 w 1256" name="T44"/>
              <a:gd fmla="*/ 2147483646 h 764" name="T45"/>
              <a:gd fmla="*/ 2147483646 w 1256" name="T46"/>
              <a:gd fmla="*/ 2147483646 h 764" name="T47"/>
              <a:gd fmla="*/ 2147483646 w 1256" name="T48"/>
              <a:gd fmla="*/ 2147483646 h 764" name="T49"/>
              <a:gd fmla="*/ 2147483646 w 1256" name="T50"/>
              <a:gd fmla="*/ 2147483646 h 764" name="T51"/>
              <a:gd fmla="*/ 2147483646 w 1256" name="T52"/>
              <a:gd fmla="*/ 2147483646 h 764" name="T53"/>
              <a:gd fmla="*/ 2147483646 w 1256" name="T54"/>
              <a:gd fmla="*/ 2147483646 h 764" name="T55"/>
              <a:gd fmla="*/ 2147483646 w 1256" name="T56"/>
              <a:gd fmla="*/ 2147483646 h 764" name="T57"/>
              <a:gd fmla="*/ 2147483646 w 1256" name="T58"/>
              <a:gd fmla="*/ 2147483646 h 764" name="T59"/>
              <a:gd fmla="*/ 2147483646 w 1256" name="T60"/>
              <a:gd fmla="*/ 2147483646 h 764" name="T61"/>
              <a:gd fmla="*/ 2147483646 w 1256" name="T62"/>
              <a:gd fmla="*/ 2147483646 h 764" name="T63"/>
              <a:gd fmla="*/ 2147483646 w 1256" name="T64"/>
              <a:gd fmla="*/ 2147483646 h 764" name="T65"/>
              <a:gd fmla="*/ 2147483646 w 1256" name="T66"/>
              <a:gd fmla="*/ 2147483646 h 764" name="T67"/>
              <a:gd fmla="*/ 2147483646 w 1256" name="T68"/>
              <a:gd fmla="*/ 2147483646 h 764" name="T69"/>
              <a:gd fmla="*/ 2147483646 w 1256" name="T70"/>
              <a:gd fmla="*/ 2147483646 h 764" name="T71"/>
              <a:gd fmla="*/ 2147483646 w 1256" name="T72"/>
              <a:gd fmla="*/ 2147483646 h 764" name="T73"/>
              <a:gd fmla="*/ 2147483646 w 1256" name="T74"/>
              <a:gd fmla="*/ 2147483646 h 764" name="T75"/>
              <a:gd fmla="*/ 2147483646 w 1256" name="T76"/>
              <a:gd fmla="*/ 2147483646 h 764" name="T77"/>
              <a:gd fmla="*/ 2147483646 w 1256" name="T78"/>
              <a:gd fmla="*/ 2147483646 h 764" name="T79"/>
              <a:gd fmla="*/ 2147483646 w 1256" name="T80"/>
              <a:gd fmla="*/ 2147483646 h 764" name="T81"/>
              <a:gd fmla="*/ 2147483646 w 1256" name="T82"/>
              <a:gd fmla="*/ 2147483646 h 764" name="T83"/>
              <a:gd fmla="*/ 2147483646 w 1256" name="T84"/>
              <a:gd fmla="*/ 2147483646 h 764" name="T85"/>
              <a:gd fmla="*/ 2147483646 w 1256" name="T86"/>
              <a:gd fmla="*/ 2147483646 h 764" name="T87"/>
              <a:gd fmla="*/ 2147483646 w 1256" name="T88"/>
              <a:gd fmla="*/ 2147483646 h 764" name="T89"/>
              <a:gd fmla="*/ 2147483646 w 1256" name="T90"/>
              <a:gd fmla="*/ 2147483646 h 764" name="T91"/>
              <a:gd fmla="*/ 2147483646 w 1256" name="T92"/>
              <a:gd fmla="*/ 2147483646 h 764" name="T93"/>
              <a:gd fmla="*/ 2147483646 w 1256" name="T94"/>
              <a:gd fmla="*/ 2147483646 h 764" name="T95"/>
              <a:gd fmla="*/ 2147483646 w 1256" name="T96"/>
              <a:gd fmla="*/ 2147483646 h 764" name="T97"/>
              <a:gd fmla="*/ 2147483646 w 1256" name="T98"/>
              <a:gd fmla="*/ 2147483646 h 764" name="T99"/>
              <a:gd fmla="*/ 2147483646 w 1256" name="T100"/>
              <a:gd fmla="*/ 2147483646 h 764" name="T101"/>
              <a:gd fmla="*/ 2147483646 w 1256" name="T102"/>
              <a:gd fmla="*/ 2147483646 h 764" name="T103"/>
              <a:gd fmla="*/ 2147483646 w 1256" name="T104"/>
              <a:gd fmla="*/ 2147483646 h 764" name="T105"/>
              <a:gd fmla="*/ 2147483646 w 1256" name="T106"/>
              <a:gd fmla="*/ 2147483646 h 764" name="T107"/>
              <a:gd fmla="*/ 2147483646 w 1256" name="T108"/>
              <a:gd fmla="*/ 2147483646 h 764" name="T109"/>
              <a:gd fmla="*/ 2147483646 w 1256" name="T110"/>
              <a:gd fmla="*/ 2147483646 h 764" name="T111"/>
              <a:gd fmla="*/ 2147483646 w 1256" name="T112"/>
              <a:gd fmla="*/ 2147483646 h 764" name="T113"/>
              <a:gd fmla="*/ 2147483646 w 1256" name="T114"/>
              <a:gd fmla="*/ 2147483646 h 764" name="T115"/>
              <a:gd fmla="*/ 2147483646 w 1256" name="T116"/>
              <a:gd fmla="*/ 2147483646 h 764" name="T117"/>
              <a:gd fmla="*/ 2147483646 w 1256" name="T118"/>
              <a:gd fmla="*/ 2147483646 h 764" name="T119"/>
              <a:gd fmla="*/ 2147483646 w 1256" name="T120"/>
              <a:gd fmla="*/ 2147483646 h 764" name="T121"/>
              <a:gd fmla="*/ 2147483646 w 1256" name="T122"/>
              <a:gd fmla="*/ 2147483646 h 764" name="T123"/>
              <a:gd fmla="*/ 2147483646 w 1256" name="T124"/>
              <a:gd fmla="*/ 2147483646 h 764"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 fmla="*/ 0 60000 65536" name="T186"/>
              <a:gd fmla="*/ 0 60000 65536" name="T187"/>
              <a:gd fmla="*/ 0 60000 65536" name="T188"/>
            </a:gd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b="b" l="0" r="r" t="0"/>
            <a:pathLst>
              <a:path h="764" w="1256">
                <a:moveTo>
                  <a:pt x="152" y="4"/>
                </a:moveTo>
                <a:lnTo>
                  <a:pt x="152" y="4"/>
                </a:lnTo>
                <a:lnTo>
                  <a:pt x="146" y="14"/>
                </a:lnTo>
                <a:lnTo>
                  <a:pt x="138" y="22"/>
                </a:lnTo>
                <a:lnTo>
                  <a:pt x="132" y="26"/>
                </a:lnTo>
                <a:lnTo>
                  <a:pt x="132" y="32"/>
                </a:lnTo>
                <a:lnTo>
                  <a:pt x="132" y="36"/>
                </a:lnTo>
                <a:lnTo>
                  <a:pt x="130" y="44"/>
                </a:lnTo>
                <a:lnTo>
                  <a:pt x="122" y="56"/>
                </a:lnTo>
                <a:lnTo>
                  <a:pt x="122" y="60"/>
                </a:lnTo>
                <a:lnTo>
                  <a:pt x="118" y="62"/>
                </a:lnTo>
                <a:lnTo>
                  <a:pt x="112" y="64"/>
                </a:lnTo>
                <a:lnTo>
                  <a:pt x="66" y="58"/>
                </a:lnTo>
                <a:lnTo>
                  <a:pt x="62" y="68"/>
                </a:lnTo>
                <a:lnTo>
                  <a:pt x="62" y="70"/>
                </a:lnTo>
                <a:lnTo>
                  <a:pt x="48" y="92"/>
                </a:lnTo>
                <a:lnTo>
                  <a:pt x="42" y="100"/>
                </a:lnTo>
                <a:lnTo>
                  <a:pt x="40" y="108"/>
                </a:lnTo>
                <a:lnTo>
                  <a:pt x="42" y="112"/>
                </a:lnTo>
                <a:lnTo>
                  <a:pt x="44" y="122"/>
                </a:lnTo>
                <a:lnTo>
                  <a:pt x="56" y="150"/>
                </a:lnTo>
                <a:lnTo>
                  <a:pt x="62" y="168"/>
                </a:lnTo>
                <a:lnTo>
                  <a:pt x="64" y="174"/>
                </a:lnTo>
                <a:lnTo>
                  <a:pt x="64" y="180"/>
                </a:lnTo>
                <a:lnTo>
                  <a:pt x="60" y="188"/>
                </a:lnTo>
                <a:lnTo>
                  <a:pt x="56" y="196"/>
                </a:lnTo>
                <a:lnTo>
                  <a:pt x="42" y="210"/>
                </a:lnTo>
                <a:lnTo>
                  <a:pt x="18" y="210"/>
                </a:lnTo>
                <a:lnTo>
                  <a:pt x="12" y="184"/>
                </a:lnTo>
                <a:lnTo>
                  <a:pt x="6" y="216"/>
                </a:lnTo>
                <a:lnTo>
                  <a:pt x="16" y="232"/>
                </a:lnTo>
                <a:lnTo>
                  <a:pt x="16" y="236"/>
                </a:lnTo>
                <a:lnTo>
                  <a:pt x="16" y="238"/>
                </a:lnTo>
                <a:lnTo>
                  <a:pt x="10" y="246"/>
                </a:lnTo>
                <a:lnTo>
                  <a:pt x="2" y="262"/>
                </a:lnTo>
                <a:lnTo>
                  <a:pt x="0" y="272"/>
                </a:lnTo>
                <a:lnTo>
                  <a:pt x="0" y="280"/>
                </a:lnTo>
                <a:lnTo>
                  <a:pt x="4" y="290"/>
                </a:lnTo>
                <a:lnTo>
                  <a:pt x="10" y="300"/>
                </a:lnTo>
                <a:lnTo>
                  <a:pt x="28" y="300"/>
                </a:lnTo>
                <a:lnTo>
                  <a:pt x="34" y="302"/>
                </a:lnTo>
                <a:lnTo>
                  <a:pt x="42" y="308"/>
                </a:lnTo>
                <a:lnTo>
                  <a:pt x="58" y="330"/>
                </a:lnTo>
                <a:lnTo>
                  <a:pt x="60" y="332"/>
                </a:lnTo>
                <a:lnTo>
                  <a:pt x="62" y="338"/>
                </a:lnTo>
                <a:lnTo>
                  <a:pt x="66" y="344"/>
                </a:lnTo>
                <a:lnTo>
                  <a:pt x="108" y="384"/>
                </a:lnTo>
                <a:lnTo>
                  <a:pt x="128" y="408"/>
                </a:lnTo>
                <a:lnTo>
                  <a:pt x="138" y="408"/>
                </a:lnTo>
                <a:lnTo>
                  <a:pt x="150" y="386"/>
                </a:lnTo>
                <a:lnTo>
                  <a:pt x="152" y="384"/>
                </a:lnTo>
                <a:lnTo>
                  <a:pt x="182" y="392"/>
                </a:lnTo>
                <a:lnTo>
                  <a:pt x="182" y="394"/>
                </a:lnTo>
                <a:lnTo>
                  <a:pt x="186" y="414"/>
                </a:lnTo>
                <a:lnTo>
                  <a:pt x="222" y="454"/>
                </a:lnTo>
                <a:lnTo>
                  <a:pt x="234" y="460"/>
                </a:lnTo>
                <a:lnTo>
                  <a:pt x="240" y="464"/>
                </a:lnTo>
                <a:lnTo>
                  <a:pt x="268" y="504"/>
                </a:lnTo>
                <a:lnTo>
                  <a:pt x="288" y="500"/>
                </a:lnTo>
                <a:lnTo>
                  <a:pt x="290" y="500"/>
                </a:lnTo>
                <a:lnTo>
                  <a:pt x="292" y="500"/>
                </a:lnTo>
                <a:lnTo>
                  <a:pt x="292" y="502"/>
                </a:lnTo>
                <a:lnTo>
                  <a:pt x="294" y="504"/>
                </a:lnTo>
                <a:lnTo>
                  <a:pt x="312" y="542"/>
                </a:lnTo>
                <a:lnTo>
                  <a:pt x="334" y="556"/>
                </a:lnTo>
                <a:lnTo>
                  <a:pt x="352" y="560"/>
                </a:lnTo>
                <a:lnTo>
                  <a:pt x="362" y="584"/>
                </a:lnTo>
                <a:lnTo>
                  <a:pt x="376" y="584"/>
                </a:lnTo>
                <a:lnTo>
                  <a:pt x="376" y="586"/>
                </a:lnTo>
                <a:lnTo>
                  <a:pt x="404" y="602"/>
                </a:lnTo>
                <a:lnTo>
                  <a:pt x="406" y="604"/>
                </a:lnTo>
                <a:lnTo>
                  <a:pt x="426" y="628"/>
                </a:lnTo>
                <a:lnTo>
                  <a:pt x="456" y="624"/>
                </a:lnTo>
                <a:lnTo>
                  <a:pt x="458" y="624"/>
                </a:lnTo>
                <a:lnTo>
                  <a:pt x="470" y="628"/>
                </a:lnTo>
                <a:lnTo>
                  <a:pt x="490" y="644"/>
                </a:lnTo>
                <a:lnTo>
                  <a:pt x="524" y="648"/>
                </a:lnTo>
                <a:lnTo>
                  <a:pt x="544" y="644"/>
                </a:lnTo>
                <a:lnTo>
                  <a:pt x="564" y="642"/>
                </a:lnTo>
                <a:lnTo>
                  <a:pt x="580" y="642"/>
                </a:lnTo>
                <a:lnTo>
                  <a:pt x="590" y="644"/>
                </a:lnTo>
                <a:lnTo>
                  <a:pt x="596" y="648"/>
                </a:lnTo>
                <a:lnTo>
                  <a:pt x="598" y="654"/>
                </a:lnTo>
                <a:lnTo>
                  <a:pt x="598" y="658"/>
                </a:lnTo>
                <a:lnTo>
                  <a:pt x="594" y="664"/>
                </a:lnTo>
                <a:lnTo>
                  <a:pt x="588" y="670"/>
                </a:lnTo>
                <a:lnTo>
                  <a:pt x="580" y="678"/>
                </a:lnTo>
                <a:lnTo>
                  <a:pt x="580" y="682"/>
                </a:lnTo>
                <a:lnTo>
                  <a:pt x="582" y="686"/>
                </a:lnTo>
                <a:lnTo>
                  <a:pt x="586" y="692"/>
                </a:lnTo>
                <a:lnTo>
                  <a:pt x="592" y="698"/>
                </a:lnTo>
                <a:lnTo>
                  <a:pt x="592" y="700"/>
                </a:lnTo>
                <a:lnTo>
                  <a:pt x="598" y="704"/>
                </a:lnTo>
                <a:lnTo>
                  <a:pt x="600" y="702"/>
                </a:lnTo>
                <a:lnTo>
                  <a:pt x="616" y="676"/>
                </a:lnTo>
                <a:lnTo>
                  <a:pt x="628" y="658"/>
                </a:lnTo>
                <a:lnTo>
                  <a:pt x="638" y="646"/>
                </a:lnTo>
                <a:lnTo>
                  <a:pt x="648" y="640"/>
                </a:lnTo>
                <a:lnTo>
                  <a:pt x="654" y="638"/>
                </a:lnTo>
                <a:lnTo>
                  <a:pt x="660" y="638"/>
                </a:lnTo>
                <a:lnTo>
                  <a:pt x="676" y="644"/>
                </a:lnTo>
                <a:lnTo>
                  <a:pt x="698" y="654"/>
                </a:lnTo>
                <a:lnTo>
                  <a:pt x="724" y="670"/>
                </a:lnTo>
                <a:lnTo>
                  <a:pt x="772" y="678"/>
                </a:lnTo>
                <a:lnTo>
                  <a:pt x="772" y="680"/>
                </a:lnTo>
                <a:lnTo>
                  <a:pt x="772" y="682"/>
                </a:lnTo>
                <a:lnTo>
                  <a:pt x="768" y="704"/>
                </a:lnTo>
                <a:lnTo>
                  <a:pt x="792" y="708"/>
                </a:lnTo>
                <a:lnTo>
                  <a:pt x="792" y="738"/>
                </a:lnTo>
                <a:lnTo>
                  <a:pt x="802" y="754"/>
                </a:lnTo>
                <a:lnTo>
                  <a:pt x="808" y="762"/>
                </a:lnTo>
                <a:lnTo>
                  <a:pt x="816" y="764"/>
                </a:lnTo>
                <a:lnTo>
                  <a:pt x="830" y="764"/>
                </a:lnTo>
                <a:lnTo>
                  <a:pt x="880" y="762"/>
                </a:lnTo>
                <a:lnTo>
                  <a:pt x="904" y="748"/>
                </a:lnTo>
                <a:lnTo>
                  <a:pt x="928" y="716"/>
                </a:lnTo>
                <a:lnTo>
                  <a:pt x="956" y="714"/>
                </a:lnTo>
                <a:lnTo>
                  <a:pt x="970" y="710"/>
                </a:lnTo>
                <a:lnTo>
                  <a:pt x="1022" y="680"/>
                </a:lnTo>
                <a:lnTo>
                  <a:pt x="1024" y="680"/>
                </a:lnTo>
                <a:lnTo>
                  <a:pt x="1060" y="676"/>
                </a:lnTo>
                <a:lnTo>
                  <a:pt x="1070" y="678"/>
                </a:lnTo>
                <a:lnTo>
                  <a:pt x="1076" y="680"/>
                </a:lnTo>
                <a:lnTo>
                  <a:pt x="1112" y="708"/>
                </a:lnTo>
                <a:lnTo>
                  <a:pt x="1122" y="712"/>
                </a:lnTo>
                <a:lnTo>
                  <a:pt x="1124" y="714"/>
                </a:lnTo>
                <a:lnTo>
                  <a:pt x="1136" y="720"/>
                </a:lnTo>
                <a:lnTo>
                  <a:pt x="1138" y="720"/>
                </a:lnTo>
                <a:lnTo>
                  <a:pt x="1138" y="718"/>
                </a:lnTo>
                <a:lnTo>
                  <a:pt x="1138" y="716"/>
                </a:lnTo>
                <a:lnTo>
                  <a:pt x="1144" y="692"/>
                </a:lnTo>
                <a:lnTo>
                  <a:pt x="1142" y="682"/>
                </a:lnTo>
                <a:lnTo>
                  <a:pt x="1144" y="674"/>
                </a:lnTo>
                <a:lnTo>
                  <a:pt x="1148" y="668"/>
                </a:lnTo>
                <a:lnTo>
                  <a:pt x="1156" y="666"/>
                </a:lnTo>
                <a:lnTo>
                  <a:pt x="1164" y="666"/>
                </a:lnTo>
                <a:lnTo>
                  <a:pt x="1172" y="672"/>
                </a:lnTo>
                <a:lnTo>
                  <a:pt x="1182" y="682"/>
                </a:lnTo>
                <a:lnTo>
                  <a:pt x="1190" y="696"/>
                </a:lnTo>
                <a:lnTo>
                  <a:pt x="1192" y="696"/>
                </a:lnTo>
                <a:lnTo>
                  <a:pt x="1212" y="688"/>
                </a:lnTo>
                <a:lnTo>
                  <a:pt x="1214" y="686"/>
                </a:lnTo>
                <a:lnTo>
                  <a:pt x="1216" y="684"/>
                </a:lnTo>
                <a:lnTo>
                  <a:pt x="1218" y="680"/>
                </a:lnTo>
                <a:lnTo>
                  <a:pt x="1214" y="664"/>
                </a:lnTo>
                <a:lnTo>
                  <a:pt x="1214" y="660"/>
                </a:lnTo>
                <a:lnTo>
                  <a:pt x="1214" y="656"/>
                </a:lnTo>
                <a:lnTo>
                  <a:pt x="1216" y="652"/>
                </a:lnTo>
                <a:lnTo>
                  <a:pt x="1220" y="650"/>
                </a:lnTo>
                <a:lnTo>
                  <a:pt x="1228" y="644"/>
                </a:lnTo>
                <a:lnTo>
                  <a:pt x="1244" y="624"/>
                </a:lnTo>
                <a:lnTo>
                  <a:pt x="1256" y="598"/>
                </a:lnTo>
                <a:lnTo>
                  <a:pt x="1250" y="586"/>
                </a:lnTo>
                <a:lnTo>
                  <a:pt x="1246" y="576"/>
                </a:lnTo>
                <a:lnTo>
                  <a:pt x="1246" y="568"/>
                </a:lnTo>
                <a:lnTo>
                  <a:pt x="1246" y="562"/>
                </a:lnTo>
                <a:lnTo>
                  <a:pt x="1248" y="540"/>
                </a:lnTo>
                <a:lnTo>
                  <a:pt x="1244" y="528"/>
                </a:lnTo>
                <a:lnTo>
                  <a:pt x="1242" y="518"/>
                </a:lnTo>
                <a:lnTo>
                  <a:pt x="1240" y="510"/>
                </a:lnTo>
                <a:lnTo>
                  <a:pt x="1232" y="498"/>
                </a:lnTo>
                <a:lnTo>
                  <a:pt x="1232" y="496"/>
                </a:lnTo>
                <a:lnTo>
                  <a:pt x="1228" y="468"/>
                </a:lnTo>
                <a:lnTo>
                  <a:pt x="1228" y="458"/>
                </a:lnTo>
                <a:lnTo>
                  <a:pt x="1228" y="448"/>
                </a:lnTo>
                <a:lnTo>
                  <a:pt x="1220" y="440"/>
                </a:lnTo>
                <a:lnTo>
                  <a:pt x="1214" y="432"/>
                </a:lnTo>
                <a:lnTo>
                  <a:pt x="1202" y="416"/>
                </a:lnTo>
                <a:lnTo>
                  <a:pt x="1200" y="414"/>
                </a:lnTo>
                <a:lnTo>
                  <a:pt x="1200" y="412"/>
                </a:lnTo>
                <a:lnTo>
                  <a:pt x="1196" y="392"/>
                </a:lnTo>
                <a:lnTo>
                  <a:pt x="1184" y="382"/>
                </a:lnTo>
                <a:lnTo>
                  <a:pt x="1184" y="384"/>
                </a:lnTo>
                <a:lnTo>
                  <a:pt x="1162" y="364"/>
                </a:lnTo>
                <a:lnTo>
                  <a:pt x="1162" y="366"/>
                </a:lnTo>
                <a:lnTo>
                  <a:pt x="1164" y="392"/>
                </a:lnTo>
                <a:lnTo>
                  <a:pt x="1164" y="394"/>
                </a:lnTo>
                <a:lnTo>
                  <a:pt x="1152" y="400"/>
                </a:lnTo>
                <a:lnTo>
                  <a:pt x="1152" y="416"/>
                </a:lnTo>
                <a:lnTo>
                  <a:pt x="1152" y="418"/>
                </a:lnTo>
                <a:lnTo>
                  <a:pt x="1124" y="428"/>
                </a:lnTo>
                <a:lnTo>
                  <a:pt x="1114" y="406"/>
                </a:lnTo>
                <a:lnTo>
                  <a:pt x="1108" y="404"/>
                </a:lnTo>
                <a:lnTo>
                  <a:pt x="1100" y="414"/>
                </a:lnTo>
                <a:lnTo>
                  <a:pt x="1094" y="430"/>
                </a:lnTo>
                <a:lnTo>
                  <a:pt x="1074" y="436"/>
                </a:lnTo>
                <a:lnTo>
                  <a:pt x="1062" y="428"/>
                </a:lnTo>
                <a:lnTo>
                  <a:pt x="1046" y="422"/>
                </a:lnTo>
                <a:lnTo>
                  <a:pt x="1042" y="400"/>
                </a:lnTo>
                <a:lnTo>
                  <a:pt x="1036" y="386"/>
                </a:lnTo>
                <a:lnTo>
                  <a:pt x="1026" y="382"/>
                </a:lnTo>
                <a:lnTo>
                  <a:pt x="1024" y="380"/>
                </a:lnTo>
                <a:lnTo>
                  <a:pt x="1018" y="372"/>
                </a:lnTo>
                <a:lnTo>
                  <a:pt x="1010" y="360"/>
                </a:lnTo>
                <a:lnTo>
                  <a:pt x="1000" y="344"/>
                </a:lnTo>
                <a:lnTo>
                  <a:pt x="990" y="344"/>
                </a:lnTo>
                <a:lnTo>
                  <a:pt x="974" y="350"/>
                </a:lnTo>
                <a:lnTo>
                  <a:pt x="972" y="352"/>
                </a:lnTo>
                <a:lnTo>
                  <a:pt x="932" y="348"/>
                </a:lnTo>
                <a:lnTo>
                  <a:pt x="900" y="342"/>
                </a:lnTo>
                <a:lnTo>
                  <a:pt x="884" y="332"/>
                </a:lnTo>
                <a:lnTo>
                  <a:pt x="860" y="324"/>
                </a:lnTo>
                <a:lnTo>
                  <a:pt x="838" y="318"/>
                </a:lnTo>
                <a:lnTo>
                  <a:pt x="832" y="314"/>
                </a:lnTo>
                <a:lnTo>
                  <a:pt x="828" y="312"/>
                </a:lnTo>
                <a:lnTo>
                  <a:pt x="824" y="308"/>
                </a:lnTo>
                <a:lnTo>
                  <a:pt x="820" y="308"/>
                </a:lnTo>
                <a:lnTo>
                  <a:pt x="804" y="300"/>
                </a:lnTo>
                <a:lnTo>
                  <a:pt x="804" y="298"/>
                </a:lnTo>
                <a:lnTo>
                  <a:pt x="796" y="290"/>
                </a:lnTo>
                <a:lnTo>
                  <a:pt x="794" y="282"/>
                </a:lnTo>
                <a:lnTo>
                  <a:pt x="788" y="272"/>
                </a:lnTo>
                <a:lnTo>
                  <a:pt x="776" y="268"/>
                </a:lnTo>
                <a:lnTo>
                  <a:pt x="772" y="270"/>
                </a:lnTo>
                <a:lnTo>
                  <a:pt x="768" y="274"/>
                </a:lnTo>
                <a:lnTo>
                  <a:pt x="766" y="276"/>
                </a:lnTo>
                <a:lnTo>
                  <a:pt x="760" y="280"/>
                </a:lnTo>
                <a:lnTo>
                  <a:pt x="756" y="280"/>
                </a:lnTo>
                <a:lnTo>
                  <a:pt x="750" y="282"/>
                </a:lnTo>
                <a:lnTo>
                  <a:pt x="746" y="280"/>
                </a:lnTo>
                <a:lnTo>
                  <a:pt x="740" y="276"/>
                </a:lnTo>
                <a:lnTo>
                  <a:pt x="736" y="272"/>
                </a:lnTo>
                <a:lnTo>
                  <a:pt x="720" y="256"/>
                </a:lnTo>
                <a:lnTo>
                  <a:pt x="714" y="246"/>
                </a:lnTo>
                <a:lnTo>
                  <a:pt x="708" y="238"/>
                </a:lnTo>
                <a:lnTo>
                  <a:pt x="704" y="232"/>
                </a:lnTo>
                <a:lnTo>
                  <a:pt x="698" y="224"/>
                </a:lnTo>
                <a:lnTo>
                  <a:pt x="692" y="216"/>
                </a:lnTo>
                <a:lnTo>
                  <a:pt x="690" y="206"/>
                </a:lnTo>
                <a:lnTo>
                  <a:pt x="692" y="196"/>
                </a:lnTo>
                <a:lnTo>
                  <a:pt x="702" y="178"/>
                </a:lnTo>
                <a:lnTo>
                  <a:pt x="708" y="160"/>
                </a:lnTo>
                <a:lnTo>
                  <a:pt x="710" y="148"/>
                </a:lnTo>
                <a:lnTo>
                  <a:pt x="706" y="128"/>
                </a:lnTo>
                <a:lnTo>
                  <a:pt x="694" y="118"/>
                </a:lnTo>
                <a:lnTo>
                  <a:pt x="696" y="104"/>
                </a:lnTo>
                <a:lnTo>
                  <a:pt x="698" y="96"/>
                </a:lnTo>
                <a:lnTo>
                  <a:pt x="700" y="90"/>
                </a:lnTo>
                <a:lnTo>
                  <a:pt x="704" y="86"/>
                </a:lnTo>
                <a:lnTo>
                  <a:pt x="708" y="84"/>
                </a:lnTo>
                <a:lnTo>
                  <a:pt x="712" y="84"/>
                </a:lnTo>
                <a:lnTo>
                  <a:pt x="712" y="80"/>
                </a:lnTo>
                <a:lnTo>
                  <a:pt x="712" y="78"/>
                </a:lnTo>
                <a:lnTo>
                  <a:pt x="712" y="62"/>
                </a:lnTo>
                <a:lnTo>
                  <a:pt x="712" y="44"/>
                </a:lnTo>
                <a:lnTo>
                  <a:pt x="710" y="42"/>
                </a:lnTo>
                <a:lnTo>
                  <a:pt x="708" y="40"/>
                </a:lnTo>
                <a:lnTo>
                  <a:pt x="706" y="40"/>
                </a:lnTo>
                <a:lnTo>
                  <a:pt x="692" y="30"/>
                </a:lnTo>
                <a:lnTo>
                  <a:pt x="680" y="20"/>
                </a:lnTo>
                <a:lnTo>
                  <a:pt x="642" y="14"/>
                </a:lnTo>
                <a:lnTo>
                  <a:pt x="630" y="4"/>
                </a:lnTo>
                <a:lnTo>
                  <a:pt x="608" y="4"/>
                </a:lnTo>
                <a:lnTo>
                  <a:pt x="602" y="6"/>
                </a:lnTo>
                <a:lnTo>
                  <a:pt x="596" y="10"/>
                </a:lnTo>
                <a:lnTo>
                  <a:pt x="594" y="10"/>
                </a:lnTo>
                <a:lnTo>
                  <a:pt x="576" y="16"/>
                </a:lnTo>
                <a:lnTo>
                  <a:pt x="532" y="16"/>
                </a:lnTo>
                <a:lnTo>
                  <a:pt x="524" y="20"/>
                </a:lnTo>
                <a:lnTo>
                  <a:pt x="518" y="24"/>
                </a:lnTo>
                <a:lnTo>
                  <a:pt x="508" y="28"/>
                </a:lnTo>
                <a:lnTo>
                  <a:pt x="492" y="34"/>
                </a:lnTo>
                <a:lnTo>
                  <a:pt x="472" y="40"/>
                </a:lnTo>
                <a:lnTo>
                  <a:pt x="470" y="40"/>
                </a:lnTo>
                <a:lnTo>
                  <a:pt x="440" y="36"/>
                </a:lnTo>
                <a:lnTo>
                  <a:pt x="438" y="36"/>
                </a:lnTo>
                <a:lnTo>
                  <a:pt x="428" y="36"/>
                </a:lnTo>
                <a:lnTo>
                  <a:pt x="410" y="40"/>
                </a:lnTo>
                <a:lnTo>
                  <a:pt x="374" y="44"/>
                </a:lnTo>
                <a:lnTo>
                  <a:pt x="372" y="44"/>
                </a:lnTo>
                <a:lnTo>
                  <a:pt x="356" y="36"/>
                </a:lnTo>
                <a:lnTo>
                  <a:pt x="340" y="36"/>
                </a:lnTo>
                <a:lnTo>
                  <a:pt x="330" y="32"/>
                </a:lnTo>
                <a:lnTo>
                  <a:pt x="320" y="20"/>
                </a:lnTo>
                <a:lnTo>
                  <a:pt x="318" y="20"/>
                </a:lnTo>
                <a:lnTo>
                  <a:pt x="316" y="12"/>
                </a:lnTo>
                <a:lnTo>
                  <a:pt x="314" y="8"/>
                </a:lnTo>
                <a:lnTo>
                  <a:pt x="310" y="4"/>
                </a:lnTo>
                <a:lnTo>
                  <a:pt x="302" y="0"/>
                </a:lnTo>
                <a:lnTo>
                  <a:pt x="296" y="8"/>
                </a:lnTo>
                <a:lnTo>
                  <a:pt x="270" y="20"/>
                </a:lnTo>
                <a:lnTo>
                  <a:pt x="268" y="20"/>
                </a:lnTo>
                <a:lnTo>
                  <a:pt x="236" y="22"/>
                </a:lnTo>
                <a:lnTo>
                  <a:pt x="226" y="20"/>
                </a:lnTo>
                <a:lnTo>
                  <a:pt x="210" y="16"/>
                </a:lnTo>
                <a:lnTo>
                  <a:pt x="184" y="12"/>
                </a:lnTo>
                <a:lnTo>
                  <a:pt x="182" y="12"/>
                </a:lnTo>
                <a:lnTo>
                  <a:pt x="166" y="4"/>
                </a:lnTo>
                <a:lnTo>
                  <a:pt x="152" y="4"/>
                </a:lnTo>
                <a:close/>
              </a:path>
            </a:pathLst>
          </a:custGeom>
          <a:solidFill>
            <a:srgbClr val="BFBFBF"/>
          </a:solidFill>
          <a:ln>
            <a:noFill/>
          </a:ln>
        </p:spPr>
        <p:txBody>
          <a:bodyPr/>
          <a:lstStyle/>
          <a:p>
            <a:endParaRPr altLang="en-US" lang="zh-CN">
              <a:cs typeface="+mn-ea"/>
              <a:sym typeface="+mn-lt"/>
            </a:endParaRPr>
          </a:p>
        </p:txBody>
      </p:sp>
      <p:sp>
        <p:nvSpPr>
          <p:cNvPr id="12" name="云南"/>
          <p:cNvSpPr/>
          <p:nvPr/>
        </p:nvSpPr>
        <p:spPr bwMode="auto">
          <a:xfrm>
            <a:off x="3079078" y="4636934"/>
            <a:ext cx="837767" cy="873581"/>
          </a:xfrm>
          <a:custGeom>
            <a:gdLst>
              <a:gd fmla="*/ 2147483646 w 568" name="T0"/>
              <a:gd fmla="*/ 2147483646 h 592" name="T1"/>
              <a:gd fmla="*/ 2147483646 w 568" name="T2"/>
              <a:gd fmla="*/ 2147483646 h 592" name="T3"/>
              <a:gd fmla="*/ 2147483646 w 568" name="T4"/>
              <a:gd fmla="*/ 2147483646 h 592" name="T5"/>
              <a:gd fmla="*/ 2147483646 w 568" name="T6"/>
              <a:gd fmla="*/ 2147483646 h 592" name="T7"/>
              <a:gd fmla="*/ 2147483646 w 568" name="T8"/>
              <a:gd fmla="*/ 2147483646 h 592" name="T9"/>
              <a:gd fmla="*/ 2147483646 w 568" name="T10"/>
              <a:gd fmla="*/ 2147483646 h 592" name="T11"/>
              <a:gd fmla="*/ 2147483646 w 568" name="T12"/>
              <a:gd fmla="*/ 2147483646 h 592" name="T13"/>
              <a:gd fmla="*/ 2147483646 w 568" name="T14"/>
              <a:gd fmla="*/ 2147483646 h 592" name="T15"/>
              <a:gd fmla="*/ 2147483646 w 568" name="T16"/>
              <a:gd fmla="*/ 2147483646 h 592" name="T17"/>
              <a:gd fmla="*/ 2147483646 w 568" name="T18"/>
              <a:gd fmla="*/ 2147483646 h 592" name="T19"/>
              <a:gd fmla="*/ 2147483646 w 568" name="T20"/>
              <a:gd fmla="*/ 2147483646 h 592" name="T21"/>
              <a:gd fmla="*/ 2147483646 w 568" name="T22"/>
              <a:gd fmla="*/ 2147483646 h 592" name="T23"/>
              <a:gd fmla="*/ 2147483646 w 568" name="T24"/>
              <a:gd fmla="*/ 2147483646 h 592" name="T25"/>
              <a:gd fmla="*/ 2147483646 w 568" name="T26"/>
              <a:gd fmla="*/ 2147483646 h 592" name="T27"/>
              <a:gd fmla="*/ 2147483646 w 568" name="T28"/>
              <a:gd fmla="*/ 2147483646 h 592" name="T29"/>
              <a:gd fmla="*/ 2147483646 w 568" name="T30"/>
              <a:gd fmla="*/ 2147483646 h 592" name="T31"/>
              <a:gd fmla="*/ 2147483646 w 568" name="T32"/>
              <a:gd fmla="*/ 2147483646 h 592" name="T33"/>
              <a:gd fmla="*/ 2147483646 w 568" name="T34"/>
              <a:gd fmla="*/ 2147483646 h 592" name="T35"/>
              <a:gd fmla="*/ 2147483646 w 568" name="T36"/>
              <a:gd fmla="*/ 2147483646 h 592" name="T37"/>
              <a:gd fmla="*/ 2147483646 w 568" name="T38"/>
              <a:gd fmla="*/ 2147483646 h 592" name="T39"/>
              <a:gd fmla="*/ 2147483646 w 568" name="T40"/>
              <a:gd fmla="*/ 2147483646 h 592" name="T41"/>
              <a:gd fmla="*/ 2147483646 w 568" name="T42"/>
              <a:gd fmla="*/ 2147483646 h 592" name="T43"/>
              <a:gd fmla="*/ 2147483646 w 568" name="T44"/>
              <a:gd fmla="*/ 2147483646 h 592" name="T45"/>
              <a:gd fmla="*/ 2147483646 w 568" name="T46"/>
              <a:gd fmla="*/ 2147483646 h 592" name="T47"/>
              <a:gd fmla="*/ 2147483646 w 568" name="T48"/>
              <a:gd fmla="*/ 2147483646 h 592" name="T49"/>
              <a:gd fmla="*/ 2147483646 w 568" name="T50"/>
              <a:gd fmla="*/ 2147483646 h 592" name="T51"/>
              <a:gd fmla="*/ 2147483646 w 568" name="T52"/>
              <a:gd fmla="*/ 2147483646 h 592" name="T53"/>
              <a:gd fmla="*/ 2147483646 w 568" name="T54"/>
              <a:gd fmla="*/ 2147483646 h 592" name="T55"/>
              <a:gd fmla="*/ 2147483646 w 568" name="T56"/>
              <a:gd fmla="*/ 2147483646 h 592" name="T57"/>
              <a:gd fmla="*/ 2147483646 w 568" name="T58"/>
              <a:gd fmla="*/ 2147483646 h 592" name="T59"/>
              <a:gd fmla="*/ 2147483646 w 568" name="T60"/>
              <a:gd fmla="*/ 2147483646 h 592" name="T61"/>
              <a:gd fmla="*/ 2147483646 w 568" name="T62"/>
              <a:gd fmla="*/ 2147483646 h 592" name="T63"/>
              <a:gd fmla="*/ 2147483646 w 568" name="T64"/>
              <a:gd fmla="*/ 2147483646 h 592" name="T65"/>
              <a:gd fmla="*/ 2147483646 w 568" name="T66"/>
              <a:gd fmla="*/ 2147483646 h 592" name="T67"/>
              <a:gd fmla="*/ 2147483646 w 568" name="T68"/>
              <a:gd fmla="*/ 2147483646 h 592" name="T69"/>
              <a:gd fmla="*/ 2147483646 w 568" name="T70"/>
              <a:gd fmla="*/ 2147483646 h 592" name="T71"/>
              <a:gd fmla="*/ 2147483646 w 568" name="T72"/>
              <a:gd fmla="*/ 2147483646 h 592" name="T73"/>
              <a:gd fmla="*/ 2147483646 w 568" name="T74"/>
              <a:gd fmla="*/ 2147483646 h 592" name="T75"/>
              <a:gd fmla="*/ 2147483646 w 568" name="T76"/>
              <a:gd fmla="*/ 2147483646 h 592" name="T77"/>
              <a:gd fmla="*/ 2147483646 w 568" name="T78"/>
              <a:gd fmla="*/ 2147483646 h 592" name="T79"/>
              <a:gd fmla="*/ 2147483646 w 568" name="T80"/>
              <a:gd fmla="*/ 2147483646 h 592" name="T81"/>
              <a:gd fmla="*/ 2147483646 w 568" name="T82"/>
              <a:gd fmla="*/ 2147483646 h 592" name="T83"/>
              <a:gd fmla="*/ 2147483646 w 568" name="T84"/>
              <a:gd fmla="*/ 2147483646 h 592" name="T85"/>
              <a:gd fmla="*/ 2147483646 w 568" name="T86"/>
              <a:gd fmla="*/ 2147483646 h 592" name="T87"/>
              <a:gd fmla="*/ 2147483646 w 568" name="T88"/>
              <a:gd fmla="*/ 2147483646 h 592" name="T89"/>
              <a:gd fmla="*/ 2147483646 w 568" name="T90"/>
              <a:gd fmla="*/ 2147483646 h 592" name="T91"/>
              <a:gd fmla="*/ 2147483646 w 568" name="T92"/>
              <a:gd fmla="*/ 2147483646 h 592" name="T93"/>
              <a:gd fmla="*/ 2147483646 w 568" name="T94"/>
              <a:gd fmla="*/ 2147483646 h 592" name="T95"/>
              <a:gd fmla="*/ 2147483646 w 568" name="T96"/>
              <a:gd fmla="*/ 2147483646 h 592" name="T97"/>
              <a:gd fmla="*/ 2147483646 w 568" name="T98"/>
              <a:gd fmla="*/ 2147483646 h 592" name="T99"/>
              <a:gd fmla="*/ 2147483646 w 568" name="T100"/>
              <a:gd fmla="*/ 2147483646 h 592" name="T101"/>
              <a:gd fmla="*/ 2147483646 w 568" name="T102"/>
              <a:gd fmla="*/ 2147483646 h 592" name="T103"/>
              <a:gd fmla="*/ 2147483646 w 568" name="T104"/>
              <a:gd fmla="*/ 2147483646 h 592" name="T105"/>
              <a:gd fmla="*/ 2147483646 w 568" name="T106"/>
              <a:gd fmla="*/ 2147483646 h 592"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b="b" l="0" r="r" t="0"/>
            <a:pathLst>
              <a:path h="592" w="568">
                <a:moveTo>
                  <a:pt x="4" y="364"/>
                </a:moveTo>
                <a:lnTo>
                  <a:pt x="0" y="374"/>
                </a:lnTo>
                <a:lnTo>
                  <a:pt x="10" y="372"/>
                </a:lnTo>
                <a:lnTo>
                  <a:pt x="18" y="366"/>
                </a:lnTo>
                <a:lnTo>
                  <a:pt x="20" y="364"/>
                </a:lnTo>
                <a:lnTo>
                  <a:pt x="52" y="360"/>
                </a:lnTo>
                <a:lnTo>
                  <a:pt x="74" y="350"/>
                </a:lnTo>
                <a:lnTo>
                  <a:pt x="82" y="362"/>
                </a:lnTo>
                <a:lnTo>
                  <a:pt x="84" y="362"/>
                </a:lnTo>
                <a:lnTo>
                  <a:pt x="74" y="378"/>
                </a:lnTo>
                <a:lnTo>
                  <a:pt x="84" y="388"/>
                </a:lnTo>
                <a:lnTo>
                  <a:pt x="84" y="390"/>
                </a:lnTo>
                <a:lnTo>
                  <a:pt x="84" y="392"/>
                </a:lnTo>
                <a:lnTo>
                  <a:pt x="76" y="426"/>
                </a:lnTo>
                <a:lnTo>
                  <a:pt x="98" y="440"/>
                </a:lnTo>
                <a:lnTo>
                  <a:pt x="136" y="442"/>
                </a:lnTo>
                <a:lnTo>
                  <a:pt x="130" y="450"/>
                </a:lnTo>
                <a:lnTo>
                  <a:pt x="104" y="486"/>
                </a:lnTo>
                <a:lnTo>
                  <a:pt x="98" y="496"/>
                </a:lnTo>
                <a:lnTo>
                  <a:pt x="96" y="502"/>
                </a:lnTo>
                <a:lnTo>
                  <a:pt x="110" y="506"/>
                </a:lnTo>
                <a:lnTo>
                  <a:pt x="122" y="508"/>
                </a:lnTo>
                <a:lnTo>
                  <a:pt x="132" y="510"/>
                </a:lnTo>
                <a:lnTo>
                  <a:pt x="140" y="516"/>
                </a:lnTo>
                <a:lnTo>
                  <a:pt x="144" y="520"/>
                </a:lnTo>
                <a:lnTo>
                  <a:pt x="152" y="534"/>
                </a:lnTo>
                <a:lnTo>
                  <a:pt x="158" y="550"/>
                </a:lnTo>
                <a:lnTo>
                  <a:pt x="180" y="562"/>
                </a:lnTo>
                <a:lnTo>
                  <a:pt x="192" y="564"/>
                </a:lnTo>
                <a:lnTo>
                  <a:pt x="220" y="540"/>
                </a:lnTo>
                <a:lnTo>
                  <a:pt x="236" y="562"/>
                </a:lnTo>
                <a:lnTo>
                  <a:pt x="236" y="564"/>
                </a:lnTo>
                <a:lnTo>
                  <a:pt x="240" y="584"/>
                </a:lnTo>
                <a:lnTo>
                  <a:pt x="252" y="586"/>
                </a:lnTo>
                <a:lnTo>
                  <a:pt x="272" y="592"/>
                </a:lnTo>
                <a:lnTo>
                  <a:pt x="276" y="592"/>
                </a:lnTo>
                <a:lnTo>
                  <a:pt x="276" y="590"/>
                </a:lnTo>
                <a:lnTo>
                  <a:pt x="272" y="570"/>
                </a:lnTo>
                <a:lnTo>
                  <a:pt x="272" y="568"/>
                </a:lnTo>
                <a:lnTo>
                  <a:pt x="262" y="522"/>
                </a:lnTo>
                <a:lnTo>
                  <a:pt x="262" y="520"/>
                </a:lnTo>
                <a:lnTo>
                  <a:pt x="268" y="488"/>
                </a:lnTo>
                <a:lnTo>
                  <a:pt x="270" y="488"/>
                </a:lnTo>
                <a:lnTo>
                  <a:pt x="272" y="488"/>
                </a:lnTo>
                <a:lnTo>
                  <a:pt x="294" y="490"/>
                </a:lnTo>
                <a:lnTo>
                  <a:pt x="320" y="470"/>
                </a:lnTo>
                <a:lnTo>
                  <a:pt x="324" y="472"/>
                </a:lnTo>
                <a:lnTo>
                  <a:pt x="342" y="486"/>
                </a:lnTo>
                <a:lnTo>
                  <a:pt x="352" y="498"/>
                </a:lnTo>
                <a:lnTo>
                  <a:pt x="362" y="490"/>
                </a:lnTo>
                <a:lnTo>
                  <a:pt x="378" y="474"/>
                </a:lnTo>
                <a:lnTo>
                  <a:pt x="378" y="472"/>
                </a:lnTo>
                <a:lnTo>
                  <a:pt x="380" y="472"/>
                </a:lnTo>
                <a:lnTo>
                  <a:pt x="420" y="482"/>
                </a:lnTo>
                <a:lnTo>
                  <a:pt x="438" y="468"/>
                </a:lnTo>
                <a:lnTo>
                  <a:pt x="438" y="466"/>
                </a:lnTo>
                <a:lnTo>
                  <a:pt x="440" y="466"/>
                </a:lnTo>
                <a:lnTo>
                  <a:pt x="458" y="470"/>
                </a:lnTo>
                <a:lnTo>
                  <a:pt x="512" y="422"/>
                </a:lnTo>
                <a:lnTo>
                  <a:pt x="528" y="426"/>
                </a:lnTo>
                <a:lnTo>
                  <a:pt x="530" y="428"/>
                </a:lnTo>
                <a:lnTo>
                  <a:pt x="532" y="428"/>
                </a:lnTo>
                <a:lnTo>
                  <a:pt x="536" y="436"/>
                </a:lnTo>
                <a:lnTo>
                  <a:pt x="540" y="432"/>
                </a:lnTo>
                <a:lnTo>
                  <a:pt x="540" y="430"/>
                </a:lnTo>
                <a:lnTo>
                  <a:pt x="556" y="422"/>
                </a:lnTo>
                <a:lnTo>
                  <a:pt x="568" y="410"/>
                </a:lnTo>
                <a:lnTo>
                  <a:pt x="566" y="386"/>
                </a:lnTo>
                <a:lnTo>
                  <a:pt x="564" y="382"/>
                </a:lnTo>
                <a:lnTo>
                  <a:pt x="548" y="388"/>
                </a:lnTo>
                <a:lnTo>
                  <a:pt x="542" y="392"/>
                </a:lnTo>
                <a:lnTo>
                  <a:pt x="534" y="392"/>
                </a:lnTo>
                <a:lnTo>
                  <a:pt x="516" y="392"/>
                </a:lnTo>
                <a:lnTo>
                  <a:pt x="510" y="390"/>
                </a:lnTo>
                <a:lnTo>
                  <a:pt x="504" y="386"/>
                </a:lnTo>
                <a:lnTo>
                  <a:pt x="504" y="360"/>
                </a:lnTo>
                <a:lnTo>
                  <a:pt x="496" y="358"/>
                </a:lnTo>
                <a:lnTo>
                  <a:pt x="492" y="356"/>
                </a:lnTo>
                <a:lnTo>
                  <a:pt x="488" y="358"/>
                </a:lnTo>
                <a:lnTo>
                  <a:pt x="484" y="360"/>
                </a:lnTo>
                <a:lnTo>
                  <a:pt x="472" y="364"/>
                </a:lnTo>
                <a:lnTo>
                  <a:pt x="468" y="364"/>
                </a:lnTo>
                <a:lnTo>
                  <a:pt x="468" y="362"/>
                </a:lnTo>
                <a:lnTo>
                  <a:pt x="462" y="350"/>
                </a:lnTo>
                <a:lnTo>
                  <a:pt x="460" y="340"/>
                </a:lnTo>
                <a:lnTo>
                  <a:pt x="468" y="310"/>
                </a:lnTo>
                <a:lnTo>
                  <a:pt x="468" y="308"/>
                </a:lnTo>
                <a:lnTo>
                  <a:pt x="476" y="294"/>
                </a:lnTo>
                <a:lnTo>
                  <a:pt x="452" y="274"/>
                </a:lnTo>
                <a:lnTo>
                  <a:pt x="452" y="272"/>
                </a:lnTo>
                <a:lnTo>
                  <a:pt x="452" y="248"/>
                </a:lnTo>
                <a:lnTo>
                  <a:pt x="464" y="212"/>
                </a:lnTo>
                <a:lnTo>
                  <a:pt x="456" y="192"/>
                </a:lnTo>
                <a:lnTo>
                  <a:pt x="450" y="190"/>
                </a:lnTo>
                <a:lnTo>
                  <a:pt x="440" y="190"/>
                </a:lnTo>
                <a:lnTo>
                  <a:pt x="432" y="204"/>
                </a:lnTo>
                <a:lnTo>
                  <a:pt x="420" y="196"/>
                </a:lnTo>
                <a:lnTo>
                  <a:pt x="410" y="190"/>
                </a:lnTo>
                <a:lnTo>
                  <a:pt x="400" y="168"/>
                </a:lnTo>
                <a:lnTo>
                  <a:pt x="398" y="152"/>
                </a:lnTo>
                <a:lnTo>
                  <a:pt x="398" y="150"/>
                </a:lnTo>
                <a:lnTo>
                  <a:pt x="396" y="148"/>
                </a:lnTo>
                <a:lnTo>
                  <a:pt x="400" y="148"/>
                </a:lnTo>
                <a:lnTo>
                  <a:pt x="410" y="132"/>
                </a:lnTo>
                <a:lnTo>
                  <a:pt x="412" y="132"/>
                </a:lnTo>
                <a:lnTo>
                  <a:pt x="420" y="130"/>
                </a:lnTo>
                <a:lnTo>
                  <a:pt x="430" y="128"/>
                </a:lnTo>
                <a:lnTo>
                  <a:pt x="472" y="126"/>
                </a:lnTo>
                <a:lnTo>
                  <a:pt x="478" y="128"/>
                </a:lnTo>
                <a:lnTo>
                  <a:pt x="480" y="128"/>
                </a:lnTo>
                <a:lnTo>
                  <a:pt x="486" y="132"/>
                </a:lnTo>
                <a:lnTo>
                  <a:pt x="496" y="126"/>
                </a:lnTo>
                <a:lnTo>
                  <a:pt x="506" y="120"/>
                </a:lnTo>
                <a:lnTo>
                  <a:pt x="512" y="112"/>
                </a:lnTo>
                <a:lnTo>
                  <a:pt x="512" y="108"/>
                </a:lnTo>
                <a:lnTo>
                  <a:pt x="512" y="90"/>
                </a:lnTo>
                <a:lnTo>
                  <a:pt x="502" y="88"/>
                </a:lnTo>
                <a:lnTo>
                  <a:pt x="486" y="94"/>
                </a:lnTo>
                <a:lnTo>
                  <a:pt x="478" y="100"/>
                </a:lnTo>
                <a:lnTo>
                  <a:pt x="474" y="102"/>
                </a:lnTo>
                <a:lnTo>
                  <a:pt x="470" y="104"/>
                </a:lnTo>
                <a:lnTo>
                  <a:pt x="466" y="102"/>
                </a:lnTo>
                <a:lnTo>
                  <a:pt x="462" y="100"/>
                </a:lnTo>
                <a:lnTo>
                  <a:pt x="454" y="90"/>
                </a:lnTo>
                <a:lnTo>
                  <a:pt x="454" y="88"/>
                </a:lnTo>
                <a:lnTo>
                  <a:pt x="452" y="78"/>
                </a:lnTo>
                <a:lnTo>
                  <a:pt x="452" y="76"/>
                </a:lnTo>
                <a:lnTo>
                  <a:pt x="454" y="66"/>
                </a:lnTo>
                <a:lnTo>
                  <a:pt x="444" y="44"/>
                </a:lnTo>
                <a:lnTo>
                  <a:pt x="428" y="48"/>
                </a:lnTo>
                <a:lnTo>
                  <a:pt x="420" y="56"/>
                </a:lnTo>
                <a:lnTo>
                  <a:pt x="424" y="80"/>
                </a:lnTo>
                <a:lnTo>
                  <a:pt x="396" y="68"/>
                </a:lnTo>
                <a:lnTo>
                  <a:pt x="404" y="82"/>
                </a:lnTo>
                <a:lnTo>
                  <a:pt x="404" y="84"/>
                </a:lnTo>
                <a:lnTo>
                  <a:pt x="402" y="100"/>
                </a:lnTo>
                <a:lnTo>
                  <a:pt x="402" y="102"/>
                </a:lnTo>
                <a:lnTo>
                  <a:pt x="400" y="102"/>
                </a:lnTo>
                <a:lnTo>
                  <a:pt x="386" y="124"/>
                </a:lnTo>
                <a:lnTo>
                  <a:pt x="360" y="138"/>
                </a:lnTo>
                <a:lnTo>
                  <a:pt x="358" y="152"/>
                </a:lnTo>
                <a:lnTo>
                  <a:pt x="360" y="160"/>
                </a:lnTo>
                <a:lnTo>
                  <a:pt x="364" y="170"/>
                </a:lnTo>
                <a:lnTo>
                  <a:pt x="366" y="170"/>
                </a:lnTo>
                <a:lnTo>
                  <a:pt x="366" y="172"/>
                </a:lnTo>
                <a:lnTo>
                  <a:pt x="368" y="192"/>
                </a:lnTo>
                <a:lnTo>
                  <a:pt x="368" y="194"/>
                </a:lnTo>
                <a:lnTo>
                  <a:pt x="366" y="196"/>
                </a:lnTo>
                <a:lnTo>
                  <a:pt x="356" y="208"/>
                </a:lnTo>
                <a:lnTo>
                  <a:pt x="348" y="214"/>
                </a:lnTo>
                <a:lnTo>
                  <a:pt x="346" y="214"/>
                </a:lnTo>
                <a:lnTo>
                  <a:pt x="344" y="214"/>
                </a:lnTo>
                <a:lnTo>
                  <a:pt x="326" y="210"/>
                </a:lnTo>
                <a:lnTo>
                  <a:pt x="322" y="210"/>
                </a:lnTo>
                <a:lnTo>
                  <a:pt x="316" y="214"/>
                </a:lnTo>
                <a:lnTo>
                  <a:pt x="308" y="224"/>
                </a:lnTo>
                <a:lnTo>
                  <a:pt x="300" y="232"/>
                </a:lnTo>
                <a:lnTo>
                  <a:pt x="298" y="236"/>
                </a:lnTo>
                <a:lnTo>
                  <a:pt x="294" y="238"/>
                </a:lnTo>
                <a:lnTo>
                  <a:pt x="288" y="240"/>
                </a:lnTo>
                <a:lnTo>
                  <a:pt x="282" y="238"/>
                </a:lnTo>
                <a:lnTo>
                  <a:pt x="280" y="238"/>
                </a:lnTo>
                <a:lnTo>
                  <a:pt x="278" y="234"/>
                </a:lnTo>
                <a:lnTo>
                  <a:pt x="276" y="230"/>
                </a:lnTo>
                <a:lnTo>
                  <a:pt x="276" y="224"/>
                </a:lnTo>
                <a:lnTo>
                  <a:pt x="276" y="220"/>
                </a:lnTo>
                <a:lnTo>
                  <a:pt x="276" y="214"/>
                </a:lnTo>
                <a:lnTo>
                  <a:pt x="272" y="218"/>
                </a:lnTo>
                <a:lnTo>
                  <a:pt x="270" y="220"/>
                </a:lnTo>
                <a:lnTo>
                  <a:pt x="264" y="222"/>
                </a:lnTo>
                <a:lnTo>
                  <a:pt x="260" y="218"/>
                </a:lnTo>
                <a:lnTo>
                  <a:pt x="258" y="212"/>
                </a:lnTo>
                <a:lnTo>
                  <a:pt x="256" y="192"/>
                </a:lnTo>
                <a:lnTo>
                  <a:pt x="252" y="176"/>
                </a:lnTo>
                <a:lnTo>
                  <a:pt x="244" y="168"/>
                </a:lnTo>
                <a:lnTo>
                  <a:pt x="244" y="166"/>
                </a:lnTo>
                <a:lnTo>
                  <a:pt x="226" y="128"/>
                </a:lnTo>
                <a:lnTo>
                  <a:pt x="220" y="116"/>
                </a:lnTo>
                <a:lnTo>
                  <a:pt x="220" y="114"/>
                </a:lnTo>
                <a:lnTo>
                  <a:pt x="216" y="94"/>
                </a:lnTo>
                <a:lnTo>
                  <a:pt x="214" y="90"/>
                </a:lnTo>
                <a:lnTo>
                  <a:pt x="212" y="92"/>
                </a:lnTo>
                <a:lnTo>
                  <a:pt x="204" y="100"/>
                </a:lnTo>
                <a:lnTo>
                  <a:pt x="200" y="104"/>
                </a:lnTo>
                <a:lnTo>
                  <a:pt x="196" y="102"/>
                </a:lnTo>
                <a:lnTo>
                  <a:pt x="188" y="96"/>
                </a:lnTo>
                <a:lnTo>
                  <a:pt x="176" y="90"/>
                </a:lnTo>
                <a:lnTo>
                  <a:pt x="174" y="88"/>
                </a:lnTo>
                <a:lnTo>
                  <a:pt x="172" y="88"/>
                </a:lnTo>
                <a:lnTo>
                  <a:pt x="172" y="86"/>
                </a:lnTo>
                <a:lnTo>
                  <a:pt x="172" y="70"/>
                </a:lnTo>
                <a:lnTo>
                  <a:pt x="168" y="58"/>
                </a:lnTo>
                <a:lnTo>
                  <a:pt x="162" y="42"/>
                </a:lnTo>
                <a:lnTo>
                  <a:pt x="156" y="42"/>
                </a:lnTo>
                <a:lnTo>
                  <a:pt x="156" y="50"/>
                </a:lnTo>
                <a:lnTo>
                  <a:pt x="154" y="58"/>
                </a:lnTo>
                <a:lnTo>
                  <a:pt x="150" y="64"/>
                </a:lnTo>
                <a:lnTo>
                  <a:pt x="144" y="70"/>
                </a:lnTo>
                <a:lnTo>
                  <a:pt x="142" y="78"/>
                </a:lnTo>
                <a:lnTo>
                  <a:pt x="138" y="82"/>
                </a:lnTo>
                <a:lnTo>
                  <a:pt x="134" y="86"/>
                </a:lnTo>
                <a:lnTo>
                  <a:pt x="130" y="86"/>
                </a:lnTo>
                <a:lnTo>
                  <a:pt x="128" y="86"/>
                </a:lnTo>
                <a:lnTo>
                  <a:pt x="124" y="84"/>
                </a:lnTo>
                <a:lnTo>
                  <a:pt x="122" y="84"/>
                </a:lnTo>
                <a:lnTo>
                  <a:pt x="118" y="82"/>
                </a:lnTo>
                <a:lnTo>
                  <a:pt x="118" y="78"/>
                </a:lnTo>
                <a:lnTo>
                  <a:pt x="116" y="66"/>
                </a:lnTo>
                <a:lnTo>
                  <a:pt x="116" y="62"/>
                </a:lnTo>
                <a:lnTo>
                  <a:pt x="106" y="56"/>
                </a:lnTo>
                <a:lnTo>
                  <a:pt x="104" y="54"/>
                </a:lnTo>
                <a:lnTo>
                  <a:pt x="102" y="50"/>
                </a:lnTo>
                <a:lnTo>
                  <a:pt x="100" y="42"/>
                </a:lnTo>
                <a:lnTo>
                  <a:pt x="104" y="6"/>
                </a:lnTo>
                <a:lnTo>
                  <a:pt x="102" y="0"/>
                </a:lnTo>
                <a:lnTo>
                  <a:pt x="88" y="14"/>
                </a:lnTo>
                <a:lnTo>
                  <a:pt x="80" y="20"/>
                </a:lnTo>
                <a:lnTo>
                  <a:pt x="78" y="26"/>
                </a:lnTo>
                <a:lnTo>
                  <a:pt x="82" y="36"/>
                </a:lnTo>
                <a:lnTo>
                  <a:pt x="82" y="44"/>
                </a:lnTo>
                <a:lnTo>
                  <a:pt x="82" y="48"/>
                </a:lnTo>
                <a:lnTo>
                  <a:pt x="80" y="54"/>
                </a:lnTo>
                <a:lnTo>
                  <a:pt x="76" y="58"/>
                </a:lnTo>
                <a:lnTo>
                  <a:pt x="72" y="60"/>
                </a:lnTo>
                <a:lnTo>
                  <a:pt x="56" y="66"/>
                </a:lnTo>
                <a:lnTo>
                  <a:pt x="52" y="68"/>
                </a:lnTo>
                <a:lnTo>
                  <a:pt x="52" y="74"/>
                </a:lnTo>
                <a:lnTo>
                  <a:pt x="52" y="96"/>
                </a:lnTo>
                <a:lnTo>
                  <a:pt x="54" y="104"/>
                </a:lnTo>
                <a:lnTo>
                  <a:pt x="54" y="106"/>
                </a:lnTo>
                <a:lnTo>
                  <a:pt x="56" y="108"/>
                </a:lnTo>
                <a:lnTo>
                  <a:pt x="64" y="108"/>
                </a:lnTo>
                <a:lnTo>
                  <a:pt x="68" y="108"/>
                </a:lnTo>
                <a:lnTo>
                  <a:pt x="72" y="106"/>
                </a:lnTo>
                <a:lnTo>
                  <a:pt x="76" y="104"/>
                </a:lnTo>
                <a:lnTo>
                  <a:pt x="92" y="138"/>
                </a:lnTo>
                <a:lnTo>
                  <a:pt x="92" y="140"/>
                </a:lnTo>
                <a:lnTo>
                  <a:pt x="88" y="184"/>
                </a:lnTo>
                <a:lnTo>
                  <a:pt x="82" y="216"/>
                </a:lnTo>
                <a:lnTo>
                  <a:pt x="78" y="238"/>
                </a:lnTo>
                <a:lnTo>
                  <a:pt x="72" y="250"/>
                </a:lnTo>
                <a:lnTo>
                  <a:pt x="68" y="254"/>
                </a:lnTo>
                <a:lnTo>
                  <a:pt x="62" y="256"/>
                </a:lnTo>
                <a:lnTo>
                  <a:pt x="54" y="254"/>
                </a:lnTo>
                <a:lnTo>
                  <a:pt x="48" y="252"/>
                </a:lnTo>
                <a:lnTo>
                  <a:pt x="22" y="298"/>
                </a:lnTo>
                <a:lnTo>
                  <a:pt x="12" y="312"/>
                </a:lnTo>
                <a:lnTo>
                  <a:pt x="6" y="318"/>
                </a:lnTo>
                <a:lnTo>
                  <a:pt x="8" y="318"/>
                </a:lnTo>
                <a:lnTo>
                  <a:pt x="6" y="320"/>
                </a:lnTo>
                <a:lnTo>
                  <a:pt x="4" y="326"/>
                </a:lnTo>
                <a:lnTo>
                  <a:pt x="4" y="348"/>
                </a:lnTo>
                <a:lnTo>
                  <a:pt x="8" y="352"/>
                </a:lnTo>
                <a:lnTo>
                  <a:pt x="10" y="352"/>
                </a:lnTo>
                <a:lnTo>
                  <a:pt x="12" y="354"/>
                </a:lnTo>
                <a:lnTo>
                  <a:pt x="4" y="364"/>
                </a:lnTo>
                <a:close/>
              </a:path>
            </a:pathLst>
          </a:custGeom>
          <a:solidFill>
            <a:srgbClr val="E00024"/>
          </a:solidFill>
          <a:ln>
            <a:noFill/>
          </a:ln>
        </p:spPr>
        <p:txBody>
          <a:bodyPr/>
          <a:lstStyle/>
          <a:p>
            <a:endParaRPr altLang="en-US" lang="zh-CN">
              <a:cs typeface="+mn-ea"/>
              <a:sym typeface="+mn-lt"/>
            </a:endParaRPr>
          </a:p>
        </p:txBody>
      </p:sp>
      <p:sp>
        <p:nvSpPr>
          <p:cNvPr id="13" name="贵州"/>
          <p:cNvSpPr/>
          <p:nvPr/>
        </p:nvSpPr>
        <p:spPr bwMode="auto">
          <a:xfrm>
            <a:off x="3680855" y="4625128"/>
            <a:ext cx="566377" cy="489914"/>
          </a:xfrm>
          <a:custGeom>
            <a:gdLst>
              <a:gd fmla="*/ 2147483646 w 384" name="T0"/>
              <a:gd fmla="*/ 2147483646 h 332" name="T1"/>
              <a:gd fmla="*/ 2147483646 w 384" name="T2"/>
              <a:gd fmla="*/ 2147483646 h 332" name="T3"/>
              <a:gd fmla="*/ 2147483646 w 384" name="T4"/>
              <a:gd fmla="*/ 2147483646 h 332" name="T5"/>
              <a:gd fmla="*/ 2147483646 w 384" name="T6"/>
              <a:gd fmla="*/ 2147483646 h 332" name="T7"/>
              <a:gd fmla="*/ 2147483646 w 384" name="T8"/>
              <a:gd fmla="*/ 2147483646 h 332" name="T9"/>
              <a:gd fmla="*/ 2147483646 w 384" name="T10"/>
              <a:gd fmla="*/ 2147483646 h 332" name="T11"/>
              <a:gd fmla="*/ 2147483646 w 384" name="T12"/>
              <a:gd fmla="*/ 2147483646 h 332" name="T13"/>
              <a:gd fmla="*/ 2147483646 w 384" name="T14"/>
              <a:gd fmla="*/ 2147483646 h 332" name="T15"/>
              <a:gd fmla="*/ 2147483646 w 384" name="T16"/>
              <a:gd fmla="*/ 2147483646 h 332" name="T17"/>
              <a:gd fmla="*/ 2147483646 w 384" name="T18"/>
              <a:gd fmla="*/ 2147483646 h 332" name="T19"/>
              <a:gd fmla="*/ 2147483646 w 384" name="T20"/>
              <a:gd fmla="*/ 2147483646 h 332" name="T21"/>
              <a:gd fmla="*/ 2147483646 w 384" name="T22"/>
              <a:gd fmla="*/ 2147483646 h 332" name="T23"/>
              <a:gd fmla="*/ 2147483646 w 384" name="T24"/>
              <a:gd fmla="*/ 2147483646 h 332" name="T25"/>
              <a:gd fmla="*/ 2147483646 w 384" name="T26"/>
              <a:gd fmla="*/ 2147483646 h 332" name="T27"/>
              <a:gd fmla="*/ 2147483646 w 384" name="T28"/>
              <a:gd fmla="*/ 2147483646 h 332" name="T29"/>
              <a:gd fmla="*/ 2147483646 w 384" name="T30"/>
              <a:gd fmla="*/ 2147483646 h 332" name="T31"/>
              <a:gd fmla="*/ 2147483646 w 384" name="T32"/>
              <a:gd fmla="*/ 2147483646 h 332" name="T33"/>
              <a:gd fmla="*/ 2147483646 w 384" name="T34"/>
              <a:gd fmla="*/ 2147483646 h 332" name="T35"/>
              <a:gd fmla="*/ 2147483646 w 384" name="T36"/>
              <a:gd fmla="*/ 2147483646 h 332" name="T37"/>
              <a:gd fmla="*/ 2147483646 w 384" name="T38"/>
              <a:gd fmla="*/ 2147483646 h 332" name="T39"/>
              <a:gd fmla="*/ 2147483646 w 384" name="T40"/>
              <a:gd fmla="*/ 2147483646 h 332" name="T41"/>
              <a:gd fmla="*/ 0 w 384" name="T42"/>
              <a:gd fmla="*/ 2147483646 h 332" name="T43"/>
              <a:gd fmla="*/ 2147483646 w 384" name="T44"/>
              <a:gd fmla="*/ 2147483646 h 332" name="T45"/>
              <a:gd fmla="*/ 2147483646 w 384" name="T46"/>
              <a:gd fmla="*/ 2147483646 h 332" name="T47"/>
              <a:gd fmla="*/ 2147483646 w 384" name="T48"/>
              <a:gd fmla="*/ 2147483646 h 332" name="T49"/>
              <a:gd fmla="*/ 2147483646 w 384" name="T50"/>
              <a:gd fmla="*/ 2147483646 h 332" name="T51"/>
              <a:gd fmla="*/ 2147483646 w 384" name="T52"/>
              <a:gd fmla="*/ 2147483646 h 332" name="T53"/>
              <a:gd fmla="*/ 2147483646 w 384" name="T54"/>
              <a:gd fmla="*/ 2147483646 h 332" name="T55"/>
              <a:gd fmla="*/ 2147483646 w 384" name="T56"/>
              <a:gd fmla="*/ 2147483646 h 332" name="T57"/>
              <a:gd fmla="*/ 2147483646 w 384" name="T58"/>
              <a:gd fmla="*/ 2147483646 h 332" name="T59"/>
              <a:gd fmla="*/ 2147483646 w 384" name="T60"/>
              <a:gd fmla="*/ 2147483646 h 332" name="T61"/>
              <a:gd fmla="*/ 2147483646 w 384" name="T62"/>
              <a:gd fmla="*/ 2147483646 h 332" name="T63"/>
              <a:gd fmla="*/ 2147483646 w 384" name="T64"/>
              <a:gd fmla="*/ 2147483646 h 332" name="T65"/>
              <a:gd fmla="*/ 2147483646 w 384" name="T66"/>
              <a:gd fmla="*/ 2147483646 h 332" name="T67"/>
              <a:gd fmla="*/ 2147483646 w 384" name="T68"/>
              <a:gd fmla="*/ 2147483646 h 332" name="T69"/>
              <a:gd fmla="*/ 2147483646 w 384" name="T70"/>
              <a:gd fmla="*/ 2147483646 h 332" name="T71"/>
              <a:gd fmla="*/ 2147483646 w 384" name="T72"/>
              <a:gd fmla="*/ 2147483646 h 332" name="T73"/>
              <a:gd fmla="*/ 2147483646 w 384" name="T74"/>
              <a:gd fmla="*/ 2147483646 h 332" name="T75"/>
              <a:gd fmla="*/ 2147483646 w 384" name="T76"/>
              <a:gd fmla="*/ 2147483646 h 332" name="T77"/>
              <a:gd fmla="*/ 2147483646 w 384" name="T78"/>
              <a:gd fmla="*/ 2147483646 h 332" name="T79"/>
              <a:gd fmla="*/ 2147483646 w 384" name="T80"/>
              <a:gd fmla="*/ 2147483646 h 332" name="T81"/>
              <a:gd fmla="*/ 2147483646 w 384" name="T82"/>
              <a:gd fmla="*/ 2147483646 h 332" name="T83"/>
              <a:gd fmla="*/ 2147483646 w 384" name="T84"/>
              <a:gd fmla="*/ 2147483646 h 332" name="T85"/>
              <a:gd fmla="*/ 2147483646 w 384" name="T86"/>
              <a:gd fmla="*/ 2147483646 h 332" name="T87"/>
              <a:gd fmla="*/ 2147483646 w 384" name="T88"/>
              <a:gd fmla="*/ 2147483646 h 332" name="T89"/>
              <a:gd fmla="*/ 2147483646 w 384" name="T90"/>
              <a:gd fmla="*/ 2147483646 h 332" name="T91"/>
              <a:gd fmla="*/ 2147483646 w 384" name="T92"/>
              <a:gd fmla="*/ 2147483646 h 332" name="T93"/>
              <a:gd fmla="*/ 2147483646 w 384" name="T94"/>
              <a:gd fmla="*/ 2147483646 h 332" name="T95"/>
              <a:gd fmla="*/ 2147483646 w 384" name="T96"/>
              <a:gd fmla="*/ 2147483646 h 332" name="T97"/>
              <a:gd fmla="*/ 2147483646 w 384" name="T98"/>
              <a:gd fmla="*/ 2147483646 h 332" name="T99"/>
              <a:gd fmla="*/ 2147483646 w 384" name="T100"/>
              <a:gd fmla="*/ 2147483646 h 332" name="T101"/>
              <a:gd fmla="*/ 2147483646 w 384" name="T102"/>
              <a:gd fmla="*/ 2147483646 h 332" name="T103"/>
              <a:gd fmla="*/ 2147483646 w 384" name="T104"/>
              <a:gd fmla="*/ 2147483646 h 332" name="T105"/>
              <a:gd fmla="*/ 2147483646 w 384" name="T106"/>
              <a:gd fmla="*/ 2147483646 h 332" name="T107"/>
              <a:gd fmla="*/ 2147483646 w 384" name="T108"/>
              <a:gd fmla="*/ 2147483646 h 332" name="T109"/>
              <a:gd fmla="*/ 2147483646 w 384" name="T110"/>
              <a:gd fmla="*/ 2147483646 h 332" name="T111"/>
              <a:gd fmla="*/ 2147483646 w 384" name="T112"/>
              <a:gd fmla="*/ 2147483646 h 332" name="T113"/>
              <a:gd fmla="*/ 2147483646 w 384" name="T114"/>
              <a:gd fmla="*/ 2147483646 h 332" name="T115"/>
              <a:gd fmla="*/ 2147483646 w 384" name="T116"/>
              <a:gd fmla="*/ 2147483646 h 332"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b" l="0" r="r" t="0"/>
            <a:pathLst>
              <a:path h="332" w="384">
                <a:moveTo>
                  <a:pt x="300" y="6"/>
                </a:moveTo>
                <a:lnTo>
                  <a:pt x="296" y="4"/>
                </a:lnTo>
                <a:lnTo>
                  <a:pt x="288" y="8"/>
                </a:lnTo>
                <a:lnTo>
                  <a:pt x="284" y="14"/>
                </a:lnTo>
                <a:lnTo>
                  <a:pt x="280" y="22"/>
                </a:lnTo>
                <a:lnTo>
                  <a:pt x="276" y="24"/>
                </a:lnTo>
                <a:lnTo>
                  <a:pt x="272" y="26"/>
                </a:lnTo>
                <a:lnTo>
                  <a:pt x="268" y="24"/>
                </a:lnTo>
                <a:lnTo>
                  <a:pt x="264" y="20"/>
                </a:lnTo>
                <a:lnTo>
                  <a:pt x="262" y="20"/>
                </a:lnTo>
                <a:lnTo>
                  <a:pt x="260" y="12"/>
                </a:lnTo>
                <a:lnTo>
                  <a:pt x="260" y="10"/>
                </a:lnTo>
                <a:lnTo>
                  <a:pt x="258" y="0"/>
                </a:lnTo>
                <a:lnTo>
                  <a:pt x="254" y="0"/>
                </a:lnTo>
                <a:lnTo>
                  <a:pt x="252" y="0"/>
                </a:lnTo>
                <a:lnTo>
                  <a:pt x="250" y="8"/>
                </a:lnTo>
                <a:lnTo>
                  <a:pt x="250" y="20"/>
                </a:lnTo>
                <a:lnTo>
                  <a:pt x="248" y="20"/>
                </a:lnTo>
                <a:lnTo>
                  <a:pt x="240" y="34"/>
                </a:lnTo>
                <a:lnTo>
                  <a:pt x="238" y="36"/>
                </a:lnTo>
                <a:lnTo>
                  <a:pt x="236" y="36"/>
                </a:lnTo>
                <a:lnTo>
                  <a:pt x="216" y="34"/>
                </a:lnTo>
                <a:lnTo>
                  <a:pt x="216" y="36"/>
                </a:lnTo>
                <a:lnTo>
                  <a:pt x="208" y="44"/>
                </a:lnTo>
                <a:lnTo>
                  <a:pt x="212" y="50"/>
                </a:lnTo>
                <a:lnTo>
                  <a:pt x="206" y="58"/>
                </a:lnTo>
                <a:lnTo>
                  <a:pt x="188" y="58"/>
                </a:lnTo>
                <a:lnTo>
                  <a:pt x="188" y="56"/>
                </a:lnTo>
                <a:lnTo>
                  <a:pt x="188" y="54"/>
                </a:lnTo>
                <a:lnTo>
                  <a:pt x="184" y="52"/>
                </a:lnTo>
                <a:lnTo>
                  <a:pt x="182" y="58"/>
                </a:lnTo>
                <a:lnTo>
                  <a:pt x="180" y="60"/>
                </a:lnTo>
                <a:lnTo>
                  <a:pt x="168" y="60"/>
                </a:lnTo>
                <a:lnTo>
                  <a:pt x="160" y="54"/>
                </a:lnTo>
                <a:lnTo>
                  <a:pt x="160" y="52"/>
                </a:lnTo>
                <a:lnTo>
                  <a:pt x="160" y="50"/>
                </a:lnTo>
                <a:lnTo>
                  <a:pt x="146" y="48"/>
                </a:lnTo>
                <a:lnTo>
                  <a:pt x="136" y="52"/>
                </a:lnTo>
                <a:lnTo>
                  <a:pt x="132" y="56"/>
                </a:lnTo>
                <a:lnTo>
                  <a:pt x="148" y="74"/>
                </a:lnTo>
                <a:lnTo>
                  <a:pt x="168" y="80"/>
                </a:lnTo>
                <a:lnTo>
                  <a:pt x="170" y="82"/>
                </a:lnTo>
                <a:lnTo>
                  <a:pt x="180" y="92"/>
                </a:lnTo>
                <a:lnTo>
                  <a:pt x="176" y="108"/>
                </a:lnTo>
                <a:lnTo>
                  <a:pt x="176" y="110"/>
                </a:lnTo>
                <a:lnTo>
                  <a:pt x="162" y="120"/>
                </a:lnTo>
                <a:lnTo>
                  <a:pt x="162" y="122"/>
                </a:lnTo>
                <a:lnTo>
                  <a:pt x="160" y="122"/>
                </a:lnTo>
                <a:lnTo>
                  <a:pt x="138" y="128"/>
                </a:lnTo>
                <a:lnTo>
                  <a:pt x="124" y="130"/>
                </a:lnTo>
                <a:lnTo>
                  <a:pt x="114" y="126"/>
                </a:lnTo>
                <a:lnTo>
                  <a:pt x="110" y="126"/>
                </a:lnTo>
                <a:lnTo>
                  <a:pt x="104" y="134"/>
                </a:lnTo>
                <a:lnTo>
                  <a:pt x="94" y="142"/>
                </a:lnTo>
                <a:lnTo>
                  <a:pt x="92" y="142"/>
                </a:lnTo>
                <a:lnTo>
                  <a:pt x="78" y="148"/>
                </a:lnTo>
                <a:lnTo>
                  <a:pt x="60" y="142"/>
                </a:lnTo>
                <a:lnTo>
                  <a:pt x="24" y="144"/>
                </a:lnTo>
                <a:lnTo>
                  <a:pt x="16" y="146"/>
                </a:lnTo>
                <a:lnTo>
                  <a:pt x="16" y="148"/>
                </a:lnTo>
                <a:lnTo>
                  <a:pt x="8" y="148"/>
                </a:lnTo>
                <a:lnTo>
                  <a:pt x="0" y="160"/>
                </a:lnTo>
                <a:lnTo>
                  <a:pt x="0" y="172"/>
                </a:lnTo>
                <a:lnTo>
                  <a:pt x="8" y="192"/>
                </a:lnTo>
                <a:lnTo>
                  <a:pt x="18" y="196"/>
                </a:lnTo>
                <a:lnTo>
                  <a:pt x="22" y="200"/>
                </a:lnTo>
                <a:lnTo>
                  <a:pt x="28" y="192"/>
                </a:lnTo>
                <a:lnTo>
                  <a:pt x="28" y="190"/>
                </a:lnTo>
                <a:lnTo>
                  <a:pt x="30" y="190"/>
                </a:lnTo>
                <a:lnTo>
                  <a:pt x="42" y="188"/>
                </a:lnTo>
                <a:lnTo>
                  <a:pt x="44" y="188"/>
                </a:lnTo>
                <a:lnTo>
                  <a:pt x="56" y="192"/>
                </a:lnTo>
                <a:lnTo>
                  <a:pt x="68" y="220"/>
                </a:lnTo>
                <a:lnTo>
                  <a:pt x="66" y="220"/>
                </a:lnTo>
                <a:lnTo>
                  <a:pt x="62" y="236"/>
                </a:lnTo>
                <a:lnTo>
                  <a:pt x="58" y="244"/>
                </a:lnTo>
                <a:lnTo>
                  <a:pt x="58" y="246"/>
                </a:lnTo>
                <a:lnTo>
                  <a:pt x="52" y="260"/>
                </a:lnTo>
                <a:lnTo>
                  <a:pt x="52" y="276"/>
                </a:lnTo>
                <a:lnTo>
                  <a:pt x="62" y="286"/>
                </a:lnTo>
                <a:lnTo>
                  <a:pt x="76" y="296"/>
                </a:lnTo>
                <a:lnTo>
                  <a:pt x="76" y="298"/>
                </a:lnTo>
                <a:lnTo>
                  <a:pt x="78" y="298"/>
                </a:lnTo>
                <a:lnTo>
                  <a:pt x="68" y="320"/>
                </a:lnTo>
                <a:lnTo>
                  <a:pt x="66" y="332"/>
                </a:lnTo>
                <a:lnTo>
                  <a:pt x="68" y="330"/>
                </a:lnTo>
                <a:lnTo>
                  <a:pt x="70" y="330"/>
                </a:lnTo>
                <a:lnTo>
                  <a:pt x="78" y="326"/>
                </a:lnTo>
                <a:lnTo>
                  <a:pt x="92" y="318"/>
                </a:lnTo>
                <a:lnTo>
                  <a:pt x="108" y="320"/>
                </a:lnTo>
                <a:lnTo>
                  <a:pt x="110" y="320"/>
                </a:lnTo>
                <a:lnTo>
                  <a:pt x="134" y="330"/>
                </a:lnTo>
                <a:lnTo>
                  <a:pt x="160" y="330"/>
                </a:lnTo>
                <a:lnTo>
                  <a:pt x="168" y="320"/>
                </a:lnTo>
                <a:lnTo>
                  <a:pt x="182" y="312"/>
                </a:lnTo>
                <a:lnTo>
                  <a:pt x="196" y="302"/>
                </a:lnTo>
                <a:lnTo>
                  <a:pt x="196" y="300"/>
                </a:lnTo>
                <a:lnTo>
                  <a:pt x="206" y="298"/>
                </a:lnTo>
                <a:lnTo>
                  <a:pt x="216" y="290"/>
                </a:lnTo>
                <a:lnTo>
                  <a:pt x="228" y="274"/>
                </a:lnTo>
                <a:lnTo>
                  <a:pt x="246" y="280"/>
                </a:lnTo>
                <a:lnTo>
                  <a:pt x="248" y="280"/>
                </a:lnTo>
                <a:lnTo>
                  <a:pt x="248" y="282"/>
                </a:lnTo>
                <a:lnTo>
                  <a:pt x="252" y="290"/>
                </a:lnTo>
                <a:lnTo>
                  <a:pt x="256" y="292"/>
                </a:lnTo>
                <a:lnTo>
                  <a:pt x="266" y="292"/>
                </a:lnTo>
                <a:lnTo>
                  <a:pt x="268" y="292"/>
                </a:lnTo>
                <a:lnTo>
                  <a:pt x="274" y="292"/>
                </a:lnTo>
                <a:lnTo>
                  <a:pt x="276" y="292"/>
                </a:lnTo>
                <a:lnTo>
                  <a:pt x="276" y="294"/>
                </a:lnTo>
                <a:lnTo>
                  <a:pt x="288" y="298"/>
                </a:lnTo>
                <a:lnTo>
                  <a:pt x="292" y="298"/>
                </a:lnTo>
                <a:lnTo>
                  <a:pt x="294" y="296"/>
                </a:lnTo>
                <a:lnTo>
                  <a:pt x="296" y="290"/>
                </a:lnTo>
                <a:lnTo>
                  <a:pt x="296" y="288"/>
                </a:lnTo>
                <a:lnTo>
                  <a:pt x="302" y="284"/>
                </a:lnTo>
                <a:lnTo>
                  <a:pt x="312" y="276"/>
                </a:lnTo>
                <a:lnTo>
                  <a:pt x="314" y="276"/>
                </a:lnTo>
                <a:lnTo>
                  <a:pt x="322" y="276"/>
                </a:lnTo>
                <a:lnTo>
                  <a:pt x="324" y="268"/>
                </a:lnTo>
                <a:lnTo>
                  <a:pt x="330" y="262"/>
                </a:lnTo>
                <a:lnTo>
                  <a:pt x="336" y="258"/>
                </a:lnTo>
                <a:lnTo>
                  <a:pt x="342" y="256"/>
                </a:lnTo>
                <a:lnTo>
                  <a:pt x="346" y="252"/>
                </a:lnTo>
                <a:lnTo>
                  <a:pt x="348" y="252"/>
                </a:lnTo>
                <a:lnTo>
                  <a:pt x="352" y="248"/>
                </a:lnTo>
                <a:lnTo>
                  <a:pt x="352" y="246"/>
                </a:lnTo>
                <a:lnTo>
                  <a:pt x="354" y="246"/>
                </a:lnTo>
                <a:lnTo>
                  <a:pt x="366" y="244"/>
                </a:lnTo>
                <a:lnTo>
                  <a:pt x="374" y="244"/>
                </a:lnTo>
                <a:lnTo>
                  <a:pt x="376" y="240"/>
                </a:lnTo>
                <a:lnTo>
                  <a:pt x="380" y="236"/>
                </a:lnTo>
                <a:lnTo>
                  <a:pt x="384" y="228"/>
                </a:lnTo>
                <a:lnTo>
                  <a:pt x="382" y="228"/>
                </a:lnTo>
                <a:lnTo>
                  <a:pt x="376" y="218"/>
                </a:lnTo>
                <a:lnTo>
                  <a:pt x="372" y="206"/>
                </a:lnTo>
                <a:lnTo>
                  <a:pt x="372" y="204"/>
                </a:lnTo>
                <a:lnTo>
                  <a:pt x="376" y="188"/>
                </a:lnTo>
                <a:lnTo>
                  <a:pt x="376" y="180"/>
                </a:lnTo>
                <a:lnTo>
                  <a:pt x="380" y="174"/>
                </a:lnTo>
                <a:lnTo>
                  <a:pt x="380" y="160"/>
                </a:lnTo>
                <a:lnTo>
                  <a:pt x="378" y="158"/>
                </a:lnTo>
                <a:lnTo>
                  <a:pt x="372" y="156"/>
                </a:lnTo>
                <a:lnTo>
                  <a:pt x="348" y="166"/>
                </a:lnTo>
                <a:lnTo>
                  <a:pt x="348" y="140"/>
                </a:lnTo>
                <a:lnTo>
                  <a:pt x="350" y="136"/>
                </a:lnTo>
                <a:lnTo>
                  <a:pt x="356" y="132"/>
                </a:lnTo>
                <a:lnTo>
                  <a:pt x="372" y="120"/>
                </a:lnTo>
                <a:lnTo>
                  <a:pt x="366" y="92"/>
                </a:lnTo>
                <a:lnTo>
                  <a:pt x="366" y="84"/>
                </a:lnTo>
                <a:lnTo>
                  <a:pt x="366" y="78"/>
                </a:lnTo>
                <a:lnTo>
                  <a:pt x="368" y="74"/>
                </a:lnTo>
                <a:lnTo>
                  <a:pt x="372" y="68"/>
                </a:lnTo>
                <a:lnTo>
                  <a:pt x="372" y="64"/>
                </a:lnTo>
                <a:lnTo>
                  <a:pt x="364" y="64"/>
                </a:lnTo>
                <a:lnTo>
                  <a:pt x="360" y="64"/>
                </a:lnTo>
                <a:lnTo>
                  <a:pt x="356" y="76"/>
                </a:lnTo>
                <a:lnTo>
                  <a:pt x="352" y="80"/>
                </a:lnTo>
                <a:lnTo>
                  <a:pt x="348" y="82"/>
                </a:lnTo>
                <a:lnTo>
                  <a:pt x="346" y="82"/>
                </a:lnTo>
                <a:lnTo>
                  <a:pt x="338" y="76"/>
                </a:lnTo>
                <a:lnTo>
                  <a:pt x="336" y="76"/>
                </a:lnTo>
                <a:lnTo>
                  <a:pt x="336" y="74"/>
                </a:lnTo>
                <a:lnTo>
                  <a:pt x="334" y="68"/>
                </a:lnTo>
                <a:lnTo>
                  <a:pt x="332" y="60"/>
                </a:lnTo>
                <a:lnTo>
                  <a:pt x="332" y="64"/>
                </a:lnTo>
                <a:lnTo>
                  <a:pt x="316" y="64"/>
                </a:lnTo>
                <a:lnTo>
                  <a:pt x="316" y="60"/>
                </a:lnTo>
                <a:lnTo>
                  <a:pt x="312" y="52"/>
                </a:lnTo>
                <a:lnTo>
                  <a:pt x="312" y="40"/>
                </a:lnTo>
                <a:lnTo>
                  <a:pt x="304" y="24"/>
                </a:lnTo>
                <a:lnTo>
                  <a:pt x="304" y="12"/>
                </a:lnTo>
                <a:lnTo>
                  <a:pt x="300" y="6"/>
                </a:lnTo>
                <a:close/>
              </a:path>
            </a:pathLst>
          </a:custGeom>
          <a:solidFill>
            <a:srgbClr val="BFBFBF"/>
          </a:solidFill>
          <a:ln>
            <a:noFill/>
          </a:ln>
        </p:spPr>
        <p:txBody>
          <a:bodyPr/>
          <a:lstStyle/>
          <a:p>
            <a:endParaRPr altLang="en-US" lang="zh-CN">
              <a:cs typeface="+mn-ea"/>
              <a:sym typeface="+mn-lt"/>
            </a:endParaRPr>
          </a:p>
        </p:txBody>
      </p:sp>
      <p:sp>
        <p:nvSpPr>
          <p:cNvPr id="14" name="广西"/>
          <p:cNvSpPr/>
          <p:nvPr/>
        </p:nvSpPr>
        <p:spPr bwMode="auto">
          <a:xfrm>
            <a:off x="3772301" y="4926160"/>
            <a:ext cx="740421" cy="563696"/>
          </a:xfrm>
          <a:custGeom>
            <a:gdLst>
              <a:gd fmla="*/ 2147483646 w 502" name="T0"/>
              <a:gd fmla="*/ 2147483646 h 382" name="T1"/>
              <a:gd fmla="*/ 2147483646 w 502" name="T2"/>
              <a:gd fmla="*/ 2147483646 h 382" name="T3"/>
              <a:gd fmla="*/ 2147483646 w 502" name="T4"/>
              <a:gd fmla="*/ 2147483646 h 382" name="T5"/>
              <a:gd fmla="*/ 2147483646 w 502" name="T6"/>
              <a:gd fmla="*/ 2147483646 h 382" name="T7"/>
              <a:gd fmla="*/ 2147483646 w 502" name="T8"/>
              <a:gd fmla="*/ 2147483646 h 382" name="T9"/>
              <a:gd fmla="*/ 2147483646 w 502" name="T10"/>
              <a:gd fmla="*/ 2147483646 h 382" name="T11"/>
              <a:gd fmla="*/ 2147483646 w 502" name="T12"/>
              <a:gd fmla="*/ 2147483646 h 382" name="T13"/>
              <a:gd fmla="*/ 2147483646 w 502" name="T14"/>
              <a:gd fmla="*/ 2147483646 h 382" name="T15"/>
              <a:gd fmla="*/ 2147483646 w 502" name="T16"/>
              <a:gd fmla="*/ 2147483646 h 382" name="T17"/>
              <a:gd fmla="*/ 2147483646 w 502" name="T18"/>
              <a:gd fmla="*/ 2147483646 h 382" name="T19"/>
              <a:gd fmla="*/ 2147483646 w 502" name="T20"/>
              <a:gd fmla="*/ 2147483646 h 382" name="T21"/>
              <a:gd fmla="*/ 2147483646 w 502" name="T22"/>
              <a:gd fmla="*/ 2147483646 h 382" name="T23"/>
              <a:gd fmla="*/ 2147483646 w 502" name="T24"/>
              <a:gd fmla="*/ 2147483646 h 382" name="T25"/>
              <a:gd fmla="*/ 2147483646 w 502" name="T26"/>
              <a:gd fmla="*/ 2147483646 h 382" name="T27"/>
              <a:gd fmla="*/ 2147483646 w 502" name="T28"/>
              <a:gd fmla="*/ 2147483646 h 382" name="T29"/>
              <a:gd fmla="*/ 2147483646 w 502" name="T30"/>
              <a:gd fmla="*/ 2147483646 h 382" name="T31"/>
              <a:gd fmla="*/ 2147483646 w 502" name="T32"/>
              <a:gd fmla="*/ 2147483646 h 382" name="T33"/>
              <a:gd fmla="*/ 2147483646 w 502" name="T34"/>
              <a:gd fmla="*/ 2147483646 h 382" name="T35"/>
              <a:gd fmla="*/ 2147483646 w 502" name="T36"/>
              <a:gd fmla="*/ 2147483646 h 382" name="T37"/>
              <a:gd fmla="*/ 2147483646 w 502" name="T38"/>
              <a:gd fmla="*/ 2147483646 h 382" name="T39"/>
              <a:gd fmla="*/ 2147483646 w 502" name="T40"/>
              <a:gd fmla="*/ 2147483646 h 382" name="T41"/>
              <a:gd fmla="*/ 2147483646 w 502" name="T42"/>
              <a:gd fmla="*/ 2147483646 h 382" name="T43"/>
              <a:gd fmla="*/ 2147483646 w 502" name="T44"/>
              <a:gd fmla="*/ 2147483646 h 382" name="T45"/>
              <a:gd fmla="*/ 2147483646 w 502" name="T46"/>
              <a:gd fmla="*/ 2147483646 h 382" name="T47"/>
              <a:gd fmla="*/ 2147483646 w 502" name="T48"/>
              <a:gd fmla="*/ 2147483646 h 382" name="T49"/>
              <a:gd fmla="*/ 2147483646 w 502" name="T50"/>
              <a:gd fmla="*/ 2147483646 h 382" name="T51"/>
              <a:gd fmla="*/ 2147483646 w 502" name="T52"/>
              <a:gd fmla="*/ 2147483646 h 382" name="T53"/>
              <a:gd fmla="*/ 2147483646 w 502" name="T54"/>
              <a:gd fmla="*/ 2147483646 h 382" name="T55"/>
              <a:gd fmla="*/ 2147483646 w 502" name="T56"/>
              <a:gd fmla="*/ 2147483646 h 382" name="T57"/>
              <a:gd fmla="*/ 2147483646 w 502" name="T58"/>
              <a:gd fmla="*/ 2147483646 h 382" name="T59"/>
              <a:gd fmla="*/ 2147483646 w 502" name="T60"/>
              <a:gd fmla="*/ 2147483646 h 382" name="T61"/>
              <a:gd fmla="*/ 2147483646 w 502" name="T62"/>
              <a:gd fmla="*/ 2147483646 h 382" name="T63"/>
              <a:gd fmla="*/ 2147483646 w 502" name="T64"/>
              <a:gd fmla="*/ 2147483646 h 382" name="T65"/>
              <a:gd fmla="*/ 2147483646 w 502" name="T66"/>
              <a:gd fmla="*/ 2147483646 h 382" name="T67"/>
              <a:gd fmla="*/ 2147483646 w 502" name="T68"/>
              <a:gd fmla="*/ 2147483646 h 382" name="T69"/>
              <a:gd fmla="*/ 2147483646 w 502" name="T70"/>
              <a:gd fmla="*/ 2147483646 h 382" name="T71"/>
              <a:gd fmla="*/ 2147483646 w 502" name="T72"/>
              <a:gd fmla="*/ 2147483646 h 382" name="T73"/>
              <a:gd fmla="*/ 2147483646 w 502" name="T74"/>
              <a:gd fmla="*/ 2147483646 h 382" name="T75"/>
              <a:gd fmla="*/ 2147483646 w 502" name="T76"/>
              <a:gd fmla="*/ 2147483646 h 382" name="T77"/>
              <a:gd fmla="*/ 2147483646 w 502" name="T78"/>
              <a:gd fmla="*/ 2147483646 h 382" name="T79"/>
              <a:gd fmla="*/ 2147483646 w 502" name="T80"/>
              <a:gd fmla="*/ 2147483646 h 382" name="T81"/>
              <a:gd fmla="*/ 2147483646 w 502" name="T82"/>
              <a:gd fmla="*/ 2147483646 h 382" name="T83"/>
              <a:gd fmla="*/ 2147483646 w 502" name="T84"/>
              <a:gd fmla="*/ 2147483646 h 382" name="T85"/>
              <a:gd fmla="*/ 2147483646 w 502" name="T86"/>
              <a:gd fmla="*/ 2147483646 h 382" name="T87"/>
              <a:gd fmla="*/ 2147483646 w 502" name="T88"/>
              <a:gd fmla="*/ 2147483646 h 382" name="T89"/>
              <a:gd fmla="*/ 2147483646 w 502" name="T90"/>
              <a:gd fmla="*/ 2147483646 h 382" name="T91"/>
              <a:gd fmla="*/ 2147483646 w 502" name="T92"/>
              <a:gd fmla="*/ 2147483646 h 382" name="T93"/>
              <a:gd fmla="*/ 2147483646 w 502" name="T94"/>
              <a:gd fmla="*/ 2147483646 h 382" name="T95"/>
              <a:gd fmla="*/ 2147483646 w 502" name="T96"/>
              <a:gd fmla="*/ 2147483646 h 382" name="T97"/>
              <a:gd fmla="*/ 2147483646 w 502" name="T98"/>
              <a:gd fmla="*/ 2147483646 h 382" name="T99"/>
              <a:gd fmla="*/ 2147483646 w 502" name="T100"/>
              <a:gd fmla="*/ 2147483646 h 382" name="T101"/>
              <a:gd fmla="*/ 2147483646 w 502" name="T102"/>
              <a:gd fmla="*/ 2147483646 h 382" name="T103"/>
              <a:gd fmla="*/ 2147483646 w 502" name="T104"/>
              <a:gd fmla="*/ 2147483646 h 382" name="T105"/>
              <a:gd fmla="*/ 2147483646 w 502" name="T106"/>
              <a:gd fmla="*/ 2147483646 h 382" name="T107"/>
              <a:gd fmla="*/ 2147483646 w 502" name="T108"/>
              <a:gd fmla="*/ 2147483646 h 382" name="T109"/>
              <a:gd fmla="*/ 2147483646 w 502" name="T110"/>
              <a:gd fmla="*/ 2147483646 h 382"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b="b" l="0" r="r" t="0"/>
            <a:pathLst>
              <a:path h="382" w="502">
                <a:moveTo>
                  <a:pt x="402" y="8"/>
                </a:moveTo>
                <a:lnTo>
                  <a:pt x="402" y="10"/>
                </a:lnTo>
                <a:lnTo>
                  <a:pt x="404" y="12"/>
                </a:lnTo>
                <a:lnTo>
                  <a:pt x="394" y="28"/>
                </a:lnTo>
                <a:lnTo>
                  <a:pt x="386" y="34"/>
                </a:lnTo>
                <a:lnTo>
                  <a:pt x="378" y="36"/>
                </a:lnTo>
                <a:lnTo>
                  <a:pt x="376" y="36"/>
                </a:lnTo>
                <a:lnTo>
                  <a:pt x="368" y="30"/>
                </a:lnTo>
                <a:lnTo>
                  <a:pt x="360" y="32"/>
                </a:lnTo>
                <a:lnTo>
                  <a:pt x="344" y="44"/>
                </a:lnTo>
                <a:lnTo>
                  <a:pt x="340" y="44"/>
                </a:lnTo>
                <a:lnTo>
                  <a:pt x="336" y="42"/>
                </a:lnTo>
                <a:lnTo>
                  <a:pt x="328" y="32"/>
                </a:lnTo>
                <a:lnTo>
                  <a:pt x="322" y="42"/>
                </a:lnTo>
                <a:lnTo>
                  <a:pt x="316" y="48"/>
                </a:lnTo>
                <a:lnTo>
                  <a:pt x="306" y="48"/>
                </a:lnTo>
                <a:lnTo>
                  <a:pt x="294" y="52"/>
                </a:lnTo>
                <a:lnTo>
                  <a:pt x="282" y="60"/>
                </a:lnTo>
                <a:lnTo>
                  <a:pt x="278" y="60"/>
                </a:lnTo>
                <a:lnTo>
                  <a:pt x="274" y="64"/>
                </a:lnTo>
                <a:lnTo>
                  <a:pt x="270" y="70"/>
                </a:lnTo>
                <a:lnTo>
                  <a:pt x="270" y="72"/>
                </a:lnTo>
                <a:lnTo>
                  <a:pt x="270" y="74"/>
                </a:lnTo>
                <a:lnTo>
                  <a:pt x="276" y="82"/>
                </a:lnTo>
                <a:lnTo>
                  <a:pt x="254" y="80"/>
                </a:lnTo>
                <a:lnTo>
                  <a:pt x="242" y="90"/>
                </a:lnTo>
                <a:lnTo>
                  <a:pt x="240" y="94"/>
                </a:lnTo>
                <a:lnTo>
                  <a:pt x="238" y="100"/>
                </a:lnTo>
                <a:lnTo>
                  <a:pt x="236" y="102"/>
                </a:lnTo>
                <a:lnTo>
                  <a:pt x="224" y="102"/>
                </a:lnTo>
                <a:lnTo>
                  <a:pt x="210" y="96"/>
                </a:lnTo>
                <a:lnTo>
                  <a:pt x="206" y="96"/>
                </a:lnTo>
                <a:lnTo>
                  <a:pt x="194" y="98"/>
                </a:lnTo>
                <a:lnTo>
                  <a:pt x="190" y="96"/>
                </a:lnTo>
                <a:lnTo>
                  <a:pt x="186" y="94"/>
                </a:lnTo>
                <a:lnTo>
                  <a:pt x="178" y="84"/>
                </a:lnTo>
                <a:lnTo>
                  <a:pt x="170" y="80"/>
                </a:lnTo>
                <a:lnTo>
                  <a:pt x="162" y="92"/>
                </a:lnTo>
                <a:lnTo>
                  <a:pt x="160" y="92"/>
                </a:lnTo>
                <a:lnTo>
                  <a:pt x="150" y="100"/>
                </a:lnTo>
                <a:lnTo>
                  <a:pt x="148" y="100"/>
                </a:lnTo>
                <a:lnTo>
                  <a:pt x="148" y="102"/>
                </a:lnTo>
                <a:lnTo>
                  <a:pt x="146" y="102"/>
                </a:lnTo>
                <a:lnTo>
                  <a:pt x="138" y="104"/>
                </a:lnTo>
                <a:lnTo>
                  <a:pt x="126" y="116"/>
                </a:lnTo>
                <a:lnTo>
                  <a:pt x="112" y="122"/>
                </a:lnTo>
                <a:lnTo>
                  <a:pt x="102" y="134"/>
                </a:lnTo>
                <a:lnTo>
                  <a:pt x="70" y="134"/>
                </a:lnTo>
                <a:lnTo>
                  <a:pt x="46" y="124"/>
                </a:lnTo>
                <a:lnTo>
                  <a:pt x="32" y="124"/>
                </a:lnTo>
                <a:lnTo>
                  <a:pt x="20" y="130"/>
                </a:lnTo>
                <a:lnTo>
                  <a:pt x="18" y="130"/>
                </a:lnTo>
                <a:lnTo>
                  <a:pt x="10" y="132"/>
                </a:lnTo>
                <a:lnTo>
                  <a:pt x="2" y="138"/>
                </a:lnTo>
                <a:lnTo>
                  <a:pt x="0" y="142"/>
                </a:lnTo>
                <a:lnTo>
                  <a:pt x="0" y="152"/>
                </a:lnTo>
                <a:lnTo>
                  <a:pt x="4" y="158"/>
                </a:lnTo>
                <a:lnTo>
                  <a:pt x="22" y="152"/>
                </a:lnTo>
                <a:lnTo>
                  <a:pt x="30" y="154"/>
                </a:lnTo>
                <a:lnTo>
                  <a:pt x="40" y="158"/>
                </a:lnTo>
                <a:lnTo>
                  <a:pt x="42" y="158"/>
                </a:lnTo>
                <a:lnTo>
                  <a:pt x="42" y="160"/>
                </a:lnTo>
                <a:lnTo>
                  <a:pt x="42" y="186"/>
                </a:lnTo>
                <a:lnTo>
                  <a:pt x="46" y="188"/>
                </a:lnTo>
                <a:lnTo>
                  <a:pt x="64" y="188"/>
                </a:lnTo>
                <a:lnTo>
                  <a:pt x="74" y="184"/>
                </a:lnTo>
                <a:lnTo>
                  <a:pt x="76" y="184"/>
                </a:lnTo>
                <a:lnTo>
                  <a:pt x="86" y="180"/>
                </a:lnTo>
                <a:lnTo>
                  <a:pt x="94" y="176"/>
                </a:lnTo>
                <a:lnTo>
                  <a:pt x="98" y="176"/>
                </a:lnTo>
                <a:lnTo>
                  <a:pt x="100" y="178"/>
                </a:lnTo>
                <a:lnTo>
                  <a:pt x="104" y="188"/>
                </a:lnTo>
                <a:lnTo>
                  <a:pt x="106" y="216"/>
                </a:lnTo>
                <a:lnTo>
                  <a:pt x="106" y="218"/>
                </a:lnTo>
                <a:lnTo>
                  <a:pt x="92" y="232"/>
                </a:lnTo>
                <a:lnTo>
                  <a:pt x="92" y="234"/>
                </a:lnTo>
                <a:lnTo>
                  <a:pt x="74" y="242"/>
                </a:lnTo>
                <a:lnTo>
                  <a:pt x="70" y="248"/>
                </a:lnTo>
                <a:lnTo>
                  <a:pt x="72" y="252"/>
                </a:lnTo>
                <a:lnTo>
                  <a:pt x="106" y="256"/>
                </a:lnTo>
                <a:lnTo>
                  <a:pt x="108" y="258"/>
                </a:lnTo>
                <a:lnTo>
                  <a:pt x="122" y="266"/>
                </a:lnTo>
                <a:lnTo>
                  <a:pt x="152" y="264"/>
                </a:lnTo>
                <a:lnTo>
                  <a:pt x="152" y="268"/>
                </a:lnTo>
                <a:lnTo>
                  <a:pt x="154" y="284"/>
                </a:lnTo>
                <a:lnTo>
                  <a:pt x="154" y="286"/>
                </a:lnTo>
                <a:lnTo>
                  <a:pt x="140" y="300"/>
                </a:lnTo>
                <a:lnTo>
                  <a:pt x="140" y="312"/>
                </a:lnTo>
                <a:lnTo>
                  <a:pt x="142" y="320"/>
                </a:lnTo>
                <a:lnTo>
                  <a:pt x="144" y="326"/>
                </a:lnTo>
                <a:lnTo>
                  <a:pt x="150" y="330"/>
                </a:lnTo>
                <a:lnTo>
                  <a:pt x="174" y="344"/>
                </a:lnTo>
                <a:lnTo>
                  <a:pt x="194" y="356"/>
                </a:lnTo>
                <a:lnTo>
                  <a:pt x="212" y="348"/>
                </a:lnTo>
                <a:lnTo>
                  <a:pt x="214" y="348"/>
                </a:lnTo>
                <a:lnTo>
                  <a:pt x="216" y="348"/>
                </a:lnTo>
                <a:lnTo>
                  <a:pt x="242" y="368"/>
                </a:lnTo>
                <a:lnTo>
                  <a:pt x="246" y="368"/>
                </a:lnTo>
                <a:lnTo>
                  <a:pt x="252" y="360"/>
                </a:lnTo>
                <a:lnTo>
                  <a:pt x="254" y="360"/>
                </a:lnTo>
                <a:lnTo>
                  <a:pt x="254" y="358"/>
                </a:lnTo>
                <a:lnTo>
                  <a:pt x="256" y="358"/>
                </a:lnTo>
                <a:lnTo>
                  <a:pt x="270" y="360"/>
                </a:lnTo>
                <a:lnTo>
                  <a:pt x="274" y="334"/>
                </a:lnTo>
                <a:lnTo>
                  <a:pt x="294" y="368"/>
                </a:lnTo>
                <a:lnTo>
                  <a:pt x="310" y="370"/>
                </a:lnTo>
                <a:lnTo>
                  <a:pt x="312" y="370"/>
                </a:lnTo>
                <a:lnTo>
                  <a:pt x="314" y="370"/>
                </a:lnTo>
                <a:lnTo>
                  <a:pt x="314" y="372"/>
                </a:lnTo>
                <a:lnTo>
                  <a:pt x="314" y="382"/>
                </a:lnTo>
                <a:lnTo>
                  <a:pt x="320" y="380"/>
                </a:lnTo>
                <a:lnTo>
                  <a:pt x="346" y="346"/>
                </a:lnTo>
                <a:lnTo>
                  <a:pt x="358" y="362"/>
                </a:lnTo>
                <a:lnTo>
                  <a:pt x="358" y="356"/>
                </a:lnTo>
                <a:lnTo>
                  <a:pt x="366" y="340"/>
                </a:lnTo>
                <a:lnTo>
                  <a:pt x="372" y="328"/>
                </a:lnTo>
                <a:lnTo>
                  <a:pt x="392" y="328"/>
                </a:lnTo>
                <a:lnTo>
                  <a:pt x="396" y="304"/>
                </a:lnTo>
                <a:lnTo>
                  <a:pt x="398" y="304"/>
                </a:lnTo>
                <a:lnTo>
                  <a:pt x="400" y="306"/>
                </a:lnTo>
                <a:lnTo>
                  <a:pt x="414" y="308"/>
                </a:lnTo>
                <a:lnTo>
                  <a:pt x="416" y="300"/>
                </a:lnTo>
                <a:lnTo>
                  <a:pt x="410" y="288"/>
                </a:lnTo>
                <a:lnTo>
                  <a:pt x="410" y="286"/>
                </a:lnTo>
                <a:lnTo>
                  <a:pt x="414" y="276"/>
                </a:lnTo>
                <a:lnTo>
                  <a:pt x="414" y="274"/>
                </a:lnTo>
                <a:lnTo>
                  <a:pt x="416" y="274"/>
                </a:lnTo>
                <a:lnTo>
                  <a:pt x="458" y="252"/>
                </a:lnTo>
                <a:lnTo>
                  <a:pt x="456" y="230"/>
                </a:lnTo>
                <a:lnTo>
                  <a:pt x="456" y="228"/>
                </a:lnTo>
                <a:lnTo>
                  <a:pt x="464" y="212"/>
                </a:lnTo>
                <a:lnTo>
                  <a:pt x="466" y="210"/>
                </a:lnTo>
                <a:lnTo>
                  <a:pt x="478" y="180"/>
                </a:lnTo>
                <a:lnTo>
                  <a:pt x="490" y="168"/>
                </a:lnTo>
                <a:lnTo>
                  <a:pt x="496" y="156"/>
                </a:lnTo>
                <a:lnTo>
                  <a:pt x="502" y="146"/>
                </a:lnTo>
                <a:lnTo>
                  <a:pt x="496" y="134"/>
                </a:lnTo>
                <a:lnTo>
                  <a:pt x="496" y="132"/>
                </a:lnTo>
                <a:lnTo>
                  <a:pt x="496" y="120"/>
                </a:lnTo>
                <a:lnTo>
                  <a:pt x="490" y="120"/>
                </a:lnTo>
                <a:lnTo>
                  <a:pt x="478" y="126"/>
                </a:lnTo>
                <a:lnTo>
                  <a:pt x="472" y="128"/>
                </a:lnTo>
                <a:lnTo>
                  <a:pt x="468" y="128"/>
                </a:lnTo>
                <a:lnTo>
                  <a:pt x="460" y="126"/>
                </a:lnTo>
                <a:lnTo>
                  <a:pt x="454" y="122"/>
                </a:lnTo>
                <a:lnTo>
                  <a:pt x="452" y="118"/>
                </a:lnTo>
                <a:lnTo>
                  <a:pt x="450" y="114"/>
                </a:lnTo>
                <a:lnTo>
                  <a:pt x="452" y="98"/>
                </a:lnTo>
                <a:lnTo>
                  <a:pt x="446" y="98"/>
                </a:lnTo>
                <a:lnTo>
                  <a:pt x="442" y="102"/>
                </a:lnTo>
                <a:lnTo>
                  <a:pt x="432" y="112"/>
                </a:lnTo>
                <a:lnTo>
                  <a:pt x="428" y="114"/>
                </a:lnTo>
                <a:lnTo>
                  <a:pt x="424" y="114"/>
                </a:lnTo>
                <a:lnTo>
                  <a:pt x="422" y="108"/>
                </a:lnTo>
                <a:lnTo>
                  <a:pt x="422" y="100"/>
                </a:lnTo>
                <a:lnTo>
                  <a:pt x="422" y="92"/>
                </a:lnTo>
                <a:lnTo>
                  <a:pt x="424" y="88"/>
                </a:lnTo>
                <a:lnTo>
                  <a:pt x="426" y="86"/>
                </a:lnTo>
                <a:lnTo>
                  <a:pt x="428" y="86"/>
                </a:lnTo>
                <a:lnTo>
                  <a:pt x="444" y="58"/>
                </a:lnTo>
                <a:lnTo>
                  <a:pt x="448" y="48"/>
                </a:lnTo>
                <a:lnTo>
                  <a:pt x="450" y="36"/>
                </a:lnTo>
                <a:lnTo>
                  <a:pt x="442" y="28"/>
                </a:lnTo>
                <a:lnTo>
                  <a:pt x="440" y="22"/>
                </a:lnTo>
                <a:lnTo>
                  <a:pt x="440" y="12"/>
                </a:lnTo>
                <a:lnTo>
                  <a:pt x="440" y="8"/>
                </a:lnTo>
                <a:lnTo>
                  <a:pt x="438" y="4"/>
                </a:lnTo>
                <a:lnTo>
                  <a:pt x="434" y="0"/>
                </a:lnTo>
                <a:lnTo>
                  <a:pt x="432" y="2"/>
                </a:lnTo>
                <a:lnTo>
                  <a:pt x="430" y="6"/>
                </a:lnTo>
                <a:lnTo>
                  <a:pt x="426" y="8"/>
                </a:lnTo>
                <a:lnTo>
                  <a:pt x="422" y="10"/>
                </a:lnTo>
                <a:lnTo>
                  <a:pt x="416" y="8"/>
                </a:lnTo>
                <a:lnTo>
                  <a:pt x="410" y="8"/>
                </a:lnTo>
                <a:lnTo>
                  <a:pt x="402" y="8"/>
                </a:lnTo>
                <a:close/>
              </a:path>
            </a:pathLst>
          </a:custGeom>
          <a:solidFill>
            <a:srgbClr val="BFBFBF"/>
          </a:solidFill>
          <a:ln>
            <a:noFill/>
          </a:ln>
        </p:spPr>
        <p:txBody>
          <a:bodyPr/>
          <a:lstStyle/>
          <a:p>
            <a:endParaRPr altLang="en-US" lang="zh-CN">
              <a:cs typeface="+mn-ea"/>
              <a:sym typeface="+mn-lt"/>
            </a:endParaRPr>
          </a:p>
        </p:txBody>
      </p:sp>
      <p:sp>
        <p:nvSpPr>
          <p:cNvPr id="15" name="重庆"/>
          <p:cNvSpPr/>
          <p:nvPr/>
        </p:nvSpPr>
        <p:spPr bwMode="auto">
          <a:xfrm>
            <a:off x="3875548" y="4306390"/>
            <a:ext cx="418883" cy="424985"/>
          </a:xfrm>
          <a:custGeom>
            <a:gdLst>
              <a:gd fmla="*/ 2147483646 w 284" name="T0"/>
              <a:gd fmla="*/ 2147483646 h 288" name="T1"/>
              <a:gd fmla="*/ 2147483646 w 284" name="T2"/>
              <a:gd fmla="*/ 2147483646 h 288" name="T3"/>
              <a:gd fmla="*/ 2147483646 w 284" name="T4"/>
              <a:gd fmla="*/ 2147483646 h 288" name="T5"/>
              <a:gd fmla="*/ 2147483646 w 284" name="T6"/>
              <a:gd fmla="*/ 2147483646 h 288" name="T7"/>
              <a:gd fmla="*/ 2147483646 w 284" name="T8"/>
              <a:gd fmla="*/ 2147483646 h 288" name="T9"/>
              <a:gd fmla="*/ 2147483646 w 284" name="T10"/>
              <a:gd fmla="*/ 2147483646 h 288" name="T11"/>
              <a:gd fmla="*/ 2147483646 w 284" name="T12"/>
              <a:gd fmla="*/ 2147483646 h 288" name="T13"/>
              <a:gd fmla="*/ 2147483646 w 284" name="T14"/>
              <a:gd fmla="*/ 2147483646 h 288" name="T15"/>
              <a:gd fmla="*/ 2147483646 w 284" name="T16"/>
              <a:gd fmla="*/ 2147483646 h 288" name="T17"/>
              <a:gd fmla="*/ 2147483646 w 284" name="T18"/>
              <a:gd fmla="*/ 2147483646 h 288" name="T19"/>
              <a:gd fmla="*/ 2147483646 w 284" name="T20"/>
              <a:gd fmla="*/ 2147483646 h 288" name="T21"/>
              <a:gd fmla="*/ 2147483646 w 284" name="T22"/>
              <a:gd fmla="*/ 2147483646 h 288" name="T23"/>
              <a:gd fmla="*/ 2147483646 w 284" name="T24"/>
              <a:gd fmla="*/ 2147483646 h 288" name="T25"/>
              <a:gd fmla="*/ 2147483646 w 284" name="T26"/>
              <a:gd fmla="*/ 2147483646 h 288" name="T27"/>
              <a:gd fmla="*/ 2147483646 w 284" name="T28"/>
              <a:gd fmla="*/ 2147483646 h 288" name="T29"/>
              <a:gd fmla="*/ 2147483646 w 284" name="T30"/>
              <a:gd fmla="*/ 2147483646 h 288" name="T31"/>
              <a:gd fmla="*/ 2147483646 w 284" name="T32"/>
              <a:gd fmla="*/ 2147483646 h 288" name="T33"/>
              <a:gd fmla="*/ 2147483646 w 284" name="T34"/>
              <a:gd fmla="*/ 2147483646 h 288" name="T35"/>
              <a:gd fmla="*/ 2147483646 w 284" name="T36"/>
              <a:gd fmla="*/ 2147483646 h 288" name="T37"/>
              <a:gd fmla="*/ 2147483646 w 284" name="T38"/>
              <a:gd fmla="*/ 2147483646 h 288" name="T39"/>
              <a:gd fmla="*/ 2147483646 w 284" name="T40"/>
              <a:gd fmla="*/ 2147483646 h 288" name="T41"/>
              <a:gd fmla="*/ 2147483646 w 284" name="T42"/>
              <a:gd fmla="*/ 2147483646 h 288" name="T43"/>
              <a:gd fmla="*/ 2147483646 w 284" name="T44"/>
              <a:gd fmla="*/ 2147483646 h 288" name="T45"/>
              <a:gd fmla="*/ 2147483646 w 284" name="T46"/>
              <a:gd fmla="*/ 2147483646 h 288" name="T47"/>
              <a:gd fmla="*/ 2147483646 w 284" name="T48"/>
              <a:gd fmla="*/ 2147483646 h 288" name="T49"/>
              <a:gd fmla="*/ 2147483646 w 284" name="T50"/>
              <a:gd fmla="*/ 2147483646 h 288" name="T51"/>
              <a:gd fmla="*/ 2147483646 w 284" name="T52"/>
              <a:gd fmla="*/ 2147483646 h 288" name="T53"/>
              <a:gd fmla="*/ 2147483646 w 284" name="T54"/>
              <a:gd fmla="*/ 2147483646 h 288" name="T55"/>
              <a:gd fmla="*/ 2147483646 w 284" name="T56"/>
              <a:gd fmla="*/ 2147483646 h 288" name="T57"/>
              <a:gd fmla="*/ 2147483646 w 284" name="T58"/>
              <a:gd fmla="*/ 2147483646 h 288" name="T59"/>
              <a:gd fmla="*/ 2147483646 w 284" name="T60"/>
              <a:gd fmla="*/ 2147483646 h 288" name="T61"/>
              <a:gd fmla="*/ 2147483646 w 284" name="T62"/>
              <a:gd fmla="*/ 2147483646 h 288" name="T63"/>
              <a:gd fmla="*/ 2147483646 w 284" name="T64"/>
              <a:gd fmla="*/ 2147483646 h 288" name="T65"/>
              <a:gd fmla="*/ 2147483646 w 284" name="T66"/>
              <a:gd fmla="*/ 2147483646 h 288" name="T67"/>
              <a:gd fmla="*/ 2147483646 w 284" name="T68"/>
              <a:gd fmla="*/ 2147483646 h 288" name="T69"/>
              <a:gd fmla="*/ 2147483646 w 284" name="T70"/>
              <a:gd fmla="*/ 2147483646 h 288" name="T71"/>
              <a:gd fmla="*/ 2147483646 w 284" name="T72"/>
              <a:gd fmla="*/ 2147483646 h 288" name="T73"/>
              <a:gd fmla="*/ 2147483646 w 284" name="T74"/>
              <a:gd fmla="*/ 2147483646 h 288" name="T75"/>
              <a:gd fmla="*/ 2147483646 w 284" name="T76"/>
              <a:gd fmla="*/ 2147483646 h 288" name="T77"/>
              <a:gd fmla="*/ 2147483646 w 284" name="T78"/>
              <a:gd fmla="*/ 2147483646 h 288" name="T79"/>
              <a:gd fmla="*/ 2147483646 w 284" name="T80"/>
              <a:gd fmla="*/ 2147483646 h 288" name="T81"/>
              <a:gd fmla="*/ 2147483646 w 284" name="T82"/>
              <a:gd fmla="*/ 2147483646 h 288" name="T83"/>
              <a:gd fmla="*/ 2147483646 w 284" name="T84"/>
              <a:gd fmla="*/ 2147483646 h 288" name="T85"/>
              <a:gd fmla="*/ 2147483646 w 284" name="T86"/>
              <a:gd fmla="*/ 2147483646 h 288" name="T87"/>
              <a:gd fmla="*/ 2147483646 w 284" name="T88"/>
              <a:gd fmla="*/ 2147483646 h 288" name="T89"/>
              <a:gd fmla="*/ 2147483646 w 284" name="T90"/>
              <a:gd fmla="*/ 2147483646 h 288" name="T91"/>
              <a:gd fmla="*/ 2147483646 w 284" name="T92"/>
              <a:gd fmla="*/ 2147483646 h 288" name="T93"/>
              <a:gd fmla="*/ 2147483646 w 284" name="T94"/>
              <a:gd fmla="*/ 2147483646 h 288" name="T95"/>
              <a:gd fmla="*/ 2147483646 w 284" name="T96"/>
              <a:gd fmla="*/ 2147483646 h 288" name="T97"/>
              <a:gd fmla="*/ 2147483646 w 284" name="T98"/>
              <a:gd fmla="*/ 2147483646 h 288" name="T99"/>
              <a:gd fmla="*/ 2147483646 w 284" name="T100"/>
              <a:gd fmla="*/ 2147483646 h 288" name="T101"/>
              <a:gd fmla="*/ 2147483646 w 284" name="T102"/>
              <a:gd fmla="*/ 2147483646 h 288"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b="b" l="0" r="r" t="0"/>
            <a:pathLst>
              <a:path h="288" w="284">
                <a:moveTo>
                  <a:pt x="284" y="58"/>
                </a:moveTo>
                <a:lnTo>
                  <a:pt x="278" y="44"/>
                </a:lnTo>
                <a:lnTo>
                  <a:pt x="268" y="32"/>
                </a:lnTo>
                <a:lnTo>
                  <a:pt x="260" y="30"/>
                </a:lnTo>
                <a:lnTo>
                  <a:pt x="258" y="30"/>
                </a:lnTo>
                <a:lnTo>
                  <a:pt x="258" y="28"/>
                </a:lnTo>
                <a:lnTo>
                  <a:pt x="250" y="24"/>
                </a:lnTo>
                <a:lnTo>
                  <a:pt x="248" y="24"/>
                </a:lnTo>
                <a:lnTo>
                  <a:pt x="244" y="26"/>
                </a:lnTo>
                <a:lnTo>
                  <a:pt x="234" y="28"/>
                </a:lnTo>
                <a:lnTo>
                  <a:pt x="232" y="26"/>
                </a:lnTo>
                <a:lnTo>
                  <a:pt x="222" y="22"/>
                </a:lnTo>
                <a:lnTo>
                  <a:pt x="220" y="22"/>
                </a:lnTo>
                <a:lnTo>
                  <a:pt x="220" y="20"/>
                </a:lnTo>
                <a:lnTo>
                  <a:pt x="212" y="12"/>
                </a:lnTo>
                <a:lnTo>
                  <a:pt x="204" y="4"/>
                </a:lnTo>
                <a:lnTo>
                  <a:pt x="196" y="0"/>
                </a:lnTo>
                <a:lnTo>
                  <a:pt x="188" y="8"/>
                </a:lnTo>
                <a:lnTo>
                  <a:pt x="176" y="16"/>
                </a:lnTo>
                <a:lnTo>
                  <a:pt x="172" y="40"/>
                </a:lnTo>
                <a:lnTo>
                  <a:pt x="162" y="58"/>
                </a:lnTo>
                <a:lnTo>
                  <a:pt x="162" y="60"/>
                </a:lnTo>
                <a:lnTo>
                  <a:pt x="154" y="68"/>
                </a:lnTo>
                <a:lnTo>
                  <a:pt x="144" y="86"/>
                </a:lnTo>
                <a:lnTo>
                  <a:pt x="144" y="88"/>
                </a:lnTo>
                <a:lnTo>
                  <a:pt x="124" y="104"/>
                </a:lnTo>
                <a:lnTo>
                  <a:pt x="116" y="118"/>
                </a:lnTo>
                <a:lnTo>
                  <a:pt x="114" y="120"/>
                </a:lnTo>
                <a:lnTo>
                  <a:pt x="110" y="124"/>
                </a:lnTo>
                <a:lnTo>
                  <a:pt x="96" y="132"/>
                </a:lnTo>
                <a:lnTo>
                  <a:pt x="88" y="144"/>
                </a:lnTo>
                <a:lnTo>
                  <a:pt x="74" y="164"/>
                </a:lnTo>
                <a:lnTo>
                  <a:pt x="72" y="164"/>
                </a:lnTo>
                <a:lnTo>
                  <a:pt x="8" y="160"/>
                </a:lnTo>
                <a:lnTo>
                  <a:pt x="0" y="168"/>
                </a:lnTo>
                <a:lnTo>
                  <a:pt x="0" y="180"/>
                </a:lnTo>
                <a:lnTo>
                  <a:pt x="6" y="208"/>
                </a:lnTo>
                <a:lnTo>
                  <a:pt x="20" y="226"/>
                </a:lnTo>
                <a:lnTo>
                  <a:pt x="32" y="232"/>
                </a:lnTo>
                <a:lnTo>
                  <a:pt x="32" y="234"/>
                </a:lnTo>
                <a:lnTo>
                  <a:pt x="40" y="244"/>
                </a:lnTo>
                <a:lnTo>
                  <a:pt x="42" y="252"/>
                </a:lnTo>
                <a:lnTo>
                  <a:pt x="42" y="262"/>
                </a:lnTo>
                <a:lnTo>
                  <a:pt x="38" y="266"/>
                </a:lnTo>
                <a:lnTo>
                  <a:pt x="40" y="268"/>
                </a:lnTo>
                <a:lnTo>
                  <a:pt x="44" y="268"/>
                </a:lnTo>
                <a:lnTo>
                  <a:pt x="48" y="258"/>
                </a:lnTo>
                <a:lnTo>
                  <a:pt x="50" y="258"/>
                </a:lnTo>
                <a:lnTo>
                  <a:pt x="62" y="262"/>
                </a:lnTo>
                <a:lnTo>
                  <a:pt x="64" y="266"/>
                </a:lnTo>
                <a:lnTo>
                  <a:pt x="70" y="266"/>
                </a:lnTo>
                <a:lnTo>
                  <a:pt x="68" y="260"/>
                </a:lnTo>
                <a:lnTo>
                  <a:pt x="76" y="246"/>
                </a:lnTo>
                <a:lnTo>
                  <a:pt x="78" y="244"/>
                </a:lnTo>
                <a:lnTo>
                  <a:pt x="80" y="242"/>
                </a:lnTo>
                <a:lnTo>
                  <a:pt x="88" y="242"/>
                </a:lnTo>
                <a:lnTo>
                  <a:pt x="102" y="242"/>
                </a:lnTo>
                <a:lnTo>
                  <a:pt x="110" y="232"/>
                </a:lnTo>
                <a:lnTo>
                  <a:pt x="110" y="222"/>
                </a:lnTo>
                <a:lnTo>
                  <a:pt x="112" y="212"/>
                </a:lnTo>
                <a:lnTo>
                  <a:pt x="114" y="210"/>
                </a:lnTo>
                <a:lnTo>
                  <a:pt x="120" y="206"/>
                </a:lnTo>
                <a:lnTo>
                  <a:pt x="122" y="206"/>
                </a:lnTo>
                <a:lnTo>
                  <a:pt x="134" y="208"/>
                </a:lnTo>
                <a:lnTo>
                  <a:pt x="134" y="210"/>
                </a:lnTo>
                <a:lnTo>
                  <a:pt x="136" y="220"/>
                </a:lnTo>
                <a:lnTo>
                  <a:pt x="136" y="224"/>
                </a:lnTo>
                <a:lnTo>
                  <a:pt x="138" y="232"/>
                </a:lnTo>
                <a:lnTo>
                  <a:pt x="140" y="232"/>
                </a:lnTo>
                <a:lnTo>
                  <a:pt x="144" y="226"/>
                </a:lnTo>
                <a:lnTo>
                  <a:pt x="152" y="216"/>
                </a:lnTo>
                <a:lnTo>
                  <a:pt x="160" y="212"/>
                </a:lnTo>
                <a:lnTo>
                  <a:pt x="162" y="212"/>
                </a:lnTo>
                <a:lnTo>
                  <a:pt x="162" y="210"/>
                </a:lnTo>
                <a:lnTo>
                  <a:pt x="172" y="214"/>
                </a:lnTo>
                <a:lnTo>
                  <a:pt x="174" y="214"/>
                </a:lnTo>
                <a:lnTo>
                  <a:pt x="176" y="214"/>
                </a:lnTo>
                <a:lnTo>
                  <a:pt x="180" y="226"/>
                </a:lnTo>
                <a:lnTo>
                  <a:pt x="180" y="236"/>
                </a:lnTo>
                <a:lnTo>
                  <a:pt x="188" y="252"/>
                </a:lnTo>
                <a:lnTo>
                  <a:pt x="188" y="254"/>
                </a:lnTo>
                <a:lnTo>
                  <a:pt x="188" y="264"/>
                </a:lnTo>
                <a:lnTo>
                  <a:pt x="192" y="270"/>
                </a:lnTo>
                <a:lnTo>
                  <a:pt x="194" y="270"/>
                </a:lnTo>
                <a:lnTo>
                  <a:pt x="196" y="266"/>
                </a:lnTo>
                <a:lnTo>
                  <a:pt x="198" y="264"/>
                </a:lnTo>
                <a:lnTo>
                  <a:pt x="208" y="270"/>
                </a:lnTo>
                <a:lnTo>
                  <a:pt x="208" y="272"/>
                </a:lnTo>
                <a:lnTo>
                  <a:pt x="212" y="286"/>
                </a:lnTo>
                <a:lnTo>
                  <a:pt x="216" y="288"/>
                </a:lnTo>
                <a:lnTo>
                  <a:pt x="216" y="286"/>
                </a:lnTo>
                <a:lnTo>
                  <a:pt x="220" y="276"/>
                </a:lnTo>
                <a:lnTo>
                  <a:pt x="222" y="274"/>
                </a:lnTo>
                <a:lnTo>
                  <a:pt x="224" y="274"/>
                </a:lnTo>
                <a:lnTo>
                  <a:pt x="228" y="270"/>
                </a:lnTo>
                <a:lnTo>
                  <a:pt x="230" y="270"/>
                </a:lnTo>
                <a:lnTo>
                  <a:pt x="236" y="270"/>
                </a:lnTo>
                <a:lnTo>
                  <a:pt x="236" y="266"/>
                </a:lnTo>
                <a:lnTo>
                  <a:pt x="236" y="264"/>
                </a:lnTo>
                <a:lnTo>
                  <a:pt x="232" y="226"/>
                </a:lnTo>
                <a:lnTo>
                  <a:pt x="216" y="202"/>
                </a:lnTo>
                <a:lnTo>
                  <a:pt x="188" y="168"/>
                </a:lnTo>
                <a:lnTo>
                  <a:pt x="186" y="168"/>
                </a:lnTo>
                <a:lnTo>
                  <a:pt x="184" y="146"/>
                </a:lnTo>
                <a:lnTo>
                  <a:pt x="176" y="128"/>
                </a:lnTo>
                <a:lnTo>
                  <a:pt x="174" y="128"/>
                </a:lnTo>
                <a:lnTo>
                  <a:pt x="176" y="126"/>
                </a:lnTo>
                <a:lnTo>
                  <a:pt x="180" y="104"/>
                </a:lnTo>
                <a:lnTo>
                  <a:pt x="182" y="104"/>
                </a:lnTo>
                <a:lnTo>
                  <a:pt x="184" y="104"/>
                </a:lnTo>
                <a:lnTo>
                  <a:pt x="234" y="102"/>
                </a:lnTo>
                <a:lnTo>
                  <a:pt x="260" y="88"/>
                </a:lnTo>
                <a:lnTo>
                  <a:pt x="262" y="86"/>
                </a:lnTo>
                <a:lnTo>
                  <a:pt x="274" y="82"/>
                </a:lnTo>
                <a:lnTo>
                  <a:pt x="278" y="78"/>
                </a:lnTo>
                <a:lnTo>
                  <a:pt x="280" y="76"/>
                </a:lnTo>
                <a:lnTo>
                  <a:pt x="282" y="68"/>
                </a:lnTo>
                <a:lnTo>
                  <a:pt x="284" y="58"/>
                </a:lnTo>
                <a:close/>
              </a:path>
            </a:pathLst>
          </a:custGeom>
          <a:solidFill>
            <a:srgbClr val="E00024">
              <a:alpha val="80000"/>
            </a:srgbClr>
          </a:solidFill>
          <a:ln>
            <a:noFill/>
          </a:ln>
        </p:spPr>
        <p:txBody>
          <a:bodyPr/>
          <a:lstStyle/>
          <a:p>
            <a:endParaRPr altLang="en-US" lang="zh-CN">
              <a:cs typeface="+mn-ea"/>
              <a:sym typeface="+mn-lt"/>
            </a:endParaRPr>
          </a:p>
        </p:txBody>
      </p:sp>
      <p:sp>
        <p:nvSpPr>
          <p:cNvPr id="16" name="陕西"/>
          <p:cNvSpPr/>
          <p:nvPr/>
        </p:nvSpPr>
        <p:spPr bwMode="auto">
          <a:xfrm>
            <a:off x="3875548" y="3480029"/>
            <a:ext cx="477881" cy="852922"/>
          </a:xfrm>
          <a:custGeom>
            <a:gdLst>
              <a:gd fmla="*/ 2147483646 w 324" name="T0"/>
              <a:gd fmla="*/ 2147483646 h 578" name="T1"/>
              <a:gd fmla="*/ 2147483646 w 324" name="T2"/>
              <a:gd fmla="*/ 2147483646 h 578" name="T3"/>
              <a:gd fmla="*/ 2147483646 w 324" name="T4"/>
              <a:gd fmla="*/ 2147483646 h 578" name="T5"/>
              <a:gd fmla="*/ 2147483646 w 324" name="T6"/>
              <a:gd fmla="*/ 2147483646 h 578" name="T7"/>
              <a:gd fmla="*/ 2147483646 w 324" name="T8"/>
              <a:gd fmla="*/ 2147483646 h 578" name="T9"/>
              <a:gd fmla="*/ 2147483646 w 324" name="T10"/>
              <a:gd fmla="*/ 2147483646 h 578" name="T11"/>
              <a:gd fmla="*/ 2147483646 w 324" name="T12"/>
              <a:gd fmla="*/ 2147483646 h 578" name="T13"/>
              <a:gd fmla="*/ 2147483646 w 324" name="T14"/>
              <a:gd fmla="*/ 2147483646 h 578" name="T15"/>
              <a:gd fmla="*/ 2147483646 w 324" name="T16"/>
              <a:gd fmla="*/ 2147483646 h 578" name="T17"/>
              <a:gd fmla="*/ 2147483646 w 324" name="T18"/>
              <a:gd fmla="*/ 2147483646 h 578" name="T19"/>
              <a:gd fmla="*/ 2147483646 w 324" name="T20"/>
              <a:gd fmla="*/ 2147483646 h 578" name="T21"/>
              <a:gd fmla="*/ 2147483646 w 324" name="T22"/>
              <a:gd fmla="*/ 2147483646 h 578" name="T23"/>
              <a:gd fmla="*/ 2147483646 w 324" name="T24"/>
              <a:gd fmla="*/ 2147483646 h 578" name="T25"/>
              <a:gd fmla="*/ 2147483646 w 324" name="T26"/>
              <a:gd fmla="*/ 2147483646 h 578" name="T27"/>
              <a:gd fmla="*/ 2147483646 w 324" name="T28"/>
              <a:gd fmla="*/ 2147483646 h 578" name="T29"/>
              <a:gd fmla="*/ 2147483646 w 324" name="T30"/>
              <a:gd fmla="*/ 2147483646 h 578" name="T31"/>
              <a:gd fmla="*/ 2147483646 w 324" name="T32"/>
              <a:gd fmla="*/ 2147483646 h 578" name="T33"/>
              <a:gd fmla="*/ 2147483646 w 324" name="T34"/>
              <a:gd fmla="*/ 2147483646 h 578" name="T35"/>
              <a:gd fmla="*/ 2147483646 w 324" name="T36"/>
              <a:gd fmla="*/ 2147483646 h 578" name="T37"/>
              <a:gd fmla="*/ 2147483646 w 324" name="T38"/>
              <a:gd fmla="*/ 2147483646 h 578" name="T39"/>
              <a:gd fmla="*/ 2147483646 w 324" name="T40"/>
              <a:gd fmla="*/ 2147483646 h 578" name="T41"/>
              <a:gd fmla="*/ 2147483646 w 324" name="T42"/>
              <a:gd fmla="*/ 2147483646 h 578" name="T43"/>
              <a:gd fmla="*/ 2147483646 w 324" name="T44"/>
              <a:gd fmla="*/ 2147483646 h 578" name="T45"/>
              <a:gd fmla="*/ 2147483646 w 324" name="T46"/>
              <a:gd fmla="*/ 2147483646 h 578" name="T47"/>
              <a:gd fmla="*/ 2147483646 w 324" name="T48"/>
              <a:gd fmla="*/ 2147483646 h 578" name="T49"/>
              <a:gd fmla="*/ 2147483646 w 324" name="T50"/>
              <a:gd fmla="*/ 2147483646 h 578" name="T51"/>
              <a:gd fmla="*/ 2147483646 w 324" name="T52"/>
              <a:gd fmla="*/ 2147483646 h 578" name="T53"/>
              <a:gd fmla="*/ 2147483646 w 324" name="T54"/>
              <a:gd fmla="*/ 2147483646 h 578" name="T55"/>
              <a:gd fmla="*/ 2147483646 w 324" name="T56"/>
              <a:gd fmla="*/ 2147483646 h 578" name="T57"/>
              <a:gd fmla="*/ 2147483646 w 324" name="T58"/>
              <a:gd fmla="*/ 2147483646 h 578" name="T59"/>
              <a:gd fmla="*/ 2147483646 w 324" name="T60"/>
              <a:gd fmla="*/ 2147483646 h 578" name="T61"/>
              <a:gd fmla="*/ 2147483646 w 324" name="T62"/>
              <a:gd fmla="*/ 2147483646 h 578" name="T63"/>
              <a:gd fmla="*/ 2147483646 w 324" name="T64"/>
              <a:gd fmla="*/ 2147483646 h 578" name="T65"/>
              <a:gd fmla="*/ 2147483646 w 324" name="T66"/>
              <a:gd fmla="*/ 2147483646 h 578" name="T67"/>
              <a:gd fmla="*/ 2147483646 w 324" name="T68"/>
              <a:gd fmla="*/ 2147483646 h 578" name="T69"/>
              <a:gd fmla="*/ 2147483646 w 324" name="T70"/>
              <a:gd fmla="*/ 2147483646 h 578" name="T71"/>
              <a:gd fmla="*/ 2147483646 w 324" name="T72"/>
              <a:gd fmla="*/ 2147483646 h 578" name="T73"/>
              <a:gd fmla="*/ 2147483646 w 324" name="T74"/>
              <a:gd fmla="*/ 2147483646 h 578" name="T75"/>
              <a:gd fmla="*/ 2147483646 w 324" name="T76"/>
              <a:gd fmla="*/ 2147483646 h 578" name="T77"/>
              <a:gd fmla="*/ 2147483646 w 324" name="T78"/>
              <a:gd fmla="*/ 2147483646 h 578" name="T79"/>
              <a:gd fmla="*/ 2147483646 w 324" name="T80"/>
              <a:gd fmla="*/ 2147483646 h 578" name="T81"/>
              <a:gd fmla="*/ 2147483646 w 324" name="T82"/>
              <a:gd fmla="*/ 2147483646 h 578" name="T83"/>
              <a:gd fmla="*/ 2147483646 w 324" name="T84"/>
              <a:gd fmla="*/ 2147483646 h 578" name="T85"/>
              <a:gd fmla="*/ 2147483646 w 324" name="T86"/>
              <a:gd fmla="*/ 2147483646 h 578" name="T87"/>
              <a:gd fmla="*/ 2147483646 w 324" name="T88"/>
              <a:gd fmla="*/ 2147483646 h 578" name="T89"/>
              <a:gd fmla="*/ 2147483646 w 324" name="T90"/>
              <a:gd fmla="*/ 2147483646 h 578" name="T91"/>
              <a:gd fmla="*/ 2147483646 w 324" name="T92"/>
              <a:gd fmla="*/ 2147483646 h 578" name="T93"/>
              <a:gd fmla="*/ 2147483646 w 324" name="T94"/>
              <a:gd fmla="*/ 2147483646 h 578" name="T95"/>
              <a:gd fmla="*/ 2147483646 w 324" name="T96"/>
              <a:gd fmla="*/ 2147483646 h 578" name="T97"/>
              <a:gd fmla="*/ 2147483646 w 324" name="T98"/>
              <a:gd fmla="*/ 2147483646 h 578" name="T99"/>
              <a:gd fmla="*/ 2147483646 w 324" name="T100"/>
              <a:gd fmla="*/ 2147483646 h 578"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b="b" l="0" r="r" t="0"/>
            <a:pathLst>
              <a:path h="578" w="324">
                <a:moveTo>
                  <a:pt x="108" y="132"/>
                </a:moveTo>
                <a:lnTo>
                  <a:pt x="104" y="130"/>
                </a:lnTo>
                <a:lnTo>
                  <a:pt x="96" y="180"/>
                </a:lnTo>
                <a:lnTo>
                  <a:pt x="108" y="196"/>
                </a:lnTo>
                <a:lnTo>
                  <a:pt x="122" y="200"/>
                </a:lnTo>
                <a:lnTo>
                  <a:pt x="124" y="202"/>
                </a:lnTo>
                <a:lnTo>
                  <a:pt x="140" y="216"/>
                </a:lnTo>
                <a:lnTo>
                  <a:pt x="164" y="220"/>
                </a:lnTo>
                <a:lnTo>
                  <a:pt x="176" y="228"/>
                </a:lnTo>
                <a:lnTo>
                  <a:pt x="176" y="230"/>
                </a:lnTo>
                <a:lnTo>
                  <a:pt x="186" y="244"/>
                </a:lnTo>
                <a:lnTo>
                  <a:pt x="188" y="244"/>
                </a:lnTo>
                <a:lnTo>
                  <a:pt x="186" y="246"/>
                </a:lnTo>
                <a:lnTo>
                  <a:pt x="178" y="260"/>
                </a:lnTo>
                <a:lnTo>
                  <a:pt x="178" y="264"/>
                </a:lnTo>
                <a:lnTo>
                  <a:pt x="176" y="272"/>
                </a:lnTo>
                <a:lnTo>
                  <a:pt x="178" y="272"/>
                </a:lnTo>
                <a:lnTo>
                  <a:pt x="178" y="286"/>
                </a:lnTo>
                <a:lnTo>
                  <a:pt x="176" y="288"/>
                </a:lnTo>
                <a:lnTo>
                  <a:pt x="170" y="312"/>
                </a:lnTo>
                <a:lnTo>
                  <a:pt x="168" y="316"/>
                </a:lnTo>
                <a:lnTo>
                  <a:pt x="164" y="314"/>
                </a:lnTo>
                <a:lnTo>
                  <a:pt x="154" y="312"/>
                </a:lnTo>
                <a:lnTo>
                  <a:pt x="140" y="312"/>
                </a:lnTo>
                <a:lnTo>
                  <a:pt x="128" y="316"/>
                </a:lnTo>
                <a:lnTo>
                  <a:pt x="116" y="328"/>
                </a:lnTo>
                <a:lnTo>
                  <a:pt x="112" y="332"/>
                </a:lnTo>
                <a:lnTo>
                  <a:pt x="130" y="340"/>
                </a:lnTo>
                <a:lnTo>
                  <a:pt x="128" y="344"/>
                </a:lnTo>
                <a:lnTo>
                  <a:pt x="124" y="350"/>
                </a:lnTo>
                <a:lnTo>
                  <a:pt x="116" y="354"/>
                </a:lnTo>
                <a:lnTo>
                  <a:pt x="106" y="354"/>
                </a:lnTo>
                <a:lnTo>
                  <a:pt x="88" y="348"/>
                </a:lnTo>
                <a:lnTo>
                  <a:pt x="70" y="338"/>
                </a:lnTo>
                <a:lnTo>
                  <a:pt x="64" y="338"/>
                </a:lnTo>
                <a:lnTo>
                  <a:pt x="44" y="366"/>
                </a:lnTo>
                <a:lnTo>
                  <a:pt x="40" y="376"/>
                </a:lnTo>
                <a:lnTo>
                  <a:pt x="40" y="392"/>
                </a:lnTo>
                <a:lnTo>
                  <a:pt x="48" y="406"/>
                </a:lnTo>
                <a:lnTo>
                  <a:pt x="48" y="408"/>
                </a:lnTo>
                <a:lnTo>
                  <a:pt x="52" y="420"/>
                </a:lnTo>
                <a:lnTo>
                  <a:pt x="52" y="422"/>
                </a:lnTo>
                <a:lnTo>
                  <a:pt x="52" y="440"/>
                </a:lnTo>
                <a:lnTo>
                  <a:pt x="52" y="442"/>
                </a:lnTo>
                <a:lnTo>
                  <a:pt x="54" y="444"/>
                </a:lnTo>
                <a:lnTo>
                  <a:pt x="40" y="446"/>
                </a:lnTo>
                <a:lnTo>
                  <a:pt x="16" y="446"/>
                </a:lnTo>
                <a:lnTo>
                  <a:pt x="6" y="454"/>
                </a:lnTo>
                <a:lnTo>
                  <a:pt x="0" y="462"/>
                </a:lnTo>
                <a:lnTo>
                  <a:pt x="2" y="462"/>
                </a:lnTo>
                <a:lnTo>
                  <a:pt x="6" y="486"/>
                </a:lnTo>
                <a:lnTo>
                  <a:pt x="8" y="486"/>
                </a:lnTo>
                <a:lnTo>
                  <a:pt x="8" y="496"/>
                </a:lnTo>
                <a:lnTo>
                  <a:pt x="12" y="508"/>
                </a:lnTo>
                <a:lnTo>
                  <a:pt x="30" y="518"/>
                </a:lnTo>
                <a:lnTo>
                  <a:pt x="54" y="512"/>
                </a:lnTo>
                <a:lnTo>
                  <a:pt x="66" y="504"/>
                </a:lnTo>
                <a:lnTo>
                  <a:pt x="68" y="504"/>
                </a:lnTo>
                <a:lnTo>
                  <a:pt x="80" y="504"/>
                </a:lnTo>
                <a:lnTo>
                  <a:pt x="86" y="520"/>
                </a:lnTo>
                <a:lnTo>
                  <a:pt x="92" y="526"/>
                </a:lnTo>
                <a:lnTo>
                  <a:pt x="94" y="532"/>
                </a:lnTo>
                <a:lnTo>
                  <a:pt x="100" y="532"/>
                </a:lnTo>
                <a:lnTo>
                  <a:pt x="102" y="532"/>
                </a:lnTo>
                <a:lnTo>
                  <a:pt x="104" y="532"/>
                </a:lnTo>
                <a:lnTo>
                  <a:pt x="104" y="530"/>
                </a:lnTo>
                <a:lnTo>
                  <a:pt x="116" y="520"/>
                </a:lnTo>
                <a:lnTo>
                  <a:pt x="126" y="540"/>
                </a:lnTo>
                <a:lnTo>
                  <a:pt x="136" y="546"/>
                </a:lnTo>
                <a:lnTo>
                  <a:pt x="152" y="546"/>
                </a:lnTo>
                <a:lnTo>
                  <a:pt x="164" y="544"/>
                </a:lnTo>
                <a:lnTo>
                  <a:pt x="168" y="544"/>
                </a:lnTo>
                <a:lnTo>
                  <a:pt x="196" y="548"/>
                </a:lnTo>
                <a:lnTo>
                  <a:pt x="196" y="550"/>
                </a:lnTo>
                <a:lnTo>
                  <a:pt x="208" y="556"/>
                </a:lnTo>
                <a:lnTo>
                  <a:pt x="208" y="558"/>
                </a:lnTo>
                <a:lnTo>
                  <a:pt x="220" y="566"/>
                </a:lnTo>
                <a:lnTo>
                  <a:pt x="226" y="574"/>
                </a:lnTo>
                <a:lnTo>
                  <a:pt x="234" y="578"/>
                </a:lnTo>
                <a:lnTo>
                  <a:pt x="248" y="576"/>
                </a:lnTo>
                <a:lnTo>
                  <a:pt x="248" y="560"/>
                </a:lnTo>
                <a:lnTo>
                  <a:pt x="240" y="548"/>
                </a:lnTo>
                <a:lnTo>
                  <a:pt x="236" y="526"/>
                </a:lnTo>
                <a:lnTo>
                  <a:pt x="246" y="516"/>
                </a:lnTo>
                <a:lnTo>
                  <a:pt x="248" y="514"/>
                </a:lnTo>
                <a:lnTo>
                  <a:pt x="258" y="512"/>
                </a:lnTo>
                <a:lnTo>
                  <a:pt x="268" y="512"/>
                </a:lnTo>
                <a:lnTo>
                  <a:pt x="272" y="508"/>
                </a:lnTo>
                <a:lnTo>
                  <a:pt x="264" y="500"/>
                </a:lnTo>
                <a:lnTo>
                  <a:pt x="242" y="484"/>
                </a:lnTo>
                <a:lnTo>
                  <a:pt x="236" y="476"/>
                </a:lnTo>
                <a:lnTo>
                  <a:pt x="234" y="474"/>
                </a:lnTo>
                <a:lnTo>
                  <a:pt x="236" y="472"/>
                </a:lnTo>
                <a:lnTo>
                  <a:pt x="242" y="460"/>
                </a:lnTo>
                <a:lnTo>
                  <a:pt x="244" y="462"/>
                </a:lnTo>
                <a:lnTo>
                  <a:pt x="260" y="466"/>
                </a:lnTo>
                <a:lnTo>
                  <a:pt x="302" y="464"/>
                </a:lnTo>
                <a:lnTo>
                  <a:pt x="302" y="466"/>
                </a:lnTo>
                <a:lnTo>
                  <a:pt x="304" y="466"/>
                </a:lnTo>
                <a:lnTo>
                  <a:pt x="316" y="470"/>
                </a:lnTo>
                <a:lnTo>
                  <a:pt x="324" y="462"/>
                </a:lnTo>
                <a:lnTo>
                  <a:pt x="320" y="438"/>
                </a:lnTo>
                <a:lnTo>
                  <a:pt x="304" y="428"/>
                </a:lnTo>
                <a:lnTo>
                  <a:pt x="300" y="424"/>
                </a:lnTo>
                <a:lnTo>
                  <a:pt x="296" y="420"/>
                </a:lnTo>
                <a:lnTo>
                  <a:pt x="292" y="410"/>
                </a:lnTo>
                <a:lnTo>
                  <a:pt x="290" y="394"/>
                </a:lnTo>
                <a:lnTo>
                  <a:pt x="290" y="374"/>
                </a:lnTo>
                <a:lnTo>
                  <a:pt x="276" y="368"/>
                </a:lnTo>
                <a:lnTo>
                  <a:pt x="274" y="368"/>
                </a:lnTo>
                <a:lnTo>
                  <a:pt x="274" y="366"/>
                </a:lnTo>
                <a:lnTo>
                  <a:pt x="274" y="364"/>
                </a:lnTo>
                <a:lnTo>
                  <a:pt x="272" y="344"/>
                </a:lnTo>
                <a:lnTo>
                  <a:pt x="288" y="262"/>
                </a:lnTo>
                <a:lnTo>
                  <a:pt x="280" y="232"/>
                </a:lnTo>
                <a:lnTo>
                  <a:pt x="278" y="214"/>
                </a:lnTo>
                <a:lnTo>
                  <a:pt x="276" y="190"/>
                </a:lnTo>
                <a:lnTo>
                  <a:pt x="278" y="164"/>
                </a:lnTo>
                <a:lnTo>
                  <a:pt x="278" y="162"/>
                </a:lnTo>
                <a:lnTo>
                  <a:pt x="280" y="160"/>
                </a:lnTo>
                <a:lnTo>
                  <a:pt x="296" y="148"/>
                </a:lnTo>
                <a:lnTo>
                  <a:pt x="296" y="136"/>
                </a:lnTo>
                <a:lnTo>
                  <a:pt x="294" y="130"/>
                </a:lnTo>
                <a:lnTo>
                  <a:pt x="290" y="122"/>
                </a:lnTo>
                <a:lnTo>
                  <a:pt x="280" y="110"/>
                </a:lnTo>
                <a:lnTo>
                  <a:pt x="278" y="110"/>
                </a:lnTo>
                <a:lnTo>
                  <a:pt x="278" y="108"/>
                </a:lnTo>
                <a:lnTo>
                  <a:pt x="276" y="88"/>
                </a:lnTo>
                <a:lnTo>
                  <a:pt x="276" y="86"/>
                </a:lnTo>
                <a:lnTo>
                  <a:pt x="298" y="60"/>
                </a:lnTo>
                <a:lnTo>
                  <a:pt x="298" y="48"/>
                </a:lnTo>
                <a:lnTo>
                  <a:pt x="292" y="36"/>
                </a:lnTo>
                <a:lnTo>
                  <a:pt x="290" y="34"/>
                </a:lnTo>
                <a:lnTo>
                  <a:pt x="300" y="20"/>
                </a:lnTo>
                <a:lnTo>
                  <a:pt x="302" y="20"/>
                </a:lnTo>
                <a:lnTo>
                  <a:pt x="312" y="12"/>
                </a:lnTo>
                <a:lnTo>
                  <a:pt x="312" y="0"/>
                </a:lnTo>
                <a:lnTo>
                  <a:pt x="306" y="0"/>
                </a:lnTo>
                <a:lnTo>
                  <a:pt x="296" y="0"/>
                </a:lnTo>
                <a:lnTo>
                  <a:pt x="292" y="18"/>
                </a:lnTo>
                <a:lnTo>
                  <a:pt x="290" y="18"/>
                </a:lnTo>
                <a:lnTo>
                  <a:pt x="268" y="10"/>
                </a:lnTo>
                <a:lnTo>
                  <a:pt x="256" y="8"/>
                </a:lnTo>
                <a:lnTo>
                  <a:pt x="260" y="28"/>
                </a:lnTo>
                <a:lnTo>
                  <a:pt x="244" y="32"/>
                </a:lnTo>
                <a:lnTo>
                  <a:pt x="218" y="46"/>
                </a:lnTo>
                <a:lnTo>
                  <a:pt x="210" y="56"/>
                </a:lnTo>
                <a:lnTo>
                  <a:pt x="210" y="58"/>
                </a:lnTo>
                <a:lnTo>
                  <a:pt x="208" y="58"/>
                </a:lnTo>
                <a:lnTo>
                  <a:pt x="196" y="70"/>
                </a:lnTo>
                <a:lnTo>
                  <a:pt x="192" y="88"/>
                </a:lnTo>
                <a:lnTo>
                  <a:pt x="192" y="90"/>
                </a:lnTo>
                <a:lnTo>
                  <a:pt x="186" y="118"/>
                </a:lnTo>
                <a:lnTo>
                  <a:pt x="184" y="130"/>
                </a:lnTo>
                <a:lnTo>
                  <a:pt x="184" y="132"/>
                </a:lnTo>
                <a:lnTo>
                  <a:pt x="182" y="132"/>
                </a:lnTo>
                <a:lnTo>
                  <a:pt x="174" y="144"/>
                </a:lnTo>
                <a:lnTo>
                  <a:pt x="172" y="144"/>
                </a:lnTo>
                <a:lnTo>
                  <a:pt x="172" y="146"/>
                </a:lnTo>
                <a:lnTo>
                  <a:pt x="152" y="148"/>
                </a:lnTo>
                <a:lnTo>
                  <a:pt x="122" y="138"/>
                </a:lnTo>
                <a:lnTo>
                  <a:pt x="108" y="132"/>
                </a:lnTo>
                <a:close/>
              </a:path>
            </a:pathLst>
          </a:custGeom>
          <a:solidFill>
            <a:srgbClr val="BFBFBF"/>
          </a:solidFill>
          <a:ln>
            <a:noFill/>
          </a:ln>
        </p:spPr>
        <p:txBody>
          <a:bodyPr/>
          <a:lstStyle/>
          <a:p>
            <a:endParaRPr altLang="en-US" lang="zh-CN">
              <a:cs typeface="+mn-ea"/>
              <a:sym typeface="+mn-lt"/>
            </a:endParaRPr>
          </a:p>
        </p:txBody>
      </p:sp>
      <p:sp>
        <p:nvSpPr>
          <p:cNvPr id="17" name="山西"/>
          <p:cNvSpPr/>
          <p:nvPr/>
        </p:nvSpPr>
        <p:spPr bwMode="auto">
          <a:xfrm>
            <a:off x="4288532" y="3320659"/>
            <a:ext cx="318587" cy="699455"/>
          </a:xfrm>
          <a:custGeom>
            <a:gdLst>
              <a:gd fmla="*/ 2147483646 w 216" name="T0"/>
              <a:gd fmla="*/ 2147483646 h 474" name="T1"/>
              <a:gd fmla="*/ 2147483646 w 216" name="T2"/>
              <a:gd fmla="*/ 2147483646 h 474" name="T3"/>
              <a:gd fmla="*/ 2147483646 w 216" name="T4"/>
              <a:gd fmla="*/ 2147483646 h 474" name="T5"/>
              <a:gd fmla="*/ 2147483646 w 216" name="T6"/>
              <a:gd fmla="*/ 2147483646 h 474" name="T7"/>
              <a:gd fmla="*/ 2147483646 w 216" name="T8"/>
              <a:gd fmla="*/ 2147483646 h 474" name="T9"/>
              <a:gd fmla="*/ 2147483646 w 216" name="T10"/>
              <a:gd fmla="*/ 2147483646 h 474" name="T11"/>
              <a:gd fmla="*/ 2147483646 w 216" name="T12"/>
              <a:gd fmla="*/ 2147483646 h 474" name="T13"/>
              <a:gd fmla="*/ 2147483646 w 216" name="T14"/>
              <a:gd fmla="*/ 2147483646 h 474" name="T15"/>
              <a:gd fmla="*/ 2147483646 w 216" name="T16"/>
              <a:gd fmla="*/ 2147483646 h 474" name="T17"/>
              <a:gd fmla="*/ 2147483646 w 216" name="T18"/>
              <a:gd fmla="*/ 2147483646 h 474" name="T19"/>
              <a:gd fmla="*/ 2147483646 w 216" name="T20"/>
              <a:gd fmla="*/ 2147483646 h 474" name="T21"/>
              <a:gd fmla="*/ 2147483646 w 216" name="T22"/>
              <a:gd fmla="*/ 2147483646 h 474" name="T23"/>
              <a:gd fmla="*/ 2147483646 w 216" name="T24"/>
              <a:gd fmla="*/ 2147483646 h 474" name="T25"/>
              <a:gd fmla="*/ 2147483646 w 216" name="T26"/>
              <a:gd fmla="*/ 2147483646 h 474" name="T27"/>
              <a:gd fmla="*/ 2147483646 w 216" name="T28"/>
              <a:gd fmla="*/ 2147483646 h 474" name="T29"/>
              <a:gd fmla="*/ 2147483646 w 216" name="T30"/>
              <a:gd fmla="*/ 2147483646 h 474" name="T31"/>
              <a:gd fmla="*/ 2147483646 w 216" name="T32"/>
              <a:gd fmla="*/ 2147483646 h 474" name="T33"/>
              <a:gd fmla="*/ 2147483646 w 216" name="T34"/>
              <a:gd fmla="*/ 2147483646 h 474" name="T35"/>
              <a:gd fmla="*/ 2147483646 w 216" name="T36"/>
              <a:gd fmla="*/ 2147483646 h 474" name="T37"/>
              <a:gd fmla="*/ 2147483646 w 216" name="T38"/>
              <a:gd fmla="*/ 2147483646 h 474" name="T39"/>
              <a:gd fmla="*/ 2147483646 w 216" name="T40"/>
              <a:gd fmla="*/ 2147483646 h 474" name="T41"/>
              <a:gd fmla="*/ 2147483646 w 216" name="T42"/>
              <a:gd fmla="*/ 2147483646 h 474" name="T43"/>
              <a:gd fmla="*/ 2147483646 w 216" name="T44"/>
              <a:gd fmla="*/ 2147483646 h 474" name="T45"/>
              <a:gd fmla="*/ 2147483646 w 216" name="T46"/>
              <a:gd fmla="*/ 2147483646 h 474" name="T47"/>
              <a:gd fmla="*/ 2147483646 w 216" name="T48"/>
              <a:gd fmla="*/ 2147483646 h 474" name="T49"/>
              <a:gd fmla="*/ 2147483646 w 216" name="T50"/>
              <a:gd fmla="*/ 2147483646 h 474" name="T51"/>
              <a:gd fmla="*/ 2147483646 w 216" name="T52"/>
              <a:gd fmla="*/ 2147483646 h 474" name="T53"/>
              <a:gd fmla="*/ 2147483646 w 216" name="T54"/>
              <a:gd fmla="*/ 2147483646 h 474" name="T55"/>
              <a:gd fmla="*/ 2147483646 w 216" name="T56"/>
              <a:gd fmla="*/ 2147483646 h 474" name="T57"/>
              <a:gd fmla="*/ 2147483646 w 216" name="T58"/>
              <a:gd fmla="*/ 2147483646 h 474" name="T59"/>
              <a:gd fmla="*/ 2147483646 w 216" name="T60"/>
              <a:gd fmla="*/ 2147483646 h 474" name="T61"/>
              <a:gd fmla="*/ 2147483646 w 216" name="T62"/>
              <a:gd fmla="*/ 2147483646 h 474" name="T63"/>
              <a:gd fmla="*/ 2147483646 w 216" name="T64"/>
              <a:gd fmla="*/ 2147483646 h 474" name="T65"/>
              <a:gd fmla="*/ 2147483646 w 216" name="T66"/>
              <a:gd fmla="*/ 2147483646 h 474" name="T67"/>
              <a:gd fmla="*/ 2147483646 w 216" name="T68"/>
              <a:gd fmla="*/ 2147483646 h 474" name="T69"/>
              <a:gd fmla="*/ 2147483646 w 216" name="T70"/>
              <a:gd fmla="*/ 2147483646 h 474" name="T71"/>
              <a:gd fmla="*/ 2147483646 w 216" name="T72"/>
              <a:gd fmla="*/ 2147483646 h 474" name="T73"/>
              <a:gd fmla="*/ 2147483646 w 216" name="T74"/>
              <a:gd fmla="*/ 2147483646 h 474" name="T75"/>
              <a:gd fmla="*/ 2147483646 w 216" name="T76"/>
              <a:gd fmla="*/ 2147483646 h 474" name="T77"/>
              <a:gd fmla="*/ 2147483646 w 216" name="T78"/>
              <a:gd fmla="*/ 2147483646 h 474" name="T79"/>
              <a:gd fmla="*/ 2147483646 w 216" name="T80"/>
              <a:gd fmla="*/ 2147483646 h 474" name="T81"/>
              <a:gd fmla="*/ 2147483646 w 216" name="T82"/>
              <a:gd fmla="*/ 2147483646 h 474" name="T83"/>
              <a:gd fmla="*/ 2147483646 w 216" name="T84"/>
              <a:gd fmla="*/ 2147483646 h 474" name="T85"/>
              <a:gd fmla="*/ 2147483646 w 216" name="T86"/>
              <a:gd fmla="*/ 2147483646 h 474" name="T87"/>
              <a:gd fmla="*/ 2147483646 w 216" name="T88"/>
              <a:gd fmla="*/ 2147483646 h 474" name="T89"/>
              <a:gd fmla="*/ 2147483646 w 216" name="T90"/>
              <a:gd fmla="*/ 2147483646 h 474" name="T91"/>
              <a:gd fmla="*/ 2147483646 w 216" name="T92"/>
              <a:gd fmla="*/ 2147483646 h 474" name="T93"/>
              <a:gd fmla="*/ 2147483646 w 216" name="T94"/>
              <a:gd fmla="*/ 2147483646 h 474" name="T95"/>
              <a:gd fmla="*/ 2147483646 w 216" name="T96"/>
              <a:gd fmla="*/ 2147483646 h 474"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b="b" l="0" r="r" t="0"/>
            <a:pathLst>
              <a:path h="473" w="216">
                <a:moveTo>
                  <a:pt x="202" y="24"/>
                </a:moveTo>
                <a:lnTo>
                  <a:pt x="204" y="20"/>
                </a:lnTo>
                <a:lnTo>
                  <a:pt x="200" y="8"/>
                </a:lnTo>
                <a:lnTo>
                  <a:pt x="194" y="0"/>
                </a:lnTo>
                <a:lnTo>
                  <a:pt x="188" y="12"/>
                </a:lnTo>
                <a:lnTo>
                  <a:pt x="176" y="24"/>
                </a:lnTo>
                <a:lnTo>
                  <a:pt x="174" y="24"/>
                </a:lnTo>
                <a:lnTo>
                  <a:pt x="156" y="30"/>
                </a:lnTo>
                <a:lnTo>
                  <a:pt x="154" y="30"/>
                </a:lnTo>
                <a:lnTo>
                  <a:pt x="136" y="28"/>
                </a:lnTo>
                <a:lnTo>
                  <a:pt x="124" y="30"/>
                </a:lnTo>
                <a:lnTo>
                  <a:pt x="122" y="40"/>
                </a:lnTo>
                <a:lnTo>
                  <a:pt x="112" y="46"/>
                </a:lnTo>
                <a:lnTo>
                  <a:pt x="112" y="48"/>
                </a:lnTo>
                <a:lnTo>
                  <a:pt x="110" y="48"/>
                </a:lnTo>
                <a:lnTo>
                  <a:pt x="94" y="46"/>
                </a:lnTo>
                <a:lnTo>
                  <a:pt x="92" y="48"/>
                </a:lnTo>
                <a:lnTo>
                  <a:pt x="92" y="64"/>
                </a:lnTo>
                <a:lnTo>
                  <a:pt x="84" y="76"/>
                </a:lnTo>
                <a:lnTo>
                  <a:pt x="82" y="76"/>
                </a:lnTo>
                <a:lnTo>
                  <a:pt x="68" y="92"/>
                </a:lnTo>
                <a:lnTo>
                  <a:pt x="66" y="92"/>
                </a:lnTo>
                <a:lnTo>
                  <a:pt x="50" y="96"/>
                </a:lnTo>
                <a:lnTo>
                  <a:pt x="40" y="106"/>
                </a:lnTo>
                <a:lnTo>
                  <a:pt x="42" y="120"/>
                </a:lnTo>
                <a:lnTo>
                  <a:pt x="42" y="124"/>
                </a:lnTo>
                <a:lnTo>
                  <a:pt x="40" y="124"/>
                </a:lnTo>
                <a:lnTo>
                  <a:pt x="28" y="136"/>
                </a:lnTo>
                <a:lnTo>
                  <a:pt x="20" y="144"/>
                </a:lnTo>
                <a:lnTo>
                  <a:pt x="26" y="154"/>
                </a:lnTo>
                <a:lnTo>
                  <a:pt x="26" y="156"/>
                </a:lnTo>
                <a:lnTo>
                  <a:pt x="26" y="170"/>
                </a:lnTo>
                <a:lnTo>
                  <a:pt x="26" y="172"/>
                </a:lnTo>
                <a:lnTo>
                  <a:pt x="16" y="184"/>
                </a:lnTo>
                <a:lnTo>
                  <a:pt x="4" y="198"/>
                </a:lnTo>
                <a:lnTo>
                  <a:pt x="6" y="214"/>
                </a:lnTo>
                <a:lnTo>
                  <a:pt x="16" y="224"/>
                </a:lnTo>
                <a:lnTo>
                  <a:pt x="22" y="236"/>
                </a:lnTo>
                <a:lnTo>
                  <a:pt x="24" y="244"/>
                </a:lnTo>
                <a:lnTo>
                  <a:pt x="24" y="262"/>
                </a:lnTo>
                <a:lnTo>
                  <a:pt x="22" y="264"/>
                </a:lnTo>
                <a:lnTo>
                  <a:pt x="6" y="276"/>
                </a:lnTo>
                <a:lnTo>
                  <a:pt x="4" y="300"/>
                </a:lnTo>
                <a:lnTo>
                  <a:pt x="6" y="324"/>
                </a:lnTo>
                <a:lnTo>
                  <a:pt x="10" y="340"/>
                </a:lnTo>
                <a:lnTo>
                  <a:pt x="18" y="368"/>
                </a:lnTo>
                <a:lnTo>
                  <a:pt x="18" y="370"/>
                </a:lnTo>
                <a:lnTo>
                  <a:pt x="18" y="372"/>
                </a:lnTo>
                <a:lnTo>
                  <a:pt x="0" y="452"/>
                </a:lnTo>
                <a:lnTo>
                  <a:pt x="2" y="468"/>
                </a:lnTo>
                <a:lnTo>
                  <a:pt x="14" y="474"/>
                </a:lnTo>
                <a:lnTo>
                  <a:pt x="32" y="456"/>
                </a:lnTo>
                <a:lnTo>
                  <a:pt x="34" y="456"/>
                </a:lnTo>
                <a:lnTo>
                  <a:pt x="96" y="432"/>
                </a:lnTo>
                <a:lnTo>
                  <a:pt x="112" y="416"/>
                </a:lnTo>
                <a:lnTo>
                  <a:pt x="114" y="416"/>
                </a:lnTo>
                <a:lnTo>
                  <a:pt x="116" y="416"/>
                </a:lnTo>
                <a:lnTo>
                  <a:pt x="150" y="420"/>
                </a:lnTo>
                <a:lnTo>
                  <a:pt x="162" y="416"/>
                </a:lnTo>
                <a:lnTo>
                  <a:pt x="180" y="408"/>
                </a:lnTo>
                <a:lnTo>
                  <a:pt x="180" y="392"/>
                </a:lnTo>
                <a:lnTo>
                  <a:pt x="182" y="392"/>
                </a:lnTo>
                <a:lnTo>
                  <a:pt x="192" y="382"/>
                </a:lnTo>
                <a:lnTo>
                  <a:pt x="190" y="372"/>
                </a:lnTo>
                <a:lnTo>
                  <a:pt x="190" y="370"/>
                </a:lnTo>
                <a:lnTo>
                  <a:pt x="190" y="368"/>
                </a:lnTo>
                <a:lnTo>
                  <a:pt x="194" y="364"/>
                </a:lnTo>
                <a:lnTo>
                  <a:pt x="192" y="360"/>
                </a:lnTo>
                <a:lnTo>
                  <a:pt x="190" y="356"/>
                </a:lnTo>
                <a:lnTo>
                  <a:pt x="190" y="352"/>
                </a:lnTo>
                <a:lnTo>
                  <a:pt x="194" y="340"/>
                </a:lnTo>
                <a:lnTo>
                  <a:pt x="198" y="336"/>
                </a:lnTo>
                <a:lnTo>
                  <a:pt x="196" y="324"/>
                </a:lnTo>
                <a:lnTo>
                  <a:pt x="184" y="310"/>
                </a:lnTo>
                <a:lnTo>
                  <a:pt x="182" y="306"/>
                </a:lnTo>
                <a:lnTo>
                  <a:pt x="180" y="302"/>
                </a:lnTo>
                <a:lnTo>
                  <a:pt x="180" y="298"/>
                </a:lnTo>
                <a:lnTo>
                  <a:pt x="182" y="294"/>
                </a:lnTo>
                <a:lnTo>
                  <a:pt x="184" y="288"/>
                </a:lnTo>
                <a:lnTo>
                  <a:pt x="190" y="280"/>
                </a:lnTo>
                <a:lnTo>
                  <a:pt x="192" y="268"/>
                </a:lnTo>
                <a:lnTo>
                  <a:pt x="202" y="248"/>
                </a:lnTo>
                <a:lnTo>
                  <a:pt x="204" y="240"/>
                </a:lnTo>
                <a:lnTo>
                  <a:pt x="216" y="216"/>
                </a:lnTo>
                <a:lnTo>
                  <a:pt x="208" y="200"/>
                </a:lnTo>
                <a:lnTo>
                  <a:pt x="184" y="184"/>
                </a:lnTo>
                <a:lnTo>
                  <a:pt x="182" y="184"/>
                </a:lnTo>
                <a:lnTo>
                  <a:pt x="176" y="170"/>
                </a:lnTo>
                <a:lnTo>
                  <a:pt x="176" y="168"/>
                </a:lnTo>
                <a:lnTo>
                  <a:pt x="180" y="146"/>
                </a:lnTo>
                <a:lnTo>
                  <a:pt x="184" y="130"/>
                </a:lnTo>
                <a:lnTo>
                  <a:pt x="184" y="122"/>
                </a:lnTo>
                <a:lnTo>
                  <a:pt x="188" y="116"/>
                </a:lnTo>
                <a:lnTo>
                  <a:pt x="190" y="114"/>
                </a:lnTo>
                <a:lnTo>
                  <a:pt x="194" y="114"/>
                </a:lnTo>
                <a:lnTo>
                  <a:pt x="208" y="112"/>
                </a:lnTo>
                <a:lnTo>
                  <a:pt x="212" y="102"/>
                </a:lnTo>
                <a:lnTo>
                  <a:pt x="216" y="76"/>
                </a:lnTo>
                <a:lnTo>
                  <a:pt x="214" y="66"/>
                </a:lnTo>
                <a:lnTo>
                  <a:pt x="200" y="64"/>
                </a:lnTo>
                <a:lnTo>
                  <a:pt x="184" y="56"/>
                </a:lnTo>
                <a:lnTo>
                  <a:pt x="182" y="54"/>
                </a:lnTo>
                <a:lnTo>
                  <a:pt x="182" y="52"/>
                </a:lnTo>
                <a:lnTo>
                  <a:pt x="180" y="32"/>
                </a:lnTo>
                <a:lnTo>
                  <a:pt x="180" y="28"/>
                </a:lnTo>
                <a:lnTo>
                  <a:pt x="202" y="24"/>
                </a:lnTo>
                <a:close/>
              </a:path>
            </a:pathLst>
          </a:custGeom>
          <a:solidFill>
            <a:srgbClr val="E00024">
              <a:alpha val="60000"/>
            </a:srgbClr>
          </a:solidFill>
          <a:ln>
            <a:noFill/>
          </a:ln>
        </p:spPr>
        <p:txBody>
          <a:bodyPr/>
          <a:lstStyle/>
          <a:p>
            <a:endParaRPr altLang="en-US" lang="zh-CN">
              <a:cs typeface="+mn-ea"/>
              <a:sym typeface="+mn-lt"/>
            </a:endParaRPr>
          </a:p>
        </p:txBody>
      </p:sp>
      <p:sp>
        <p:nvSpPr>
          <p:cNvPr id="18" name="湖南"/>
          <p:cNvSpPr/>
          <p:nvPr/>
        </p:nvSpPr>
        <p:spPr bwMode="auto">
          <a:xfrm>
            <a:off x="4205934" y="4512980"/>
            <a:ext cx="507380" cy="590257"/>
          </a:xfrm>
          <a:custGeom>
            <a:gdLst>
              <a:gd fmla="*/ 2147483646 w 344" name="T0"/>
              <a:gd fmla="*/ 2147483646 h 400" name="T1"/>
              <a:gd fmla="*/ 2147483646 w 344" name="T2"/>
              <a:gd fmla="*/ 2147483646 h 400" name="T3"/>
              <a:gd fmla="*/ 2147483646 w 344" name="T4"/>
              <a:gd fmla="*/ 2147483646 h 400" name="T5"/>
              <a:gd fmla="*/ 2147483646 w 344" name="T6"/>
              <a:gd fmla="*/ 2147483646 h 400" name="T7"/>
              <a:gd fmla="*/ 2147483646 w 344" name="T8"/>
              <a:gd fmla="*/ 2147483646 h 400" name="T9"/>
              <a:gd fmla="*/ 2147483646 w 344" name="T10"/>
              <a:gd fmla="*/ 2147483646 h 400" name="T11"/>
              <a:gd fmla="*/ 2147483646 w 344" name="T12"/>
              <a:gd fmla="*/ 2147483646 h 400" name="T13"/>
              <a:gd fmla="*/ 2147483646 w 344" name="T14"/>
              <a:gd fmla="*/ 2147483646 h 400" name="T15"/>
              <a:gd fmla="*/ 2147483646 w 344" name="T16"/>
              <a:gd fmla="*/ 2147483646 h 400" name="T17"/>
              <a:gd fmla="*/ 2147483646 w 344" name="T18"/>
              <a:gd fmla="*/ 2147483646 h 400" name="T19"/>
              <a:gd fmla="*/ 2147483646 w 344" name="T20"/>
              <a:gd fmla="*/ 0 h 400" name="T21"/>
              <a:gd fmla="*/ 2147483646 w 344" name="T22"/>
              <a:gd fmla="*/ 2147483646 h 400" name="T23"/>
              <a:gd fmla="*/ 2147483646 w 344" name="T24"/>
              <a:gd fmla="*/ 2147483646 h 400" name="T25"/>
              <a:gd fmla="*/ 2147483646 w 344" name="T26"/>
              <a:gd fmla="*/ 2147483646 h 400" name="T27"/>
              <a:gd fmla="*/ 2147483646 w 344" name="T28"/>
              <a:gd fmla="*/ 2147483646 h 400" name="T29"/>
              <a:gd fmla="*/ 2147483646 w 344" name="T30"/>
              <a:gd fmla="*/ 2147483646 h 400" name="T31"/>
              <a:gd fmla="*/ 2147483646 w 344" name="T32"/>
              <a:gd fmla="*/ 2147483646 h 400" name="T33"/>
              <a:gd fmla="*/ 2147483646 w 344" name="T34"/>
              <a:gd fmla="*/ 2147483646 h 400" name="T35"/>
              <a:gd fmla="*/ 2147483646 w 344" name="T36"/>
              <a:gd fmla="*/ 2147483646 h 400" name="T37"/>
              <a:gd fmla="*/ 2147483646 w 344" name="T38"/>
              <a:gd fmla="*/ 2147483646 h 400" name="T39"/>
              <a:gd fmla="*/ 2147483646 w 344" name="T40"/>
              <a:gd fmla="*/ 2147483646 h 400" name="T41"/>
              <a:gd fmla="*/ 2147483646 w 344" name="T42"/>
              <a:gd fmla="*/ 2147483646 h 400" name="T43"/>
              <a:gd fmla="*/ 2147483646 w 344" name="T44"/>
              <a:gd fmla="*/ 2147483646 h 400" name="T45"/>
              <a:gd fmla="*/ 2147483646 w 344" name="T46"/>
              <a:gd fmla="*/ 2147483646 h 400" name="T47"/>
              <a:gd fmla="*/ 2147483646 w 344" name="T48"/>
              <a:gd fmla="*/ 2147483646 h 400" name="T49"/>
              <a:gd fmla="*/ 2147483646 w 344" name="T50"/>
              <a:gd fmla="*/ 2147483646 h 400" name="T51"/>
              <a:gd fmla="*/ 2147483646 w 344" name="T52"/>
              <a:gd fmla="*/ 2147483646 h 400" name="T53"/>
              <a:gd fmla="*/ 2147483646 w 344" name="T54"/>
              <a:gd fmla="*/ 2147483646 h 400" name="T55"/>
              <a:gd fmla="*/ 2147483646 w 344" name="T56"/>
              <a:gd fmla="*/ 2147483646 h 400" name="T57"/>
              <a:gd fmla="*/ 2147483646 w 344" name="T58"/>
              <a:gd fmla="*/ 2147483646 h 400" name="T59"/>
              <a:gd fmla="*/ 2147483646 w 344" name="T60"/>
              <a:gd fmla="*/ 2147483646 h 400" name="T61"/>
              <a:gd fmla="*/ 2147483646 w 344" name="T62"/>
              <a:gd fmla="*/ 2147483646 h 400" name="T63"/>
              <a:gd fmla="*/ 2147483646 w 344" name="T64"/>
              <a:gd fmla="*/ 2147483646 h 400" name="T65"/>
              <a:gd fmla="*/ 2147483646 w 344" name="T66"/>
              <a:gd fmla="*/ 2147483646 h 400" name="T67"/>
              <a:gd fmla="*/ 2147483646 w 344" name="T68"/>
              <a:gd fmla="*/ 2147483646 h 400" name="T69"/>
              <a:gd fmla="*/ 2147483646 w 344" name="T70"/>
              <a:gd fmla="*/ 2147483646 h 400" name="T71"/>
              <a:gd fmla="*/ 2147483646 w 344" name="T72"/>
              <a:gd fmla="*/ 2147483646 h 400" name="T73"/>
              <a:gd fmla="*/ 2147483646 w 344" name="T74"/>
              <a:gd fmla="*/ 2147483646 h 400" name="T75"/>
              <a:gd fmla="*/ 2147483646 w 344" name="T76"/>
              <a:gd fmla="*/ 2147483646 h 400" name="T77"/>
              <a:gd fmla="*/ 2147483646 w 344" name="T78"/>
              <a:gd fmla="*/ 2147483646 h 400" name="T79"/>
              <a:gd fmla="*/ 2147483646 w 344" name="T80"/>
              <a:gd fmla="*/ 2147483646 h 400" name="T81"/>
              <a:gd fmla="*/ 2147483646 w 344" name="T82"/>
              <a:gd fmla="*/ 2147483646 h 400" name="T83"/>
              <a:gd fmla="*/ 2147483646 w 344" name="T84"/>
              <a:gd fmla="*/ 2147483646 h 400" name="T85"/>
              <a:gd fmla="*/ 2147483646 w 344" name="T86"/>
              <a:gd fmla="*/ 2147483646 h 400" name="T87"/>
              <a:gd fmla="*/ 2147483646 w 344" name="T88"/>
              <a:gd fmla="*/ 2147483646 h 400" name="T89"/>
              <a:gd fmla="*/ 2147483646 w 344" name="T90"/>
              <a:gd fmla="*/ 2147483646 h 400" name="T91"/>
              <a:gd fmla="*/ 2147483646 w 344" name="T92"/>
              <a:gd fmla="*/ 2147483646 h 400" name="T93"/>
              <a:gd fmla="*/ 2147483646 w 344" name="T94"/>
              <a:gd fmla="*/ 2147483646 h 400" name="T95"/>
              <a:gd fmla="*/ 2147483646 w 344" name="T96"/>
              <a:gd fmla="*/ 2147483646 h 400" name="T97"/>
              <a:gd fmla="*/ 2147483646 w 344" name="T98"/>
              <a:gd fmla="*/ 2147483646 h 400" name="T99"/>
              <a:gd fmla="*/ 2147483646 w 344" name="T100"/>
              <a:gd fmla="*/ 2147483646 h 400" name="T101"/>
              <a:gd fmla="*/ 2147483646 w 344" name="T102"/>
              <a:gd fmla="*/ 2147483646 h 400" name="T103"/>
              <a:gd fmla="*/ 2147483646 w 344" name="T104"/>
              <a:gd fmla="*/ 2147483646 h 400"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b="b" l="0" r="r" t="0"/>
            <a:pathLst>
              <a:path h="400" w="344">
                <a:moveTo>
                  <a:pt x="300" y="68"/>
                </a:moveTo>
                <a:lnTo>
                  <a:pt x="300" y="68"/>
                </a:lnTo>
                <a:lnTo>
                  <a:pt x="300" y="66"/>
                </a:lnTo>
                <a:lnTo>
                  <a:pt x="292" y="54"/>
                </a:lnTo>
                <a:lnTo>
                  <a:pt x="292" y="52"/>
                </a:lnTo>
                <a:lnTo>
                  <a:pt x="294" y="32"/>
                </a:lnTo>
                <a:lnTo>
                  <a:pt x="292" y="28"/>
                </a:lnTo>
                <a:lnTo>
                  <a:pt x="286" y="24"/>
                </a:lnTo>
                <a:lnTo>
                  <a:pt x="282" y="24"/>
                </a:lnTo>
                <a:lnTo>
                  <a:pt x="274" y="34"/>
                </a:lnTo>
                <a:lnTo>
                  <a:pt x="272" y="34"/>
                </a:lnTo>
                <a:lnTo>
                  <a:pt x="252" y="44"/>
                </a:lnTo>
                <a:lnTo>
                  <a:pt x="250" y="30"/>
                </a:lnTo>
                <a:lnTo>
                  <a:pt x="250" y="28"/>
                </a:lnTo>
                <a:lnTo>
                  <a:pt x="252" y="22"/>
                </a:lnTo>
                <a:lnTo>
                  <a:pt x="250" y="14"/>
                </a:lnTo>
                <a:lnTo>
                  <a:pt x="248" y="12"/>
                </a:lnTo>
                <a:lnTo>
                  <a:pt x="244" y="20"/>
                </a:lnTo>
                <a:lnTo>
                  <a:pt x="218" y="42"/>
                </a:lnTo>
                <a:lnTo>
                  <a:pt x="218" y="44"/>
                </a:lnTo>
                <a:lnTo>
                  <a:pt x="216" y="44"/>
                </a:lnTo>
                <a:lnTo>
                  <a:pt x="214" y="44"/>
                </a:lnTo>
                <a:lnTo>
                  <a:pt x="206" y="40"/>
                </a:lnTo>
                <a:lnTo>
                  <a:pt x="198" y="32"/>
                </a:lnTo>
                <a:lnTo>
                  <a:pt x="184" y="28"/>
                </a:lnTo>
                <a:lnTo>
                  <a:pt x="184" y="26"/>
                </a:lnTo>
                <a:lnTo>
                  <a:pt x="176" y="20"/>
                </a:lnTo>
                <a:lnTo>
                  <a:pt x="150" y="16"/>
                </a:lnTo>
                <a:lnTo>
                  <a:pt x="148" y="16"/>
                </a:lnTo>
                <a:lnTo>
                  <a:pt x="132" y="6"/>
                </a:lnTo>
                <a:lnTo>
                  <a:pt x="132" y="8"/>
                </a:lnTo>
                <a:lnTo>
                  <a:pt x="118" y="0"/>
                </a:lnTo>
                <a:lnTo>
                  <a:pt x="100" y="0"/>
                </a:lnTo>
                <a:lnTo>
                  <a:pt x="94" y="0"/>
                </a:lnTo>
                <a:lnTo>
                  <a:pt x="100" y="30"/>
                </a:lnTo>
                <a:lnTo>
                  <a:pt x="96" y="30"/>
                </a:lnTo>
                <a:lnTo>
                  <a:pt x="80" y="32"/>
                </a:lnTo>
                <a:lnTo>
                  <a:pt x="70" y="32"/>
                </a:lnTo>
                <a:lnTo>
                  <a:pt x="68" y="32"/>
                </a:lnTo>
                <a:lnTo>
                  <a:pt x="60" y="24"/>
                </a:lnTo>
                <a:lnTo>
                  <a:pt x="44" y="32"/>
                </a:lnTo>
                <a:lnTo>
                  <a:pt x="28" y="52"/>
                </a:lnTo>
                <a:lnTo>
                  <a:pt x="16" y="86"/>
                </a:lnTo>
                <a:lnTo>
                  <a:pt x="20" y="124"/>
                </a:lnTo>
                <a:lnTo>
                  <a:pt x="26" y="144"/>
                </a:lnTo>
                <a:lnTo>
                  <a:pt x="26" y="148"/>
                </a:lnTo>
                <a:lnTo>
                  <a:pt x="24" y="150"/>
                </a:lnTo>
                <a:lnTo>
                  <a:pt x="20" y="152"/>
                </a:lnTo>
                <a:lnTo>
                  <a:pt x="20" y="156"/>
                </a:lnTo>
                <a:lnTo>
                  <a:pt x="18" y="166"/>
                </a:lnTo>
                <a:lnTo>
                  <a:pt x="26" y="198"/>
                </a:lnTo>
                <a:lnTo>
                  <a:pt x="24" y="200"/>
                </a:lnTo>
                <a:lnTo>
                  <a:pt x="8" y="210"/>
                </a:lnTo>
                <a:lnTo>
                  <a:pt x="4" y="214"/>
                </a:lnTo>
                <a:lnTo>
                  <a:pt x="2" y="218"/>
                </a:lnTo>
                <a:lnTo>
                  <a:pt x="0" y="228"/>
                </a:lnTo>
                <a:lnTo>
                  <a:pt x="14" y="224"/>
                </a:lnTo>
                <a:lnTo>
                  <a:pt x="14" y="222"/>
                </a:lnTo>
                <a:lnTo>
                  <a:pt x="16" y="222"/>
                </a:lnTo>
                <a:lnTo>
                  <a:pt x="22" y="224"/>
                </a:lnTo>
                <a:lnTo>
                  <a:pt x="26" y="226"/>
                </a:lnTo>
                <a:lnTo>
                  <a:pt x="30" y="228"/>
                </a:lnTo>
                <a:lnTo>
                  <a:pt x="32" y="234"/>
                </a:lnTo>
                <a:lnTo>
                  <a:pt x="34" y="252"/>
                </a:lnTo>
                <a:lnTo>
                  <a:pt x="32" y="254"/>
                </a:lnTo>
                <a:lnTo>
                  <a:pt x="32" y="256"/>
                </a:lnTo>
                <a:lnTo>
                  <a:pt x="28" y="260"/>
                </a:lnTo>
                <a:lnTo>
                  <a:pt x="28" y="264"/>
                </a:lnTo>
                <a:lnTo>
                  <a:pt x="24" y="282"/>
                </a:lnTo>
                <a:lnTo>
                  <a:pt x="28" y="290"/>
                </a:lnTo>
                <a:lnTo>
                  <a:pt x="32" y="296"/>
                </a:lnTo>
                <a:lnTo>
                  <a:pt x="48" y="316"/>
                </a:lnTo>
                <a:lnTo>
                  <a:pt x="64" y="304"/>
                </a:lnTo>
                <a:lnTo>
                  <a:pt x="76" y="302"/>
                </a:lnTo>
                <a:lnTo>
                  <a:pt x="76" y="304"/>
                </a:lnTo>
                <a:lnTo>
                  <a:pt x="84" y="306"/>
                </a:lnTo>
                <a:lnTo>
                  <a:pt x="88" y="306"/>
                </a:lnTo>
                <a:lnTo>
                  <a:pt x="92" y="302"/>
                </a:lnTo>
                <a:lnTo>
                  <a:pt x="100" y="292"/>
                </a:lnTo>
                <a:lnTo>
                  <a:pt x="98" y="286"/>
                </a:lnTo>
                <a:lnTo>
                  <a:pt x="100" y="282"/>
                </a:lnTo>
                <a:lnTo>
                  <a:pt x="104" y="280"/>
                </a:lnTo>
                <a:lnTo>
                  <a:pt x="124" y="280"/>
                </a:lnTo>
                <a:lnTo>
                  <a:pt x="128" y="280"/>
                </a:lnTo>
                <a:lnTo>
                  <a:pt x="130" y="280"/>
                </a:lnTo>
                <a:lnTo>
                  <a:pt x="134" y="274"/>
                </a:lnTo>
                <a:lnTo>
                  <a:pt x="136" y="270"/>
                </a:lnTo>
                <a:lnTo>
                  <a:pt x="142" y="270"/>
                </a:lnTo>
                <a:lnTo>
                  <a:pt x="146" y="272"/>
                </a:lnTo>
                <a:lnTo>
                  <a:pt x="152" y="280"/>
                </a:lnTo>
                <a:lnTo>
                  <a:pt x="154" y="284"/>
                </a:lnTo>
                <a:lnTo>
                  <a:pt x="156" y="288"/>
                </a:lnTo>
                <a:lnTo>
                  <a:pt x="154" y="302"/>
                </a:lnTo>
                <a:lnTo>
                  <a:pt x="156" y="304"/>
                </a:lnTo>
                <a:lnTo>
                  <a:pt x="162" y="310"/>
                </a:lnTo>
                <a:lnTo>
                  <a:pt x="164" y="316"/>
                </a:lnTo>
                <a:lnTo>
                  <a:pt x="162" y="330"/>
                </a:lnTo>
                <a:lnTo>
                  <a:pt x="158" y="340"/>
                </a:lnTo>
                <a:lnTo>
                  <a:pt x="154" y="344"/>
                </a:lnTo>
                <a:lnTo>
                  <a:pt x="142" y="370"/>
                </a:lnTo>
                <a:lnTo>
                  <a:pt x="146" y="372"/>
                </a:lnTo>
                <a:lnTo>
                  <a:pt x="164" y="372"/>
                </a:lnTo>
                <a:lnTo>
                  <a:pt x="168" y="374"/>
                </a:lnTo>
                <a:lnTo>
                  <a:pt x="168" y="376"/>
                </a:lnTo>
                <a:lnTo>
                  <a:pt x="164" y="388"/>
                </a:lnTo>
                <a:lnTo>
                  <a:pt x="164" y="394"/>
                </a:lnTo>
                <a:lnTo>
                  <a:pt x="172" y="398"/>
                </a:lnTo>
                <a:lnTo>
                  <a:pt x="176" y="400"/>
                </a:lnTo>
                <a:lnTo>
                  <a:pt x="178" y="398"/>
                </a:lnTo>
                <a:lnTo>
                  <a:pt x="188" y="394"/>
                </a:lnTo>
                <a:lnTo>
                  <a:pt x="194" y="392"/>
                </a:lnTo>
                <a:lnTo>
                  <a:pt x="204" y="392"/>
                </a:lnTo>
                <a:lnTo>
                  <a:pt x="216" y="380"/>
                </a:lnTo>
                <a:lnTo>
                  <a:pt x="216" y="366"/>
                </a:lnTo>
                <a:lnTo>
                  <a:pt x="216" y="360"/>
                </a:lnTo>
                <a:lnTo>
                  <a:pt x="216" y="356"/>
                </a:lnTo>
                <a:lnTo>
                  <a:pt x="220" y="354"/>
                </a:lnTo>
                <a:lnTo>
                  <a:pt x="224" y="354"/>
                </a:lnTo>
                <a:lnTo>
                  <a:pt x="230" y="356"/>
                </a:lnTo>
                <a:lnTo>
                  <a:pt x="236" y="360"/>
                </a:lnTo>
                <a:lnTo>
                  <a:pt x="256" y="372"/>
                </a:lnTo>
                <a:lnTo>
                  <a:pt x="264" y="376"/>
                </a:lnTo>
                <a:lnTo>
                  <a:pt x="270" y="378"/>
                </a:lnTo>
                <a:lnTo>
                  <a:pt x="270" y="376"/>
                </a:lnTo>
                <a:lnTo>
                  <a:pt x="270" y="370"/>
                </a:lnTo>
                <a:lnTo>
                  <a:pt x="266" y="360"/>
                </a:lnTo>
                <a:lnTo>
                  <a:pt x="256" y="344"/>
                </a:lnTo>
                <a:lnTo>
                  <a:pt x="256" y="342"/>
                </a:lnTo>
                <a:lnTo>
                  <a:pt x="256" y="340"/>
                </a:lnTo>
                <a:lnTo>
                  <a:pt x="264" y="332"/>
                </a:lnTo>
                <a:lnTo>
                  <a:pt x="274" y="326"/>
                </a:lnTo>
                <a:lnTo>
                  <a:pt x="282" y="324"/>
                </a:lnTo>
                <a:lnTo>
                  <a:pt x="292" y="326"/>
                </a:lnTo>
                <a:lnTo>
                  <a:pt x="320" y="340"/>
                </a:lnTo>
                <a:lnTo>
                  <a:pt x="332" y="332"/>
                </a:lnTo>
                <a:lnTo>
                  <a:pt x="334" y="332"/>
                </a:lnTo>
                <a:lnTo>
                  <a:pt x="334" y="330"/>
                </a:lnTo>
                <a:lnTo>
                  <a:pt x="332" y="328"/>
                </a:lnTo>
                <a:lnTo>
                  <a:pt x="334" y="326"/>
                </a:lnTo>
                <a:lnTo>
                  <a:pt x="340" y="314"/>
                </a:lnTo>
                <a:lnTo>
                  <a:pt x="344" y="304"/>
                </a:lnTo>
                <a:lnTo>
                  <a:pt x="344" y="298"/>
                </a:lnTo>
                <a:lnTo>
                  <a:pt x="344" y="292"/>
                </a:lnTo>
                <a:lnTo>
                  <a:pt x="338" y="286"/>
                </a:lnTo>
                <a:lnTo>
                  <a:pt x="334" y="284"/>
                </a:lnTo>
                <a:lnTo>
                  <a:pt x="332" y="284"/>
                </a:lnTo>
                <a:lnTo>
                  <a:pt x="330" y="276"/>
                </a:lnTo>
                <a:lnTo>
                  <a:pt x="332" y="276"/>
                </a:lnTo>
                <a:lnTo>
                  <a:pt x="338" y="272"/>
                </a:lnTo>
                <a:lnTo>
                  <a:pt x="340" y="268"/>
                </a:lnTo>
                <a:lnTo>
                  <a:pt x="338" y="264"/>
                </a:lnTo>
                <a:lnTo>
                  <a:pt x="326" y="252"/>
                </a:lnTo>
                <a:lnTo>
                  <a:pt x="326" y="250"/>
                </a:lnTo>
                <a:lnTo>
                  <a:pt x="320" y="232"/>
                </a:lnTo>
                <a:lnTo>
                  <a:pt x="316" y="214"/>
                </a:lnTo>
                <a:lnTo>
                  <a:pt x="316" y="196"/>
                </a:lnTo>
                <a:lnTo>
                  <a:pt x="316" y="188"/>
                </a:lnTo>
                <a:lnTo>
                  <a:pt x="308" y="196"/>
                </a:lnTo>
                <a:lnTo>
                  <a:pt x="302" y="204"/>
                </a:lnTo>
                <a:lnTo>
                  <a:pt x="300" y="170"/>
                </a:lnTo>
                <a:lnTo>
                  <a:pt x="300" y="168"/>
                </a:lnTo>
                <a:lnTo>
                  <a:pt x="322" y="138"/>
                </a:lnTo>
                <a:lnTo>
                  <a:pt x="334" y="124"/>
                </a:lnTo>
                <a:lnTo>
                  <a:pt x="326" y="100"/>
                </a:lnTo>
                <a:lnTo>
                  <a:pt x="322" y="76"/>
                </a:lnTo>
                <a:lnTo>
                  <a:pt x="308" y="70"/>
                </a:lnTo>
                <a:lnTo>
                  <a:pt x="300" y="68"/>
                </a:lnTo>
                <a:close/>
              </a:path>
            </a:pathLst>
          </a:custGeom>
          <a:solidFill>
            <a:srgbClr val="BFBFBF"/>
          </a:solidFill>
          <a:ln>
            <a:noFill/>
          </a:ln>
        </p:spPr>
        <p:txBody>
          <a:bodyPr/>
          <a:lstStyle/>
          <a:p>
            <a:endParaRPr altLang="en-US" lang="zh-CN">
              <a:cs typeface="+mn-ea"/>
              <a:sym typeface="+mn-lt"/>
            </a:endParaRPr>
          </a:p>
        </p:txBody>
      </p:sp>
      <p:sp>
        <p:nvSpPr>
          <p:cNvPr id="19" name="湖北"/>
          <p:cNvSpPr/>
          <p:nvPr/>
        </p:nvSpPr>
        <p:spPr bwMode="auto">
          <a:xfrm>
            <a:off x="4146937" y="4173582"/>
            <a:ext cx="719772" cy="451548"/>
          </a:xfrm>
          <a:custGeom>
            <a:gdLst>
              <a:gd fmla="*/ 2147483646 w 488" name="T0"/>
              <a:gd fmla="*/ 2147483646 h 306" name="T1"/>
              <a:gd fmla="*/ 2147483646 w 488" name="T2"/>
              <a:gd fmla="*/ 2147483646 h 306" name="T3"/>
              <a:gd fmla="*/ 2147483646 w 488" name="T4"/>
              <a:gd fmla="*/ 2147483646 h 306" name="T5"/>
              <a:gd fmla="*/ 2147483646 w 488" name="T6"/>
              <a:gd fmla="*/ 2147483646 h 306" name="T7"/>
              <a:gd fmla="*/ 2147483646 w 488" name="T8"/>
              <a:gd fmla="*/ 2147483646 h 306" name="T9"/>
              <a:gd fmla="*/ 2147483646 w 488" name="T10"/>
              <a:gd fmla="*/ 2147483646 h 306" name="T11"/>
              <a:gd fmla="*/ 2147483646 w 488" name="T12"/>
              <a:gd fmla="*/ 2147483646 h 306" name="T13"/>
              <a:gd fmla="*/ 2147483646 w 488" name="T14"/>
              <a:gd fmla="*/ 2147483646 h 306" name="T15"/>
              <a:gd fmla="*/ 2147483646 w 488" name="T16"/>
              <a:gd fmla="*/ 2147483646 h 306" name="T17"/>
              <a:gd fmla="*/ 2147483646 w 488" name="T18"/>
              <a:gd fmla="*/ 2147483646 h 306" name="T19"/>
              <a:gd fmla="*/ 2147483646 w 488" name="T20"/>
              <a:gd fmla="*/ 2147483646 h 306" name="T21"/>
              <a:gd fmla="*/ 2147483646 w 488" name="T22"/>
              <a:gd fmla="*/ 2147483646 h 306" name="T23"/>
              <a:gd fmla="*/ 2147483646 w 488" name="T24"/>
              <a:gd fmla="*/ 2147483646 h 306" name="T25"/>
              <a:gd fmla="*/ 2147483646 w 488" name="T26"/>
              <a:gd fmla="*/ 2147483646 h 306" name="T27"/>
              <a:gd fmla="*/ 2147483646 w 488" name="T28"/>
              <a:gd fmla="*/ 2147483646 h 306" name="T29"/>
              <a:gd fmla="*/ 2147483646 w 488" name="T30"/>
              <a:gd fmla="*/ 2147483646 h 306" name="T31"/>
              <a:gd fmla="*/ 2147483646 w 488" name="T32"/>
              <a:gd fmla="*/ 2147483646 h 306" name="T33"/>
              <a:gd fmla="*/ 2147483646 w 488" name="T34"/>
              <a:gd fmla="*/ 2147483646 h 306" name="T35"/>
              <a:gd fmla="*/ 2147483646 w 488" name="T36"/>
              <a:gd fmla="*/ 2147483646 h 306" name="T37"/>
              <a:gd fmla="*/ 2147483646 w 488" name="T38"/>
              <a:gd fmla="*/ 2147483646 h 306" name="T39"/>
              <a:gd fmla="*/ 2147483646 w 488" name="T40"/>
              <a:gd fmla="*/ 2147483646 h 306" name="T41"/>
              <a:gd fmla="*/ 2147483646 w 488" name="T42"/>
              <a:gd fmla="*/ 2147483646 h 306" name="T43"/>
              <a:gd fmla="*/ 2147483646 w 488" name="T44"/>
              <a:gd fmla="*/ 2147483646 h 306" name="T45"/>
              <a:gd fmla="*/ 2147483646 w 488" name="T46"/>
              <a:gd fmla="*/ 2147483646 h 306" name="T47"/>
              <a:gd fmla="*/ 2147483646 w 488" name="T48"/>
              <a:gd fmla="*/ 2147483646 h 306" name="T49"/>
              <a:gd fmla="*/ 2147483646 w 488" name="T50"/>
              <a:gd fmla="*/ 2147483646 h 306" name="T51"/>
              <a:gd fmla="*/ 2147483646 w 488" name="T52"/>
              <a:gd fmla="*/ 2147483646 h 306" name="T53"/>
              <a:gd fmla="*/ 2147483646 w 488" name="T54"/>
              <a:gd fmla="*/ 2147483646 h 306" name="T55"/>
              <a:gd fmla="*/ 2147483646 w 488" name="T56"/>
              <a:gd fmla="*/ 2147483646 h 306" name="T57"/>
              <a:gd fmla="*/ 2147483646 w 488" name="T58"/>
              <a:gd fmla="*/ 2147483646 h 306" name="T59"/>
              <a:gd fmla="*/ 2147483646 w 488" name="T60"/>
              <a:gd fmla="*/ 2147483646 h 306" name="T61"/>
              <a:gd fmla="*/ 2147483646 w 488" name="T62"/>
              <a:gd fmla="*/ 2147483646 h 306" name="T63"/>
              <a:gd fmla="*/ 2147483646 w 488" name="T64"/>
              <a:gd fmla="*/ 2147483646 h 306" name="T65"/>
              <a:gd fmla="*/ 2147483646 w 488" name="T66"/>
              <a:gd fmla="*/ 2147483646 h 306" name="T67"/>
              <a:gd fmla="*/ 2147483646 w 488" name="T68"/>
              <a:gd fmla="*/ 2147483646 h 306" name="T69"/>
              <a:gd fmla="*/ 2147483646 w 488" name="T70"/>
              <a:gd fmla="*/ 2147483646 h 306" name="T71"/>
              <a:gd fmla="*/ 2147483646 w 488" name="T72"/>
              <a:gd fmla="*/ 2147483646 h 306" name="T73"/>
              <a:gd fmla="*/ 2147483646 w 488" name="T74"/>
              <a:gd fmla="*/ 2147483646 h 306" name="T75"/>
              <a:gd fmla="*/ 2147483646 w 488" name="T76"/>
              <a:gd fmla="*/ 2147483646 h 306" name="T77"/>
              <a:gd fmla="*/ 2147483646 w 488" name="T78"/>
              <a:gd fmla="*/ 2147483646 h 306" name="T79"/>
              <a:gd fmla="*/ 2147483646 w 488" name="T80"/>
              <a:gd fmla="*/ 2147483646 h 306" name="T81"/>
              <a:gd fmla="*/ 2147483646 w 488" name="T82"/>
              <a:gd fmla="*/ 2147483646 h 306" name="T83"/>
              <a:gd fmla="*/ 2147483646 w 488" name="T84"/>
              <a:gd fmla="*/ 2147483646 h 306" name="T85"/>
              <a:gd fmla="*/ 2147483646 w 488" name="T86"/>
              <a:gd fmla="*/ 2147483646 h 306" name="T87"/>
              <a:gd fmla="*/ 2147483646 w 488" name="T88"/>
              <a:gd fmla="*/ 2147483646 h 306" name="T89"/>
              <a:gd fmla="*/ 2147483646 w 488" name="T90"/>
              <a:gd fmla="*/ 2147483646 h 306" name="T91"/>
              <a:gd fmla="*/ 2147483646 w 488" name="T92"/>
              <a:gd fmla="*/ 2147483646 h 306" name="T93"/>
              <a:gd fmla="*/ 2147483646 w 488" name="T94"/>
              <a:gd fmla="*/ 2147483646 h 306" name="T95"/>
              <a:gd fmla="*/ 2147483646 w 488" name="T96"/>
              <a:gd fmla="*/ 2147483646 h 306" name="T97"/>
              <a:gd fmla="*/ 2147483646 w 488" name="T98"/>
              <a:gd fmla="*/ 2147483646 h 306" name="T99"/>
              <a:gd fmla="*/ 2147483646 w 488" name="T100"/>
              <a:gd fmla="*/ 2147483646 h 306" name="T101"/>
              <a:gd fmla="*/ 2147483646 w 488" name="T102"/>
              <a:gd fmla="*/ 2147483646 h 306" name="T103"/>
              <a:gd fmla="*/ 2147483646 w 488" name="T104"/>
              <a:gd fmla="*/ 2147483646 h 306" name="T105"/>
              <a:gd fmla="*/ 2147483646 w 488" name="T106"/>
              <a:gd fmla="*/ 2147483646 h 306" name="T107"/>
              <a:gd fmla="*/ 2147483646 w 488" name="T108"/>
              <a:gd fmla="*/ 2147483646 h 306" name="T109"/>
              <a:gd fmla="*/ 2147483646 w 488" name="T110"/>
              <a:gd fmla="*/ 2147483646 h 306" name="T111"/>
              <a:gd fmla="*/ 2147483646 w 488" name="T112"/>
              <a:gd fmla="*/ 2147483646 h 306" name="T113"/>
              <a:gd fmla="*/ 2147483646 w 488" name="T114"/>
              <a:gd fmla="*/ 2147483646 h 30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b="b" l="0" r="r" t="0"/>
            <a:pathLst>
              <a:path h="306" w="488">
                <a:moveTo>
                  <a:pt x="62" y="2"/>
                </a:moveTo>
                <a:lnTo>
                  <a:pt x="60" y="4"/>
                </a:lnTo>
                <a:lnTo>
                  <a:pt x="64" y="10"/>
                </a:lnTo>
                <a:lnTo>
                  <a:pt x="86" y="24"/>
                </a:lnTo>
                <a:lnTo>
                  <a:pt x="100" y="38"/>
                </a:lnTo>
                <a:lnTo>
                  <a:pt x="98" y="40"/>
                </a:lnTo>
                <a:lnTo>
                  <a:pt x="90" y="50"/>
                </a:lnTo>
                <a:lnTo>
                  <a:pt x="88" y="50"/>
                </a:lnTo>
                <a:lnTo>
                  <a:pt x="88" y="52"/>
                </a:lnTo>
                <a:lnTo>
                  <a:pt x="74" y="52"/>
                </a:lnTo>
                <a:lnTo>
                  <a:pt x="66" y="54"/>
                </a:lnTo>
                <a:lnTo>
                  <a:pt x="60" y="58"/>
                </a:lnTo>
                <a:lnTo>
                  <a:pt x="64" y="66"/>
                </a:lnTo>
                <a:lnTo>
                  <a:pt x="64" y="74"/>
                </a:lnTo>
                <a:lnTo>
                  <a:pt x="72" y="86"/>
                </a:lnTo>
                <a:lnTo>
                  <a:pt x="72" y="108"/>
                </a:lnTo>
                <a:lnTo>
                  <a:pt x="78" y="110"/>
                </a:lnTo>
                <a:lnTo>
                  <a:pt x="88" y="114"/>
                </a:lnTo>
                <a:lnTo>
                  <a:pt x="90" y="114"/>
                </a:lnTo>
                <a:lnTo>
                  <a:pt x="92" y="116"/>
                </a:lnTo>
                <a:lnTo>
                  <a:pt x="102" y="130"/>
                </a:lnTo>
                <a:lnTo>
                  <a:pt x="108" y="146"/>
                </a:lnTo>
                <a:lnTo>
                  <a:pt x="108" y="156"/>
                </a:lnTo>
                <a:lnTo>
                  <a:pt x="106" y="164"/>
                </a:lnTo>
                <a:lnTo>
                  <a:pt x="104" y="170"/>
                </a:lnTo>
                <a:lnTo>
                  <a:pt x="94" y="178"/>
                </a:lnTo>
                <a:lnTo>
                  <a:pt x="80" y="184"/>
                </a:lnTo>
                <a:lnTo>
                  <a:pt x="54" y="200"/>
                </a:lnTo>
                <a:lnTo>
                  <a:pt x="52" y="200"/>
                </a:lnTo>
                <a:lnTo>
                  <a:pt x="4" y="204"/>
                </a:lnTo>
                <a:lnTo>
                  <a:pt x="0" y="216"/>
                </a:lnTo>
                <a:lnTo>
                  <a:pt x="8" y="232"/>
                </a:lnTo>
                <a:lnTo>
                  <a:pt x="8" y="234"/>
                </a:lnTo>
                <a:lnTo>
                  <a:pt x="12" y="254"/>
                </a:lnTo>
                <a:lnTo>
                  <a:pt x="38" y="286"/>
                </a:lnTo>
                <a:lnTo>
                  <a:pt x="40" y="286"/>
                </a:lnTo>
                <a:lnTo>
                  <a:pt x="50" y="306"/>
                </a:lnTo>
                <a:lnTo>
                  <a:pt x="52" y="302"/>
                </a:lnTo>
                <a:lnTo>
                  <a:pt x="60" y="278"/>
                </a:lnTo>
                <a:lnTo>
                  <a:pt x="60" y="276"/>
                </a:lnTo>
                <a:lnTo>
                  <a:pt x="76" y="256"/>
                </a:lnTo>
                <a:lnTo>
                  <a:pt x="78" y="254"/>
                </a:lnTo>
                <a:lnTo>
                  <a:pt x="98" y="246"/>
                </a:lnTo>
                <a:lnTo>
                  <a:pt x="100" y="246"/>
                </a:lnTo>
                <a:lnTo>
                  <a:pt x="112" y="254"/>
                </a:lnTo>
                <a:lnTo>
                  <a:pt x="128" y="252"/>
                </a:lnTo>
                <a:lnTo>
                  <a:pt x="124" y="224"/>
                </a:lnTo>
                <a:lnTo>
                  <a:pt x="126" y="222"/>
                </a:lnTo>
                <a:lnTo>
                  <a:pt x="142" y="222"/>
                </a:lnTo>
                <a:lnTo>
                  <a:pt x="158" y="222"/>
                </a:lnTo>
                <a:lnTo>
                  <a:pt x="160" y="222"/>
                </a:lnTo>
                <a:lnTo>
                  <a:pt x="192" y="238"/>
                </a:lnTo>
                <a:lnTo>
                  <a:pt x="218" y="242"/>
                </a:lnTo>
                <a:lnTo>
                  <a:pt x="220" y="242"/>
                </a:lnTo>
                <a:lnTo>
                  <a:pt x="228" y="250"/>
                </a:lnTo>
                <a:lnTo>
                  <a:pt x="242" y="254"/>
                </a:lnTo>
                <a:lnTo>
                  <a:pt x="250" y="262"/>
                </a:lnTo>
                <a:lnTo>
                  <a:pt x="254" y="264"/>
                </a:lnTo>
                <a:lnTo>
                  <a:pt x="264" y="256"/>
                </a:lnTo>
                <a:lnTo>
                  <a:pt x="264" y="254"/>
                </a:lnTo>
                <a:lnTo>
                  <a:pt x="276" y="244"/>
                </a:lnTo>
                <a:lnTo>
                  <a:pt x="284" y="230"/>
                </a:lnTo>
                <a:lnTo>
                  <a:pt x="296" y="238"/>
                </a:lnTo>
                <a:lnTo>
                  <a:pt x="296" y="240"/>
                </a:lnTo>
                <a:lnTo>
                  <a:pt x="300" y="250"/>
                </a:lnTo>
                <a:lnTo>
                  <a:pt x="300" y="252"/>
                </a:lnTo>
                <a:lnTo>
                  <a:pt x="298" y="258"/>
                </a:lnTo>
                <a:lnTo>
                  <a:pt x="300" y="260"/>
                </a:lnTo>
                <a:lnTo>
                  <a:pt x="308" y="256"/>
                </a:lnTo>
                <a:lnTo>
                  <a:pt x="318" y="246"/>
                </a:lnTo>
                <a:lnTo>
                  <a:pt x="328" y="246"/>
                </a:lnTo>
                <a:lnTo>
                  <a:pt x="330" y="246"/>
                </a:lnTo>
                <a:lnTo>
                  <a:pt x="336" y="250"/>
                </a:lnTo>
                <a:lnTo>
                  <a:pt x="342" y="258"/>
                </a:lnTo>
                <a:lnTo>
                  <a:pt x="342" y="260"/>
                </a:lnTo>
                <a:lnTo>
                  <a:pt x="342" y="264"/>
                </a:lnTo>
                <a:lnTo>
                  <a:pt x="340" y="282"/>
                </a:lnTo>
                <a:lnTo>
                  <a:pt x="346" y="290"/>
                </a:lnTo>
                <a:lnTo>
                  <a:pt x="348" y="290"/>
                </a:lnTo>
                <a:lnTo>
                  <a:pt x="360" y="278"/>
                </a:lnTo>
                <a:lnTo>
                  <a:pt x="372" y="268"/>
                </a:lnTo>
                <a:lnTo>
                  <a:pt x="380" y="262"/>
                </a:lnTo>
                <a:lnTo>
                  <a:pt x="388" y="260"/>
                </a:lnTo>
                <a:lnTo>
                  <a:pt x="408" y="260"/>
                </a:lnTo>
                <a:lnTo>
                  <a:pt x="414" y="250"/>
                </a:lnTo>
                <a:lnTo>
                  <a:pt x="430" y="242"/>
                </a:lnTo>
                <a:lnTo>
                  <a:pt x="432" y="242"/>
                </a:lnTo>
                <a:lnTo>
                  <a:pt x="452" y="240"/>
                </a:lnTo>
                <a:lnTo>
                  <a:pt x="474" y="228"/>
                </a:lnTo>
                <a:lnTo>
                  <a:pt x="488" y="228"/>
                </a:lnTo>
                <a:lnTo>
                  <a:pt x="484" y="222"/>
                </a:lnTo>
                <a:lnTo>
                  <a:pt x="486" y="220"/>
                </a:lnTo>
                <a:lnTo>
                  <a:pt x="488" y="216"/>
                </a:lnTo>
                <a:lnTo>
                  <a:pt x="460" y="154"/>
                </a:lnTo>
                <a:lnTo>
                  <a:pt x="460" y="152"/>
                </a:lnTo>
                <a:lnTo>
                  <a:pt x="458" y="150"/>
                </a:lnTo>
                <a:lnTo>
                  <a:pt x="472" y="134"/>
                </a:lnTo>
                <a:lnTo>
                  <a:pt x="468" y="130"/>
                </a:lnTo>
                <a:lnTo>
                  <a:pt x="446" y="126"/>
                </a:lnTo>
                <a:lnTo>
                  <a:pt x="444" y="126"/>
                </a:lnTo>
                <a:lnTo>
                  <a:pt x="444" y="124"/>
                </a:lnTo>
                <a:lnTo>
                  <a:pt x="430" y="110"/>
                </a:lnTo>
                <a:lnTo>
                  <a:pt x="430" y="106"/>
                </a:lnTo>
                <a:lnTo>
                  <a:pt x="428" y="108"/>
                </a:lnTo>
                <a:lnTo>
                  <a:pt x="416" y="100"/>
                </a:lnTo>
                <a:lnTo>
                  <a:pt x="408" y="108"/>
                </a:lnTo>
                <a:lnTo>
                  <a:pt x="400" y="114"/>
                </a:lnTo>
                <a:lnTo>
                  <a:pt x="394" y="114"/>
                </a:lnTo>
                <a:lnTo>
                  <a:pt x="388" y="110"/>
                </a:lnTo>
                <a:lnTo>
                  <a:pt x="382" y="104"/>
                </a:lnTo>
                <a:lnTo>
                  <a:pt x="372" y="94"/>
                </a:lnTo>
                <a:lnTo>
                  <a:pt x="366" y="86"/>
                </a:lnTo>
                <a:lnTo>
                  <a:pt x="362" y="86"/>
                </a:lnTo>
                <a:lnTo>
                  <a:pt x="352" y="90"/>
                </a:lnTo>
                <a:lnTo>
                  <a:pt x="334" y="94"/>
                </a:lnTo>
                <a:lnTo>
                  <a:pt x="328" y="94"/>
                </a:lnTo>
                <a:lnTo>
                  <a:pt x="324" y="94"/>
                </a:lnTo>
                <a:lnTo>
                  <a:pt x="322" y="90"/>
                </a:lnTo>
                <a:lnTo>
                  <a:pt x="320" y="84"/>
                </a:lnTo>
                <a:lnTo>
                  <a:pt x="320" y="70"/>
                </a:lnTo>
                <a:lnTo>
                  <a:pt x="322" y="60"/>
                </a:lnTo>
                <a:lnTo>
                  <a:pt x="320" y="54"/>
                </a:lnTo>
                <a:lnTo>
                  <a:pt x="216" y="50"/>
                </a:lnTo>
                <a:lnTo>
                  <a:pt x="202" y="44"/>
                </a:lnTo>
                <a:lnTo>
                  <a:pt x="194" y="38"/>
                </a:lnTo>
                <a:lnTo>
                  <a:pt x="178" y="34"/>
                </a:lnTo>
                <a:lnTo>
                  <a:pt x="172" y="30"/>
                </a:lnTo>
                <a:lnTo>
                  <a:pt x="164" y="24"/>
                </a:lnTo>
                <a:lnTo>
                  <a:pt x="144" y="0"/>
                </a:lnTo>
                <a:lnTo>
                  <a:pt x="132" y="10"/>
                </a:lnTo>
                <a:lnTo>
                  <a:pt x="116" y="4"/>
                </a:lnTo>
                <a:lnTo>
                  <a:pt x="74" y="6"/>
                </a:lnTo>
                <a:lnTo>
                  <a:pt x="62" y="2"/>
                </a:lnTo>
                <a:close/>
              </a:path>
            </a:pathLst>
          </a:custGeom>
          <a:solidFill>
            <a:srgbClr val="BFBFBF"/>
          </a:solidFill>
          <a:ln>
            <a:noFill/>
          </a:ln>
        </p:spPr>
        <p:txBody>
          <a:bodyPr/>
          <a:lstStyle/>
          <a:p>
            <a:endParaRPr altLang="en-US" lang="zh-CN">
              <a:cs typeface="+mn-ea"/>
              <a:sym typeface="+mn-lt"/>
            </a:endParaRPr>
          </a:p>
        </p:txBody>
      </p:sp>
      <p:sp>
        <p:nvSpPr>
          <p:cNvPr id="20" name="广东"/>
          <p:cNvSpPr/>
          <p:nvPr/>
        </p:nvSpPr>
        <p:spPr bwMode="auto">
          <a:xfrm>
            <a:off x="4306231" y="5002893"/>
            <a:ext cx="749270" cy="593209"/>
          </a:xfrm>
          <a:custGeom>
            <a:gdLst>
              <a:gd fmla="*/ 2147483646 w 508" name="T0"/>
              <a:gd fmla="*/ 2147483646 h 402" name="T1"/>
              <a:gd fmla="*/ 2147483646 w 508" name="T2"/>
              <a:gd fmla="*/ 2147483646 h 402" name="T3"/>
              <a:gd fmla="*/ 2147483646 w 508" name="T4"/>
              <a:gd fmla="*/ 2147483646 h 402" name="T5"/>
              <a:gd fmla="*/ 2147483646 w 508" name="T6"/>
              <a:gd fmla="*/ 2147483646 h 402" name="T7"/>
              <a:gd fmla="*/ 2147483646 w 508" name="T8"/>
              <a:gd fmla="*/ 2147483646 h 402" name="T9"/>
              <a:gd fmla="*/ 2147483646 w 508" name="T10"/>
              <a:gd fmla="*/ 2147483646 h 402" name="T11"/>
              <a:gd fmla="*/ 2147483646 w 508" name="T12"/>
              <a:gd fmla="*/ 2147483646 h 402" name="T13"/>
              <a:gd fmla="*/ 2147483646 w 508" name="T14"/>
              <a:gd fmla="*/ 2147483646 h 402" name="T15"/>
              <a:gd fmla="*/ 2147483646 w 508" name="T16"/>
              <a:gd fmla="*/ 2147483646 h 402" name="T17"/>
              <a:gd fmla="*/ 2147483646 w 508" name="T18"/>
              <a:gd fmla="*/ 2147483646 h 402" name="T19"/>
              <a:gd fmla="*/ 2147483646 w 508" name="T20"/>
              <a:gd fmla="*/ 2147483646 h 402" name="T21"/>
              <a:gd fmla="*/ 2147483646 w 508" name="T22"/>
              <a:gd fmla="*/ 2147483646 h 402" name="T23"/>
              <a:gd fmla="*/ 2147483646 w 508" name="T24"/>
              <a:gd fmla="*/ 2147483646 h 402" name="T25"/>
              <a:gd fmla="*/ 2147483646 w 508" name="T26"/>
              <a:gd fmla="*/ 2147483646 h 402" name="T27"/>
              <a:gd fmla="*/ 2147483646 w 508" name="T28"/>
              <a:gd fmla="*/ 2147483646 h 402" name="T29"/>
              <a:gd fmla="*/ 2147483646 w 508" name="T30"/>
              <a:gd fmla="*/ 2147483646 h 402" name="T31"/>
              <a:gd fmla="*/ 2147483646 w 508" name="T32"/>
              <a:gd fmla="*/ 2147483646 h 402" name="T33"/>
              <a:gd fmla="*/ 2147483646 w 508" name="T34"/>
              <a:gd fmla="*/ 2147483646 h 402" name="T35"/>
              <a:gd fmla="*/ 2147483646 w 508" name="T36"/>
              <a:gd fmla="*/ 2147483646 h 402" name="T37"/>
              <a:gd fmla="*/ 2147483646 w 508" name="T38"/>
              <a:gd fmla="*/ 2147483646 h 402" name="T39"/>
              <a:gd fmla="*/ 2147483646 w 508" name="T40"/>
              <a:gd fmla="*/ 2147483646 h 402" name="T41"/>
              <a:gd fmla="*/ 2147483646 w 508" name="T42"/>
              <a:gd fmla="*/ 2147483646 h 402" name="T43"/>
              <a:gd fmla="*/ 2147483646 w 508" name="T44"/>
              <a:gd fmla="*/ 2147483646 h 402" name="T45"/>
              <a:gd fmla="*/ 2147483646 w 508" name="T46"/>
              <a:gd fmla="*/ 2147483646 h 402" name="T47"/>
              <a:gd fmla="*/ 2147483646 w 508" name="T48"/>
              <a:gd fmla="*/ 2147483646 h 402" name="T49"/>
              <a:gd fmla="*/ 2147483646 w 508" name="T50"/>
              <a:gd fmla="*/ 2147483646 h 402" name="T51"/>
              <a:gd fmla="*/ 2147483646 w 508" name="T52"/>
              <a:gd fmla="*/ 2147483646 h 402" name="T53"/>
              <a:gd fmla="*/ 2147483646 w 508" name="T54"/>
              <a:gd fmla="*/ 2147483646 h 402" name="T55"/>
              <a:gd fmla="*/ 2147483646 w 508" name="T56"/>
              <a:gd fmla="*/ 2147483646 h 402" name="T57"/>
              <a:gd fmla="*/ 2147483646 w 508" name="T58"/>
              <a:gd fmla="*/ 2147483646 h 402" name="T59"/>
              <a:gd fmla="*/ 2147483646 w 508" name="T60"/>
              <a:gd fmla="*/ 2147483646 h 402" name="T61"/>
              <a:gd fmla="*/ 2147483646 w 508" name="T62"/>
              <a:gd fmla="*/ 2147483646 h 402" name="T63"/>
              <a:gd fmla="*/ 2147483646 w 508" name="T64"/>
              <a:gd fmla="*/ 2147483646 h 402" name="T65"/>
              <a:gd fmla="*/ 2147483646 w 508" name="T66"/>
              <a:gd fmla="*/ 2147483646 h 402" name="T67"/>
              <a:gd fmla="*/ 2147483646 w 508" name="T68"/>
              <a:gd fmla="*/ 2147483646 h 402" name="T69"/>
              <a:gd fmla="*/ 2147483646 w 508" name="T70"/>
              <a:gd fmla="*/ 2147483646 h 402" name="T71"/>
              <a:gd fmla="*/ 2147483646 w 508" name="T72"/>
              <a:gd fmla="*/ 2147483646 h 402" name="T73"/>
              <a:gd fmla="*/ 2147483646 w 508" name="T74"/>
              <a:gd fmla="*/ 2147483646 h 402" name="T75"/>
              <a:gd fmla="*/ 2147483646 w 508" name="T76"/>
              <a:gd fmla="*/ 2147483646 h 402" name="T77"/>
              <a:gd fmla="*/ 2147483646 w 508" name="T78"/>
              <a:gd fmla="*/ 2147483646 h 402" name="T79"/>
              <a:gd fmla="*/ 2147483646 w 508" name="T80"/>
              <a:gd fmla="*/ 2147483646 h 402" name="T81"/>
              <a:gd fmla="*/ 2147483646 w 508" name="T82"/>
              <a:gd fmla="*/ 2147483646 h 402" name="T83"/>
              <a:gd fmla="*/ 2147483646 w 508" name="T84"/>
              <a:gd fmla="*/ 2147483646 h 402" name="T85"/>
              <a:gd fmla="*/ 2147483646 w 508" name="T86"/>
              <a:gd fmla="*/ 2147483646 h 402" name="T87"/>
              <a:gd fmla="*/ 2147483646 w 508" name="T88"/>
              <a:gd fmla="*/ 2147483646 h 402" name="T89"/>
              <a:gd fmla="*/ 2147483646 w 508" name="T90"/>
              <a:gd fmla="*/ 2147483646 h 402" name="T91"/>
              <a:gd fmla="*/ 2147483646 w 508" name="T92"/>
              <a:gd fmla="*/ 2147483646 h 402" name="T93"/>
              <a:gd fmla="*/ 2147483646 w 508" name="T94"/>
              <a:gd fmla="*/ 2147483646 h 402" name="T95"/>
              <a:gd fmla="*/ 2147483646 w 508" name="T96"/>
              <a:gd fmla="*/ 2147483646 h 402" name="T97"/>
              <a:gd fmla="*/ 2147483646 w 508" name="T98"/>
              <a:gd fmla="*/ 2147483646 h 402" name="T99"/>
              <a:gd fmla="*/ 2147483646 w 508" name="T100"/>
              <a:gd fmla="*/ 2147483646 h 402"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b="b" l="0" r="r" t="0"/>
            <a:pathLst>
              <a:path h="402" w="508">
                <a:moveTo>
                  <a:pt x="476" y="138"/>
                </a:moveTo>
                <a:lnTo>
                  <a:pt x="476" y="138"/>
                </a:lnTo>
                <a:lnTo>
                  <a:pt x="484" y="134"/>
                </a:lnTo>
                <a:lnTo>
                  <a:pt x="488" y="130"/>
                </a:lnTo>
                <a:lnTo>
                  <a:pt x="488" y="128"/>
                </a:lnTo>
                <a:lnTo>
                  <a:pt x="490" y="126"/>
                </a:lnTo>
                <a:lnTo>
                  <a:pt x="492" y="126"/>
                </a:lnTo>
                <a:lnTo>
                  <a:pt x="508" y="126"/>
                </a:lnTo>
                <a:lnTo>
                  <a:pt x="508" y="116"/>
                </a:lnTo>
                <a:lnTo>
                  <a:pt x="502" y="114"/>
                </a:lnTo>
                <a:lnTo>
                  <a:pt x="496" y="110"/>
                </a:lnTo>
                <a:lnTo>
                  <a:pt x="472" y="88"/>
                </a:lnTo>
                <a:lnTo>
                  <a:pt x="460" y="58"/>
                </a:lnTo>
                <a:lnTo>
                  <a:pt x="446" y="44"/>
                </a:lnTo>
                <a:lnTo>
                  <a:pt x="424" y="42"/>
                </a:lnTo>
                <a:lnTo>
                  <a:pt x="406" y="44"/>
                </a:lnTo>
                <a:lnTo>
                  <a:pt x="402" y="44"/>
                </a:lnTo>
                <a:lnTo>
                  <a:pt x="404" y="54"/>
                </a:lnTo>
                <a:lnTo>
                  <a:pt x="404" y="56"/>
                </a:lnTo>
                <a:lnTo>
                  <a:pt x="404" y="58"/>
                </a:lnTo>
                <a:lnTo>
                  <a:pt x="400" y="58"/>
                </a:lnTo>
                <a:lnTo>
                  <a:pt x="388" y="64"/>
                </a:lnTo>
                <a:lnTo>
                  <a:pt x="386" y="62"/>
                </a:lnTo>
                <a:lnTo>
                  <a:pt x="372" y="50"/>
                </a:lnTo>
                <a:lnTo>
                  <a:pt x="368" y="50"/>
                </a:lnTo>
                <a:lnTo>
                  <a:pt x="364" y="50"/>
                </a:lnTo>
                <a:lnTo>
                  <a:pt x="332" y="64"/>
                </a:lnTo>
                <a:lnTo>
                  <a:pt x="322" y="68"/>
                </a:lnTo>
                <a:lnTo>
                  <a:pt x="316" y="66"/>
                </a:lnTo>
                <a:lnTo>
                  <a:pt x="310" y="70"/>
                </a:lnTo>
                <a:lnTo>
                  <a:pt x="304" y="76"/>
                </a:lnTo>
                <a:lnTo>
                  <a:pt x="300" y="80"/>
                </a:lnTo>
                <a:lnTo>
                  <a:pt x="298" y="76"/>
                </a:lnTo>
                <a:lnTo>
                  <a:pt x="288" y="66"/>
                </a:lnTo>
                <a:lnTo>
                  <a:pt x="286" y="62"/>
                </a:lnTo>
                <a:lnTo>
                  <a:pt x="286" y="58"/>
                </a:lnTo>
                <a:lnTo>
                  <a:pt x="290" y="50"/>
                </a:lnTo>
                <a:lnTo>
                  <a:pt x="300" y="38"/>
                </a:lnTo>
                <a:lnTo>
                  <a:pt x="314" y="22"/>
                </a:lnTo>
                <a:lnTo>
                  <a:pt x="318" y="16"/>
                </a:lnTo>
                <a:lnTo>
                  <a:pt x="316" y="12"/>
                </a:lnTo>
                <a:lnTo>
                  <a:pt x="312" y="12"/>
                </a:lnTo>
                <a:lnTo>
                  <a:pt x="308" y="14"/>
                </a:lnTo>
                <a:lnTo>
                  <a:pt x="298" y="20"/>
                </a:lnTo>
                <a:lnTo>
                  <a:pt x="288" y="26"/>
                </a:lnTo>
                <a:lnTo>
                  <a:pt x="282" y="28"/>
                </a:lnTo>
                <a:lnTo>
                  <a:pt x="280" y="26"/>
                </a:lnTo>
                <a:lnTo>
                  <a:pt x="278" y="20"/>
                </a:lnTo>
                <a:lnTo>
                  <a:pt x="276" y="20"/>
                </a:lnTo>
                <a:lnTo>
                  <a:pt x="270" y="6"/>
                </a:lnTo>
                <a:lnTo>
                  <a:pt x="254" y="16"/>
                </a:lnTo>
                <a:lnTo>
                  <a:pt x="252" y="18"/>
                </a:lnTo>
                <a:lnTo>
                  <a:pt x="252" y="16"/>
                </a:lnTo>
                <a:lnTo>
                  <a:pt x="236" y="8"/>
                </a:lnTo>
                <a:lnTo>
                  <a:pt x="220" y="2"/>
                </a:lnTo>
                <a:lnTo>
                  <a:pt x="214" y="0"/>
                </a:lnTo>
                <a:lnTo>
                  <a:pt x="208" y="2"/>
                </a:lnTo>
                <a:lnTo>
                  <a:pt x="204" y="6"/>
                </a:lnTo>
                <a:lnTo>
                  <a:pt x="198" y="12"/>
                </a:lnTo>
                <a:lnTo>
                  <a:pt x="204" y="24"/>
                </a:lnTo>
                <a:lnTo>
                  <a:pt x="210" y="38"/>
                </a:lnTo>
                <a:lnTo>
                  <a:pt x="210" y="44"/>
                </a:lnTo>
                <a:lnTo>
                  <a:pt x="210" y="48"/>
                </a:lnTo>
                <a:lnTo>
                  <a:pt x="208" y="52"/>
                </a:lnTo>
                <a:lnTo>
                  <a:pt x="204" y="54"/>
                </a:lnTo>
                <a:lnTo>
                  <a:pt x="200" y="54"/>
                </a:lnTo>
                <a:lnTo>
                  <a:pt x="194" y="54"/>
                </a:lnTo>
                <a:lnTo>
                  <a:pt x="188" y="50"/>
                </a:lnTo>
                <a:lnTo>
                  <a:pt x="182" y="46"/>
                </a:lnTo>
                <a:lnTo>
                  <a:pt x="164" y="36"/>
                </a:lnTo>
                <a:lnTo>
                  <a:pt x="156" y="32"/>
                </a:lnTo>
                <a:lnTo>
                  <a:pt x="156" y="34"/>
                </a:lnTo>
                <a:lnTo>
                  <a:pt x="156" y="52"/>
                </a:lnTo>
                <a:lnTo>
                  <a:pt x="144" y="66"/>
                </a:lnTo>
                <a:lnTo>
                  <a:pt x="144" y="80"/>
                </a:lnTo>
                <a:lnTo>
                  <a:pt x="148" y="94"/>
                </a:lnTo>
                <a:lnTo>
                  <a:pt x="150" y="94"/>
                </a:lnTo>
                <a:lnTo>
                  <a:pt x="140" y="108"/>
                </a:lnTo>
                <a:lnTo>
                  <a:pt x="136" y="120"/>
                </a:lnTo>
                <a:lnTo>
                  <a:pt x="136" y="122"/>
                </a:lnTo>
                <a:lnTo>
                  <a:pt x="124" y="134"/>
                </a:lnTo>
                <a:lnTo>
                  <a:pt x="104" y="180"/>
                </a:lnTo>
                <a:lnTo>
                  <a:pt x="104" y="204"/>
                </a:lnTo>
                <a:lnTo>
                  <a:pt x="60" y="230"/>
                </a:lnTo>
                <a:lnTo>
                  <a:pt x="58" y="234"/>
                </a:lnTo>
                <a:lnTo>
                  <a:pt x="64" y="248"/>
                </a:lnTo>
                <a:lnTo>
                  <a:pt x="60" y="266"/>
                </a:lnTo>
                <a:lnTo>
                  <a:pt x="42" y="264"/>
                </a:lnTo>
                <a:lnTo>
                  <a:pt x="38" y="284"/>
                </a:lnTo>
                <a:lnTo>
                  <a:pt x="16" y="284"/>
                </a:lnTo>
                <a:lnTo>
                  <a:pt x="10" y="292"/>
                </a:lnTo>
                <a:lnTo>
                  <a:pt x="4" y="306"/>
                </a:lnTo>
                <a:lnTo>
                  <a:pt x="0" y="356"/>
                </a:lnTo>
                <a:lnTo>
                  <a:pt x="4" y="368"/>
                </a:lnTo>
                <a:lnTo>
                  <a:pt x="6" y="368"/>
                </a:lnTo>
                <a:lnTo>
                  <a:pt x="6" y="380"/>
                </a:lnTo>
                <a:lnTo>
                  <a:pt x="16" y="392"/>
                </a:lnTo>
                <a:lnTo>
                  <a:pt x="16" y="402"/>
                </a:lnTo>
                <a:lnTo>
                  <a:pt x="42" y="400"/>
                </a:lnTo>
                <a:lnTo>
                  <a:pt x="44" y="398"/>
                </a:lnTo>
                <a:lnTo>
                  <a:pt x="44" y="396"/>
                </a:lnTo>
                <a:lnTo>
                  <a:pt x="52" y="388"/>
                </a:lnTo>
                <a:lnTo>
                  <a:pt x="36" y="372"/>
                </a:lnTo>
                <a:lnTo>
                  <a:pt x="34" y="372"/>
                </a:lnTo>
                <a:lnTo>
                  <a:pt x="24" y="364"/>
                </a:lnTo>
                <a:lnTo>
                  <a:pt x="24" y="362"/>
                </a:lnTo>
                <a:lnTo>
                  <a:pt x="24" y="346"/>
                </a:lnTo>
                <a:lnTo>
                  <a:pt x="36" y="346"/>
                </a:lnTo>
                <a:lnTo>
                  <a:pt x="38" y="340"/>
                </a:lnTo>
                <a:lnTo>
                  <a:pt x="32" y="324"/>
                </a:lnTo>
                <a:lnTo>
                  <a:pt x="64" y="324"/>
                </a:lnTo>
                <a:lnTo>
                  <a:pt x="120" y="298"/>
                </a:lnTo>
                <a:lnTo>
                  <a:pt x="126" y="286"/>
                </a:lnTo>
                <a:lnTo>
                  <a:pt x="128" y="282"/>
                </a:lnTo>
                <a:lnTo>
                  <a:pt x="140" y="288"/>
                </a:lnTo>
                <a:lnTo>
                  <a:pt x="140" y="290"/>
                </a:lnTo>
                <a:lnTo>
                  <a:pt x="146" y="296"/>
                </a:lnTo>
                <a:lnTo>
                  <a:pt x="152" y="294"/>
                </a:lnTo>
                <a:lnTo>
                  <a:pt x="150" y="282"/>
                </a:lnTo>
                <a:lnTo>
                  <a:pt x="168" y="282"/>
                </a:lnTo>
                <a:lnTo>
                  <a:pt x="186" y="286"/>
                </a:lnTo>
                <a:lnTo>
                  <a:pt x="192" y="274"/>
                </a:lnTo>
                <a:lnTo>
                  <a:pt x="194" y="272"/>
                </a:lnTo>
                <a:lnTo>
                  <a:pt x="196" y="272"/>
                </a:lnTo>
                <a:lnTo>
                  <a:pt x="214" y="266"/>
                </a:lnTo>
                <a:lnTo>
                  <a:pt x="218" y="238"/>
                </a:lnTo>
                <a:lnTo>
                  <a:pt x="238" y="256"/>
                </a:lnTo>
                <a:lnTo>
                  <a:pt x="246" y="256"/>
                </a:lnTo>
                <a:lnTo>
                  <a:pt x="250" y="252"/>
                </a:lnTo>
                <a:lnTo>
                  <a:pt x="248" y="192"/>
                </a:lnTo>
                <a:lnTo>
                  <a:pt x="248" y="190"/>
                </a:lnTo>
                <a:lnTo>
                  <a:pt x="248" y="186"/>
                </a:lnTo>
                <a:lnTo>
                  <a:pt x="260" y="188"/>
                </a:lnTo>
                <a:lnTo>
                  <a:pt x="262" y="188"/>
                </a:lnTo>
                <a:lnTo>
                  <a:pt x="264" y="190"/>
                </a:lnTo>
                <a:lnTo>
                  <a:pt x="286" y="230"/>
                </a:lnTo>
                <a:lnTo>
                  <a:pt x="312" y="226"/>
                </a:lnTo>
                <a:lnTo>
                  <a:pt x="318" y="224"/>
                </a:lnTo>
                <a:lnTo>
                  <a:pt x="322" y="216"/>
                </a:lnTo>
                <a:lnTo>
                  <a:pt x="314" y="208"/>
                </a:lnTo>
                <a:lnTo>
                  <a:pt x="312" y="206"/>
                </a:lnTo>
                <a:lnTo>
                  <a:pt x="330" y="200"/>
                </a:lnTo>
                <a:lnTo>
                  <a:pt x="332" y="198"/>
                </a:lnTo>
                <a:lnTo>
                  <a:pt x="340" y="206"/>
                </a:lnTo>
                <a:lnTo>
                  <a:pt x="346" y="202"/>
                </a:lnTo>
                <a:lnTo>
                  <a:pt x="346" y="190"/>
                </a:lnTo>
                <a:lnTo>
                  <a:pt x="350" y="190"/>
                </a:lnTo>
                <a:lnTo>
                  <a:pt x="364" y="190"/>
                </a:lnTo>
                <a:lnTo>
                  <a:pt x="370" y="192"/>
                </a:lnTo>
                <a:lnTo>
                  <a:pt x="376" y="194"/>
                </a:lnTo>
                <a:lnTo>
                  <a:pt x="382" y="198"/>
                </a:lnTo>
                <a:lnTo>
                  <a:pt x="386" y="202"/>
                </a:lnTo>
                <a:lnTo>
                  <a:pt x="388" y="206"/>
                </a:lnTo>
                <a:lnTo>
                  <a:pt x="392" y="186"/>
                </a:lnTo>
                <a:lnTo>
                  <a:pt x="396" y="184"/>
                </a:lnTo>
                <a:lnTo>
                  <a:pt x="400" y="182"/>
                </a:lnTo>
                <a:lnTo>
                  <a:pt x="406" y="182"/>
                </a:lnTo>
                <a:lnTo>
                  <a:pt x="412" y="184"/>
                </a:lnTo>
                <a:lnTo>
                  <a:pt x="414" y="186"/>
                </a:lnTo>
                <a:lnTo>
                  <a:pt x="414" y="188"/>
                </a:lnTo>
                <a:lnTo>
                  <a:pt x="418" y="188"/>
                </a:lnTo>
                <a:lnTo>
                  <a:pt x="432" y="180"/>
                </a:lnTo>
                <a:lnTo>
                  <a:pt x="460" y="160"/>
                </a:lnTo>
                <a:lnTo>
                  <a:pt x="460" y="152"/>
                </a:lnTo>
                <a:lnTo>
                  <a:pt x="464" y="146"/>
                </a:lnTo>
                <a:lnTo>
                  <a:pt x="470" y="140"/>
                </a:lnTo>
                <a:lnTo>
                  <a:pt x="476" y="138"/>
                </a:lnTo>
                <a:close/>
              </a:path>
            </a:pathLst>
          </a:custGeom>
          <a:solidFill>
            <a:srgbClr val="BFBFBF"/>
          </a:solidFill>
          <a:ln>
            <a:noFill/>
          </a:ln>
        </p:spPr>
        <p:txBody>
          <a:bodyPr/>
          <a:lstStyle/>
          <a:p>
            <a:endParaRPr altLang="en-US" lang="zh-CN">
              <a:cs typeface="+mn-ea"/>
              <a:sym typeface="+mn-lt"/>
            </a:endParaRPr>
          </a:p>
        </p:txBody>
      </p:sp>
      <p:sp>
        <p:nvSpPr>
          <p:cNvPr id="21" name="江西"/>
          <p:cNvSpPr/>
          <p:nvPr/>
        </p:nvSpPr>
        <p:spPr bwMode="auto">
          <a:xfrm>
            <a:off x="4660217" y="4489369"/>
            <a:ext cx="448383" cy="610916"/>
          </a:xfrm>
          <a:custGeom>
            <a:gdLst>
              <a:gd fmla="*/ 2147483646 w 304" name="T0"/>
              <a:gd fmla="*/ 0 h 414" name="T1"/>
              <a:gd fmla="*/ 2147483646 w 304" name="T2"/>
              <a:gd fmla="*/ 2147483646 h 414" name="T3"/>
              <a:gd fmla="*/ 2147483646 w 304" name="T4"/>
              <a:gd fmla="*/ 2147483646 h 414" name="T5"/>
              <a:gd fmla="*/ 2147483646 w 304" name="T6"/>
              <a:gd fmla="*/ 2147483646 h 414" name="T7"/>
              <a:gd fmla="*/ 2147483646 w 304" name="T8"/>
              <a:gd fmla="*/ 2147483646 h 414" name="T9"/>
              <a:gd fmla="*/ 2147483646 w 304" name="T10"/>
              <a:gd fmla="*/ 2147483646 h 414" name="T11"/>
              <a:gd fmla="*/ 2147483646 w 304" name="T12"/>
              <a:gd fmla="*/ 2147483646 h 414" name="T13"/>
              <a:gd fmla="*/ 2147483646 w 304" name="T14"/>
              <a:gd fmla="*/ 2147483646 h 414" name="T15"/>
              <a:gd fmla="*/ 2147483646 w 304" name="T16"/>
              <a:gd fmla="*/ 2147483646 h 414" name="T17"/>
              <a:gd fmla="*/ 2147483646 w 304" name="T18"/>
              <a:gd fmla="*/ 2147483646 h 414" name="T19"/>
              <a:gd fmla="*/ 2147483646 w 304" name="T20"/>
              <a:gd fmla="*/ 2147483646 h 414" name="T21"/>
              <a:gd fmla="*/ 2147483646 w 304" name="T22"/>
              <a:gd fmla="*/ 2147483646 h 414" name="T23"/>
              <a:gd fmla="*/ 2147483646 w 304" name="T24"/>
              <a:gd fmla="*/ 2147483646 h 414" name="T25"/>
              <a:gd fmla="*/ 2147483646 w 304" name="T26"/>
              <a:gd fmla="*/ 2147483646 h 414" name="T27"/>
              <a:gd fmla="*/ 0 w 304" name="T28"/>
              <a:gd fmla="*/ 2147483646 h 414" name="T29"/>
              <a:gd fmla="*/ 2147483646 w 304" name="T30"/>
              <a:gd fmla="*/ 2147483646 h 414" name="T31"/>
              <a:gd fmla="*/ 2147483646 w 304" name="T32"/>
              <a:gd fmla="*/ 2147483646 h 414" name="T33"/>
              <a:gd fmla="*/ 2147483646 w 304" name="T34"/>
              <a:gd fmla="*/ 2147483646 h 414" name="T35"/>
              <a:gd fmla="*/ 2147483646 w 304" name="T36"/>
              <a:gd fmla="*/ 2147483646 h 414" name="T37"/>
              <a:gd fmla="*/ 2147483646 w 304" name="T38"/>
              <a:gd fmla="*/ 2147483646 h 414" name="T39"/>
              <a:gd fmla="*/ 2147483646 w 304" name="T40"/>
              <a:gd fmla="*/ 2147483646 h 414" name="T41"/>
              <a:gd fmla="*/ 2147483646 w 304" name="T42"/>
              <a:gd fmla="*/ 2147483646 h 414" name="T43"/>
              <a:gd fmla="*/ 2147483646 w 304" name="T44"/>
              <a:gd fmla="*/ 2147483646 h 414" name="T45"/>
              <a:gd fmla="*/ 2147483646 w 304" name="T46"/>
              <a:gd fmla="*/ 2147483646 h 414" name="T47"/>
              <a:gd fmla="*/ 2147483646 w 304" name="T48"/>
              <a:gd fmla="*/ 2147483646 h 414" name="T49"/>
              <a:gd fmla="*/ 2147483646 w 304" name="T50"/>
              <a:gd fmla="*/ 2147483646 h 414" name="T51"/>
              <a:gd fmla="*/ 2147483646 w 304" name="T52"/>
              <a:gd fmla="*/ 2147483646 h 414" name="T53"/>
              <a:gd fmla="*/ 2147483646 w 304" name="T54"/>
              <a:gd fmla="*/ 2147483646 h 414" name="T55"/>
              <a:gd fmla="*/ 2147483646 w 304" name="T56"/>
              <a:gd fmla="*/ 2147483646 h 414" name="T57"/>
              <a:gd fmla="*/ 2147483646 w 304" name="T58"/>
              <a:gd fmla="*/ 2147483646 h 414" name="T59"/>
              <a:gd fmla="*/ 2147483646 w 304" name="T60"/>
              <a:gd fmla="*/ 2147483646 h 414" name="T61"/>
              <a:gd fmla="*/ 2147483646 w 304" name="T62"/>
              <a:gd fmla="*/ 2147483646 h 414" name="T63"/>
              <a:gd fmla="*/ 2147483646 w 304" name="T64"/>
              <a:gd fmla="*/ 2147483646 h 414" name="T65"/>
              <a:gd fmla="*/ 2147483646 w 304" name="T66"/>
              <a:gd fmla="*/ 2147483646 h 414" name="T67"/>
              <a:gd fmla="*/ 2147483646 w 304" name="T68"/>
              <a:gd fmla="*/ 2147483646 h 414" name="T69"/>
              <a:gd fmla="*/ 2147483646 w 304" name="T70"/>
              <a:gd fmla="*/ 2147483646 h 414" name="T71"/>
              <a:gd fmla="*/ 2147483646 w 304" name="T72"/>
              <a:gd fmla="*/ 2147483646 h 414" name="T73"/>
              <a:gd fmla="*/ 2147483646 w 304" name="T74"/>
              <a:gd fmla="*/ 2147483646 h 414" name="T75"/>
              <a:gd fmla="*/ 2147483646 w 304" name="T76"/>
              <a:gd fmla="*/ 2147483646 h 414" name="T77"/>
              <a:gd fmla="*/ 2147483646 w 304" name="T78"/>
              <a:gd fmla="*/ 2147483646 h 414" name="T79"/>
              <a:gd fmla="*/ 2147483646 w 304" name="T80"/>
              <a:gd fmla="*/ 2147483646 h 414" name="T81"/>
              <a:gd fmla="*/ 2147483646 w 304" name="T82"/>
              <a:gd fmla="*/ 2147483646 h 414" name="T83"/>
              <a:gd fmla="*/ 2147483646 w 304" name="T84"/>
              <a:gd fmla="*/ 2147483646 h 414" name="T85"/>
              <a:gd fmla="*/ 2147483646 w 304" name="T86"/>
              <a:gd fmla="*/ 2147483646 h 414" name="T87"/>
              <a:gd fmla="*/ 2147483646 w 304" name="T88"/>
              <a:gd fmla="*/ 2147483646 h 414" name="T89"/>
              <a:gd fmla="*/ 2147483646 w 304" name="T90"/>
              <a:gd fmla="*/ 2147483646 h 414" name="T91"/>
              <a:gd fmla="*/ 2147483646 w 304" name="T92"/>
              <a:gd fmla="*/ 2147483646 h 414" name="T93"/>
              <a:gd fmla="*/ 2147483646 w 304" name="T94"/>
              <a:gd fmla="*/ 2147483646 h 414" name="T95"/>
              <a:gd fmla="*/ 2147483646 w 304" name="T96"/>
              <a:gd fmla="*/ 2147483646 h 414" name="T97"/>
              <a:gd fmla="*/ 2147483646 w 304" name="T98"/>
              <a:gd fmla="*/ 2147483646 h 414" name="T99"/>
              <a:gd fmla="*/ 2147483646 w 304" name="T100"/>
              <a:gd fmla="*/ 2147483646 h 414" name="T101"/>
              <a:gd fmla="*/ 2147483646 w 304" name="T102"/>
              <a:gd fmla="*/ 2147483646 h 414" name="T103"/>
              <a:gd fmla="*/ 2147483646 w 304" name="T104"/>
              <a:gd fmla="*/ 2147483646 h 414" name="T105"/>
              <a:gd fmla="*/ 2147483646 w 304" name="T106"/>
              <a:gd fmla="*/ 2147483646 h 414" name="T107"/>
              <a:gd fmla="*/ 2147483646 w 304" name="T108"/>
              <a:gd fmla="*/ 2147483646 h 414" name="T109"/>
              <a:gd fmla="*/ 2147483646 w 304" name="T110"/>
              <a:gd fmla="*/ 2147483646 h 414" name="T111"/>
              <a:gd fmla="*/ 2147483646 w 304" name="T112"/>
              <a:gd fmla="*/ 2147483646 h 414" name="T113"/>
              <a:gd fmla="*/ 2147483646 w 304" name="T114"/>
              <a:gd fmla="*/ 2147483646 h 414" name="T115"/>
              <a:gd fmla="*/ 2147483646 w 304" name="T116"/>
              <a:gd fmla="*/ 2147483646 h 414"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b="b" l="0" r="r" t="0"/>
            <a:pathLst>
              <a:path h="413" w="304">
                <a:moveTo>
                  <a:pt x="240" y="16"/>
                </a:moveTo>
                <a:lnTo>
                  <a:pt x="238" y="16"/>
                </a:lnTo>
                <a:lnTo>
                  <a:pt x="220" y="0"/>
                </a:lnTo>
                <a:lnTo>
                  <a:pt x="212" y="6"/>
                </a:lnTo>
                <a:lnTo>
                  <a:pt x="206" y="16"/>
                </a:lnTo>
                <a:lnTo>
                  <a:pt x="200" y="24"/>
                </a:lnTo>
                <a:lnTo>
                  <a:pt x="192" y="28"/>
                </a:lnTo>
                <a:lnTo>
                  <a:pt x="184" y="32"/>
                </a:lnTo>
                <a:lnTo>
                  <a:pt x="180" y="34"/>
                </a:lnTo>
                <a:lnTo>
                  <a:pt x="176" y="32"/>
                </a:lnTo>
                <a:lnTo>
                  <a:pt x="174" y="28"/>
                </a:lnTo>
                <a:lnTo>
                  <a:pt x="174" y="22"/>
                </a:lnTo>
                <a:lnTo>
                  <a:pt x="180" y="4"/>
                </a:lnTo>
                <a:lnTo>
                  <a:pt x="152" y="22"/>
                </a:lnTo>
                <a:lnTo>
                  <a:pt x="152" y="24"/>
                </a:lnTo>
                <a:lnTo>
                  <a:pt x="128" y="24"/>
                </a:lnTo>
                <a:lnTo>
                  <a:pt x="108" y="34"/>
                </a:lnTo>
                <a:lnTo>
                  <a:pt x="108" y="36"/>
                </a:lnTo>
                <a:lnTo>
                  <a:pt x="84" y="36"/>
                </a:lnTo>
                <a:lnTo>
                  <a:pt x="72" y="42"/>
                </a:lnTo>
                <a:lnTo>
                  <a:pt x="68" y="54"/>
                </a:lnTo>
                <a:lnTo>
                  <a:pt x="66" y="56"/>
                </a:lnTo>
                <a:lnTo>
                  <a:pt x="40" y="56"/>
                </a:lnTo>
                <a:lnTo>
                  <a:pt x="34" y="56"/>
                </a:lnTo>
                <a:lnTo>
                  <a:pt x="28" y="62"/>
                </a:lnTo>
                <a:lnTo>
                  <a:pt x="8" y="80"/>
                </a:lnTo>
                <a:lnTo>
                  <a:pt x="16" y="84"/>
                </a:lnTo>
                <a:lnTo>
                  <a:pt x="20" y="88"/>
                </a:lnTo>
                <a:lnTo>
                  <a:pt x="22" y="94"/>
                </a:lnTo>
                <a:lnTo>
                  <a:pt x="22" y="92"/>
                </a:lnTo>
                <a:lnTo>
                  <a:pt x="34" y="138"/>
                </a:lnTo>
                <a:lnTo>
                  <a:pt x="34" y="140"/>
                </a:lnTo>
                <a:lnTo>
                  <a:pt x="34" y="144"/>
                </a:lnTo>
                <a:lnTo>
                  <a:pt x="32" y="144"/>
                </a:lnTo>
                <a:lnTo>
                  <a:pt x="0" y="188"/>
                </a:lnTo>
                <a:lnTo>
                  <a:pt x="0" y="200"/>
                </a:lnTo>
                <a:lnTo>
                  <a:pt x="8" y="196"/>
                </a:lnTo>
                <a:lnTo>
                  <a:pt x="12" y="196"/>
                </a:lnTo>
                <a:lnTo>
                  <a:pt x="16" y="198"/>
                </a:lnTo>
                <a:lnTo>
                  <a:pt x="18" y="202"/>
                </a:lnTo>
                <a:lnTo>
                  <a:pt x="16" y="214"/>
                </a:lnTo>
                <a:lnTo>
                  <a:pt x="16" y="226"/>
                </a:lnTo>
                <a:lnTo>
                  <a:pt x="18" y="238"/>
                </a:lnTo>
                <a:lnTo>
                  <a:pt x="20" y="250"/>
                </a:lnTo>
                <a:lnTo>
                  <a:pt x="24" y="262"/>
                </a:lnTo>
                <a:lnTo>
                  <a:pt x="36" y="274"/>
                </a:lnTo>
                <a:lnTo>
                  <a:pt x="40" y="280"/>
                </a:lnTo>
                <a:lnTo>
                  <a:pt x="40" y="286"/>
                </a:lnTo>
                <a:lnTo>
                  <a:pt x="36" y="294"/>
                </a:lnTo>
                <a:lnTo>
                  <a:pt x="42" y="304"/>
                </a:lnTo>
                <a:lnTo>
                  <a:pt x="44" y="310"/>
                </a:lnTo>
                <a:lnTo>
                  <a:pt x="44" y="320"/>
                </a:lnTo>
                <a:lnTo>
                  <a:pt x="40" y="330"/>
                </a:lnTo>
                <a:lnTo>
                  <a:pt x="34" y="344"/>
                </a:lnTo>
                <a:lnTo>
                  <a:pt x="44" y="362"/>
                </a:lnTo>
                <a:lnTo>
                  <a:pt x="46" y="366"/>
                </a:lnTo>
                <a:lnTo>
                  <a:pt x="52" y="362"/>
                </a:lnTo>
                <a:lnTo>
                  <a:pt x="60" y="356"/>
                </a:lnTo>
                <a:lnTo>
                  <a:pt x="66" y="352"/>
                </a:lnTo>
                <a:lnTo>
                  <a:pt x="72" y="352"/>
                </a:lnTo>
                <a:lnTo>
                  <a:pt x="78" y="352"/>
                </a:lnTo>
                <a:lnTo>
                  <a:pt x="84" y="356"/>
                </a:lnTo>
                <a:lnTo>
                  <a:pt x="86" y="362"/>
                </a:lnTo>
                <a:lnTo>
                  <a:pt x="86" y="366"/>
                </a:lnTo>
                <a:lnTo>
                  <a:pt x="82" y="374"/>
                </a:lnTo>
                <a:lnTo>
                  <a:pt x="66" y="392"/>
                </a:lnTo>
                <a:lnTo>
                  <a:pt x="56" y="406"/>
                </a:lnTo>
                <a:lnTo>
                  <a:pt x="60" y="414"/>
                </a:lnTo>
                <a:lnTo>
                  <a:pt x="72" y="408"/>
                </a:lnTo>
                <a:lnTo>
                  <a:pt x="76" y="406"/>
                </a:lnTo>
                <a:lnTo>
                  <a:pt x="80" y="406"/>
                </a:lnTo>
                <a:lnTo>
                  <a:pt x="94" y="402"/>
                </a:lnTo>
                <a:lnTo>
                  <a:pt x="120" y="390"/>
                </a:lnTo>
                <a:lnTo>
                  <a:pt x="126" y="388"/>
                </a:lnTo>
                <a:lnTo>
                  <a:pt x="134" y="390"/>
                </a:lnTo>
                <a:lnTo>
                  <a:pt x="142" y="394"/>
                </a:lnTo>
                <a:lnTo>
                  <a:pt x="150" y="402"/>
                </a:lnTo>
                <a:lnTo>
                  <a:pt x="154" y="400"/>
                </a:lnTo>
                <a:lnTo>
                  <a:pt x="154" y="390"/>
                </a:lnTo>
                <a:lnTo>
                  <a:pt x="152" y="388"/>
                </a:lnTo>
                <a:lnTo>
                  <a:pt x="152" y="384"/>
                </a:lnTo>
                <a:lnTo>
                  <a:pt x="154" y="380"/>
                </a:lnTo>
                <a:lnTo>
                  <a:pt x="150" y="366"/>
                </a:lnTo>
                <a:lnTo>
                  <a:pt x="150" y="362"/>
                </a:lnTo>
                <a:lnTo>
                  <a:pt x="150" y="358"/>
                </a:lnTo>
                <a:lnTo>
                  <a:pt x="158" y="352"/>
                </a:lnTo>
                <a:lnTo>
                  <a:pt x="166" y="346"/>
                </a:lnTo>
                <a:lnTo>
                  <a:pt x="162" y="336"/>
                </a:lnTo>
                <a:lnTo>
                  <a:pt x="162" y="334"/>
                </a:lnTo>
                <a:lnTo>
                  <a:pt x="166" y="328"/>
                </a:lnTo>
                <a:lnTo>
                  <a:pt x="164" y="324"/>
                </a:lnTo>
                <a:lnTo>
                  <a:pt x="164" y="320"/>
                </a:lnTo>
                <a:lnTo>
                  <a:pt x="164" y="316"/>
                </a:lnTo>
                <a:lnTo>
                  <a:pt x="170" y="308"/>
                </a:lnTo>
                <a:lnTo>
                  <a:pt x="180" y="300"/>
                </a:lnTo>
                <a:lnTo>
                  <a:pt x="178" y="298"/>
                </a:lnTo>
                <a:lnTo>
                  <a:pt x="176" y="296"/>
                </a:lnTo>
                <a:lnTo>
                  <a:pt x="186" y="292"/>
                </a:lnTo>
                <a:lnTo>
                  <a:pt x="186" y="278"/>
                </a:lnTo>
                <a:lnTo>
                  <a:pt x="186" y="274"/>
                </a:lnTo>
                <a:lnTo>
                  <a:pt x="190" y="270"/>
                </a:lnTo>
                <a:lnTo>
                  <a:pt x="194" y="266"/>
                </a:lnTo>
                <a:lnTo>
                  <a:pt x="200" y="260"/>
                </a:lnTo>
                <a:lnTo>
                  <a:pt x="206" y="256"/>
                </a:lnTo>
                <a:lnTo>
                  <a:pt x="194" y="242"/>
                </a:lnTo>
                <a:lnTo>
                  <a:pt x="192" y="238"/>
                </a:lnTo>
                <a:lnTo>
                  <a:pt x="192" y="232"/>
                </a:lnTo>
                <a:lnTo>
                  <a:pt x="194" y="228"/>
                </a:lnTo>
                <a:lnTo>
                  <a:pt x="198" y="222"/>
                </a:lnTo>
                <a:lnTo>
                  <a:pt x="198" y="220"/>
                </a:lnTo>
                <a:lnTo>
                  <a:pt x="224" y="200"/>
                </a:lnTo>
                <a:lnTo>
                  <a:pt x="224" y="194"/>
                </a:lnTo>
                <a:lnTo>
                  <a:pt x="222" y="192"/>
                </a:lnTo>
                <a:lnTo>
                  <a:pt x="220" y="186"/>
                </a:lnTo>
                <a:lnTo>
                  <a:pt x="220" y="178"/>
                </a:lnTo>
                <a:lnTo>
                  <a:pt x="220" y="170"/>
                </a:lnTo>
                <a:lnTo>
                  <a:pt x="224" y="156"/>
                </a:lnTo>
                <a:lnTo>
                  <a:pt x="230" y="146"/>
                </a:lnTo>
                <a:lnTo>
                  <a:pt x="238" y="138"/>
                </a:lnTo>
                <a:lnTo>
                  <a:pt x="250" y="136"/>
                </a:lnTo>
                <a:lnTo>
                  <a:pt x="252" y="136"/>
                </a:lnTo>
                <a:lnTo>
                  <a:pt x="262" y="140"/>
                </a:lnTo>
                <a:lnTo>
                  <a:pt x="272" y="140"/>
                </a:lnTo>
                <a:lnTo>
                  <a:pt x="284" y="128"/>
                </a:lnTo>
                <a:lnTo>
                  <a:pt x="296" y="120"/>
                </a:lnTo>
                <a:lnTo>
                  <a:pt x="296" y="108"/>
                </a:lnTo>
                <a:lnTo>
                  <a:pt x="296" y="106"/>
                </a:lnTo>
                <a:lnTo>
                  <a:pt x="296" y="104"/>
                </a:lnTo>
                <a:lnTo>
                  <a:pt x="300" y="102"/>
                </a:lnTo>
                <a:lnTo>
                  <a:pt x="304" y="98"/>
                </a:lnTo>
                <a:lnTo>
                  <a:pt x="304" y="96"/>
                </a:lnTo>
                <a:lnTo>
                  <a:pt x="296" y="84"/>
                </a:lnTo>
                <a:lnTo>
                  <a:pt x="286" y="68"/>
                </a:lnTo>
                <a:lnTo>
                  <a:pt x="276" y="52"/>
                </a:lnTo>
                <a:lnTo>
                  <a:pt x="274" y="46"/>
                </a:lnTo>
                <a:lnTo>
                  <a:pt x="274" y="40"/>
                </a:lnTo>
                <a:lnTo>
                  <a:pt x="276" y="34"/>
                </a:lnTo>
                <a:lnTo>
                  <a:pt x="280" y="28"/>
                </a:lnTo>
                <a:lnTo>
                  <a:pt x="264" y="20"/>
                </a:lnTo>
                <a:lnTo>
                  <a:pt x="240" y="16"/>
                </a:lnTo>
                <a:close/>
              </a:path>
            </a:pathLst>
          </a:custGeom>
          <a:solidFill>
            <a:srgbClr val="BFBFBF"/>
          </a:solidFill>
          <a:ln>
            <a:noFill/>
          </a:ln>
        </p:spPr>
        <p:txBody>
          <a:bodyPr/>
          <a:lstStyle/>
          <a:p>
            <a:endParaRPr altLang="en-US" lang="zh-CN">
              <a:cs typeface="+mn-ea"/>
              <a:sym typeface="+mn-lt"/>
            </a:endParaRPr>
          </a:p>
        </p:txBody>
      </p:sp>
      <p:sp>
        <p:nvSpPr>
          <p:cNvPr id="22" name="福建"/>
          <p:cNvSpPr/>
          <p:nvPr/>
        </p:nvSpPr>
        <p:spPr bwMode="auto">
          <a:xfrm>
            <a:off x="4893258" y="4651690"/>
            <a:ext cx="415934" cy="507621"/>
          </a:xfrm>
          <a:custGeom>
            <a:gdLst>
              <a:gd fmla="*/ 2147483646 w 282" name="T0"/>
              <a:gd fmla="*/ 2147483646 h 344" name="T1"/>
              <a:gd fmla="*/ 2147483646 w 282" name="T2"/>
              <a:gd fmla="*/ 2147483646 h 344" name="T3"/>
              <a:gd fmla="*/ 2147483646 w 282" name="T4"/>
              <a:gd fmla="*/ 2147483646 h 344" name="T5"/>
              <a:gd fmla="*/ 2147483646 w 282" name="T6"/>
              <a:gd fmla="*/ 2147483646 h 344" name="T7"/>
              <a:gd fmla="*/ 2147483646 w 282" name="T8"/>
              <a:gd fmla="*/ 2147483646 h 344" name="T9"/>
              <a:gd fmla="*/ 2147483646 w 282" name="T10"/>
              <a:gd fmla="*/ 2147483646 h 344" name="T11"/>
              <a:gd fmla="*/ 2147483646 w 282" name="T12"/>
              <a:gd fmla="*/ 2147483646 h 344" name="T13"/>
              <a:gd fmla="*/ 2147483646 w 282" name="T14"/>
              <a:gd fmla="*/ 2147483646 h 344" name="T15"/>
              <a:gd fmla="*/ 2147483646 w 282" name="T16"/>
              <a:gd fmla="*/ 2147483646 h 344" name="T17"/>
              <a:gd fmla="*/ 2147483646 w 282" name="T18"/>
              <a:gd fmla="*/ 2147483646 h 344" name="T19"/>
              <a:gd fmla="*/ 2147483646 w 282" name="T20"/>
              <a:gd fmla="*/ 2147483646 h 344" name="T21"/>
              <a:gd fmla="*/ 2147483646 w 282" name="T22"/>
              <a:gd fmla="*/ 2147483646 h 344" name="T23"/>
              <a:gd fmla="*/ 2147483646 w 282" name="T24"/>
              <a:gd fmla="*/ 2147483646 h 344" name="T25"/>
              <a:gd fmla="*/ 2147483646 w 282" name="T26"/>
              <a:gd fmla="*/ 2147483646 h 344" name="T27"/>
              <a:gd fmla="*/ 2147483646 w 282" name="T28"/>
              <a:gd fmla="*/ 2147483646 h 344" name="T29"/>
              <a:gd fmla="*/ 2147483646 w 282" name="T30"/>
              <a:gd fmla="*/ 2147483646 h 344" name="T31"/>
              <a:gd fmla="*/ 2147483646 w 282" name="T32"/>
              <a:gd fmla="*/ 2147483646 h 344" name="T33"/>
              <a:gd fmla="*/ 0 w 282" name="T34"/>
              <a:gd fmla="*/ 2147483646 h 344" name="T35"/>
              <a:gd fmla="*/ 2147483646 w 282" name="T36"/>
              <a:gd fmla="*/ 2147483646 h 344" name="T37"/>
              <a:gd fmla="*/ 2147483646 w 282" name="T38"/>
              <a:gd fmla="*/ 2147483646 h 344" name="T39"/>
              <a:gd fmla="*/ 2147483646 w 282" name="T40"/>
              <a:gd fmla="*/ 2147483646 h 344" name="T41"/>
              <a:gd fmla="*/ 2147483646 w 282" name="T42"/>
              <a:gd fmla="*/ 2147483646 h 344" name="T43"/>
              <a:gd fmla="*/ 2147483646 w 282" name="T44"/>
              <a:gd fmla="*/ 2147483646 h 344" name="T45"/>
              <a:gd fmla="*/ 2147483646 w 282" name="T46"/>
              <a:gd fmla="*/ 2147483646 h 344" name="T47"/>
              <a:gd fmla="*/ 2147483646 w 282" name="T48"/>
              <a:gd fmla="*/ 2147483646 h 344" name="T49"/>
              <a:gd fmla="*/ 2147483646 w 282" name="T50"/>
              <a:gd fmla="*/ 2147483646 h 344" name="T51"/>
              <a:gd fmla="*/ 2147483646 w 282" name="T52"/>
              <a:gd fmla="*/ 2147483646 h 344" name="T53"/>
              <a:gd fmla="*/ 2147483646 w 282" name="T54"/>
              <a:gd fmla="*/ 2147483646 h 344" name="T55"/>
              <a:gd fmla="*/ 2147483646 w 282" name="T56"/>
              <a:gd fmla="*/ 2147483646 h 344" name="T57"/>
              <a:gd fmla="*/ 2147483646 w 282" name="T58"/>
              <a:gd fmla="*/ 2147483646 h 344" name="T59"/>
              <a:gd fmla="*/ 2147483646 w 282" name="T60"/>
              <a:gd fmla="*/ 2147483646 h 344" name="T61"/>
              <a:gd fmla="*/ 2147483646 w 282" name="T62"/>
              <a:gd fmla="*/ 2147483646 h 344" name="T63"/>
              <a:gd fmla="*/ 2147483646 w 282" name="T64"/>
              <a:gd fmla="*/ 2147483646 h 344" name="T65"/>
              <a:gd fmla="*/ 2147483646 w 282" name="T66"/>
              <a:gd fmla="*/ 2147483646 h 344" name="T67"/>
              <a:gd fmla="*/ 2147483646 w 282" name="T68"/>
              <a:gd fmla="*/ 2147483646 h 344" name="T69"/>
              <a:gd fmla="*/ 2147483646 w 282" name="T70"/>
              <a:gd fmla="*/ 2147483646 h 344" name="T71"/>
              <a:gd fmla="*/ 2147483646 w 282" name="T72"/>
              <a:gd fmla="*/ 2147483646 h 344" name="T73"/>
              <a:gd fmla="*/ 2147483646 w 282" name="T74"/>
              <a:gd fmla="*/ 2147483646 h 344" name="T75"/>
              <a:gd fmla="*/ 2147483646 w 282" name="T76"/>
              <a:gd fmla="*/ 2147483646 h 344" name="T77"/>
              <a:gd fmla="*/ 2147483646 w 282" name="T78"/>
              <a:gd fmla="*/ 2147483646 h 344" name="T79"/>
              <a:gd fmla="*/ 2147483646 w 282" name="T80"/>
              <a:gd fmla="*/ 2147483646 h 344" name="T81"/>
              <a:gd fmla="*/ 2147483646 w 282" name="T82"/>
              <a:gd fmla="*/ 2147483646 h 344" name="T83"/>
              <a:gd fmla="*/ 2147483646 w 282" name="T84"/>
              <a:gd fmla="*/ 2147483646 h 344" name="T85"/>
              <a:gd fmla="*/ 2147483646 w 282" name="T86"/>
              <a:gd fmla="*/ 2147483646 h 344" name="T87"/>
              <a:gd fmla="*/ 2147483646 w 282" name="T88"/>
              <a:gd fmla="*/ 2147483646 h 344" name="T89"/>
              <a:gd fmla="*/ 2147483646 w 282" name="T90"/>
              <a:gd fmla="*/ 2147483646 h 344" name="T91"/>
              <a:gd fmla="*/ 2147483646 w 282" name="T92"/>
              <a:gd fmla="*/ 2147483646 h 344" name="T93"/>
              <a:gd fmla="*/ 2147483646 w 282" name="T94"/>
              <a:gd fmla="*/ 2147483646 h 344" name="T95"/>
              <a:gd fmla="*/ 2147483646 w 282" name="T96"/>
              <a:gd fmla="*/ 2147483646 h 344" name="T97"/>
              <a:gd fmla="*/ 2147483646 w 282" name="T98"/>
              <a:gd fmla="*/ 2147483646 h 344" name="T99"/>
              <a:gd fmla="*/ 2147483646 w 282" name="T100"/>
              <a:gd fmla="*/ 2147483646 h 344" name="T101"/>
              <a:gd fmla="*/ 2147483646 w 282" name="T102"/>
              <a:gd fmla="*/ 0 h 344"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b="b" l="0" r="r" t="0"/>
            <a:pathLst>
              <a:path h="344" w="282">
                <a:moveTo>
                  <a:pt x="146" y="14"/>
                </a:moveTo>
                <a:lnTo>
                  <a:pt x="146" y="14"/>
                </a:lnTo>
                <a:lnTo>
                  <a:pt x="132" y="24"/>
                </a:lnTo>
                <a:lnTo>
                  <a:pt x="120" y="38"/>
                </a:lnTo>
                <a:lnTo>
                  <a:pt x="118" y="38"/>
                </a:lnTo>
                <a:lnTo>
                  <a:pt x="118" y="40"/>
                </a:lnTo>
                <a:lnTo>
                  <a:pt x="102" y="40"/>
                </a:lnTo>
                <a:lnTo>
                  <a:pt x="92" y="34"/>
                </a:lnTo>
                <a:lnTo>
                  <a:pt x="84" y="38"/>
                </a:lnTo>
                <a:lnTo>
                  <a:pt x="78" y="42"/>
                </a:lnTo>
                <a:lnTo>
                  <a:pt x="74" y="50"/>
                </a:lnTo>
                <a:lnTo>
                  <a:pt x="70" y="60"/>
                </a:lnTo>
                <a:lnTo>
                  <a:pt x="70" y="74"/>
                </a:lnTo>
                <a:lnTo>
                  <a:pt x="80" y="66"/>
                </a:lnTo>
                <a:lnTo>
                  <a:pt x="74" y="92"/>
                </a:lnTo>
                <a:lnTo>
                  <a:pt x="74" y="94"/>
                </a:lnTo>
                <a:lnTo>
                  <a:pt x="46" y="116"/>
                </a:lnTo>
                <a:lnTo>
                  <a:pt x="42" y="124"/>
                </a:lnTo>
                <a:lnTo>
                  <a:pt x="42" y="128"/>
                </a:lnTo>
                <a:lnTo>
                  <a:pt x="48" y="134"/>
                </a:lnTo>
                <a:lnTo>
                  <a:pt x="54" y="140"/>
                </a:lnTo>
                <a:lnTo>
                  <a:pt x="56" y="142"/>
                </a:lnTo>
                <a:lnTo>
                  <a:pt x="56" y="146"/>
                </a:lnTo>
                <a:lnTo>
                  <a:pt x="56" y="148"/>
                </a:lnTo>
                <a:lnTo>
                  <a:pt x="54" y="152"/>
                </a:lnTo>
                <a:lnTo>
                  <a:pt x="36" y="166"/>
                </a:lnTo>
                <a:lnTo>
                  <a:pt x="38" y="174"/>
                </a:lnTo>
                <a:lnTo>
                  <a:pt x="36" y="184"/>
                </a:lnTo>
                <a:lnTo>
                  <a:pt x="36" y="186"/>
                </a:lnTo>
                <a:lnTo>
                  <a:pt x="30" y="190"/>
                </a:lnTo>
                <a:lnTo>
                  <a:pt x="28" y="194"/>
                </a:lnTo>
                <a:lnTo>
                  <a:pt x="24" y="200"/>
                </a:lnTo>
                <a:lnTo>
                  <a:pt x="14" y="208"/>
                </a:lnTo>
                <a:lnTo>
                  <a:pt x="14" y="210"/>
                </a:lnTo>
                <a:lnTo>
                  <a:pt x="16" y="216"/>
                </a:lnTo>
                <a:lnTo>
                  <a:pt x="14" y="226"/>
                </a:lnTo>
                <a:lnTo>
                  <a:pt x="16" y="236"/>
                </a:lnTo>
                <a:lnTo>
                  <a:pt x="16" y="238"/>
                </a:lnTo>
                <a:lnTo>
                  <a:pt x="14" y="242"/>
                </a:lnTo>
                <a:lnTo>
                  <a:pt x="6" y="250"/>
                </a:lnTo>
                <a:lnTo>
                  <a:pt x="4" y="250"/>
                </a:lnTo>
                <a:lnTo>
                  <a:pt x="0" y="252"/>
                </a:lnTo>
                <a:lnTo>
                  <a:pt x="0" y="254"/>
                </a:lnTo>
                <a:lnTo>
                  <a:pt x="6" y="272"/>
                </a:lnTo>
                <a:lnTo>
                  <a:pt x="28" y="272"/>
                </a:lnTo>
                <a:lnTo>
                  <a:pt x="50" y="272"/>
                </a:lnTo>
                <a:lnTo>
                  <a:pt x="52" y="272"/>
                </a:lnTo>
                <a:lnTo>
                  <a:pt x="52" y="274"/>
                </a:lnTo>
                <a:lnTo>
                  <a:pt x="70" y="290"/>
                </a:lnTo>
                <a:lnTo>
                  <a:pt x="70" y="292"/>
                </a:lnTo>
                <a:lnTo>
                  <a:pt x="82" y="322"/>
                </a:lnTo>
                <a:lnTo>
                  <a:pt x="102" y="342"/>
                </a:lnTo>
                <a:lnTo>
                  <a:pt x="112" y="344"/>
                </a:lnTo>
                <a:lnTo>
                  <a:pt x="112" y="320"/>
                </a:lnTo>
                <a:lnTo>
                  <a:pt x="132" y="340"/>
                </a:lnTo>
                <a:lnTo>
                  <a:pt x="136" y="336"/>
                </a:lnTo>
                <a:lnTo>
                  <a:pt x="150" y="306"/>
                </a:lnTo>
                <a:lnTo>
                  <a:pt x="152" y="290"/>
                </a:lnTo>
                <a:lnTo>
                  <a:pt x="154" y="290"/>
                </a:lnTo>
                <a:lnTo>
                  <a:pt x="156" y="290"/>
                </a:lnTo>
                <a:lnTo>
                  <a:pt x="172" y="292"/>
                </a:lnTo>
                <a:lnTo>
                  <a:pt x="170" y="280"/>
                </a:lnTo>
                <a:lnTo>
                  <a:pt x="170" y="278"/>
                </a:lnTo>
                <a:lnTo>
                  <a:pt x="170" y="276"/>
                </a:lnTo>
                <a:lnTo>
                  <a:pt x="174" y="276"/>
                </a:lnTo>
                <a:lnTo>
                  <a:pt x="194" y="276"/>
                </a:lnTo>
                <a:lnTo>
                  <a:pt x="200" y="270"/>
                </a:lnTo>
                <a:lnTo>
                  <a:pt x="204" y="262"/>
                </a:lnTo>
                <a:lnTo>
                  <a:pt x="208" y="256"/>
                </a:lnTo>
                <a:lnTo>
                  <a:pt x="208" y="250"/>
                </a:lnTo>
                <a:lnTo>
                  <a:pt x="206" y="222"/>
                </a:lnTo>
                <a:lnTo>
                  <a:pt x="222" y="226"/>
                </a:lnTo>
                <a:lnTo>
                  <a:pt x="228" y="218"/>
                </a:lnTo>
                <a:lnTo>
                  <a:pt x="220" y="210"/>
                </a:lnTo>
                <a:lnTo>
                  <a:pt x="218" y="208"/>
                </a:lnTo>
                <a:lnTo>
                  <a:pt x="234" y="192"/>
                </a:lnTo>
                <a:lnTo>
                  <a:pt x="234" y="194"/>
                </a:lnTo>
                <a:lnTo>
                  <a:pt x="236" y="194"/>
                </a:lnTo>
                <a:lnTo>
                  <a:pt x="246" y="198"/>
                </a:lnTo>
                <a:lnTo>
                  <a:pt x="246" y="196"/>
                </a:lnTo>
                <a:lnTo>
                  <a:pt x="238" y="182"/>
                </a:lnTo>
                <a:lnTo>
                  <a:pt x="242" y="180"/>
                </a:lnTo>
                <a:lnTo>
                  <a:pt x="246" y="178"/>
                </a:lnTo>
                <a:lnTo>
                  <a:pt x="244" y="172"/>
                </a:lnTo>
                <a:lnTo>
                  <a:pt x="236" y="156"/>
                </a:lnTo>
                <a:lnTo>
                  <a:pt x="238" y="156"/>
                </a:lnTo>
                <a:lnTo>
                  <a:pt x="238" y="154"/>
                </a:lnTo>
                <a:lnTo>
                  <a:pt x="260" y="142"/>
                </a:lnTo>
                <a:lnTo>
                  <a:pt x="262" y="134"/>
                </a:lnTo>
                <a:lnTo>
                  <a:pt x="240" y="120"/>
                </a:lnTo>
                <a:lnTo>
                  <a:pt x="236" y="116"/>
                </a:lnTo>
                <a:lnTo>
                  <a:pt x="234" y="112"/>
                </a:lnTo>
                <a:lnTo>
                  <a:pt x="236" y="108"/>
                </a:lnTo>
                <a:lnTo>
                  <a:pt x="242" y="108"/>
                </a:lnTo>
                <a:lnTo>
                  <a:pt x="266" y="112"/>
                </a:lnTo>
                <a:lnTo>
                  <a:pt x="266" y="98"/>
                </a:lnTo>
                <a:lnTo>
                  <a:pt x="266" y="96"/>
                </a:lnTo>
                <a:lnTo>
                  <a:pt x="278" y="84"/>
                </a:lnTo>
                <a:lnTo>
                  <a:pt x="282" y="74"/>
                </a:lnTo>
                <a:lnTo>
                  <a:pt x="276" y="72"/>
                </a:lnTo>
                <a:lnTo>
                  <a:pt x="270" y="66"/>
                </a:lnTo>
                <a:lnTo>
                  <a:pt x="270" y="64"/>
                </a:lnTo>
                <a:lnTo>
                  <a:pt x="270" y="60"/>
                </a:lnTo>
                <a:lnTo>
                  <a:pt x="270" y="58"/>
                </a:lnTo>
                <a:lnTo>
                  <a:pt x="268" y="58"/>
                </a:lnTo>
                <a:lnTo>
                  <a:pt x="266" y="58"/>
                </a:lnTo>
                <a:lnTo>
                  <a:pt x="262" y="62"/>
                </a:lnTo>
                <a:lnTo>
                  <a:pt x="256" y="64"/>
                </a:lnTo>
                <a:lnTo>
                  <a:pt x="250" y="62"/>
                </a:lnTo>
                <a:lnTo>
                  <a:pt x="244" y="62"/>
                </a:lnTo>
                <a:lnTo>
                  <a:pt x="234" y="54"/>
                </a:lnTo>
                <a:lnTo>
                  <a:pt x="226" y="42"/>
                </a:lnTo>
                <a:lnTo>
                  <a:pt x="226" y="44"/>
                </a:lnTo>
                <a:lnTo>
                  <a:pt x="222" y="50"/>
                </a:lnTo>
                <a:lnTo>
                  <a:pt x="216" y="58"/>
                </a:lnTo>
                <a:lnTo>
                  <a:pt x="208" y="60"/>
                </a:lnTo>
                <a:lnTo>
                  <a:pt x="200" y="62"/>
                </a:lnTo>
                <a:lnTo>
                  <a:pt x="194" y="62"/>
                </a:lnTo>
                <a:lnTo>
                  <a:pt x="186" y="60"/>
                </a:lnTo>
                <a:lnTo>
                  <a:pt x="182" y="58"/>
                </a:lnTo>
                <a:lnTo>
                  <a:pt x="178" y="54"/>
                </a:lnTo>
                <a:lnTo>
                  <a:pt x="174" y="46"/>
                </a:lnTo>
                <a:lnTo>
                  <a:pt x="170" y="30"/>
                </a:lnTo>
                <a:lnTo>
                  <a:pt x="166" y="12"/>
                </a:lnTo>
                <a:lnTo>
                  <a:pt x="164" y="6"/>
                </a:lnTo>
                <a:lnTo>
                  <a:pt x="160" y="2"/>
                </a:lnTo>
                <a:lnTo>
                  <a:pt x="154" y="0"/>
                </a:lnTo>
                <a:lnTo>
                  <a:pt x="146" y="0"/>
                </a:lnTo>
                <a:lnTo>
                  <a:pt x="148" y="14"/>
                </a:lnTo>
                <a:lnTo>
                  <a:pt x="146" y="14"/>
                </a:lnTo>
                <a:close/>
              </a:path>
            </a:pathLst>
          </a:custGeom>
          <a:solidFill>
            <a:srgbClr val="BFBFBF"/>
          </a:solidFill>
          <a:ln>
            <a:noFill/>
          </a:ln>
        </p:spPr>
        <p:txBody>
          <a:bodyPr/>
          <a:lstStyle/>
          <a:p>
            <a:endParaRPr altLang="en-US" lang="zh-CN">
              <a:cs typeface="+mn-ea"/>
              <a:sym typeface="+mn-lt"/>
            </a:endParaRPr>
          </a:p>
        </p:txBody>
      </p:sp>
      <p:sp>
        <p:nvSpPr>
          <p:cNvPr id="23" name="浙江"/>
          <p:cNvSpPr/>
          <p:nvPr/>
        </p:nvSpPr>
        <p:spPr bwMode="auto">
          <a:xfrm>
            <a:off x="5079101" y="4330000"/>
            <a:ext cx="356936" cy="413180"/>
          </a:xfrm>
          <a:custGeom>
            <a:gdLst>
              <a:gd fmla="*/ 2147483646 w 242" name="T0"/>
              <a:gd fmla="*/ 2147483646 h 280" name="T1"/>
              <a:gd fmla="*/ 2147483646 w 242" name="T2"/>
              <a:gd fmla="*/ 2147483646 h 280" name="T3"/>
              <a:gd fmla="*/ 2147483646 w 242" name="T4"/>
              <a:gd fmla="*/ 2147483646 h 280" name="T5"/>
              <a:gd fmla="*/ 2147483646 w 242" name="T6"/>
              <a:gd fmla="*/ 2147483646 h 280" name="T7"/>
              <a:gd fmla="*/ 2147483646 w 242" name="T8"/>
              <a:gd fmla="*/ 2147483646 h 280" name="T9"/>
              <a:gd fmla="*/ 2147483646 w 242" name="T10"/>
              <a:gd fmla="*/ 2147483646 h 280" name="T11"/>
              <a:gd fmla="*/ 2147483646 w 242" name="T12"/>
              <a:gd fmla="*/ 2147483646 h 280" name="T13"/>
              <a:gd fmla="*/ 2147483646 w 242" name="T14"/>
              <a:gd fmla="*/ 2147483646 h 280" name="T15"/>
              <a:gd fmla="*/ 2147483646 w 242" name="T16"/>
              <a:gd fmla="*/ 2147483646 h 280" name="T17"/>
              <a:gd fmla="*/ 0 w 242" name="T18"/>
              <a:gd fmla="*/ 2147483646 h 280" name="T19"/>
              <a:gd fmla="*/ 2147483646 w 242" name="T20"/>
              <a:gd fmla="*/ 2147483646 h 280" name="T21"/>
              <a:gd fmla="*/ 2147483646 w 242" name="T22"/>
              <a:gd fmla="*/ 2147483646 h 280" name="T23"/>
              <a:gd fmla="*/ 2147483646 w 242" name="T24"/>
              <a:gd fmla="*/ 2147483646 h 280" name="T25"/>
              <a:gd fmla="*/ 2147483646 w 242" name="T26"/>
              <a:gd fmla="*/ 2147483646 h 280" name="T27"/>
              <a:gd fmla="*/ 2147483646 w 242" name="T28"/>
              <a:gd fmla="*/ 2147483646 h 280" name="T29"/>
              <a:gd fmla="*/ 2147483646 w 242" name="T30"/>
              <a:gd fmla="*/ 2147483646 h 280" name="T31"/>
              <a:gd fmla="*/ 2147483646 w 242" name="T32"/>
              <a:gd fmla="*/ 2147483646 h 280" name="T33"/>
              <a:gd fmla="*/ 2147483646 w 242" name="T34"/>
              <a:gd fmla="*/ 2147483646 h 280" name="T35"/>
              <a:gd fmla="*/ 2147483646 w 242" name="T36"/>
              <a:gd fmla="*/ 2147483646 h 280" name="T37"/>
              <a:gd fmla="*/ 2147483646 w 242" name="T38"/>
              <a:gd fmla="*/ 2147483646 h 280" name="T39"/>
              <a:gd fmla="*/ 2147483646 w 242" name="T40"/>
              <a:gd fmla="*/ 2147483646 h 280" name="T41"/>
              <a:gd fmla="*/ 2147483646 w 242" name="T42"/>
              <a:gd fmla="*/ 2147483646 h 280" name="T43"/>
              <a:gd fmla="*/ 2147483646 w 242" name="T44"/>
              <a:gd fmla="*/ 2147483646 h 280" name="T45"/>
              <a:gd fmla="*/ 2147483646 w 242" name="T46"/>
              <a:gd fmla="*/ 2147483646 h 280" name="T47"/>
              <a:gd fmla="*/ 2147483646 w 242" name="T48"/>
              <a:gd fmla="*/ 2147483646 h 280" name="T49"/>
              <a:gd fmla="*/ 2147483646 w 242" name="T50"/>
              <a:gd fmla="*/ 2147483646 h 280" name="T51"/>
              <a:gd fmla="*/ 2147483646 w 242" name="T52"/>
              <a:gd fmla="*/ 2147483646 h 280" name="T53"/>
              <a:gd fmla="*/ 2147483646 w 242" name="T54"/>
              <a:gd fmla="*/ 2147483646 h 280" name="T55"/>
              <a:gd fmla="*/ 2147483646 w 242" name="T56"/>
              <a:gd fmla="*/ 2147483646 h 280" name="T57"/>
              <a:gd fmla="*/ 2147483646 w 242" name="T58"/>
              <a:gd fmla="*/ 2147483646 h 280" name="T59"/>
              <a:gd fmla="*/ 2147483646 w 242" name="T60"/>
              <a:gd fmla="*/ 2147483646 h 280" name="T61"/>
              <a:gd fmla="*/ 2147483646 w 242" name="T62"/>
              <a:gd fmla="*/ 2147483646 h 280" name="T63"/>
              <a:gd fmla="*/ 2147483646 w 242" name="T64"/>
              <a:gd fmla="*/ 2147483646 h 280" name="T65"/>
              <a:gd fmla="*/ 2147483646 w 242" name="T66"/>
              <a:gd fmla="*/ 2147483646 h 280" name="T67"/>
              <a:gd fmla="*/ 2147483646 w 242" name="T68"/>
              <a:gd fmla="*/ 2147483646 h 280" name="T69"/>
              <a:gd fmla="*/ 2147483646 w 242" name="T70"/>
              <a:gd fmla="*/ 2147483646 h 280" name="T71"/>
              <a:gd fmla="*/ 2147483646 w 242" name="T72"/>
              <a:gd fmla="*/ 2147483646 h 280" name="T73"/>
              <a:gd fmla="*/ 2147483646 w 242" name="T74"/>
              <a:gd fmla="*/ 2147483646 h 280" name="T75"/>
              <a:gd fmla="*/ 2147483646 w 242" name="T76"/>
              <a:gd fmla="*/ 2147483646 h 280" name="T77"/>
              <a:gd fmla="*/ 2147483646 w 242" name="T78"/>
              <a:gd fmla="*/ 2147483646 h 280" name="T79"/>
              <a:gd fmla="*/ 2147483646 w 242" name="T80"/>
              <a:gd fmla="*/ 2147483646 h 280" name="T81"/>
              <a:gd fmla="*/ 2147483646 w 242" name="T82"/>
              <a:gd fmla="*/ 2147483646 h 280" name="T83"/>
              <a:gd fmla="*/ 2147483646 w 242" name="T84"/>
              <a:gd fmla="*/ 2147483646 h 280" name="T85"/>
              <a:gd fmla="*/ 2147483646 w 242" name="T86"/>
              <a:gd fmla="*/ 2147483646 h 280" name="T87"/>
              <a:gd fmla="*/ 2147483646 w 242" name="T88"/>
              <a:gd fmla="*/ 2147483646 h 280" name="T89"/>
              <a:gd fmla="*/ 2147483646 w 242" name="T90"/>
              <a:gd fmla="*/ 2147483646 h 280"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b="b" l="0" r="r" t="0"/>
            <a:pathLst>
              <a:path h="280" w="241">
                <a:moveTo>
                  <a:pt x="148" y="4"/>
                </a:moveTo>
                <a:lnTo>
                  <a:pt x="148" y="4"/>
                </a:lnTo>
                <a:lnTo>
                  <a:pt x="136" y="8"/>
                </a:lnTo>
                <a:lnTo>
                  <a:pt x="126" y="12"/>
                </a:lnTo>
                <a:lnTo>
                  <a:pt x="116" y="10"/>
                </a:lnTo>
                <a:lnTo>
                  <a:pt x="102" y="6"/>
                </a:lnTo>
                <a:lnTo>
                  <a:pt x="84" y="4"/>
                </a:lnTo>
                <a:lnTo>
                  <a:pt x="78" y="6"/>
                </a:lnTo>
                <a:lnTo>
                  <a:pt x="74" y="12"/>
                </a:lnTo>
                <a:lnTo>
                  <a:pt x="62" y="28"/>
                </a:lnTo>
                <a:lnTo>
                  <a:pt x="74" y="52"/>
                </a:lnTo>
                <a:lnTo>
                  <a:pt x="54" y="64"/>
                </a:lnTo>
                <a:lnTo>
                  <a:pt x="38" y="60"/>
                </a:lnTo>
                <a:lnTo>
                  <a:pt x="44" y="74"/>
                </a:lnTo>
                <a:lnTo>
                  <a:pt x="44" y="78"/>
                </a:lnTo>
                <a:lnTo>
                  <a:pt x="44" y="82"/>
                </a:lnTo>
                <a:lnTo>
                  <a:pt x="42" y="88"/>
                </a:lnTo>
                <a:lnTo>
                  <a:pt x="36" y="100"/>
                </a:lnTo>
                <a:lnTo>
                  <a:pt x="32" y="106"/>
                </a:lnTo>
                <a:lnTo>
                  <a:pt x="4" y="132"/>
                </a:lnTo>
                <a:lnTo>
                  <a:pt x="10" y="136"/>
                </a:lnTo>
                <a:lnTo>
                  <a:pt x="6" y="140"/>
                </a:lnTo>
                <a:lnTo>
                  <a:pt x="2" y="144"/>
                </a:lnTo>
                <a:lnTo>
                  <a:pt x="0" y="148"/>
                </a:lnTo>
                <a:lnTo>
                  <a:pt x="0" y="152"/>
                </a:lnTo>
                <a:lnTo>
                  <a:pt x="0" y="156"/>
                </a:lnTo>
                <a:lnTo>
                  <a:pt x="20" y="186"/>
                </a:lnTo>
                <a:lnTo>
                  <a:pt x="30" y="202"/>
                </a:lnTo>
                <a:lnTo>
                  <a:pt x="30" y="204"/>
                </a:lnTo>
                <a:lnTo>
                  <a:pt x="30" y="206"/>
                </a:lnTo>
                <a:lnTo>
                  <a:pt x="30" y="208"/>
                </a:lnTo>
                <a:lnTo>
                  <a:pt x="28" y="210"/>
                </a:lnTo>
                <a:lnTo>
                  <a:pt x="34" y="210"/>
                </a:lnTo>
                <a:lnTo>
                  <a:pt x="40" y="214"/>
                </a:lnTo>
                <a:lnTo>
                  <a:pt x="44" y="218"/>
                </a:lnTo>
                <a:lnTo>
                  <a:pt x="48" y="224"/>
                </a:lnTo>
                <a:lnTo>
                  <a:pt x="50" y="234"/>
                </a:lnTo>
                <a:lnTo>
                  <a:pt x="52" y="246"/>
                </a:lnTo>
                <a:lnTo>
                  <a:pt x="56" y="262"/>
                </a:lnTo>
                <a:lnTo>
                  <a:pt x="58" y="266"/>
                </a:lnTo>
                <a:lnTo>
                  <a:pt x="64" y="270"/>
                </a:lnTo>
                <a:lnTo>
                  <a:pt x="68" y="272"/>
                </a:lnTo>
                <a:lnTo>
                  <a:pt x="74" y="272"/>
                </a:lnTo>
                <a:lnTo>
                  <a:pt x="80" y="270"/>
                </a:lnTo>
                <a:lnTo>
                  <a:pt x="84" y="268"/>
                </a:lnTo>
                <a:lnTo>
                  <a:pt x="90" y="264"/>
                </a:lnTo>
                <a:lnTo>
                  <a:pt x="90" y="260"/>
                </a:lnTo>
                <a:lnTo>
                  <a:pt x="90" y="258"/>
                </a:lnTo>
                <a:lnTo>
                  <a:pt x="104" y="248"/>
                </a:lnTo>
                <a:lnTo>
                  <a:pt x="104" y="250"/>
                </a:lnTo>
                <a:lnTo>
                  <a:pt x="116" y="268"/>
                </a:lnTo>
                <a:lnTo>
                  <a:pt x="122" y="270"/>
                </a:lnTo>
                <a:lnTo>
                  <a:pt x="130" y="272"/>
                </a:lnTo>
                <a:lnTo>
                  <a:pt x="134" y="272"/>
                </a:lnTo>
                <a:lnTo>
                  <a:pt x="130" y="262"/>
                </a:lnTo>
                <a:lnTo>
                  <a:pt x="146" y="268"/>
                </a:lnTo>
                <a:lnTo>
                  <a:pt x="150" y="268"/>
                </a:lnTo>
                <a:lnTo>
                  <a:pt x="152" y="270"/>
                </a:lnTo>
                <a:lnTo>
                  <a:pt x="166" y="280"/>
                </a:lnTo>
                <a:lnTo>
                  <a:pt x="170" y="274"/>
                </a:lnTo>
                <a:lnTo>
                  <a:pt x="168" y="248"/>
                </a:lnTo>
                <a:lnTo>
                  <a:pt x="170" y="246"/>
                </a:lnTo>
                <a:lnTo>
                  <a:pt x="180" y="234"/>
                </a:lnTo>
                <a:lnTo>
                  <a:pt x="180" y="232"/>
                </a:lnTo>
                <a:lnTo>
                  <a:pt x="176" y="226"/>
                </a:lnTo>
                <a:lnTo>
                  <a:pt x="172" y="224"/>
                </a:lnTo>
                <a:lnTo>
                  <a:pt x="174" y="222"/>
                </a:lnTo>
                <a:lnTo>
                  <a:pt x="176" y="220"/>
                </a:lnTo>
                <a:lnTo>
                  <a:pt x="178" y="220"/>
                </a:lnTo>
                <a:lnTo>
                  <a:pt x="198" y="186"/>
                </a:lnTo>
                <a:lnTo>
                  <a:pt x="200" y="188"/>
                </a:lnTo>
                <a:lnTo>
                  <a:pt x="204" y="188"/>
                </a:lnTo>
                <a:lnTo>
                  <a:pt x="204" y="190"/>
                </a:lnTo>
                <a:lnTo>
                  <a:pt x="204" y="204"/>
                </a:lnTo>
                <a:lnTo>
                  <a:pt x="228" y="184"/>
                </a:lnTo>
                <a:lnTo>
                  <a:pt x="226" y="172"/>
                </a:lnTo>
                <a:lnTo>
                  <a:pt x="222" y="172"/>
                </a:lnTo>
                <a:lnTo>
                  <a:pt x="214" y="174"/>
                </a:lnTo>
                <a:lnTo>
                  <a:pt x="228" y="136"/>
                </a:lnTo>
                <a:lnTo>
                  <a:pt x="216" y="136"/>
                </a:lnTo>
                <a:lnTo>
                  <a:pt x="214" y="136"/>
                </a:lnTo>
                <a:lnTo>
                  <a:pt x="214" y="134"/>
                </a:lnTo>
                <a:lnTo>
                  <a:pt x="210" y="128"/>
                </a:lnTo>
                <a:lnTo>
                  <a:pt x="208" y="122"/>
                </a:lnTo>
                <a:lnTo>
                  <a:pt x="210" y="116"/>
                </a:lnTo>
                <a:lnTo>
                  <a:pt x="230" y="116"/>
                </a:lnTo>
                <a:lnTo>
                  <a:pt x="242" y="116"/>
                </a:lnTo>
                <a:lnTo>
                  <a:pt x="240" y="106"/>
                </a:lnTo>
                <a:lnTo>
                  <a:pt x="232" y="92"/>
                </a:lnTo>
                <a:lnTo>
                  <a:pt x="216" y="86"/>
                </a:lnTo>
                <a:lnTo>
                  <a:pt x="232" y="70"/>
                </a:lnTo>
                <a:lnTo>
                  <a:pt x="232" y="66"/>
                </a:lnTo>
                <a:lnTo>
                  <a:pt x="224" y="68"/>
                </a:lnTo>
                <a:lnTo>
                  <a:pt x="220" y="68"/>
                </a:lnTo>
                <a:lnTo>
                  <a:pt x="220" y="66"/>
                </a:lnTo>
                <a:lnTo>
                  <a:pt x="220" y="64"/>
                </a:lnTo>
                <a:lnTo>
                  <a:pt x="218" y="58"/>
                </a:lnTo>
                <a:lnTo>
                  <a:pt x="214" y="54"/>
                </a:lnTo>
                <a:lnTo>
                  <a:pt x="210" y="50"/>
                </a:lnTo>
                <a:lnTo>
                  <a:pt x="204" y="48"/>
                </a:lnTo>
                <a:lnTo>
                  <a:pt x="172" y="48"/>
                </a:lnTo>
                <a:lnTo>
                  <a:pt x="160" y="64"/>
                </a:lnTo>
                <a:lnTo>
                  <a:pt x="156" y="64"/>
                </a:lnTo>
                <a:lnTo>
                  <a:pt x="104" y="48"/>
                </a:lnTo>
                <a:lnTo>
                  <a:pt x="154" y="36"/>
                </a:lnTo>
                <a:lnTo>
                  <a:pt x="158" y="34"/>
                </a:lnTo>
                <a:lnTo>
                  <a:pt x="162" y="30"/>
                </a:lnTo>
                <a:lnTo>
                  <a:pt x="178" y="12"/>
                </a:lnTo>
                <a:lnTo>
                  <a:pt x="162" y="0"/>
                </a:lnTo>
                <a:lnTo>
                  <a:pt x="148" y="4"/>
                </a:lnTo>
                <a:close/>
              </a:path>
            </a:pathLst>
          </a:custGeom>
          <a:solidFill>
            <a:srgbClr val="BFBFBF"/>
          </a:solidFill>
          <a:ln>
            <a:noFill/>
          </a:ln>
        </p:spPr>
        <p:txBody>
          <a:bodyPr/>
          <a:lstStyle/>
          <a:p>
            <a:endParaRPr altLang="en-US" lang="zh-CN">
              <a:cs typeface="+mn-ea"/>
              <a:sym typeface="+mn-lt"/>
            </a:endParaRPr>
          </a:p>
        </p:txBody>
      </p:sp>
      <p:sp>
        <p:nvSpPr>
          <p:cNvPr id="24" name="安徽"/>
          <p:cNvSpPr/>
          <p:nvPr/>
        </p:nvSpPr>
        <p:spPr bwMode="auto">
          <a:xfrm>
            <a:off x="4731014" y="3972894"/>
            <a:ext cx="451333" cy="551891"/>
          </a:xfrm>
          <a:custGeom>
            <a:gdLst>
              <a:gd fmla="*/ 2147483646 w 306" name="T0"/>
              <a:gd fmla="*/ 2147483646 h 374" name="T1"/>
              <a:gd fmla="*/ 2147483646 w 306" name="T2"/>
              <a:gd fmla="*/ 2147483646 h 374" name="T3"/>
              <a:gd fmla="*/ 2147483646 w 306" name="T4"/>
              <a:gd fmla="*/ 2147483646 h 374" name="T5"/>
              <a:gd fmla="*/ 2147483646 w 306" name="T6"/>
              <a:gd fmla="*/ 2147483646 h 374" name="T7"/>
              <a:gd fmla="*/ 2147483646 w 306" name="T8"/>
              <a:gd fmla="*/ 2147483646 h 374" name="T9"/>
              <a:gd fmla="*/ 2147483646 w 306" name="T10"/>
              <a:gd fmla="*/ 2147483646 h 374" name="T11"/>
              <a:gd fmla="*/ 2147483646 w 306" name="T12"/>
              <a:gd fmla="*/ 2147483646 h 374" name="T13"/>
              <a:gd fmla="*/ 2147483646 w 306" name="T14"/>
              <a:gd fmla="*/ 2147483646 h 374" name="T15"/>
              <a:gd fmla="*/ 2147483646 w 306" name="T16"/>
              <a:gd fmla="*/ 2147483646 h 374" name="T17"/>
              <a:gd fmla="*/ 2147483646 w 306" name="T18"/>
              <a:gd fmla="*/ 2147483646 h 374" name="T19"/>
              <a:gd fmla="*/ 2147483646 w 306" name="T20"/>
              <a:gd fmla="*/ 2147483646 h 374" name="T21"/>
              <a:gd fmla="*/ 2147483646 w 306" name="T22"/>
              <a:gd fmla="*/ 2147483646 h 374" name="T23"/>
              <a:gd fmla="*/ 2147483646 w 306" name="T24"/>
              <a:gd fmla="*/ 2147483646 h 374" name="T25"/>
              <a:gd fmla="*/ 2147483646 w 306" name="T26"/>
              <a:gd fmla="*/ 2147483646 h 374" name="T27"/>
              <a:gd fmla="*/ 2147483646 w 306" name="T28"/>
              <a:gd fmla="*/ 2147483646 h 374" name="T29"/>
              <a:gd fmla="*/ 2147483646 w 306" name="T30"/>
              <a:gd fmla="*/ 2147483646 h 374" name="T31"/>
              <a:gd fmla="*/ 2147483646 w 306" name="T32"/>
              <a:gd fmla="*/ 2147483646 h 374" name="T33"/>
              <a:gd fmla="*/ 2147483646 w 306" name="T34"/>
              <a:gd fmla="*/ 2147483646 h 374" name="T35"/>
              <a:gd fmla="*/ 2147483646 w 306" name="T36"/>
              <a:gd fmla="*/ 2147483646 h 374" name="T37"/>
              <a:gd fmla="*/ 2147483646 w 306" name="T38"/>
              <a:gd fmla="*/ 2147483646 h 374" name="T39"/>
              <a:gd fmla="*/ 2147483646 w 306" name="T40"/>
              <a:gd fmla="*/ 2147483646 h 374" name="T41"/>
              <a:gd fmla="*/ 2147483646 w 306" name="T42"/>
              <a:gd fmla="*/ 2147483646 h 374" name="T43"/>
              <a:gd fmla="*/ 2147483646 w 306" name="T44"/>
              <a:gd fmla="*/ 2147483646 h 374" name="T45"/>
              <a:gd fmla="*/ 2147483646 w 306" name="T46"/>
              <a:gd fmla="*/ 2147483646 h 374" name="T47"/>
              <a:gd fmla="*/ 2147483646 w 306" name="T48"/>
              <a:gd fmla="*/ 2147483646 h 374" name="T49"/>
              <a:gd fmla="*/ 2147483646 w 306" name="T50"/>
              <a:gd fmla="*/ 2147483646 h 374" name="T51"/>
              <a:gd fmla="*/ 2147483646 w 306" name="T52"/>
              <a:gd fmla="*/ 2147483646 h 374" name="T53"/>
              <a:gd fmla="*/ 2147483646 w 306" name="T54"/>
              <a:gd fmla="*/ 2147483646 h 374" name="T55"/>
              <a:gd fmla="*/ 2147483646 w 306" name="T56"/>
              <a:gd fmla="*/ 2147483646 h 374" name="T57"/>
              <a:gd fmla="*/ 2147483646 w 306" name="T58"/>
              <a:gd fmla="*/ 2147483646 h 374" name="T59"/>
              <a:gd fmla="*/ 2147483646 w 306" name="T60"/>
              <a:gd fmla="*/ 2147483646 h 374" name="T61"/>
              <a:gd fmla="*/ 2147483646 w 306" name="T62"/>
              <a:gd fmla="*/ 2147483646 h 374" name="T63"/>
              <a:gd fmla="*/ 2147483646 w 306" name="T64"/>
              <a:gd fmla="*/ 2147483646 h 374" name="T65"/>
              <a:gd fmla="*/ 2147483646 w 306" name="T66"/>
              <a:gd fmla="*/ 2147483646 h 374" name="T67"/>
              <a:gd fmla="*/ 2147483646 w 306" name="T68"/>
              <a:gd fmla="*/ 2147483646 h 374" name="T69"/>
              <a:gd fmla="*/ 2147483646 w 306" name="T70"/>
              <a:gd fmla="*/ 2147483646 h 374" name="T71"/>
              <a:gd fmla="*/ 2147483646 w 306" name="T72"/>
              <a:gd fmla="*/ 2147483646 h 374" name="T73"/>
              <a:gd fmla="*/ 2147483646 w 306" name="T74"/>
              <a:gd fmla="*/ 2147483646 h 374" name="T75"/>
              <a:gd fmla="*/ 2147483646 w 306" name="T76"/>
              <a:gd fmla="*/ 2147483646 h 374" name="T77"/>
              <a:gd fmla="*/ 2147483646 w 306" name="T78"/>
              <a:gd fmla="*/ 2147483646 h 374" name="T79"/>
              <a:gd fmla="*/ 2147483646 w 306" name="T80"/>
              <a:gd fmla="*/ 2147483646 h 374" name="T81"/>
              <a:gd fmla="*/ 2147483646 w 306" name="T82"/>
              <a:gd fmla="*/ 2147483646 h 374" name="T83"/>
              <a:gd fmla="*/ 2147483646 w 306" name="T84"/>
              <a:gd fmla="*/ 2147483646 h 374" name="T85"/>
              <a:gd fmla="*/ 2147483646 w 306" name="T86"/>
              <a:gd fmla="*/ 2147483646 h 374" name="T87"/>
              <a:gd fmla="*/ 2147483646 w 306" name="T88"/>
              <a:gd fmla="*/ 2147483646 h 374" name="T89"/>
              <a:gd fmla="*/ 2147483646 w 306" name="T90"/>
              <a:gd fmla="*/ 2147483646 h 374" name="T91"/>
              <a:gd fmla="*/ 2147483646 w 306" name="T92"/>
              <a:gd fmla="*/ 2147483646 h 374" name="T93"/>
              <a:gd fmla="*/ 2147483646 w 306" name="T94"/>
              <a:gd fmla="*/ 2147483646 h 374" name="T95"/>
              <a:gd fmla="*/ 2147483646 w 306" name="T96"/>
              <a:gd fmla="*/ 2147483646 h 374" name="T97"/>
              <a:gd fmla="*/ 2147483646 w 306" name="T98"/>
              <a:gd fmla="*/ 2147483646 h 374" name="T99"/>
              <a:gd fmla="*/ 2147483646 w 306" name="T100"/>
              <a:gd fmla="*/ 2147483646 h 374" name="T101"/>
              <a:gd fmla="*/ 2147483646 w 306" name="T102"/>
              <a:gd fmla="*/ 2147483646 h 374" name="T103"/>
              <a:gd fmla="*/ 2147483646 w 306" name="T104"/>
              <a:gd fmla="*/ 2147483646 h 374" name="T105"/>
              <a:gd fmla="*/ 2147483646 w 306" name="T106"/>
              <a:gd fmla="*/ 2147483646 h 374" name="T107"/>
              <a:gd fmla="*/ 2147483646 w 306" name="T108"/>
              <a:gd fmla="*/ 2147483646 h 374" name="T109"/>
              <a:gd fmla="*/ 2147483646 w 306" name="T110"/>
              <a:gd fmla="*/ 2147483646 h 374" name="T111"/>
              <a:gd fmla="*/ 2147483646 w 306" name="T112"/>
              <a:gd fmla="*/ 2147483646 h 374" name="T113"/>
              <a:gd fmla="*/ 2147483646 w 306" name="T114"/>
              <a:gd fmla="*/ 2147483646 h 374"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b="b" l="0" r="r" t="0"/>
            <a:pathLst>
              <a:path h="374" w="306">
                <a:moveTo>
                  <a:pt x="192" y="106"/>
                </a:moveTo>
                <a:lnTo>
                  <a:pt x="192" y="106"/>
                </a:lnTo>
                <a:lnTo>
                  <a:pt x="186" y="86"/>
                </a:lnTo>
                <a:lnTo>
                  <a:pt x="180" y="70"/>
                </a:lnTo>
                <a:lnTo>
                  <a:pt x="174" y="60"/>
                </a:lnTo>
                <a:lnTo>
                  <a:pt x="170" y="56"/>
                </a:lnTo>
                <a:lnTo>
                  <a:pt x="142" y="46"/>
                </a:lnTo>
                <a:lnTo>
                  <a:pt x="122" y="40"/>
                </a:lnTo>
                <a:lnTo>
                  <a:pt x="110" y="34"/>
                </a:lnTo>
                <a:lnTo>
                  <a:pt x="104" y="30"/>
                </a:lnTo>
                <a:lnTo>
                  <a:pt x="96" y="22"/>
                </a:lnTo>
                <a:lnTo>
                  <a:pt x="80" y="0"/>
                </a:lnTo>
                <a:lnTo>
                  <a:pt x="74" y="0"/>
                </a:lnTo>
                <a:lnTo>
                  <a:pt x="76" y="2"/>
                </a:lnTo>
                <a:lnTo>
                  <a:pt x="82" y="14"/>
                </a:lnTo>
                <a:lnTo>
                  <a:pt x="96" y="34"/>
                </a:lnTo>
                <a:lnTo>
                  <a:pt x="98" y="36"/>
                </a:lnTo>
                <a:lnTo>
                  <a:pt x="98" y="38"/>
                </a:lnTo>
                <a:lnTo>
                  <a:pt x="86" y="60"/>
                </a:lnTo>
                <a:lnTo>
                  <a:pt x="78" y="70"/>
                </a:lnTo>
                <a:lnTo>
                  <a:pt x="74" y="72"/>
                </a:lnTo>
                <a:lnTo>
                  <a:pt x="72" y="72"/>
                </a:lnTo>
                <a:lnTo>
                  <a:pt x="64" y="66"/>
                </a:lnTo>
                <a:lnTo>
                  <a:pt x="52" y="50"/>
                </a:lnTo>
                <a:lnTo>
                  <a:pt x="38" y="46"/>
                </a:lnTo>
                <a:lnTo>
                  <a:pt x="40" y="54"/>
                </a:lnTo>
                <a:lnTo>
                  <a:pt x="46" y="70"/>
                </a:lnTo>
                <a:lnTo>
                  <a:pt x="46" y="72"/>
                </a:lnTo>
                <a:lnTo>
                  <a:pt x="46" y="74"/>
                </a:lnTo>
                <a:lnTo>
                  <a:pt x="44" y="82"/>
                </a:lnTo>
                <a:lnTo>
                  <a:pt x="28" y="88"/>
                </a:lnTo>
                <a:lnTo>
                  <a:pt x="24" y="90"/>
                </a:lnTo>
                <a:lnTo>
                  <a:pt x="22" y="94"/>
                </a:lnTo>
                <a:lnTo>
                  <a:pt x="22" y="102"/>
                </a:lnTo>
                <a:lnTo>
                  <a:pt x="24" y="116"/>
                </a:lnTo>
                <a:lnTo>
                  <a:pt x="20" y="124"/>
                </a:lnTo>
                <a:lnTo>
                  <a:pt x="18" y="126"/>
                </a:lnTo>
                <a:lnTo>
                  <a:pt x="16" y="126"/>
                </a:lnTo>
                <a:lnTo>
                  <a:pt x="0" y="122"/>
                </a:lnTo>
                <a:lnTo>
                  <a:pt x="2" y="126"/>
                </a:lnTo>
                <a:lnTo>
                  <a:pt x="8" y="130"/>
                </a:lnTo>
                <a:lnTo>
                  <a:pt x="18" y="144"/>
                </a:lnTo>
                <a:lnTo>
                  <a:pt x="28" y="160"/>
                </a:lnTo>
                <a:lnTo>
                  <a:pt x="28" y="162"/>
                </a:lnTo>
                <a:lnTo>
                  <a:pt x="36" y="162"/>
                </a:lnTo>
                <a:lnTo>
                  <a:pt x="42" y="160"/>
                </a:lnTo>
                <a:lnTo>
                  <a:pt x="48" y="162"/>
                </a:lnTo>
                <a:lnTo>
                  <a:pt x="54" y="164"/>
                </a:lnTo>
                <a:lnTo>
                  <a:pt x="60" y="166"/>
                </a:lnTo>
                <a:lnTo>
                  <a:pt x="70" y="178"/>
                </a:lnTo>
                <a:lnTo>
                  <a:pt x="68" y="200"/>
                </a:lnTo>
                <a:lnTo>
                  <a:pt x="72" y="204"/>
                </a:lnTo>
                <a:lnTo>
                  <a:pt x="72" y="210"/>
                </a:lnTo>
                <a:lnTo>
                  <a:pt x="68" y="214"/>
                </a:lnTo>
                <a:lnTo>
                  <a:pt x="60" y="218"/>
                </a:lnTo>
                <a:lnTo>
                  <a:pt x="56" y="218"/>
                </a:lnTo>
                <a:lnTo>
                  <a:pt x="54" y="220"/>
                </a:lnTo>
                <a:lnTo>
                  <a:pt x="52" y="224"/>
                </a:lnTo>
                <a:lnTo>
                  <a:pt x="50" y="230"/>
                </a:lnTo>
                <a:lnTo>
                  <a:pt x="44" y="244"/>
                </a:lnTo>
                <a:lnTo>
                  <a:pt x="52" y="254"/>
                </a:lnTo>
                <a:lnTo>
                  <a:pt x="74" y="258"/>
                </a:lnTo>
                <a:lnTo>
                  <a:pt x="76" y="258"/>
                </a:lnTo>
                <a:lnTo>
                  <a:pt x="86" y="268"/>
                </a:lnTo>
                <a:lnTo>
                  <a:pt x="72" y="288"/>
                </a:lnTo>
                <a:lnTo>
                  <a:pt x="102" y="352"/>
                </a:lnTo>
                <a:lnTo>
                  <a:pt x="104" y="354"/>
                </a:lnTo>
                <a:lnTo>
                  <a:pt x="98" y="358"/>
                </a:lnTo>
                <a:lnTo>
                  <a:pt x="100" y="364"/>
                </a:lnTo>
                <a:lnTo>
                  <a:pt x="156" y="330"/>
                </a:lnTo>
                <a:lnTo>
                  <a:pt x="146" y="346"/>
                </a:lnTo>
                <a:lnTo>
                  <a:pt x="138" y="362"/>
                </a:lnTo>
                <a:lnTo>
                  <a:pt x="134" y="374"/>
                </a:lnTo>
                <a:lnTo>
                  <a:pt x="140" y="372"/>
                </a:lnTo>
                <a:lnTo>
                  <a:pt x="146" y="366"/>
                </a:lnTo>
                <a:lnTo>
                  <a:pt x="152" y="360"/>
                </a:lnTo>
                <a:lnTo>
                  <a:pt x="156" y="350"/>
                </a:lnTo>
                <a:lnTo>
                  <a:pt x="158" y="350"/>
                </a:lnTo>
                <a:lnTo>
                  <a:pt x="172" y="342"/>
                </a:lnTo>
                <a:lnTo>
                  <a:pt x="174" y="340"/>
                </a:lnTo>
                <a:lnTo>
                  <a:pt x="196" y="358"/>
                </a:lnTo>
                <a:lnTo>
                  <a:pt x="220" y="360"/>
                </a:lnTo>
                <a:lnTo>
                  <a:pt x="232" y="368"/>
                </a:lnTo>
                <a:lnTo>
                  <a:pt x="260" y="342"/>
                </a:lnTo>
                <a:lnTo>
                  <a:pt x="264" y="336"/>
                </a:lnTo>
                <a:lnTo>
                  <a:pt x="268" y="326"/>
                </a:lnTo>
                <a:lnTo>
                  <a:pt x="272" y="320"/>
                </a:lnTo>
                <a:lnTo>
                  <a:pt x="270" y="312"/>
                </a:lnTo>
                <a:lnTo>
                  <a:pt x="260" y="296"/>
                </a:lnTo>
                <a:lnTo>
                  <a:pt x="254" y="286"/>
                </a:lnTo>
                <a:lnTo>
                  <a:pt x="288" y="298"/>
                </a:lnTo>
                <a:lnTo>
                  <a:pt x="300" y="292"/>
                </a:lnTo>
                <a:lnTo>
                  <a:pt x="288" y="270"/>
                </a:lnTo>
                <a:lnTo>
                  <a:pt x="288" y="268"/>
                </a:lnTo>
                <a:lnTo>
                  <a:pt x="306" y="246"/>
                </a:lnTo>
                <a:lnTo>
                  <a:pt x="298" y="234"/>
                </a:lnTo>
                <a:lnTo>
                  <a:pt x="290" y="226"/>
                </a:lnTo>
                <a:lnTo>
                  <a:pt x="284" y="222"/>
                </a:lnTo>
                <a:lnTo>
                  <a:pt x="282" y="222"/>
                </a:lnTo>
                <a:lnTo>
                  <a:pt x="272" y="232"/>
                </a:lnTo>
                <a:lnTo>
                  <a:pt x="272" y="230"/>
                </a:lnTo>
                <a:lnTo>
                  <a:pt x="270" y="230"/>
                </a:lnTo>
                <a:lnTo>
                  <a:pt x="256" y="226"/>
                </a:lnTo>
                <a:lnTo>
                  <a:pt x="252" y="214"/>
                </a:lnTo>
                <a:lnTo>
                  <a:pt x="244" y="210"/>
                </a:lnTo>
                <a:lnTo>
                  <a:pt x="236" y="204"/>
                </a:lnTo>
                <a:lnTo>
                  <a:pt x="226" y="198"/>
                </a:lnTo>
                <a:lnTo>
                  <a:pt x="218" y="192"/>
                </a:lnTo>
                <a:lnTo>
                  <a:pt x="216" y="190"/>
                </a:lnTo>
                <a:lnTo>
                  <a:pt x="216" y="186"/>
                </a:lnTo>
                <a:lnTo>
                  <a:pt x="214" y="184"/>
                </a:lnTo>
                <a:lnTo>
                  <a:pt x="216" y="180"/>
                </a:lnTo>
                <a:lnTo>
                  <a:pt x="220" y="170"/>
                </a:lnTo>
                <a:lnTo>
                  <a:pt x="230" y="152"/>
                </a:lnTo>
                <a:lnTo>
                  <a:pt x="232" y="144"/>
                </a:lnTo>
                <a:lnTo>
                  <a:pt x="234" y="138"/>
                </a:lnTo>
                <a:lnTo>
                  <a:pt x="234" y="128"/>
                </a:lnTo>
                <a:lnTo>
                  <a:pt x="240" y="128"/>
                </a:lnTo>
                <a:lnTo>
                  <a:pt x="258" y="130"/>
                </a:lnTo>
                <a:lnTo>
                  <a:pt x="260" y="122"/>
                </a:lnTo>
                <a:lnTo>
                  <a:pt x="264" y="106"/>
                </a:lnTo>
                <a:lnTo>
                  <a:pt x="260" y="104"/>
                </a:lnTo>
                <a:lnTo>
                  <a:pt x="242" y="116"/>
                </a:lnTo>
                <a:lnTo>
                  <a:pt x="230" y="122"/>
                </a:lnTo>
                <a:lnTo>
                  <a:pt x="222" y="122"/>
                </a:lnTo>
                <a:lnTo>
                  <a:pt x="214" y="120"/>
                </a:lnTo>
                <a:lnTo>
                  <a:pt x="204" y="114"/>
                </a:lnTo>
                <a:lnTo>
                  <a:pt x="194" y="108"/>
                </a:lnTo>
                <a:lnTo>
                  <a:pt x="194" y="106"/>
                </a:lnTo>
                <a:lnTo>
                  <a:pt x="192" y="106"/>
                </a:lnTo>
                <a:close/>
              </a:path>
            </a:pathLst>
          </a:custGeom>
          <a:solidFill>
            <a:srgbClr val="BFBFBF"/>
          </a:solidFill>
          <a:ln>
            <a:noFill/>
          </a:ln>
        </p:spPr>
        <p:txBody>
          <a:bodyPr/>
          <a:lstStyle/>
          <a:p>
            <a:endParaRPr altLang="en-US" lang="zh-CN">
              <a:cs typeface="+mn-ea"/>
              <a:sym typeface="+mn-lt"/>
            </a:endParaRPr>
          </a:p>
        </p:txBody>
      </p:sp>
      <p:sp>
        <p:nvSpPr>
          <p:cNvPr id="25" name="天津"/>
          <p:cNvSpPr/>
          <p:nvPr/>
        </p:nvSpPr>
        <p:spPr bwMode="auto">
          <a:xfrm>
            <a:off x="4819510" y="3335416"/>
            <a:ext cx="117995" cy="171174"/>
          </a:xfrm>
          <a:custGeom>
            <a:gdLst>
              <a:gd fmla="*/ 2147483646 w 80" name="T0"/>
              <a:gd fmla="*/ 2147483646 h 116" name="T1"/>
              <a:gd fmla="*/ 2147483646 w 80" name="T2"/>
              <a:gd fmla="*/ 0 h 116" name="T3"/>
              <a:gd fmla="*/ 2147483646 w 80" name="T4"/>
              <a:gd fmla="*/ 0 h 116" name="T5"/>
              <a:gd fmla="*/ 2147483646 w 80" name="T6"/>
              <a:gd fmla="*/ 2147483646 h 116" name="T7"/>
              <a:gd fmla="*/ 2147483646 w 80" name="T8"/>
              <a:gd fmla="*/ 2147483646 h 116" name="T9"/>
              <a:gd fmla="*/ 2147483646 w 80" name="T10"/>
              <a:gd fmla="*/ 2147483646 h 116" name="T11"/>
              <a:gd fmla="*/ 2147483646 w 80" name="T12"/>
              <a:gd fmla="*/ 2147483646 h 116" name="T13"/>
              <a:gd fmla="*/ 2147483646 w 80" name="T14"/>
              <a:gd fmla="*/ 2147483646 h 116" name="T15"/>
              <a:gd fmla="*/ 2147483646 w 80" name="T16"/>
              <a:gd fmla="*/ 2147483646 h 116" name="T17"/>
              <a:gd fmla="*/ 2147483646 w 80" name="T18"/>
              <a:gd fmla="*/ 2147483646 h 116" name="T19"/>
              <a:gd fmla="*/ 2147483646 w 80" name="T20"/>
              <a:gd fmla="*/ 2147483646 h 116" name="T21"/>
              <a:gd fmla="*/ 2147483646 w 80" name="T22"/>
              <a:gd fmla="*/ 2147483646 h 116" name="T23"/>
              <a:gd fmla="*/ 2147483646 w 80" name="T24"/>
              <a:gd fmla="*/ 2147483646 h 116" name="T25"/>
              <a:gd fmla="*/ 2147483646 w 80" name="T26"/>
              <a:gd fmla="*/ 2147483646 h 116" name="T27"/>
              <a:gd fmla="*/ 2147483646 w 80" name="T28"/>
              <a:gd fmla="*/ 2147483646 h 116" name="T29"/>
              <a:gd fmla="*/ 2147483646 w 80" name="T30"/>
              <a:gd fmla="*/ 2147483646 h 116" name="T31"/>
              <a:gd fmla="*/ 2147483646 w 80" name="T32"/>
              <a:gd fmla="*/ 2147483646 h 116" name="T33"/>
              <a:gd fmla="*/ 0 w 80" name="T34"/>
              <a:gd fmla="*/ 2147483646 h 116" name="T35"/>
              <a:gd fmla="*/ 0 w 80" name="T36"/>
              <a:gd fmla="*/ 2147483646 h 116" name="T37"/>
              <a:gd fmla="*/ 0 w 80" name="T38"/>
              <a:gd fmla="*/ 2147483646 h 116" name="T39"/>
              <a:gd fmla="*/ 0 w 80" name="T40"/>
              <a:gd fmla="*/ 2147483646 h 116" name="T41"/>
              <a:gd fmla="*/ 2147483646 w 80" name="T42"/>
              <a:gd fmla="*/ 2147483646 h 116" name="T43"/>
              <a:gd fmla="*/ 2147483646 w 80" name="T44"/>
              <a:gd fmla="*/ 2147483646 h 116" name="T45"/>
              <a:gd fmla="*/ 2147483646 w 80" name="T46"/>
              <a:gd fmla="*/ 2147483646 h 116" name="T47"/>
              <a:gd fmla="*/ 2147483646 w 80" name="T48"/>
              <a:gd fmla="*/ 2147483646 h 116" name="T49"/>
              <a:gd fmla="*/ 2147483646 w 80" name="T50"/>
              <a:gd fmla="*/ 2147483646 h 116" name="T51"/>
              <a:gd fmla="*/ 2147483646 w 80" name="T52"/>
              <a:gd fmla="*/ 2147483646 h 116" name="T53"/>
              <a:gd fmla="*/ 2147483646 w 80" name="T54"/>
              <a:gd fmla="*/ 2147483646 h 116" name="T55"/>
              <a:gd fmla="*/ 2147483646 w 80" name="T56"/>
              <a:gd fmla="*/ 2147483646 h 116" name="T57"/>
              <a:gd fmla="*/ 2147483646 w 80" name="T58"/>
              <a:gd fmla="*/ 2147483646 h 116" name="T59"/>
              <a:gd fmla="*/ 2147483646 w 80" name="T60"/>
              <a:gd fmla="*/ 2147483646 h 116" name="T61"/>
              <a:gd fmla="*/ 2147483646 w 80" name="T62"/>
              <a:gd fmla="*/ 2147483646 h 116" name="T63"/>
              <a:gd fmla="*/ 2147483646 w 80" name="T64"/>
              <a:gd fmla="*/ 2147483646 h 116" name="T65"/>
              <a:gd fmla="*/ 2147483646 w 80" name="T66"/>
              <a:gd fmla="*/ 2147483646 h 116" name="T67"/>
              <a:gd fmla="*/ 2147483646 w 80" name="T68"/>
              <a:gd fmla="*/ 2147483646 h 116" name="T69"/>
              <a:gd fmla="*/ 2147483646 w 80" name="T70"/>
              <a:gd fmla="*/ 2147483646 h 116" name="T71"/>
              <a:gd fmla="*/ 2147483646 w 80" name="T72"/>
              <a:gd fmla="*/ 2147483646 h 116" name="T73"/>
              <a:gd fmla="*/ 2147483646 w 80" name="T74"/>
              <a:gd fmla="*/ 2147483646 h 116" name="T75"/>
              <a:gd fmla="*/ 2147483646 w 80" name="T76"/>
              <a:gd fmla="*/ 2147483646 h 116" name="T77"/>
              <a:gd fmla="*/ 2147483646 w 80" name="T78"/>
              <a:gd fmla="*/ 2147483646 h 116" name="T79"/>
              <a:gd fmla="*/ 2147483646 w 80" name="T80"/>
              <a:gd fmla="*/ 2147483646 h 116" name="T81"/>
              <a:gd fmla="*/ 2147483646 w 80" name="T82"/>
              <a:gd fmla="*/ 2147483646 h 116" name="T83"/>
              <a:gd fmla="*/ 2147483646 w 80" name="T84"/>
              <a:gd fmla="*/ 2147483646 h 116" name="T85"/>
              <a:gd fmla="*/ 2147483646 w 80" name="T86"/>
              <a:gd fmla="*/ 2147483646 h 116" name="T87"/>
              <a:gd fmla="*/ 2147483646 w 80" name="T88"/>
              <a:gd fmla="*/ 2147483646 h 116" name="T89"/>
              <a:gd fmla="*/ 2147483646 w 80" name="T90"/>
              <a:gd fmla="*/ 2147483646 h 116" name="T91"/>
              <a:gd fmla="*/ 2147483646 w 80" name="T92"/>
              <a:gd fmla="*/ 2147483646 h 116" name="T93"/>
              <a:gd fmla="*/ 2147483646 w 80" name="T94"/>
              <a:gd fmla="*/ 2147483646 h 11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b="b" l="0" r="r" t="0"/>
            <a:pathLst>
              <a:path h="115" w="80">
                <a:moveTo>
                  <a:pt x="46" y="2"/>
                </a:moveTo>
                <a:lnTo>
                  <a:pt x="44" y="0"/>
                </a:lnTo>
                <a:lnTo>
                  <a:pt x="40" y="2"/>
                </a:lnTo>
                <a:lnTo>
                  <a:pt x="38" y="4"/>
                </a:lnTo>
                <a:lnTo>
                  <a:pt x="32" y="14"/>
                </a:lnTo>
                <a:lnTo>
                  <a:pt x="28" y="12"/>
                </a:lnTo>
                <a:lnTo>
                  <a:pt x="28" y="14"/>
                </a:lnTo>
                <a:lnTo>
                  <a:pt x="22" y="20"/>
                </a:lnTo>
                <a:lnTo>
                  <a:pt x="18" y="22"/>
                </a:lnTo>
                <a:lnTo>
                  <a:pt x="10" y="26"/>
                </a:lnTo>
                <a:lnTo>
                  <a:pt x="8" y="32"/>
                </a:lnTo>
                <a:lnTo>
                  <a:pt x="8" y="44"/>
                </a:lnTo>
                <a:lnTo>
                  <a:pt x="6" y="48"/>
                </a:lnTo>
                <a:lnTo>
                  <a:pt x="4" y="50"/>
                </a:lnTo>
                <a:lnTo>
                  <a:pt x="0" y="60"/>
                </a:lnTo>
                <a:lnTo>
                  <a:pt x="0" y="66"/>
                </a:lnTo>
                <a:lnTo>
                  <a:pt x="0" y="78"/>
                </a:lnTo>
                <a:lnTo>
                  <a:pt x="4" y="102"/>
                </a:lnTo>
                <a:lnTo>
                  <a:pt x="8" y="106"/>
                </a:lnTo>
                <a:lnTo>
                  <a:pt x="18" y="112"/>
                </a:lnTo>
                <a:lnTo>
                  <a:pt x="36" y="116"/>
                </a:lnTo>
                <a:lnTo>
                  <a:pt x="44" y="114"/>
                </a:lnTo>
                <a:lnTo>
                  <a:pt x="54" y="110"/>
                </a:lnTo>
                <a:lnTo>
                  <a:pt x="50" y="100"/>
                </a:lnTo>
                <a:lnTo>
                  <a:pt x="50" y="98"/>
                </a:lnTo>
                <a:lnTo>
                  <a:pt x="52" y="90"/>
                </a:lnTo>
                <a:lnTo>
                  <a:pt x="60" y="74"/>
                </a:lnTo>
                <a:lnTo>
                  <a:pt x="76" y="74"/>
                </a:lnTo>
                <a:lnTo>
                  <a:pt x="80" y="74"/>
                </a:lnTo>
                <a:lnTo>
                  <a:pt x="74" y="64"/>
                </a:lnTo>
                <a:lnTo>
                  <a:pt x="64" y="48"/>
                </a:lnTo>
                <a:lnTo>
                  <a:pt x="58" y="40"/>
                </a:lnTo>
                <a:lnTo>
                  <a:pt x="54" y="30"/>
                </a:lnTo>
                <a:lnTo>
                  <a:pt x="52" y="18"/>
                </a:lnTo>
                <a:lnTo>
                  <a:pt x="48" y="8"/>
                </a:lnTo>
                <a:lnTo>
                  <a:pt x="46" y="2"/>
                </a:lnTo>
                <a:close/>
              </a:path>
            </a:pathLst>
          </a:custGeom>
          <a:solidFill>
            <a:srgbClr val="BFBFBF"/>
          </a:solidFill>
          <a:ln>
            <a:noFill/>
          </a:ln>
        </p:spPr>
        <p:txBody>
          <a:bodyPr/>
          <a:lstStyle/>
          <a:p>
            <a:endParaRPr altLang="en-US" lang="zh-CN">
              <a:cs typeface="+mn-ea"/>
              <a:sym typeface="+mn-lt"/>
            </a:endParaRPr>
          </a:p>
        </p:txBody>
      </p:sp>
      <p:sp>
        <p:nvSpPr>
          <p:cNvPr id="26" name="北京"/>
          <p:cNvSpPr/>
          <p:nvPr/>
        </p:nvSpPr>
        <p:spPr bwMode="auto">
          <a:xfrm>
            <a:off x="4701515" y="3258683"/>
            <a:ext cx="156344" cy="168224"/>
          </a:xfrm>
          <a:custGeom>
            <a:gdLst>
              <a:gd fmla="*/ 2147483646 w 106" name="T0"/>
              <a:gd fmla="*/ 2147483646 h 114" name="T1"/>
              <a:gd fmla="*/ 2147483646 w 106" name="T2"/>
              <a:gd fmla="*/ 2147483646 h 114" name="T3"/>
              <a:gd fmla="*/ 2147483646 w 106" name="T4"/>
              <a:gd fmla="*/ 2147483646 h 114" name="T5"/>
              <a:gd fmla="*/ 2147483646 w 106" name="T6"/>
              <a:gd fmla="*/ 2147483646 h 114" name="T7"/>
              <a:gd fmla="*/ 2147483646 w 106" name="T8"/>
              <a:gd fmla="*/ 2147483646 h 114" name="T9"/>
              <a:gd fmla="*/ 2147483646 w 106" name="T10"/>
              <a:gd fmla="*/ 2147483646 h 114" name="T11"/>
              <a:gd fmla="*/ 2147483646 w 106" name="T12"/>
              <a:gd fmla="*/ 2147483646 h 114" name="T13"/>
              <a:gd fmla="*/ 2147483646 w 106" name="T14"/>
              <a:gd fmla="*/ 2147483646 h 114" name="T15"/>
              <a:gd fmla="*/ 2147483646 w 106" name="T16"/>
              <a:gd fmla="*/ 2147483646 h 114" name="T17"/>
              <a:gd fmla="*/ 0 w 106" name="T18"/>
              <a:gd fmla="*/ 2147483646 h 114" name="T19"/>
              <a:gd fmla="*/ 2147483646 w 106" name="T20"/>
              <a:gd fmla="*/ 2147483646 h 114" name="T21"/>
              <a:gd fmla="*/ 2147483646 w 106" name="T22"/>
              <a:gd fmla="*/ 2147483646 h 114" name="T23"/>
              <a:gd fmla="*/ 2147483646 w 106" name="T24"/>
              <a:gd fmla="*/ 2147483646 h 114" name="T25"/>
              <a:gd fmla="*/ 2147483646 w 106" name="T26"/>
              <a:gd fmla="*/ 2147483646 h 114" name="T27"/>
              <a:gd fmla="*/ 2147483646 w 106" name="T28"/>
              <a:gd fmla="*/ 2147483646 h 114" name="T29"/>
              <a:gd fmla="*/ 2147483646 w 106" name="T30"/>
              <a:gd fmla="*/ 2147483646 h 114" name="T31"/>
              <a:gd fmla="*/ 2147483646 w 106" name="T32"/>
              <a:gd fmla="*/ 2147483646 h 114" name="T33"/>
              <a:gd fmla="*/ 2147483646 w 106" name="T34"/>
              <a:gd fmla="*/ 2147483646 h 114" name="T35"/>
              <a:gd fmla="*/ 2147483646 w 106" name="T36"/>
              <a:gd fmla="*/ 2147483646 h 114" name="T37"/>
              <a:gd fmla="*/ 2147483646 w 106" name="T38"/>
              <a:gd fmla="*/ 2147483646 h 114" name="T39"/>
              <a:gd fmla="*/ 2147483646 w 106" name="T40"/>
              <a:gd fmla="*/ 2147483646 h 114" name="T41"/>
              <a:gd fmla="*/ 2147483646 w 106" name="T42"/>
              <a:gd fmla="*/ 2147483646 h 114" name="T43"/>
              <a:gd fmla="*/ 2147483646 w 106" name="T44"/>
              <a:gd fmla="*/ 2147483646 h 114" name="T45"/>
              <a:gd fmla="*/ 2147483646 w 106" name="T46"/>
              <a:gd fmla="*/ 2147483646 h 114" name="T47"/>
              <a:gd fmla="*/ 2147483646 w 106" name="T48"/>
              <a:gd fmla="*/ 2147483646 h 114" name="T49"/>
              <a:gd fmla="*/ 2147483646 w 106" name="T50"/>
              <a:gd fmla="*/ 2147483646 h 114" name="T51"/>
              <a:gd fmla="*/ 2147483646 w 106" name="T52"/>
              <a:gd fmla="*/ 2147483646 h 114" name="T53"/>
              <a:gd fmla="*/ 2147483646 w 106" name="T54"/>
              <a:gd fmla="*/ 2147483646 h 114" name="T55"/>
              <a:gd fmla="*/ 2147483646 w 106" name="T56"/>
              <a:gd fmla="*/ 2147483646 h 114" name="T57"/>
              <a:gd fmla="*/ 2147483646 w 106" name="T58"/>
              <a:gd fmla="*/ 2147483646 h 114" name="T59"/>
              <a:gd fmla="*/ 2147483646 w 106" name="T60"/>
              <a:gd fmla="*/ 2147483646 h 114" name="T61"/>
              <a:gd fmla="*/ 2147483646 w 106" name="T62"/>
              <a:gd fmla="*/ 2147483646 h 114"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b="b" l="0" r="r" t="0"/>
            <a:pathLst>
              <a:path h="114" w="105">
                <a:moveTo>
                  <a:pt x="52" y="24"/>
                </a:moveTo>
                <a:lnTo>
                  <a:pt x="52" y="26"/>
                </a:lnTo>
                <a:lnTo>
                  <a:pt x="48" y="26"/>
                </a:lnTo>
                <a:lnTo>
                  <a:pt x="38" y="24"/>
                </a:lnTo>
                <a:lnTo>
                  <a:pt x="38" y="28"/>
                </a:lnTo>
                <a:lnTo>
                  <a:pt x="38" y="30"/>
                </a:lnTo>
                <a:lnTo>
                  <a:pt x="36" y="30"/>
                </a:lnTo>
                <a:lnTo>
                  <a:pt x="18" y="38"/>
                </a:lnTo>
                <a:lnTo>
                  <a:pt x="18" y="40"/>
                </a:lnTo>
                <a:lnTo>
                  <a:pt x="16" y="44"/>
                </a:lnTo>
                <a:lnTo>
                  <a:pt x="18" y="48"/>
                </a:lnTo>
                <a:lnTo>
                  <a:pt x="24" y="56"/>
                </a:lnTo>
                <a:lnTo>
                  <a:pt x="24" y="58"/>
                </a:lnTo>
                <a:lnTo>
                  <a:pt x="24" y="60"/>
                </a:lnTo>
                <a:lnTo>
                  <a:pt x="14" y="72"/>
                </a:lnTo>
                <a:lnTo>
                  <a:pt x="4" y="82"/>
                </a:lnTo>
                <a:lnTo>
                  <a:pt x="0" y="86"/>
                </a:lnTo>
                <a:lnTo>
                  <a:pt x="0" y="90"/>
                </a:lnTo>
                <a:lnTo>
                  <a:pt x="4" y="96"/>
                </a:lnTo>
                <a:lnTo>
                  <a:pt x="14" y="100"/>
                </a:lnTo>
                <a:lnTo>
                  <a:pt x="20" y="100"/>
                </a:lnTo>
                <a:lnTo>
                  <a:pt x="32" y="102"/>
                </a:lnTo>
                <a:lnTo>
                  <a:pt x="36" y="102"/>
                </a:lnTo>
                <a:lnTo>
                  <a:pt x="40" y="106"/>
                </a:lnTo>
                <a:lnTo>
                  <a:pt x="48" y="110"/>
                </a:lnTo>
                <a:lnTo>
                  <a:pt x="56" y="114"/>
                </a:lnTo>
                <a:lnTo>
                  <a:pt x="62" y="114"/>
                </a:lnTo>
                <a:lnTo>
                  <a:pt x="66" y="112"/>
                </a:lnTo>
                <a:lnTo>
                  <a:pt x="72" y="106"/>
                </a:lnTo>
                <a:lnTo>
                  <a:pt x="78" y="98"/>
                </a:lnTo>
                <a:lnTo>
                  <a:pt x="84" y="84"/>
                </a:lnTo>
                <a:lnTo>
                  <a:pt x="80" y="66"/>
                </a:lnTo>
                <a:lnTo>
                  <a:pt x="86" y="68"/>
                </a:lnTo>
                <a:lnTo>
                  <a:pt x="96" y="68"/>
                </a:lnTo>
                <a:lnTo>
                  <a:pt x="100" y="66"/>
                </a:lnTo>
                <a:lnTo>
                  <a:pt x="102" y="62"/>
                </a:lnTo>
                <a:lnTo>
                  <a:pt x="94" y="38"/>
                </a:lnTo>
                <a:lnTo>
                  <a:pt x="96" y="30"/>
                </a:lnTo>
                <a:lnTo>
                  <a:pt x="102" y="26"/>
                </a:lnTo>
                <a:lnTo>
                  <a:pt x="106" y="22"/>
                </a:lnTo>
                <a:lnTo>
                  <a:pt x="104" y="18"/>
                </a:lnTo>
                <a:lnTo>
                  <a:pt x="86" y="18"/>
                </a:lnTo>
                <a:lnTo>
                  <a:pt x="68" y="6"/>
                </a:lnTo>
                <a:lnTo>
                  <a:pt x="62" y="2"/>
                </a:lnTo>
                <a:lnTo>
                  <a:pt x="58" y="0"/>
                </a:lnTo>
                <a:lnTo>
                  <a:pt x="48" y="2"/>
                </a:lnTo>
                <a:lnTo>
                  <a:pt x="44" y="2"/>
                </a:lnTo>
                <a:lnTo>
                  <a:pt x="44" y="8"/>
                </a:lnTo>
                <a:lnTo>
                  <a:pt x="50" y="10"/>
                </a:lnTo>
                <a:lnTo>
                  <a:pt x="54" y="16"/>
                </a:lnTo>
                <a:lnTo>
                  <a:pt x="54" y="20"/>
                </a:lnTo>
                <a:lnTo>
                  <a:pt x="52" y="24"/>
                </a:lnTo>
                <a:close/>
              </a:path>
            </a:pathLst>
          </a:custGeom>
          <a:solidFill>
            <a:srgbClr val="BFBFBF"/>
          </a:solidFill>
          <a:ln>
            <a:noFill/>
          </a:ln>
        </p:spPr>
        <p:txBody>
          <a:bodyPr/>
          <a:lstStyle/>
          <a:p>
            <a:endParaRPr altLang="en-US" lang="zh-CN">
              <a:cs typeface="+mn-ea"/>
              <a:sym typeface="+mn-lt"/>
            </a:endParaRPr>
          </a:p>
        </p:txBody>
      </p:sp>
      <p:sp>
        <p:nvSpPr>
          <p:cNvPr id="27" name="辽宁"/>
          <p:cNvSpPr/>
          <p:nvPr/>
        </p:nvSpPr>
        <p:spPr bwMode="auto">
          <a:xfrm>
            <a:off x="4967004" y="2925187"/>
            <a:ext cx="554578" cy="528281"/>
          </a:xfrm>
          <a:custGeom>
            <a:gdLst>
              <a:gd fmla="*/ 2147483646 w 376" name="T0"/>
              <a:gd fmla="*/ 2147483646 h 358" name="T1"/>
              <a:gd fmla="*/ 2147483646 w 376" name="T2"/>
              <a:gd fmla="*/ 2147483646 h 358" name="T3"/>
              <a:gd fmla="*/ 2147483646 w 376" name="T4"/>
              <a:gd fmla="*/ 2147483646 h 358" name="T5"/>
              <a:gd fmla="*/ 2147483646 w 376" name="T6"/>
              <a:gd fmla="*/ 2147483646 h 358" name="T7"/>
              <a:gd fmla="*/ 2147483646 w 376" name="T8"/>
              <a:gd fmla="*/ 2147483646 h 358" name="T9"/>
              <a:gd fmla="*/ 2147483646 w 376" name="T10"/>
              <a:gd fmla="*/ 2147483646 h 358" name="T11"/>
              <a:gd fmla="*/ 2147483646 w 376" name="T12"/>
              <a:gd fmla="*/ 2147483646 h 358" name="T13"/>
              <a:gd fmla="*/ 2147483646 w 376" name="T14"/>
              <a:gd fmla="*/ 2147483646 h 358" name="T15"/>
              <a:gd fmla="*/ 2147483646 w 376" name="T16"/>
              <a:gd fmla="*/ 2147483646 h 358" name="T17"/>
              <a:gd fmla="*/ 2147483646 w 376" name="T18"/>
              <a:gd fmla="*/ 2147483646 h 358" name="T19"/>
              <a:gd fmla="*/ 2147483646 w 376" name="T20"/>
              <a:gd fmla="*/ 2147483646 h 358" name="T21"/>
              <a:gd fmla="*/ 2147483646 w 376" name="T22"/>
              <a:gd fmla="*/ 2147483646 h 358" name="T23"/>
              <a:gd fmla="*/ 2147483646 w 376" name="T24"/>
              <a:gd fmla="*/ 2147483646 h 358" name="T25"/>
              <a:gd fmla="*/ 2147483646 w 376" name="T26"/>
              <a:gd fmla="*/ 2147483646 h 358" name="T27"/>
              <a:gd fmla="*/ 2147483646 w 376" name="T28"/>
              <a:gd fmla="*/ 2147483646 h 358" name="T29"/>
              <a:gd fmla="*/ 2147483646 w 376" name="T30"/>
              <a:gd fmla="*/ 2147483646 h 358" name="T31"/>
              <a:gd fmla="*/ 2147483646 w 376" name="T32"/>
              <a:gd fmla="*/ 2147483646 h 358" name="T33"/>
              <a:gd fmla="*/ 2147483646 w 376" name="T34"/>
              <a:gd fmla="*/ 2147483646 h 358" name="T35"/>
              <a:gd fmla="*/ 2147483646 w 376" name="T36"/>
              <a:gd fmla="*/ 2147483646 h 358" name="T37"/>
              <a:gd fmla="*/ 2147483646 w 376" name="T38"/>
              <a:gd fmla="*/ 2147483646 h 358" name="T39"/>
              <a:gd fmla="*/ 2147483646 w 376" name="T40"/>
              <a:gd fmla="*/ 2147483646 h 358" name="T41"/>
              <a:gd fmla="*/ 2147483646 w 376" name="T42"/>
              <a:gd fmla="*/ 2147483646 h 358" name="T43"/>
              <a:gd fmla="*/ 2147483646 w 376" name="T44"/>
              <a:gd fmla="*/ 2147483646 h 358" name="T45"/>
              <a:gd fmla="*/ 2147483646 w 376" name="T46"/>
              <a:gd fmla="*/ 2147483646 h 358" name="T47"/>
              <a:gd fmla="*/ 2147483646 w 376" name="T48"/>
              <a:gd fmla="*/ 2147483646 h 358" name="T49"/>
              <a:gd fmla="*/ 2147483646 w 376" name="T50"/>
              <a:gd fmla="*/ 2147483646 h 358" name="T51"/>
              <a:gd fmla="*/ 2147483646 w 376" name="T52"/>
              <a:gd fmla="*/ 2147483646 h 358" name="T53"/>
              <a:gd fmla="*/ 2147483646 w 376" name="T54"/>
              <a:gd fmla="*/ 2147483646 h 358" name="T55"/>
              <a:gd fmla="*/ 2147483646 w 376" name="T56"/>
              <a:gd fmla="*/ 2147483646 h 358" name="T57"/>
              <a:gd fmla="*/ 2147483646 w 376" name="T58"/>
              <a:gd fmla="*/ 2147483646 h 358" name="T59"/>
              <a:gd fmla="*/ 2147483646 w 376" name="T60"/>
              <a:gd fmla="*/ 2147483646 h 358" name="T61"/>
              <a:gd fmla="*/ 2147483646 w 376" name="T62"/>
              <a:gd fmla="*/ 2147483646 h 358" name="T63"/>
              <a:gd fmla="*/ 2147483646 w 376" name="T64"/>
              <a:gd fmla="*/ 2147483646 h 358" name="T65"/>
              <a:gd fmla="*/ 2147483646 w 376" name="T66"/>
              <a:gd fmla="*/ 2147483646 h 358" name="T67"/>
              <a:gd fmla="*/ 2147483646 w 376" name="T68"/>
              <a:gd fmla="*/ 2147483646 h 358" name="T69"/>
              <a:gd fmla="*/ 2147483646 w 376" name="T70"/>
              <a:gd fmla="*/ 2147483646 h 358" name="T71"/>
              <a:gd fmla="*/ 2147483646 w 376" name="T72"/>
              <a:gd fmla="*/ 2147483646 h 358" name="T73"/>
              <a:gd fmla="*/ 2147483646 w 376" name="T74"/>
              <a:gd fmla="*/ 2147483646 h 358" name="T75"/>
              <a:gd fmla="*/ 2147483646 w 376" name="T76"/>
              <a:gd fmla="*/ 2147483646 h 358" name="T77"/>
              <a:gd fmla="*/ 2147483646 w 376" name="T78"/>
              <a:gd fmla="*/ 2147483646 h 358" name="T79"/>
              <a:gd fmla="*/ 2147483646 w 376" name="T80"/>
              <a:gd fmla="*/ 2147483646 h 358" name="T81"/>
              <a:gd fmla="*/ 2147483646 w 376" name="T82"/>
              <a:gd fmla="*/ 2147483646 h 358" name="T83"/>
              <a:gd fmla="*/ 2147483646 w 376" name="T84"/>
              <a:gd fmla="*/ 2147483646 h 358" name="T85"/>
              <a:gd fmla="*/ 2147483646 w 376" name="T86"/>
              <a:gd fmla="*/ 2147483646 h 358" name="T87"/>
              <a:gd fmla="*/ 2147483646 w 376" name="T88"/>
              <a:gd fmla="*/ 2147483646 h 358" name="T89"/>
              <a:gd fmla="*/ 2147483646 w 376" name="T90"/>
              <a:gd fmla="*/ 2147483646 h 358" name="T91"/>
              <a:gd fmla="*/ 2147483646 w 376" name="T92"/>
              <a:gd fmla="*/ 2147483646 h 358" name="T93"/>
              <a:gd fmla="*/ 2147483646 w 376" name="T94"/>
              <a:gd fmla="*/ 2147483646 h 358" name="T95"/>
              <a:gd fmla="*/ 2147483646 w 376" name="T96"/>
              <a:gd fmla="*/ 2147483646 h 358" name="T97"/>
              <a:gd fmla="*/ 2147483646 w 376" name="T98"/>
              <a:gd fmla="*/ 2147483646 h 358" name="T99"/>
              <a:gd fmla="*/ 2147483646 w 376" name="T100"/>
              <a:gd fmla="*/ 2147483646 h 358" name="T101"/>
              <a:gd fmla="*/ 2147483646 w 376" name="T102"/>
              <a:gd fmla="*/ 2147483646 h 358" name="T103"/>
              <a:gd fmla="*/ 2147483646 w 376" name="T104"/>
              <a:gd fmla="*/ 0 h 358" name="T105"/>
              <a:gd fmla="*/ 2147483646 w 376" name="T106"/>
              <a:gd fmla="*/ 2147483646 h 358" name="T107"/>
              <a:gd fmla="*/ 2147483646 w 376" name="T108"/>
              <a:gd fmla="*/ 2147483646 h 358" name="T109"/>
              <a:gd fmla="*/ 2147483646 w 376" name="T110"/>
              <a:gd fmla="*/ 2147483646 h 358" name="T111"/>
              <a:gd fmla="*/ 2147483646 w 376" name="T112"/>
              <a:gd fmla="*/ 2147483646 h 358"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b="b" l="0" r="r" t="0"/>
            <a:pathLst>
              <a:path h="358" w="376">
                <a:moveTo>
                  <a:pt x="172" y="46"/>
                </a:moveTo>
                <a:lnTo>
                  <a:pt x="162" y="60"/>
                </a:lnTo>
                <a:lnTo>
                  <a:pt x="160" y="64"/>
                </a:lnTo>
                <a:lnTo>
                  <a:pt x="160" y="74"/>
                </a:lnTo>
                <a:lnTo>
                  <a:pt x="160" y="80"/>
                </a:lnTo>
                <a:lnTo>
                  <a:pt x="142" y="80"/>
                </a:lnTo>
                <a:lnTo>
                  <a:pt x="140" y="80"/>
                </a:lnTo>
                <a:lnTo>
                  <a:pt x="128" y="76"/>
                </a:lnTo>
                <a:lnTo>
                  <a:pt x="116" y="92"/>
                </a:lnTo>
                <a:lnTo>
                  <a:pt x="102" y="100"/>
                </a:lnTo>
                <a:lnTo>
                  <a:pt x="92" y="112"/>
                </a:lnTo>
                <a:lnTo>
                  <a:pt x="90" y="116"/>
                </a:lnTo>
                <a:lnTo>
                  <a:pt x="70" y="138"/>
                </a:lnTo>
                <a:lnTo>
                  <a:pt x="70" y="140"/>
                </a:lnTo>
                <a:lnTo>
                  <a:pt x="68" y="140"/>
                </a:lnTo>
                <a:lnTo>
                  <a:pt x="54" y="148"/>
                </a:lnTo>
                <a:lnTo>
                  <a:pt x="42" y="140"/>
                </a:lnTo>
                <a:lnTo>
                  <a:pt x="42" y="138"/>
                </a:lnTo>
                <a:lnTo>
                  <a:pt x="30" y="126"/>
                </a:lnTo>
                <a:lnTo>
                  <a:pt x="24" y="122"/>
                </a:lnTo>
                <a:lnTo>
                  <a:pt x="28" y="156"/>
                </a:lnTo>
                <a:lnTo>
                  <a:pt x="34" y="172"/>
                </a:lnTo>
                <a:lnTo>
                  <a:pt x="22" y="184"/>
                </a:lnTo>
                <a:lnTo>
                  <a:pt x="4" y="208"/>
                </a:lnTo>
                <a:lnTo>
                  <a:pt x="4" y="220"/>
                </a:lnTo>
                <a:lnTo>
                  <a:pt x="0" y="226"/>
                </a:lnTo>
                <a:lnTo>
                  <a:pt x="2" y="232"/>
                </a:lnTo>
                <a:lnTo>
                  <a:pt x="8" y="232"/>
                </a:lnTo>
                <a:lnTo>
                  <a:pt x="32" y="238"/>
                </a:lnTo>
                <a:lnTo>
                  <a:pt x="34" y="238"/>
                </a:lnTo>
                <a:lnTo>
                  <a:pt x="34" y="240"/>
                </a:lnTo>
                <a:lnTo>
                  <a:pt x="40" y="244"/>
                </a:lnTo>
                <a:lnTo>
                  <a:pt x="46" y="248"/>
                </a:lnTo>
                <a:lnTo>
                  <a:pt x="48" y="248"/>
                </a:lnTo>
                <a:lnTo>
                  <a:pt x="50" y="252"/>
                </a:lnTo>
                <a:lnTo>
                  <a:pt x="52" y="258"/>
                </a:lnTo>
                <a:lnTo>
                  <a:pt x="54" y="264"/>
                </a:lnTo>
                <a:lnTo>
                  <a:pt x="78" y="272"/>
                </a:lnTo>
                <a:lnTo>
                  <a:pt x="86" y="270"/>
                </a:lnTo>
                <a:lnTo>
                  <a:pt x="92" y="260"/>
                </a:lnTo>
                <a:lnTo>
                  <a:pt x="112" y="224"/>
                </a:lnTo>
                <a:lnTo>
                  <a:pt x="122" y="212"/>
                </a:lnTo>
                <a:lnTo>
                  <a:pt x="122" y="210"/>
                </a:lnTo>
                <a:lnTo>
                  <a:pt x="138" y="204"/>
                </a:lnTo>
                <a:lnTo>
                  <a:pt x="148" y="202"/>
                </a:lnTo>
                <a:lnTo>
                  <a:pt x="154" y="196"/>
                </a:lnTo>
                <a:lnTo>
                  <a:pt x="160" y="192"/>
                </a:lnTo>
                <a:lnTo>
                  <a:pt x="164" y="194"/>
                </a:lnTo>
                <a:lnTo>
                  <a:pt x="172" y="198"/>
                </a:lnTo>
                <a:lnTo>
                  <a:pt x="174" y="198"/>
                </a:lnTo>
                <a:lnTo>
                  <a:pt x="174" y="200"/>
                </a:lnTo>
                <a:lnTo>
                  <a:pt x="188" y="220"/>
                </a:lnTo>
                <a:lnTo>
                  <a:pt x="188" y="222"/>
                </a:lnTo>
                <a:lnTo>
                  <a:pt x="190" y="238"/>
                </a:lnTo>
                <a:lnTo>
                  <a:pt x="188" y="254"/>
                </a:lnTo>
                <a:lnTo>
                  <a:pt x="184" y="268"/>
                </a:lnTo>
                <a:lnTo>
                  <a:pt x="184" y="270"/>
                </a:lnTo>
                <a:lnTo>
                  <a:pt x="174" y="284"/>
                </a:lnTo>
                <a:lnTo>
                  <a:pt x="168" y="294"/>
                </a:lnTo>
                <a:lnTo>
                  <a:pt x="170" y="312"/>
                </a:lnTo>
                <a:lnTo>
                  <a:pt x="172" y="312"/>
                </a:lnTo>
                <a:lnTo>
                  <a:pt x="176" y="308"/>
                </a:lnTo>
                <a:lnTo>
                  <a:pt x="184" y="304"/>
                </a:lnTo>
                <a:lnTo>
                  <a:pt x="184" y="302"/>
                </a:lnTo>
                <a:lnTo>
                  <a:pt x="186" y="300"/>
                </a:lnTo>
                <a:lnTo>
                  <a:pt x="194" y="308"/>
                </a:lnTo>
                <a:lnTo>
                  <a:pt x="194" y="320"/>
                </a:lnTo>
                <a:lnTo>
                  <a:pt x="192" y="320"/>
                </a:lnTo>
                <a:lnTo>
                  <a:pt x="186" y="324"/>
                </a:lnTo>
                <a:lnTo>
                  <a:pt x="184" y="328"/>
                </a:lnTo>
                <a:lnTo>
                  <a:pt x="184" y="334"/>
                </a:lnTo>
                <a:lnTo>
                  <a:pt x="182" y="336"/>
                </a:lnTo>
                <a:lnTo>
                  <a:pt x="178" y="344"/>
                </a:lnTo>
                <a:lnTo>
                  <a:pt x="176" y="344"/>
                </a:lnTo>
                <a:lnTo>
                  <a:pt x="168" y="346"/>
                </a:lnTo>
                <a:lnTo>
                  <a:pt x="162" y="348"/>
                </a:lnTo>
                <a:lnTo>
                  <a:pt x="158" y="356"/>
                </a:lnTo>
                <a:lnTo>
                  <a:pt x="158" y="358"/>
                </a:lnTo>
                <a:lnTo>
                  <a:pt x="184" y="354"/>
                </a:lnTo>
                <a:lnTo>
                  <a:pt x="190" y="350"/>
                </a:lnTo>
                <a:lnTo>
                  <a:pt x="198" y="328"/>
                </a:lnTo>
                <a:lnTo>
                  <a:pt x="258" y="266"/>
                </a:lnTo>
                <a:lnTo>
                  <a:pt x="260" y="266"/>
                </a:lnTo>
                <a:lnTo>
                  <a:pt x="272" y="260"/>
                </a:lnTo>
                <a:lnTo>
                  <a:pt x="284" y="260"/>
                </a:lnTo>
                <a:lnTo>
                  <a:pt x="294" y="258"/>
                </a:lnTo>
                <a:lnTo>
                  <a:pt x="304" y="252"/>
                </a:lnTo>
                <a:lnTo>
                  <a:pt x="312" y="244"/>
                </a:lnTo>
                <a:lnTo>
                  <a:pt x="326" y="208"/>
                </a:lnTo>
                <a:lnTo>
                  <a:pt x="376" y="156"/>
                </a:lnTo>
                <a:lnTo>
                  <a:pt x="372" y="128"/>
                </a:lnTo>
                <a:lnTo>
                  <a:pt x="368" y="126"/>
                </a:lnTo>
                <a:lnTo>
                  <a:pt x="364" y="122"/>
                </a:lnTo>
                <a:lnTo>
                  <a:pt x="364" y="120"/>
                </a:lnTo>
                <a:lnTo>
                  <a:pt x="364" y="122"/>
                </a:lnTo>
                <a:lnTo>
                  <a:pt x="356" y="122"/>
                </a:lnTo>
                <a:lnTo>
                  <a:pt x="350" y="120"/>
                </a:lnTo>
                <a:lnTo>
                  <a:pt x="346" y="116"/>
                </a:lnTo>
                <a:lnTo>
                  <a:pt x="344" y="110"/>
                </a:lnTo>
                <a:lnTo>
                  <a:pt x="342" y="108"/>
                </a:lnTo>
                <a:lnTo>
                  <a:pt x="342" y="66"/>
                </a:lnTo>
                <a:lnTo>
                  <a:pt x="336" y="62"/>
                </a:lnTo>
                <a:lnTo>
                  <a:pt x="328" y="56"/>
                </a:lnTo>
                <a:lnTo>
                  <a:pt x="316" y="44"/>
                </a:lnTo>
                <a:lnTo>
                  <a:pt x="308" y="30"/>
                </a:lnTo>
                <a:lnTo>
                  <a:pt x="306" y="24"/>
                </a:lnTo>
                <a:lnTo>
                  <a:pt x="306" y="16"/>
                </a:lnTo>
                <a:lnTo>
                  <a:pt x="308" y="12"/>
                </a:lnTo>
                <a:lnTo>
                  <a:pt x="302" y="4"/>
                </a:lnTo>
                <a:lnTo>
                  <a:pt x="300" y="10"/>
                </a:lnTo>
                <a:lnTo>
                  <a:pt x="294" y="24"/>
                </a:lnTo>
                <a:lnTo>
                  <a:pt x="292" y="24"/>
                </a:lnTo>
                <a:lnTo>
                  <a:pt x="282" y="24"/>
                </a:lnTo>
                <a:lnTo>
                  <a:pt x="274" y="20"/>
                </a:lnTo>
                <a:lnTo>
                  <a:pt x="270" y="16"/>
                </a:lnTo>
                <a:lnTo>
                  <a:pt x="268" y="10"/>
                </a:lnTo>
                <a:lnTo>
                  <a:pt x="268" y="8"/>
                </a:lnTo>
                <a:lnTo>
                  <a:pt x="264" y="8"/>
                </a:lnTo>
                <a:lnTo>
                  <a:pt x="248" y="12"/>
                </a:lnTo>
                <a:lnTo>
                  <a:pt x="236" y="0"/>
                </a:lnTo>
                <a:lnTo>
                  <a:pt x="232" y="0"/>
                </a:lnTo>
                <a:lnTo>
                  <a:pt x="228" y="4"/>
                </a:lnTo>
                <a:lnTo>
                  <a:pt x="234" y="12"/>
                </a:lnTo>
                <a:lnTo>
                  <a:pt x="236" y="14"/>
                </a:lnTo>
                <a:lnTo>
                  <a:pt x="228" y="30"/>
                </a:lnTo>
                <a:lnTo>
                  <a:pt x="226" y="30"/>
                </a:lnTo>
                <a:lnTo>
                  <a:pt x="226" y="32"/>
                </a:lnTo>
                <a:lnTo>
                  <a:pt x="212" y="48"/>
                </a:lnTo>
                <a:lnTo>
                  <a:pt x="210" y="48"/>
                </a:lnTo>
                <a:lnTo>
                  <a:pt x="208" y="48"/>
                </a:lnTo>
                <a:lnTo>
                  <a:pt x="186" y="50"/>
                </a:lnTo>
                <a:lnTo>
                  <a:pt x="172" y="46"/>
                </a:lnTo>
                <a:close/>
              </a:path>
            </a:pathLst>
          </a:custGeom>
          <a:solidFill>
            <a:srgbClr val="BFBFBF"/>
          </a:solidFill>
          <a:ln>
            <a:noFill/>
          </a:ln>
        </p:spPr>
        <p:txBody>
          <a:bodyPr/>
          <a:lstStyle/>
          <a:p>
            <a:endParaRPr altLang="en-US" lang="zh-CN">
              <a:cs typeface="+mn-ea"/>
              <a:sym typeface="+mn-lt"/>
            </a:endParaRPr>
          </a:p>
        </p:txBody>
      </p:sp>
      <p:sp>
        <p:nvSpPr>
          <p:cNvPr id="28" name="吉林"/>
          <p:cNvSpPr/>
          <p:nvPr/>
        </p:nvSpPr>
        <p:spPr bwMode="auto">
          <a:xfrm>
            <a:off x="5090900" y="2606448"/>
            <a:ext cx="790569" cy="537134"/>
          </a:xfrm>
          <a:custGeom>
            <a:gdLst>
              <a:gd fmla="*/ 2147483646 w 536" name="T0"/>
              <a:gd fmla="*/ 2147483646 h 364" name="T1"/>
              <a:gd fmla="*/ 2147483646 w 536" name="T2"/>
              <a:gd fmla="*/ 2147483646 h 364" name="T3"/>
              <a:gd fmla="*/ 2147483646 w 536" name="T4"/>
              <a:gd fmla="*/ 2147483646 h 364" name="T5"/>
              <a:gd fmla="*/ 2147483646 w 536" name="T6"/>
              <a:gd fmla="*/ 2147483646 h 364" name="T7"/>
              <a:gd fmla="*/ 2147483646 w 536" name="T8"/>
              <a:gd fmla="*/ 2147483646 h 364" name="T9"/>
              <a:gd fmla="*/ 2147483646 w 536" name="T10"/>
              <a:gd fmla="*/ 2147483646 h 364" name="T11"/>
              <a:gd fmla="*/ 2147483646 w 536" name="T12"/>
              <a:gd fmla="*/ 2147483646 h 364" name="T13"/>
              <a:gd fmla="*/ 2147483646 w 536" name="T14"/>
              <a:gd fmla="*/ 2147483646 h 364" name="T15"/>
              <a:gd fmla="*/ 2147483646 w 536" name="T16"/>
              <a:gd fmla="*/ 2147483646 h 364" name="T17"/>
              <a:gd fmla="*/ 2147483646 w 536" name="T18"/>
              <a:gd fmla="*/ 2147483646 h 364" name="T19"/>
              <a:gd fmla="*/ 2147483646 w 536" name="T20"/>
              <a:gd fmla="*/ 2147483646 h 364" name="T21"/>
              <a:gd fmla="*/ 2147483646 w 536" name="T22"/>
              <a:gd fmla="*/ 2147483646 h 364" name="T23"/>
              <a:gd fmla="*/ 2147483646 w 536" name="T24"/>
              <a:gd fmla="*/ 2147483646 h 364" name="T25"/>
              <a:gd fmla="*/ 2147483646 w 536" name="T26"/>
              <a:gd fmla="*/ 2147483646 h 364" name="T27"/>
              <a:gd fmla="*/ 2147483646 w 536" name="T28"/>
              <a:gd fmla="*/ 2147483646 h 364" name="T29"/>
              <a:gd fmla="*/ 2147483646 w 536" name="T30"/>
              <a:gd fmla="*/ 2147483646 h 364" name="T31"/>
              <a:gd fmla="*/ 2147483646 w 536" name="T32"/>
              <a:gd fmla="*/ 2147483646 h 364" name="T33"/>
              <a:gd fmla="*/ 2147483646 w 536" name="T34"/>
              <a:gd fmla="*/ 2147483646 h 364" name="T35"/>
              <a:gd fmla="*/ 2147483646 w 536" name="T36"/>
              <a:gd fmla="*/ 2147483646 h 364" name="T37"/>
              <a:gd fmla="*/ 2147483646 w 536" name="T38"/>
              <a:gd fmla="*/ 2147483646 h 364" name="T39"/>
              <a:gd fmla="*/ 2147483646 w 536" name="T40"/>
              <a:gd fmla="*/ 2147483646 h 364" name="T41"/>
              <a:gd fmla="*/ 2147483646 w 536" name="T42"/>
              <a:gd fmla="*/ 2147483646 h 364" name="T43"/>
              <a:gd fmla="*/ 2147483646 w 536" name="T44"/>
              <a:gd fmla="*/ 2147483646 h 364" name="T45"/>
              <a:gd fmla="*/ 2147483646 w 536" name="T46"/>
              <a:gd fmla="*/ 2147483646 h 364" name="T47"/>
              <a:gd fmla="*/ 2147483646 w 536" name="T48"/>
              <a:gd fmla="*/ 2147483646 h 364" name="T49"/>
              <a:gd fmla="*/ 2147483646 w 536" name="T50"/>
              <a:gd fmla="*/ 2147483646 h 364" name="T51"/>
              <a:gd fmla="*/ 2147483646 w 536" name="T52"/>
              <a:gd fmla="*/ 2147483646 h 364" name="T53"/>
              <a:gd fmla="*/ 2147483646 w 536" name="T54"/>
              <a:gd fmla="*/ 2147483646 h 364" name="T55"/>
              <a:gd fmla="*/ 2147483646 w 536" name="T56"/>
              <a:gd fmla="*/ 2147483646 h 364" name="T57"/>
              <a:gd fmla="*/ 2147483646 w 536" name="T58"/>
              <a:gd fmla="*/ 2147483646 h 364" name="T59"/>
              <a:gd fmla="*/ 2147483646 w 536" name="T60"/>
              <a:gd fmla="*/ 2147483646 h 364" name="T61"/>
              <a:gd fmla="*/ 2147483646 w 536" name="T62"/>
              <a:gd fmla="*/ 2147483646 h 364" name="T63"/>
              <a:gd fmla="*/ 2147483646 w 536" name="T64"/>
              <a:gd fmla="*/ 2147483646 h 364" name="T65"/>
              <a:gd fmla="*/ 2147483646 w 536" name="T66"/>
              <a:gd fmla="*/ 2147483646 h 364" name="T67"/>
              <a:gd fmla="*/ 2147483646 w 536" name="T68"/>
              <a:gd fmla="*/ 2147483646 h 364" name="T69"/>
              <a:gd fmla="*/ 2147483646 w 536" name="T70"/>
              <a:gd fmla="*/ 2147483646 h 364" name="T71"/>
              <a:gd fmla="*/ 2147483646 w 536" name="T72"/>
              <a:gd fmla="*/ 2147483646 h 364" name="T73"/>
              <a:gd fmla="*/ 2147483646 w 536" name="T74"/>
              <a:gd fmla="*/ 2147483646 h 364" name="T75"/>
              <a:gd fmla="*/ 2147483646 w 536" name="T76"/>
              <a:gd fmla="*/ 2147483646 h 364" name="T77"/>
              <a:gd fmla="*/ 2147483646 w 536" name="T78"/>
              <a:gd fmla="*/ 2147483646 h 364" name="T79"/>
              <a:gd fmla="*/ 2147483646 w 536" name="T80"/>
              <a:gd fmla="*/ 2147483646 h 364" name="T81"/>
              <a:gd fmla="*/ 2147483646 w 536" name="T82"/>
              <a:gd fmla="*/ 2147483646 h 364" name="T83"/>
              <a:gd fmla="*/ 2147483646 w 536" name="T84"/>
              <a:gd fmla="*/ 2147483646 h 364" name="T85"/>
              <a:gd fmla="*/ 2147483646 w 536" name="T86"/>
              <a:gd fmla="*/ 2147483646 h 364" name="T87"/>
              <a:gd fmla="*/ 2147483646 w 536" name="T88"/>
              <a:gd fmla="*/ 2147483646 h 364" name="T89"/>
              <a:gd fmla="*/ 2147483646 w 536" name="T90"/>
              <a:gd fmla="*/ 2147483646 h 364" name="T91"/>
              <a:gd fmla="*/ 2147483646 w 536" name="T92"/>
              <a:gd fmla="*/ 2147483646 h 364" name="T93"/>
              <a:gd fmla="*/ 2147483646 w 536" name="T94"/>
              <a:gd fmla="*/ 2147483646 h 364" name="T95"/>
              <a:gd fmla="*/ 2147483646 w 536" name="T96"/>
              <a:gd fmla="*/ 2147483646 h 364" name="T97"/>
              <a:gd fmla="*/ 2147483646 w 536" name="T98"/>
              <a:gd fmla="*/ 2147483646 h 364" name="T99"/>
              <a:gd fmla="*/ 2147483646 w 536" name="T100"/>
              <a:gd fmla="*/ 2147483646 h 364" name="T101"/>
              <a:gd fmla="*/ 2147483646 w 536" name="T102"/>
              <a:gd fmla="*/ 2147483646 h 364"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b="b" l="0" r="r" t="0"/>
            <a:pathLst>
              <a:path h="364" w="536">
                <a:moveTo>
                  <a:pt x="104" y="18"/>
                </a:moveTo>
                <a:lnTo>
                  <a:pt x="102" y="0"/>
                </a:lnTo>
                <a:lnTo>
                  <a:pt x="94" y="6"/>
                </a:lnTo>
                <a:lnTo>
                  <a:pt x="92" y="6"/>
                </a:lnTo>
                <a:lnTo>
                  <a:pt x="74" y="12"/>
                </a:lnTo>
                <a:lnTo>
                  <a:pt x="72" y="12"/>
                </a:lnTo>
                <a:lnTo>
                  <a:pt x="70" y="10"/>
                </a:lnTo>
                <a:lnTo>
                  <a:pt x="70" y="20"/>
                </a:lnTo>
                <a:lnTo>
                  <a:pt x="68" y="20"/>
                </a:lnTo>
                <a:lnTo>
                  <a:pt x="60" y="34"/>
                </a:lnTo>
                <a:lnTo>
                  <a:pt x="58" y="34"/>
                </a:lnTo>
                <a:lnTo>
                  <a:pt x="58" y="36"/>
                </a:lnTo>
                <a:lnTo>
                  <a:pt x="44" y="48"/>
                </a:lnTo>
                <a:lnTo>
                  <a:pt x="42" y="48"/>
                </a:lnTo>
                <a:lnTo>
                  <a:pt x="40" y="48"/>
                </a:lnTo>
                <a:lnTo>
                  <a:pt x="28" y="40"/>
                </a:lnTo>
                <a:lnTo>
                  <a:pt x="22" y="34"/>
                </a:lnTo>
                <a:lnTo>
                  <a:pt x="18" y="32"/>
                </a:lnTo>
                <a:lnTo>
                  <a:pt x="8" y="34"/>
                </a:lnTo>
                <a:lnTo>
                  <a:pt x="0" y="40"/>
                </a:lnTo>
                <a:lnTo>
                  <a:pt x="18" y="54"/>
                </a:lnTo>
                <a:lnTo>
                  <a:pt x="32" y="60"/>
                </a:lnTo>
                <a:lnTo>
                  <a:pt x="34" y="62"/>
                </a:lnTo>
                <a:lnTo>
                  <a:pt x="34" y="64"/>
                </a:lnTo>
                <a:lnTo>
                  <a:pt x="36" y="80"/>
                </a:lnTo>
                <a:lnTo>
                  <a:pt x="36" y="104"/>
                </a:lnTo>
                <a:lnTo>
                  <a:pt x="40" y="118"/>
                </a:lnTo>
                <a:lnTo>
                  <a:pt x="50" y="140"/>
                </a:lnTo>
                <a:lnTo>
                  <a:pt x="60" y="152"/>
                </a:lnTo>
                <a:lnTo>
                  <a:pt x="70" y="144"/>
                </a:lnTo>
                <a:lnTo>
                  <a:pt x="76" y="136"/>
                </a:lnTo>
                <a:lnTo>
                  <a:pt x="88" y="122"/>
                </a:lnTo>
                <a:lnTo>
                  <a:pt x="98" y="132"/>
                </a:lnTo>
                <a:lnTo>
                  <a:pt x="108" y="152"/>
                </a:lnTo>
                <a:lnTo>
                  <a:pt x="120" y="156"/>
                </a:lnTo>
                <a:lnTo>
                  <a:pt x="126" y="176"/>
                </a:lnTo>
                <a:lnTo>
                  <a:pt x="124" y="194"/>
                </a:lnTo>
                <a:lnTo>
                  <a:pt x="124" y="196"/>
                </a:lnTo>
                <a:lnTo>
                  <a:pt x="120" y="212"/>
                </a:lnTo>
                <a:lnTo>
                  <a:pt x="128" y="220"/>
                </a:lnTo>
                <a:lnTo>
                  <a:pt x="138" y="214"/>
                </a:lnTo>
                <a:lnTo>
                  <a:pt x="148" y="204"/>
                </a:lnTo>
                <a:lnTo>
                  <a:pt x="150" y="206"/>
                </a:lnTo>
                <a:lnTo>
                  <a:pt x="158" y="208"/>
                </a:lnTo>
                <a:lnTo>
                  <a:pt x="168" y="218"/>
                </a:lnTo>
                <a:lnTo>
                  <a:pt x="178" y="216"/>
                </a:lnTo>
                <a:lnTo>
                  <a:pt x="184" y="214"/>
                </a:lnTo>
                <a:lnTo>
                  <a:pt x="188" y="216"/>
                </a:lnTo>
                <a:lnTo>
                  <a:pt x="190" y="218"/>
                </a:lnTo>
                <a:lnTo>
                  <a:pt x="192" y="220"/>
                </a:lnTo>
                <a:lnTo>
                  <a:pt x="192" y="228"/>
                </a:lnTo>
                <a:lnTo>
                  <a:pt x="194" y="228"/>
                </a:lnTo>
                <a:lnTo>
                  <a:pt x="204" y="232"/>
                </a:lnTo>
                <a:lnTo>
                  <a:pt x="210" y="222"/>
                </a:lnTo>
                <a:lnTo>
                  <a:pt x="210" y="218"/>
                </a:lnTo>
                <a:lnTo>
                  <a:pt x="210" y="214"/>
                </a:lnTo>
                <a:lnTo>
                  <a:pt x="212" y="210"/>
                </a:lnTo>
                <a:lnTo>
                  <a:pt x="220" y="212"/>
                </a:lnTo>
                <a:lnTo>
                  <a:pt x="226" y="214"/>
                </a:lnTo>
                <a:lnTo>
                  <a:pt x="230" y="218"/>
                </a:lnTo>
                <a:lnTo>
                  <a:pt x="232" y="222"/>
                </a:lnTo>
                <a:lnTo>
                  <a:pt x="232" y="228"/>
                </a:lnTo>
                <a:lnTo>
                  <a:pt x="232" y="232"/>
                </a:lnTo>
                <a:lnTo>
                  <a:pt x="232" y="242"/>
                </a:lnTo>
                <a:lnTo>
                  <a:pt x="240" y="256"/>
                </a:lnTo>
                <a:lnTo>
                  <a:pt x="250" y="266"/>
                </a:lnTo>
                <a:lnTo>
                  <a:pt x="256" y="272"/>
                </a:lnTo>
                <a:lnTo>
                  <a:pt x="262" y="274"/>
                </a:lnTo>
                <a:lnTo>
                  <a:pt x="264" y="274"/>
                </a:lnTo>
                <a:lnTo>
                  <a:pt x="266" y="278"/>
                </a:lnTo>
                <a:lnTo>
                  <a:pt x="268" y="288"/>
                </a:lnTo>
                <a:lnTo>
                  <a:pt x="268" y="324"/>
                </a:lnTo>
                <a:lnTo>
                  <a:pt x="270" y="328"/>
                </a:lnTo>
                <a:lnTo>
                  <a:pt x="274" y="330"/>
                </a:lnTo>
                <a:lnTo>
                  <a:pt x="276" y="330"/>
                </a:lnTo>
                <a:lnTo>
                  <a:pt x="282" y="330"/>
                </a:lnTo>
                <a:lnTo>
                  <a:pt x="288" y="332"/>
                </a:lnTo>
                <a:lnTo>
                  <a:pt x="290" y="334"/>
                </a:lnTo>
                <a:lnTo>
                  <a:pt x="294" y="338"/>
                </a:lnTo>
                <a:lnTo>
                  <a:pt x="298" y="344"/>
                </a:lnTo>
                <a:lnTo>
                  <a:pt x="300" y="364"/>
                </a:lnTo>
                <a:lnTo>
                  <a:pt x="318" y="328"/>
                </a:lnTo>
                <a:lnTo>
                  <a:pt x="322" y="314"/>
                </a:lnTo>
                <a:lnTo>
                  <a:pt x="326" y="304"/>
                </a:lnTo>
                <a:lnTo>
                  <a:pt x="332" y="296"/>
                </a:lnTo>
                <a:lnTo>
                  <a:pt x="338" y="294"/>
                </a:lnTo>
                <a:lnTo>
                  <a:pt x="344" y="294"/>
                </a:lnTo>
                <a:lnTo>
                  <a:pt x="352" y="294"/>
                </a:lnTo>
                <a:lnTo>
                  <a:pt x="372" y="304"/>
                </a:lnTo>
                <a:lnTo>
                  <a:pt x="424" y="308"/>
                </a:lnTo>
                <a:lnTo>
                  <a:pt x="424" y="296"/>
                </a:lnTo>
                <a:lnTo>
                  <a:pt x="400" y="272"/>
                </a:lnTo>
                <a:lnTo>
                  <a:pt x="388" y="264"/>
                </a:lnTo>
                <a:lnTo>
                  <a:pt x="386" y="262"/>
                </a:lnTo>
                <a:lnTo>
                  <a:pt x="386" y="258"/>
                </a:lnTo>
                <a:lnTo>
                  <a:pt x="404" y="260"/>
                </a:lnTo>
                <a:lnTo>
                  <a:pt x="412" y="260"/>
                </a:lnTo>
                <a:lnTo>
                  <a:pt x="418" y="260"/>
                </a:lnTo>
                <a:lnTo>
                  <a:pt x="424" y="260"/>
                </a:lnTo>
                <a:lnTo>
                  <a:pt x="430" y="256"/>
                </a:lnTo>
                <a:lnTo>
                  <a:pt x="436" y="252"/>
                </a:lnTo>
                <a:lnTo>
                  <a:pt x="442" y="246"/>
                </a:lnTo>
                <a:lnTo>
                  <a:pt x="452" y="228"/>
                </a:lnTo>
                <a:lnTo>
                  <a:pt x="454" y="228"/>
                </a:lnTo>
                <a:lnTo>
                  <a:pt x="472" y="212"/>
                </a:lnTo>
                <a:lnTo>
                  <a:pt x="474" y="174"/>
                </a:lnTo>
                <a:lnTo>
                  <a:pt x="474" y="170"/>
                </a:lnTo>
                <a:lnTo>
                  <a:pt x="476" y="170"/>
                </a:lnTo>
                <a:lnTo>
                  <a:pt x="478" y="170"/>
                </a:lnTo>
                <a:lnTo>
                  <a:pt x="492" y="168"/>
                </a:lnTo>
                <a:lnTo>
                  <a:pt x="494" y="168"/>
                </a:lnTo>
                <a:lnTo>
                  <a:pt x="496" y="168"/>
                </a:lnTo>
                <a:lnTo>
                  <a:pt x="524" y="198"/>
                </a:lnTo>
                <a:lnTo>
                  <a:pt x="532" y="196"/>
                </a:lnTo>
                <a:lnTo>
                  <a:pt x="532" y="190"/>
                </a:lnTo>
                <a:lnTo>
                  <a:pt x="518" y="176"/>
                </a:lnTo>
                <a:lnTo>
                  <a:pt x="516" y="174"/>
                </a:lnTo>
                <a:lnTo>
                  <a:pt x="514" y="172"/>
                </a:lnTo>
                <a:lnTo>
                  <a:pt x="536" y="158"/>
                </a:lnTo>
                <a:lnTo>
                  <a:pt x="536" y="124"/>
                </a:lnTo>
                <a:lnTo>
                  <a:pt x="526" y="126"/>
                </a:lnTo>
                <a:lnTo>
                  <a:pt x="524" y="126"/>
                </a:lnTo>
                <a:lnTo>
                  <a:pt x="512" y="120"/>
                </a:lnTo>
                <a:lnTo>
                  <a:pt x="504" y="118"/>
                </a:lnTo>
                <a:lnTo>
                  <a:pt x="492" y="110"/>
                </a:lnTo>
                <a:lnTo>
                  <a:pt x="486" y="106"/>
                </a:lnTo>
                <a:lnTo>
                  <a:pt x="484" y="102"/>
                </a:lnTo>
                <a:lnTo>
                  <a:pt x="484" y="104"/>
                </a:lnTo>
                <a:lnTo>
                  <a:pt x="482" y="108"/>
                </a:lnTo>
                <a:lnTo>
                  <a:pt x="480" y="108"/>
                </a:lnTo>
                <a:lnTo>
                  <a:pt x="476" y="110"/>
                </a:lnTo>
                <a:lnTo>
                  <a:pt x="470" y="112"/>
                </a:lnTo>
                <a:lnTo>
                  <a:pt x="468" y="112"/>
                </a:lnTo>
                <a:lnTo>
                  <a:pt x="468" y="110"/>
                </a:lnTo>
                <a:lnTo>
                  <a:pt x="456" y="102"/>
                </a:lnTo>
                <a:lnTo>
                  <a:pt x="446" y="110"/>
                </a:lnTo>
                <a:lnTo>
                  <a:pt x="440" y="116"/>
                </a:lnTo>
                <a:lnTo>
                  <a:pt x="438" y="120"/>
                </a:lnTo>
                <a:lnTo>
                  <a:pt x="444" y="132"/>
                </a:lnTo>
                <a:lnTo>
                  <a:pt x="446" y="136"/>
                </a:lnTo>
                <a:lnTo>
                  <a:pt x="444" y="138"/>
                </a:lnTo>
                <a:lnTo>
                  <a:pt x="440" y="142"/>
                </a:lnTo>
                <a:lnTo>
                  <a:pt x="434" y="144"/>
                </a:lnTo>
                <a:lnTo>
                  <a:pt x="428" y="146"/>
                </a:lnTo>
                <a:lnTo>
                  <a:pt x="422" y="148"/>
                </a:lnTo>
                <a:lnTo>
                  <a:pt x="418" y="146"/>
                </a:lnTo>
                <a:lnTo>
                  <a:pt x="416" y="144"/>
                </a:lnTo>
                <a:lnTo>
                  <a:pt x="414" y="140"/>
                </a:lnTo>
                <a:lnTo>
                  <a:pt x="392" y="120"/>
                </a:lnTo>
                <a:lnTo>
                  <a:pt x="382" y="114"/>
                </a:lnTo>
                <a:lnTo>
                  <a:pt x="376" y="108"/>
                </a:lnTo>
                <a:lnTo>
                  <a:pt x="374" y="104"/>
                </a:lnTo>
                <a:lnTo>
                  <a:pt x="374" y="100"/>
                </a:lnTo>
                <a:lnTo>
                  <a:pt x="372" y="92"/>
                </a:lnTo>
                <a:lnTo>
                  <a:pt x="370" y="86"/>
                </a:lnTo>
                <a:lnTo>
                  <a:pt x="366" y="88"/>
                </a:lnTo>
                <a:lnTo>
                  <a:pt x="364" y="90"/>
                </a:lnTo>
                <a:lnTo>
                  <a:pt x="366" y="94"/>
                </a:lnTo>
                <a:lnTo>
                  <a:pt x="368" y="98"/>
                </a:lnTo>
                <a:lnTo>
                  <a:pt x="368" y="100"/>
                </a:lnTo>
                <a:lnTo>
                  <a:pt x="370" y="100"/>
                </a:lnTo>
                <a:lnTo>
                  <a:pt x="368" y="102"/>
                </a:lnTo>
                <a:lnTo>
                  <a:pt x="358" y="120"/>
                </a:lnTo>
                <a:lnTo>
                  <a:pt x="340" y="116"/>
                </a:lnTo>
                <a:lnTo>
                  <a:pt x="336" y="114"/>
                </a:lnTo>
                <a:lnTo>
                  <a:pt x="336" y="112"/>
                </a:lnTo>
                <a:lnTo>
                  <a:pt x="336" y="106"/>
                </a:lnTo>
                <a:lnTo>
                  <a:pt x="336" y="100"/>
                </a:lnTo>
                <a:lnTo>
                  <a:pt x="332" y="94"/>
                </a:lnTo>
                <a:lnTo>
                  <a:pt x="318" y="84"/>
                </a:lnTo>
                <a:lnTo>
                  <a:pt x="316" y="82"/>
                </a:lnTo>
                <a:lnTo>
                  <a:pt x="314" y="84"/>
                </a:lnTo>
                <a:lnTo>
                  <a:pt x="312" y="86"/>
                </a:lnTo>
                <a:lnTo>
                  <a:pt x="298" y="84"/>
                </a:lnTo>
                <a:lnTo>
                  <a:pt x="292" y="82"/>
                </a:lnTo>
                <a:lnTo>
                  <a:pt x="288" y="80"/>
                </a:lnTo>
                <a:lnTo>
                  <a:pt x="288" y="76"/>
                </a:lnTo>
                <a:lnTo>
                  <a:pt x="288" y="70"/>
                </a:lnTo>
                <a:lnTo>
                  <a:pt x="290" y="68"/>
                </a:lnTo>
                <a:lnTo>
                  <a:pt x="284" y="56"/>
                </a:lnTo>
                <a:lnTo>
                  <a:pt x="256" y="58"/>
                </a:lnTo>
                <a:lnTo>
                  <a:pt x="256" y="64"/>
                </a:lnTo>
                <a:lnTo>
                  <a:pt x="254" y="68"/>
                </a:lnTo>
                <a:lnTo>
                  <a:pt x="252" y="70"/>
                </a:lnTo>
                <a:lnTo>
                  <a:pt x="248" y="72"/>
                </a:lnTo>
                <a:lnTo>
                  <a:pt x="240" y="72"/>
                </a:lnTo>
                <a:lnTo>
                  <a:pt x="234" y="68"/>
                </a:lnTo>
                <a:lnTo>
                  <a:pt x="234" y="66"/>
                </a:lnTo>
                <a:lnTo>
                  <a:pt x="226" y="56"/>
                </a:lnTo>
                <a:lnTo>
                  <a:pt x="224" y="48"/>
                </a:lnTo>
                <a:lnTo>
                  <a:pt x="220" y="40"/>
                </a:lnTo>
                <a:lnTo>
                  <a:pt x="212" y="46"/>
                </a:lnTo>
                <a:lnTo>
                  <a:pt x="202" y="50"/>
                </a:lnTo>
                <a:lnTo>
                  <a:pt x="200" y="50"/>
                </a:lnTo>
                <a:lnTo>
                  <a:pt x="196" y="48"/>
                </a:lnTo>
                <a:lnTo>
                  <a:pt x="194" y="46"/>
                </a:lnTo>
                <a:lnTo>
                  <a:pt x="186" y="48"/>
                </a:lnTo>
                <a:lnTo>
                  <a:pt x="164" y="54"/>
                </a:lnTo>
                <a:lnTo>
                  <a:pt x="158" y="58"/>
                </a:lnTo>
                <a:lnTo>
                  <a:pt x="152" y="58"/>
                </a:lnTo>
                <a:lnTo>
                  <a:pt x="150" y="58"/>
                </a:lnTo>
                <a:lnTo>
                  <a:pt x="140" y="56"/>
                </a:lnTo>
                <a:lnTo>
                  <a:pt x="134" y="52"/>
                </a:lnTo>
                <a:lnTo>
                  <a:pt x="120" y="42"/>
                </a:lnTo>
                <a:lnTo>
                  <a:pt x="104" y="18"/>
                </a:lnTo>
                <a:close/>
              </a:path>
            </a:pathLst>
          </a:custGeom>
          <a:solidFill>
            <a:srgbClr val="BFBFBF"/>
          </a:solidFill>
          <a:ln>
            <a:noFill/>
          </a:ln>
        </p:spPr>
        <p:txBody>
          <a:bodyPr/>
          <a:lstStyle/>
          <a:p>
            <a:endParaRPr altLang="en-US" lang="zh-CN">
              <a:cs typeface="+mn-ea"/>
              <a:sym typeface="+mn-lt"/>
            </a:endParaRPr>
          </a:p>
        </p:txBody>
      </p:sp>
      <p:sp>
        <p:nvSpPr>
          <p:cNvPr id="29" name="黑龙江"/>
          <p:cNvSpPr/>
          <p:nvPr/>
        </p:nvSpPr>
        <p:spPr bwMode="auto">
          <a:xfrm>
            <a:off x="4922757" y="1847967"/>
            <a:ext cx="1059008" cy="962119"/>
          </a:xfrm>
          <a:custGeom>
            <a:gdLst>
              <a:gd fmla="*/ 2147483646 w 718" name="T0"/>
              <a:gd fmla="*/ 2147483646 h 652" name="T1"/>
              <a:gd fmla="*/ 2147483646 w 718" name="T2"/>
              <a:gd fmla="*/ 2147483646 h 652" name="T3"/>
              <a:gd fmla="*/ 2147483646 w 718" name="T4"/>
              <a:gd fmla="*/ 2147483646 h 652" name="T5"/>
              <a:gd fmla="*/ 2147483646 w 718" name="T6"/>
              <a:gd fmla="*/ 2147483646 h 652" name="T7"/>
              <a:gd fmla="*/ 2147483646 w 718" name="T8"/>
              <a:gd fmla="*/ 2147483646 h 652" name="T9"/>
              <a:gd fmla="*/ 2147483646 w 718" name="T10"/>
              <a:gd fmla="*/ 2147483646 h 652" name="T11"/>
              <a:gd fmla="*/ 2147483646 w 718" name="T12"/>
              <a:gd fmla="*/ 2147483646 h 652" name="T13"/>
              <a:gd fmla="*/ 2147483646 w 718" name="T14"/>
              <a:gd fmla="*/ 2147483646 h 652" name="T15"/>
              <a:gd fmla="*/ 2147483646 w 718" name="T16"/>
              <a:gd fmla="*/ 2147483646 h 652" name="T17"/>
              <a:gd fmla="*/ 2147483646 w 718" name="T18"/>
              <a:gd fmla="*/ 2147483646 h 652" name="T19"/>
              <a:gd fmla="*/ 2147483646 w 718" name="T20"/>
              <a:gd fmla="*/ 2147483646 h 652" name="T21"/>
              <a:gd fmla="*/ 2147483646 w 718" name="T22"/>
              <a:gd fmla="*/ 2147483646 h 652" name="T23"/>
              <a:gd fmla="*/ 2147483646 w 718" name="T24"/>
              <a:gd fmla="*/ 2147483646 h 652" name="T25"/>
              <a:gd fmla="*/ 2147483646 w 718" name="T26"/>
              <a:gd fmla="*/ 0 h 652" name="T27"/>
              <a:gd fmla="*/ 2147483646 w 718" name="T28"/>
              <a:gd fmla="*/ 2147483646 h 652" name="T29"/>
              <a:gd fmla="*/ 2147483646 w 718" name="T30"/>
              <a:gd fmla="*/ 2147483646 h 652" name="T31"/>
              <a:gd fmla="*/ 0 w 718" name="T32"/>
              <a:gd fmla="*/ 2147483646 h 652" name="T33"/>
              <a:gd fmla="*/ 2147483646 w 718" name="T34"/>
              <a:gd fmla="*/ 2147483646 h 652" name="T35"/>
              <a:gd fmla="*/ 2147483646 w 718" name="T36"/>
              <a:gd fmla="*/ 2147483646 h 652" name="T37"/>
              <a:gd fmla="*/ 2147483646 w 718" name="T38"/>
              <a:gd fmla="*/ 2147483646 h 652" name="T39"/>
              <a:gd fmla="*/ 2147483646 w 718" name="T40"/>
              <a:gd fmla="*/ 2147483646 h 652" name="T41"/>
              <a:gd fmla="*/ 2147483646 w 718" name="T42"/>
              <a:gd fmla="*/ 2147483646 h 652" name="T43"/>
              <a:gd fmla="*/ 2147483646 w 718" name="T44"/>
              <a:gd fmla="*/ 2147483646 h 652" name="T45"/>
              <a:gd fmla="*/ 2147483646 w 718" name="T46"/>
              <a:gd fmla="*/ 2147483646 h 652" name="T47"/>
              <a:gd fmla="*/ 2147483646 w 718" name="T48"/>
              <a:gd fmla="*/ 2147483646 h 652" name="T49"/>
              <a:gd fmla="*/ 2147483646 w 718" name="T50"/>
              <a:gd fmla="*/ 2147483646 h 652" name="T51"/>
              <a:gd fmla="*/ 2147483646 w 718" name="T52"/>
              <a:gd fmla="*/ 2147483646 h 652" name="T53"/>
              <a:gd fmla="*/ 2147483646 w 718" name="T54"/>
              <a:gd fmla="*/ 2147483646 h 652" name="T55"/>
              <a:gd fmla="*/ 2147483646 w 718" name="T56"/>
              <a:gd fmla="*/ 2147483646 h 652" name="T57"/>
              <a:gd fmla="*/ 2147483646 w 718" name="T58"/>
              <a:gd fmla="*/ 2147483646 h 652" name="T59"/>
              <a:gd fmla="*/ 2147483646 w 718" name="T60"/>
              <a:gd fmla="*/ 2147483646 h 652" name="T61"/>
              <a:gd fmla="*/ 2147483646 w 718" name="T62"/>
              <a:gd fmla="*/ 2147483646 h 652" name="T63"/>
              <a:gd fmla="*/ 2147483646 w 718" name="T64"/>
              <a:gd fmla="*/ 2147483646 h 652" name="T65"/>
              <a:gd fmla="*/ 2147483646 w 718" name="T66"/>
              <a:gd fmla="*/ 2147483646 h 652" name="T67"/>
              <a:gd fmla="*/ 2147483646 w 718" name="T68"/>
              <a:gd fmla="*/ 2147483646 h 652" name="T69"/>
              <a:gd fmla="*/ 2147483646 w 718" name="T70"/>
              <a:gd fmla="*/ 2147483646 h 652" name="T71"/>
              <a:gd fmla="*/ 2147483646 w 718" name="T72"/>
              <a:gd fmla="*/ 2147483646 h 652" name="T73"/>
              <a:gd fmla="*/ 2147483646 w 718" name="T74"/>
              <a:gd fmla="*/ 2147483646 h 652" name="T75"/>
              <a:gd fmla="*/ 2147483646 w 718" name="T76"/>
              <a:gd fmla="*/ 2147483646 h 652" name="T77"/>
              <a:gd fmla="*/ 2147483646 w 718" name="T78"/>
              <a:gd fmla="*/ 2147483646 h 652" name="T79"/>
              <a:gd fmla="*/ 2147483646 w 718" name="T80"/>
              <a:gd fmla="*/ 2147483646 h 652" name="T81"/>
              <a:gd fmla="*/ 2147483646 w 718" name="T82"/>
              <a:gd fmla="*/ 2147483646 h 652" name="T83"/>
              <a:gd fmla="*/ 2147483646 w 718" name="T84"/>
              <a:gd fmla="*/ 2147483646 h 652" name="T85"/>
              <a:gd fmla="*/ 2147483646 w 718" name="T86"/>
              <a:gd fmla="*/ 2147483646 h 652" name="T87"/>
              <a:gd fmla="*/ 2147483646 w 718" name="T88"/>
              <a:gd fmla="*/ 2147483646 h 652" name="T89"/>
              <a:gd fmla="*/ 2147483646 w 718" name="T90"/>
              <a:gd fmla="*/ 2147483646 h 652" name="T91"/>
              <a:gd fmla="*/ 2147483646 w 718" name="T92"/>
              <a:gd fmla="*/ 2147483646 h 652" name="T93"/>
              <a:gd fmla="*/ 2147483646 w 718" name="T94"/>
              <a:gd fmla="*/ 2147483646 h 652" name="T95"/>
              <a:gd fmla="*/ 2147483646 w 718" name="T96"/>
              <a:gd fmla="*/ 2147483646 h 652" name="T97"/>
              <a:gd fmla="*/ 2147483646 w 718" name="T98"/>
              <a:gd fmla="*/ 2147483646 h 652" name="T99"/>
              <a:gd fmla="*/ 2147483646 w 718" name="T100"/>
              <a:gd fmla="*/ 2147483646 h 652" name="T101"/>
              <a:gd fmla="*/ 2147483646 w 718" name="T102"/>
              <a:gd fmla="*/ 2147483646 h 652" name="T103"/>
              <a:gd fmla="*/ 2147483646 w 718" name="T104"/>
              <a:gd fmla="*/ 2147483646 h 652" name="T105"/>
              <a:gd fmla="*/ 2147483646 w 718" name="T106"/>
              <a:gd fmla="*/ 2147483646 h 652" name="T107"/>
              <a:gd fmla="*/ 2147483646 w 718" name="T108"/>
              <a:gd fmla="*/ 2147483646 h 652" name="T109"/>
              <a:gd fmla="*/ 2147483646 w 718" name="T110"/>
              <a:gd fmla="*/ 2147483646 h 652" name="T111"/>
              <a:gd fmla="*/ 2147483646 w 718" name="T112"/>
              <a:gd fmla="*/ 2147483646 h 652" name="T113"/>
              <a:gd fmla="*/ 2147483646 w 718" name="T114"/>
              <a:gd fmla="*/ 2147483646 h 652" name="T115"/>
              <a:gd fmla="*/ 2147483646 w 718" name="T116"/>
              <a:gd fmla="*/ 2147483646 h 652" name="T117"/>
              <a:gd fmla="*/ 2147483646 w 718" name="T118"/>
              <a:gd fmla="*/ 2147483646 h 652" name="T119"/>
              <a:gd fmla="*/ 2147483646 w 718" name="T120"/>
              <a:gd fmla="*/ 2147483646 h 652" name="T121"/>
              <a:gd fmla="*/ 2147483646 w 718" name="T122"/>
              <a:gd fmla="*/ 2147483646 h 652"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 fmla="*/ 0 60000 65536" name="T165"/>
              <a:gd fmla="*/ 0 60000 65536" name="T166"/>
              <a:gd fmla="*/ 0 60000 65536" name="T167"/>
              <a:gd fmla="*/ 0 60000 65536" name="T168"/>
              <a:gd fmla="*/ 0 60000 65536" name="T169"/>
              <a:gd fmla="*/ 0 60000 65536" name="T170"/>
              <a:gd fmla="*/ 0 60000 65536" name="T171"/>
              <a:gd fmla="*/ 0 60000 65536" name="T172"/>
              <a:gd fmla="*/ 0 60000 65536" name="T173"/>
              <a:gd fmla="*/ 0 60000 65536" name="T174"/>
              <a:gd fmla="*/ 0 60000 65536" name="T175"/>
              <a:gd fmla="*/ 0 60000 65536" name="T176"/>
              <a:gd fmla="*/ 0 60000 65536" name="T177"/>
              <a:gd fmla="*/ 0 60000 65536" name="T178"/>
              <a:gd fmla="*/ 0 60000 65536" name="T179"/>
              <a:gd fmla="*/ 0 60000 65536" name="T180"/>
              <a:gd fmla="*/ 0 60000 65536" name="T181"/>
              <a:gd fmla="*/ 0 60000 65536" name="T182"/>
              <a:gd fmla="*/ 0 60000 65536" name="T183"/>
              <a:gd fmla="*/ 0 60000 65536" name="T184"/>
              <a:gd fmla="*/ 0 60000 65536" name="T185"/>
            </a:gd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b="b" l="0" r="r" t="0"/>
            <a:pathLst>
              <a:path h="652" w="718">
                <a:moveTo>
                  <a:pt x="716" y="382"/>
                </a:moveTo>
                <a:lnTo>
                  <a:pt x="704" y="302"/>
                </a:lnTo>
                <a:lnTo>
                  <a:pt x="706" y="302"/>
                </a:lnTo>
                <a:lnTo>
                  <a:pt x="712" y="290"/>
                </a:lnTo>
                <a:lnTo>
                  <a:pt x="714" y="284"/>
                </a:lnTo>
                <a:lnTo>
                  <a:pt x="714" y="280"/>
                </a:lnTo>
                <a:lnTo>
                  <a:pt x="710" y="274"/>
                </a:lnTo>
                <a:lnTo>
                  <a:pt x="704" y="270"/>
                </a:lnTo>
                <a:lnTo>
                  <a:pt x="700" y="260"/>
                </a:lnTo>
                <a:lnTo>
                  <a:pt x="700" y="250"/>
                </a:lnTo>
                <a:lnTo>
                  <a:pt x="700" y="234"/>
                </a:lnTo>
                <a:lnTo>
                  <a:pt x="692" y="234"/>
                </a:lnTo>
                <a:lnTo>
                  <a:pt x="684" y="236"/>
                </a:lnTo>
                <a:lnTo>
                  <a:pt x="674" y="240"/>
                </a:lnTo>
                <a:lnTo>
                  <a:pt x="666" y="248"/>
                </a:lnTo>
                <a:lnTo>
                  <a:pt x="662" y="254"/>
                </a:lnTo>
                <a:lnTo>
                  <a:pt x="660" y="262"/>
                </a:lnTo>
                <a:lnTo>
                  <a:pt x="652" y="268"/>
                </a:lnTo>
                <a:lnTo>
                  <a:pt x="644" y="272"/>
                </a:lnTo>
                <a:lnTo>
                  <a:pt x="632" y="276"/>
                </a:lnTo>
                <a:lnTo>
                  <a:pt x="628" y="302"/>
                </a:lnTo>
                <a:lnTo>
                  <a:pt x="626" y="302"/>
                </a:lnTo>
                <a:lnTo>
                  <a:pt x="618" y="318"/>
                </a:lnTo>
                <a:lnTo>
                  <a:pt x="618" y="320"/>
                </a:lnTo>
                <a:lnTo>
                  <a:pt x="616" y="320"/>
                </a:lnTo>
                <a:lnTo>
                  <a:pt x="536" y="334"/>
                </a:lnTo>
                <a:lnTo>
                  <a:pt x="534" y="334"/>
                </a:lnTo>
                <a:lnTo>
                  <a:pt x="510" y="308"/>
                </a:lnTo>
                <a:lnTo>
                  <a:pt x="518" y="302"/>
                </a:lnTo>
                <a:lnTo>
                  <a:pt x="508" y="290"/>
                </a:lnTo>
                <a:lnTo>
                  <a:pt x="498" y="282"/>
                </a:lnTo>
                <a:lnTo>
                  <a:pt x="496" y="280"/>
                </a:lnTo>
                <a:lnTo>
                  <a:pt x="496" y="278"/>
                </a:lnTo>
                <a:lnTo>
                  <a:pt x="492" y="258"/>
                </a:lnTo>
                <a:lnTo>
                  <a:pt x="470" y="258"/>
                </a:lnTo>
                <a:lnTo>
                  <a:pt x="452" y="246"/>
                </a:lnTo>
                <a:lnTo>
                  <a:pt x="388" y="236"/>
                </a:lnTo>
                <a:lnTo>
                  <a:pt x="336" y="234"/>
                </a:lnTo>
                <a:lnTo>
                  <a:pt x="334" y="234"/>
                </a:lnTo>
                <a:lnTo>
                  <a:pt x="332" y="234"/>
                </a:lnTo>
                <a:lnTo>
                  <a:pt x="330" y="232"/>
                </a:lnTo>
                <a:lnTo>
                  <a:pt x="298" y="164"/>
                </a:lnTo>
                <a:lnTo>
                  <a:pt x="286" y="146"/>
                </a:lnTo>
                <a:lnTo>
                  <a:pt x="258" y="110"/>
                </a:lnTo>
                <a:lnTo>
                  <a:pt x="230" y="76"/>
                </a:lnTo>
                <a:lnTo>
                  <a:pt x="216" y="62"/>
                </a:lnTo>
                <a:lnTo>
                  <a:pt x="170" y="18"/>
                </a:lnTo>
                <a:lnTo>
                  <a:pt x="164" y="14"/>
                </a:lnTo>
                <a:lnTo>
                  <a:pt x="108" y="12"/>
                </a:lnTo>
                <a:lnTo>
                  <a:pt x="106" y="12"/>
                </a:lnTo>
                <a:lnTo>
                  <a:pt x="106" y="10"/>
                </a:lnTo>
                <a:lnTo>
                  <a:pt x="94" y="6"/>
                </a:lnTo>
                <a:lnTo>
                  <a:pt x="80" y="0"/>
                </a:lnTo>
                <a:lnTo>
                  <a:pt x="76" y="0"/>
                </a:lnTo>
                <a:lnTo>
                  <a:pt x="70" y="0"/>
                </a:lnTo>
                <a:lnTo>
                  <a:pt x="54" y="4"/>
                </a:lnTo>
                <a:lnTo>
                  <a:pt x="34" y="12"/>
                </a:lnTo>
                <a:lnTo>
                  <a:pt x="8" y="24"/>
                </a:lnTo>
                <a:lnTo>
                  <a:pt x="6" y="26"/>
                </a:lnTo>
                <a:lnTo>
                  <a:pt x="8" y="36"/>
                </a:lnTo>
                <a:lnTo>
                  <a:pt x="8" y="38"/>
                </a:lnTo>
                <a:lnTo>
                  <a:pt x="2" y="52"/>
                </a:lnTo>
                <a:lnTo>
                  <a:pt x="0" y="52"/>
                </a:lnTo>
                <a:lnTo>
                  <a:pt x="0" y="62"/>
                </a:lnTo>
                <a:lnTo>
                  <a:pt x="0" y="72"/>
                </a:lnTo>
                <a:lnTo>
                  <a:pt x="4" y="82"/>
                </a:lnTo>
                <a:lnTo>
                  <a:pt x="10" y="86"/>
                </a:lnTo>
                <a:lnTo>
                  <a:pt x="22" y="86"/>
                </a:lnTo>
                <a:lnTo>
                  <a:pt x="32" y="88"/>
                </a:lnTo>
                <a:lnTo>
                  <a:pt x="36" y="86"/>
                </a:lnTo>
                <a:lnTo>
                  <a:pt x="38" y="76"/>
                </a:lnTo>
                <a:lnTo>
                  <a:pt x="42" y="70"/>
                </a:lnTo>
                <a:lnTo>
                  <a:pt x="50" y="70"/>
                </a:lnTo>
                <a:lnTo>
                  <a:pt x="78" y="78"/>
                </a:lnTo>
                <a:lnTo>
                  <a:pt x="84" y="80"/>
                </a:lnTo>
                <a:lnTo>
                  <a:pt x="74" y="94"/>
                </a:lnTo>
                <a:lnTo>
                  <a:pt x="74" y="114"/>
                </a:lnTo>
                <a:lnTo>
                  <a:pt x="76" y="118"/>
                </a:lnTo>
                <a:lnTo>
                  <a:pt x="80" y="124"/>
                </a:lnTo>
                <a:lnTo>
                  <a:pt x="96" y="140"/>
                </a:lnTo>
                <a:lnTo>
                  <a:pt x="108" y="148"/>
                </a:lnTo>
                <a:lnTo>
                  <a:pt x="116" y="150"/>
                </a:lnTo>
                <a:lnTo>
                  <a:pt x="120" y="150"/>
                </a:lnTo>
                <a:lnTo>
                  <a:pt x="124" y="148"/>
                </a:lnTo>
                <a:lnTo>
                  <a:pt x="138" y="134"/>
                </a:lnTo>
                <a:lnTo>
                  <a:pt x="148" y="128"/>
                </a:lnTo>
                <a:lnTo>
                  <a:pt x="170" y="124"/>
                </a:lnTo>
                <a:lnTo>
                  <a:pt x="176" y="110"/>
                </a:lnTo>
                <a:lnTo>
                  <a:pt x="194" y="100"/>
                </a:lnTo>
                <a:lnTo>
                  <a:pt x="212" y="110"/>
                </a:lnTo>
                <a:lnTo>
                  <a:pt x="214" y="110"/>
                </a:lnTo>
                <a:lnTo>
                  <a:pt x="230" y="138"/>
                </a:lnTo>
                <a:lnTo>
                  <a:pt x="236" y="156"/>
                </a:lnTo>
                <a:lnTo>
                  <a:pt x="236" y="158"/>
                </a:lnTo>
                <a:lnTo>
                  <a:pt x="232" y="182"/>
                </a:lnTo>
                <a:lnTo>
                  <a:pt x="238" y="196"/>
                </a:lnTo>
                <a:lnTo>
                  <a:pt x="238" y="198"/>
                </a:lnTo>
                <a:lnTo>
                  <a:pt x="234" y="216"/>
                </a:lnTo>
                <a:lnTo>
                  <a:pt x="234" y="232"/>
                </a:lnTo>
                <a:lnTo>
                  <a:pt x="240" y="250"/>
                </a:lnTo>
                <a:lnTo>
                  <a:pt x="242" y="258"/>
                </a:lnTo>
                <a:lnTo>
                  <a:pt x="240" y="272"/>
                </a:lnTo>
                <a:lnTo>
                  <a:pt x="240" y="274"/>
                </a:lnTo>
                <a:lnTo>
                  <a:pt x="232" y="284"/>
                </a:lnTo>
                <a:lnTo>
                  <a:pt x="232" y="286"/>
                </a:lnTo>
                <a:lnTo>
                  <a:pt x="224" y="294"/>
                </a:lnTo>
                <a:lnTo>
                  <a:pt x="222" y="312"/>
                </a:lnTo>
                <a:lnTo>
                  <a:pt x="228" y="330"/>
                </a:lnTo>
                <a:lnTo>
                  <a:pt x="228" y="332"/>
                </a:lnTo>
                <a:lnTo>
                  <a:pt x="222" y="360"/>
                </a:lnTo>
                <a:lnTo>
                  <a:pt x="218" y="364"/>
                </a:lnTo>
                <a:lnTo>
                  <a:pt x="214" y="366"/>
                </a:lnTo>
                <a:lnTo>
                  <a:pt x="206" y="364"/>
                </a:lnTo>
                <a:lnTo>
                  <a:pt x="198" y="356"/>
                </a:lnTo>
                <a:lnTo>
                  <a:pt x="190" y="358"/>
                </a:lnTo>
                <a:lnTo>
                  <a:pt x="180" y="370"/>
                </a:lnTo>
                <a:lnTo>
                  <a:pt x="168" y="402"/>
                </a:lnTo>
                <a:lnTo>
                  <a:pt x="168" y="404"/>
                </a:lnTo>
                <a:lnTo>
                  <a:pt x="156" y="414"/>
                </a:lnTo>
                <a:lnTo>
                  <a:pt x="154" y="414"/>
                </a:lnTo>
                <a:lnTo>
                  <a:pt x="148" y="414"/>
                </a:lnTo>
                <a:lnTo>
                  <a:pt x="136" y="434"/>
                </a:lnTo>
                <a:lnTo>
                  <a:pt x="142" y="446"/>
                </a:lnTo>
                <a:lnTo>
                  <a:pt x="144" y="446"/>
                </a:lnTo>
                <a:lnTo>
                  <a:pt x="160" y="466"/>
                </a:lnTo>
                <a:lnTo>
                  <a:pt x="160" y="468"/>
                </a:lnTo>
                <a:lnTo>
                  <a:pt x="160" y="474"/>
                </a:lnTo>
                <a:lnTo>
                  <a:pt x="178" y="476"/>
                </a:lnTo>
                <a:lnTo>
                  <a:pt x="180" y="492"/>
                </a:lnTo>
                <a:lnTo>
                  <a:pt x="180" y="494"/>
                </a:lnTo>
                <a:lnTo>
                  <a:pt x="182" y="512"/>
                </a:lnTo>
                <a:lnTo>
                  <a:pt x="188" y="516"/>
                </a:lnTo>
                <a:lnTo>
                  <a:pt x="204" y="512"/>
                </a:lnTo>
                <a:lnTo>
                  <a:pt x="218" y="502"/>
                </a:lnTo>
                <a:lnTo>
                  <a:pt x="222" y="502"/>
                </a:lnTo>
                <a:lnTo>
                  <a:pt x="226" y="528"/>
                </a:lnTo>
                <a:lnTo>
                  <a:pt x="234" y="538"/>
                </a:lnTo>
                <a:lnTo>
                  <a:pt x="236" y="540"/>
                </a:lnTo>
                <a:lnTo>
                  <a:pt x="242" y="550"/>
                </a:lnTo>
                <a:lnTo>
                  <a:pt x="254" y="560"/>
                </a:lnTo>
                <a:lnTo>
                  <a:pt x="258" y="562"/>
                </a:lnTo>
                <a:lnTo>
                  <a:pt x="262" y="562"/>
                </a:lnTo>
                <a:lnTo>
                  <a:pt x="266" y="564"/>
                </a:lnTo>
                <a:lnTo>
                  <a:pt x="274" y="560"/>
                </a:lnTo>
                <a:lnTo>
                  <a:pt x="282" y="558"/>
                </a:lnTo>
                <a:lnTo>
                  <a:pt x="292" y="554"/>
                </a:lnTo>
                <a:lnTo>
                  <a:pt x="296" y="552"/>
                </a:lnTo>
                <a:lnTo>
                  <a:pt x="308" y="552"/>
                </a:lnTo>
                <a:lnTo>
                  <a:pt x="312" y="552"/>
                </a:lnTo>
                <a:lnTo>
                  <a:pt x="316" y="554"/>
                </a:lnTo>
                <a:lnTo>
                  <a:pt x="332" y="544"/>
                </a:lnTo>
                <a:lnTo>
                  <a:pt x="334" y="544"/>
                </a:lnTo>
                <a:lnTo>
                  <a:pt x="334" y="546"/>
                </a:lnTo>
                <a:lnTo>
                  <a:pt x="336" y="544"/>
                </a:lnTo>
                <a:lnTo>
                  <a:pt x="338" y="546"/>
                </a:lnTo>
                <a:lnTo>
                  <a:pt x="344" y="556"/>
                </a:lnTo>
                <a:lnTo>
                  <a:pt x="346" y="562"/>
                </a:lnTo>
                <a:lnTo>
                  <a:pt x="354" y="574"/>
                </a:lnTo>
                <a:lnTo>
                  <a:pt x="360" y="576"/>
                </a:lnTo>
                <a:lnTo>
                  <a:pt x="362" y="576"/>
                </a:lnTo>
                <a:lnTo>
                  <a:pt x="360" y="574"/>
                </a:lnTo>
                <a:lnTo>
                  <a:pt x="360" y="570"/>
                </a:lnTo>
                <a:lnTo>
                  <a:pt x="360" y="566"/>
                </a:lnTo>
                <a:lnTo>
                  <a:pt x="364" y="564"/>
                </a:lnTo>
                <a:lnTo>
                  <a:pt x="370" y="562"/>
                </a:lnTo>
                <a:lnTo>
                  <a:pt x="398" y="562"/>
                </a:lnTo>
                <a:lnTo>
                  <a:pt x="400" y="562"/>
                </a:lnTo>
                <a:lnTo>
                  <a:pt x="402" y="562"/>
                </a:lnTo>
                <a:lnTo>
                  <a:pt x="412" y="580"/>
                </a:lnTo>
                <a:lnTo>
                  <a:pt x="410" y="588"/>
                </a:lnTo>
                <a:lnTo>
                  <a:pt x="422" y="590"/>
                </a:lnTo>
                <a:lnTo>
                  <a:pt x="422" y="588"/>
                </a:lnTo>
                <a:lnTo>
                  <a:pt x="422" y="586"/>
                </a:lnTo>
                <a:lnTo>
                  <a:pt x="426" y="584"/>
                </a:lnTo>
                <a:lnTo>
                  <a:pt x="454" y="602"/>
                </a:lnTo>
                <a:lnTo>
                  <a:pt x="456" y="608"/>
                </a:lnTo>
                <a:lnTo>
                  <a:pt x="458" y="612"/>
                </a:lnTo>
                <a:lnTo>
                  <a:pt x="458" y="624"/>
                </a:lnTo>
                <a:lnTo>
                  <a:pt x="468" y="626"/>
                </a:lnTo>
                <a:lnTo>
                  <a:pt x="474" y="616"/>
                </a:lnTo>
                <a:lnTo>
                  <a:pt x="470" y="608"/>
                </a:lnTo>
                <a:lnTo>
                  <a:pt x="470" y="602"/>
                </a:lnTo>
                <a:lnTo>
                  <a:pt x="472" y="598"/>
                </a:lnTo>
                <a:lnTo>
                  <a:pt x="474" y="596"/>
                </a:lnTo>
                <a:lnTo>
                  <a:pt x="478" y="594"/>
                </a:lnTo>
                <a:lnTo>
                  <a:pt x="478" y="592"/>
                </a:lnTo>
                <a:lnTo>
                  <a:pt x="480" y="590"/>
                </a:lnTo>
                <a:lnTo>
                  <a:pt x="486" y="590"/>
                </a:lnTo>
                <a:lnTo>
                  <a:pt x="490" y="594"/>
                </a:lnTo>
                <a:lnTo>
                  <a:pt x="492" y="598"/>
                </a:lnTo>
                <a:lnTo>
                  <a:pt x="496" y="614"/>
                </a:lnTo>
                <a:lnTo>
                  <a:pt x="496" y="616"/>
                </a:lnTo>
                <a:lnTo>
                  <a:pt x="498" y="618"/>
                </a:lnTo>
                <a:lnTo>
                  <a:pt x="502" y="622"/>
                </a:lnTo>
                <a:lnTo>
                  <a:pt x="510" y="626"/>
                </a:lnTo>
                <a:lnTo>
                  <a:pt x="512" y="626"/>
                </a:lnTo>
                <a:lnTo>
                  <a:pt x="538" y="652"/>
                </a:lnTo>
                <a:lnTo>
                  <a:pt x="550" y="648"/>
                </a:lnTo>
                <a:lnTo>
                  <a:pt x="548" y="644"/>
                </a:lnTo>
                <a:lnTo>
                  <a:pt x="544" y="638"/>
                </a:lnTo>
                <a:lnTo>
                  <a:pt x="544" y="634"/>
                </a:lnTo>
                <a:lnTo>
                  <a:pt x="544" y="630"/>
                </a:lnTo>
                <a:lnTo>
                  <a:pt x="546" y="626"/>
                </a:lnTo>
                <a:lnTo>
                  <a:pt x="556" y="618"/>
                </a:lnTo>
                <a:lnTo>
                  <a:pt x="570" y="606"/>
                </a:lnTo>
                <a:lnTo>
                  <a:pt x="586" y="616"/>
                </a:lnTo>
                <a:lnTo>
                  <a:pt x="588" y="616"/>
                </a:lnTo>
                <a:lnTo>
                  <a:pt x="592" y="598"/>
                </a:lnTo>
                <a:lnTo>
                  <a:pt x="592" y="596"/>
                </a:lnTo>
                <a:lnTo>
                  <a:pt x="594" y="594"/>
                </a:lnTo>
                <a:lnTo>
                  <a:pt x="608" y="596"/>
                </a:lnTo>
                <a:lnTo>
                  <a:pt x="610" y="600"/>
                </a:lnTo>
                <a:lnTo>
                  <a:pt x="612" y="606"/>
                </a:lnTo>
                <a:lnTo>
                  <a:pt x="610" y="610"/>
                </a:lnTo>
                <a:lnTo>
                  <a:pt x="606" y="616"/>
                </a:lnTo>
                <a:lnTo>
                  <a:pt x="610" y="618"/>
                </a:lnTo>
                <a:lnTo>
                  <a:pt x="620" y="622"/>
                </a:lnTo>
                <a:lnTo>
                  <a:pt x="628" y="626"/>
                </a:lnTo>
                <a:lnTo>
                  <a:pt x="630" y="626"/>
                </a:lnTo>
                <a:lnTo>
                  <a:pt x="640" y="630"/>
                </a:lnTo>
                <a:lnTo>
                  <a:pt x="648" y="630"/>
                </a:lnTo>
                <a:lnTo>
                  <a:pt x="636" y="572"/>
                </a:lnTo>
                <a:lnTo>
                  <a:pt x="630" y="568"/>
                </a:lnTo>
                <a:lnTo>
                  <a:pt x="624" y="562"/>
                </a:lnTo>
                <a:lnTo>
                  <a:pt x="614" y="546"/>
                </a:lnTo>
                <a:lnTo>
                  <a:pt x="610" y="538"/>
                </a:lnTo>
                <a:lnTo>
                  <a:pt x="612" y="528"/>
                </a:lnTo>
                <a:lnTo>
                  <a:pt x="616" y="518"/>
                </a:lnTo>
                <a:lnTo>
                  <a:pt x="624" y="506"/>
                </a:lnTo>
                <a:lnTo>
                  <a:pt x="636" y="494"/>
                </a:lnTo>
                <a:lnTo>
                  <a:pt x="650" y="482"/>
                </a:lnTo>
                <a:lnTo>
                  <a:pt x="662" y="482"/>
                </a:lnTo>
                <a:lnTo>
                  <a:pt x="672" y="486"/>
                </a:lnTo>
                <a:lnTo>
                  <a:pt x="692" y="486"/>
                </a:lnTo>
                <a:lnTo>
                  <a:pt x="698" y="482"/>
                </a:lnTo>
                <a:lnTo>
                  <a:pt x="704" y="476"/>
                </a:lnTo>
                <a:lnTo>
                  <a:pt x="714" y="452"/>
                </a:lnTo>
                <a:lnTo>
                  <a:pt x="718" y="442"/>
                </a:lnTo>
                <a:lnTo>
                  <a:pt x="718" y="426"/>
                </a:lnTo>
                <a:lnTo>
                  <a:pt x="716" y="382"/>
                </a:lnTo>
                <a:close/>
              </a:path>
            </a:pathLst>
          </a:custGeom>
          <a:solidFill>
            <a:srgbClr val="BFBFBF"/>
          </a:solidFill>
          <a:ln>
            <a:noFill/>
          </a:ln>
        </p:spPr>
        <p:txBody>
          <a:bodyPr/>
          <a:lstStyle/>
          <a:p>
            <a:endParaRPr altLang="en-US" lang="zh-CN">
              <a:cs typeface="+mn-ea"/>
              <a:sym typeface="+mn-lt"/>
            </a:endParaRPr>
          </a:p>
        </p:txBody>
      </p:sp>
      <p:sp>
        <p:nvSpPr>
          <p:cNvPr id="30" name="山东"/>
          <p:cNvSpPr/>
          <p:nvPr/>
        </p:nvSpPr>
        <p:spPr bwMode="auto">
          <a:xfrm>
            <a:off x="4713315" y="3574470"/>
            <a:ext cx="640125" cy="401375"/>
          </a:xfrm>
          <a:custGeom>
            <a:gdLst>
              <a:gd fmla="*/ 2147483646 w 434" name="T0"/>
              <a:gd fmla="*/ 2147483646 h 272" name="T1"/>
              <a:gd fmla="*/ 2147483646 w 434" name="T2"/>
              <a:gd fmla="*/ 2147483646 h 272" name="T3"/>
              <a:gd fmla="*/ 2147483646 w 434" name="T4"/>
              <a:gd fmla="*/ 0 h 272" name="T5"/>
              <a:gd fmla="*/ 2147483646 w 434" name="T6"/>
              <a:gd fmla="*/ 2147483646 h 272" name="T7"/>
              <a:gd fmla="*/ 2147483646 w 434" name="T8"/>
              <a:gd fmla="*/ 2147483646 h 272" name="T9"/>
              <a:gd fmla="*/ 2147483646 w 434" name="T10"/>
              <a:gd fmla="*/ 2147483646 h 272" name="T11"/>
              <a:gd fmla="*/ 2147483646 w 434" name="T12"/>
              <a:gd fmla="*/ 2147483646 h 272" name="T13"/>
              <a:gd fmla="*/ 2147483646 w 434" name="T14"/>
              <a:gd fmla="*/ 2147483646 h 272" name="T15"/>
              <a:gd fmla="*/ 2147483646 w 434" name="T16"/>
              <a:gd fmla="*/ 0 h 272" name="T17"/>
              <a:gd fmla="*/ 2147483646 w 434" name="T18"/>
              <a:gd fmla="*/ 2147483646 h 272" name="T19"/>
              <a:gd fmla="*/ 2147483646 w 434" name="T20"/>
              <a:gd fmla="*/ 2147483646 h 272" name="T21"/>
              <a:gd fmla="*/ 2147483646 w 434" name="T22"/>
              <a:gd fmla="*/ 2147483646 h 272" name="T23"/>
              <a:gd fmla="*/ 2147483646 w 434" name="T24"/>
              <a:gd fmla="*/ 2147483646 h 272" name="T25"/>
              <a:gd fmla="*/ 2147483646 w 434" name="T26"/>
              <a:gd fmla="*/ 2147483646 h 272" name="T27"/>
              <a:gd fmla="*/ 2147483646 w 434" name="T28"/>
              <a:gd fmla="*/ 2147483646 h 272" name="T29"/>
              <a:gd fmla="*/ 2147483646 w 434" name="T30"/>
              <a:gd fmla="*/ 2147483646 h 272" name="T31"/>
              <a:gd fmla="*/ 0 w 434" name="T32"/>
              <a:gd fmla="*/ 2147483646 h 272" name="T33"/>
              <a:gd fmla="*/ 2147483646 w 434" name="T34"/>
              <a:gd fmla="*/ 2147483646 h 272" name="T35"/>
              <a:gd fmla="*/ 2147483646 w 434" name="T36"/>
              <a:gd fmla="*/ 2147483646 h 272" name="T37"/>
              <a:gd fmla="*/ 2147483646 w 434" name="T38"/>
              <a:gd fmla="*/ 2147483646 h 272" name="T39"/>
              <a:gd fmla="*/ 2147483646 w 434" name="T40"/>
              <a:gd fmla="*/ 2147483646 h 272" name="T41"/>
              <a:gd fmla="*/ 2147483646 w 434" name="T42"/>
              <a:gd fmla="*/ 2147483646 h 272" name="T43"/>
              <a:gd fmla="*/ 2147483646 w 434" name="T44"/>
              <a:gd fmla="*/ 2147483646 h 272" name="T45"/>
              <a:gd fmla="*/ 2147483646 w 434" name="T46"/>
              <a:gd fmla="*/ 2147483646 h 272" name="T47"/>
              <a:gd fmla="*/ 2147483646 w 434" name="T48"/>
              <a:gd fmla="*/ 2147483646 h 272" name="T49"/>
              <a:gd fmla="*/ 2147483646 w 434" name="T50"/>
              <a:gd fmla="*/ 2147483646 h 272" name="T51"/>
              <a:gd fmla="*/ 2147483646 w 434" name="T52"/>
              <a:gd fmla="*/ 2147483646 h 272" name="T53"/>
              <a:gd fmla="*/ 2147483646 w 434" name="T54"/>
              <a:gd fmla="*/ 2147483646 h 272" name="T55"/>
              <a:gd fmla="*/ 2147483646 w 434" name="T56"/>
              <a:gd fmla="*/ 2147483646 h 272" name="T57"/>
              <a:gd fmla="*/ 2147483646 w 434" name="T58"/>
              <a:gd fmla="*/ 2147483646 h 272" name="T59"/>
              <a:gd fmla="*/ 2147483646 w 434" name="T60"/>
              <a:gd fmla="*/ 2147483646 h 272" name="T61"/>
              <a:gd fmla="*/ 2147483646 w 434" name="T62"/>
              <a:gd fmla="*/ 2147483646 h 272" name="T63"/>
              <a:gd fmla="*/ 2147483646 w 434" name="T64"/>
              <a:gd fmla="*/ 2147483646 h 272" name="T65"/>
              <a:gd fmla="*/ 2147483646 w 434" name="T66"/>
              <a:gd fmla="*/ 2147483646 h 272" name="T67"/>
              <a:gd fmla="*/ 2147483646 w 434" name="T68"/>
              <a:gd fmla="*/ 2147483646 h 272" name="T69"/>
              <a:gd fmla="*/ 2147483646 w 434" name="T70"/>
              <a:gd fmla="*/ 2147483646 h 272" name="T71"/>
              <a:gd fmla="*/ 2147483646 w 434" name="T72"/>
              <a:gd fmla="*/ 2147483646 h 272" name="T73"/>
              <a:gd fmla="*/ 2147483646 w 434" name="T74"/>
              <a:gd fmla="*/ 2147483646 h 272" name="T75"/>
              <a:gd fmla="*/ 2147483646 w 434" name="T76"/>
              <a:gd fmla="*/ 2147483646 h 272" name="T77"/>
              <a:gd fmla="*/ 2147483646 w 434" name="T78"/>
              <a:gd fmla="*/ 2147483646 h 272" name="T79"/>
              <a:gd fmla="*/ 2147483646 w 434" name="T80"/>
              <a:gd fmla="*/ 2147483646 h 272" name="T81"/>
              <a:gd fmla="*/ 2147483646 w 434" name="T82"/>
              <a:gd fmla="*/ 2147483646 h 272" name="T83"/>
              <a:gd fmla="*/ 2147483646 w 434" name="T84"/>
              <a:gd fmla="*/ 2147483646 h 272" name="T85"/>
              <a:gd fmla="*/ 2147483646 w 434" name="T86"/>
              <a:gd fmla="*/ 2147483646 h 272" name="T87"/>
              <a:gd fmla="*/ 2147483646 w 434" name="T88"/>
              <a:gd fmla="*/ 2147483646 h 272" name="T89"/>
              <a:gd fmla="*/ 2147483646 w 434" name="T90"/>
              <a:gd fmla="*/ 2147483646 h 272" name="T91"/>
              <a:gd fmla="*/ 2147483646 w 434" name="T92"/>
              <a:gd fmla="*/ 2147483646 h 272" name="T93"/>
              <a:gd fmla="*/ 2147483646 w 434" name="T94"/>
              <a:gd fmla="*/ 2147483646 h 272" name="T95"/>
              <a:gd fmla="*/ 2147483646 w 434" name="T96"/>
              <a:gd fmla="*/ 2147483646 h 272" name="T97"/>
              <a:gd fmla="*/ 2147483646 w 434" name="T98"/>
              <a:gd fmla="*/ 2147483646 h 272" name="T99"/>
              <a:gd fmla="*/ 2147483646 w 434" name="T100"/>
              <a:gd fmla="*/ 2147483646 h 272"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b="b" l="0" r="r" t="0"/>
            <a:pathLst>
              <a:path h="272" w="433">
                <a:moveTo>
                  <a:pt x="396" y="8"/>
                </a:moveTo>
                <a:lnTo>
                  <a:pt x="396" y="8"/>
                </a:lnTo>
                <a:lnTo>
                  <a:pt x="394" y="12"/>
                </a:lnTo>
                <a:lnTo>
                  <a:pt x="388" y="14"/>
                </a:lnTo>
                <a:lnTo>
                  <a:pt x="358" y="12"/>
                </a:lnTo>
                <a:lnTo>
                  <a:pt x="330" y="6"/>
                </a:lnTo>
                <a:lnTo>
                  <a:pt x="314" y="0"/>
                </a:lnTo>
                <a:lnTo>
                  <a:pt x="270" y="42"/>
                </a:lnTo>
                <a:lnTo>
                  <a:pt x="272" y="60"/>
                </a:lnTo>
                <a:lnTo>
                  <a:pt x="268" y="62"/>
                </a:lnTo>
                <a:lnTo>
                  <a:pt x="246" y="64"/>
                </a:lnTo>
                <a:lnTo>
                  <a:pt x="228" y="62"/>
                </a:lnTo>
                <a:lnTo>
                  <a:pt x="222" y="62"/>
                </a:lnTo>
                <a:lnTo>
                  <a:pt x="218" y="60"/>
                </a:lnTo>
                <a:lnTo>
                  <a:pt x="214" y="56"/>
                </a:lnTo>
                <a:lnTo>
                  <a:pt x="212" y="52"/>
                </a:lnTo>
                <a:lnTo>
                  <a:pt x="208" y="2"/>
                </a:lnTo>
                <a:lnTo>
                  <a:pt x="168" y="0"/>
                </a:lnTo>
                <a:lnTo>
                  <a:pt x="152" y="36"/>
                </a:lnTo>
                <a:lnTo>
                  <a:pt x="150" y="20"/>
                </a:lnTo>
                <a:lnTo>
                  <a:pt x="148" y="6"/>
                </a:lnTo>
                <a:lnTo>
                  <a:pt x="144" y="0"/>
                </a:lnTo>
                <a:lnTo>
                  <a:pt x="128" y="8"/>
                </a:lnTo>
                <a:lnTo>
                  <a:pt x="120" y="18"/>
                </a:lnTo>
                <a:lnTo>
                  <a:pt x="118" y="20"/>
                </a:lnTo>
                <a:lnTo>
                  <a:pt x="102" y="24"/>
                </a:lnTo>
                <a:lnTo>
                  <a:pt x="78" y="48"/>
                </a:lnTo>
                <a:lnTo>
                  <a:pt x="56" y="70"/>
                </a:lnTo>
                <a:lnTo>
                  <a:pt x="12" y="128"/>
                </a:lnTo>
                <a:lnTo>
                  <a:pt x="22" y="148"/>
                </a:lnTo>
                <a:lnTo>
                  <a:pt x="22" y="152"/>
                </a:lnTo>
                <a:lnTo>
                  <a:pt x="20" y="152"/>
                </a:lnTo>
                <a:lnTo>
                  <a:pt x="20" y="156"/>
                </a:lnTo>
                <a:lnTo>
                  <a:pt x="20" y="160"/>
                </a:lnTo>
                <a:lnTo>
                  <a:pt x="24" y="172"/>
                </a:lnTo>
                <a:lnTo>
                  <a:pt x="32" y="188"/>
                </a:lnTo>
                <a:lnTo>
                  <a:pt x="34" y="198"/>
                </a:lnTo>
                <a:lnTo>
                  <a:pt x="34" y="206"/>
                </a:lnTo>
                <a:lnTo>
                  <a:pt x="34" y="208"/>
                </a:lnTo>
                <a:lnTo>
                  <a:pt x="0" y="228"/>
                </a:lnTo>
                <a:lnTo>
                  <a:pt x="0" y="236"/>
                </a:lnTo>
                <a:lnTo>
                  <a:pt x="16" y="244"/>
                </a:lnTo>
                <a:lnTo>
                  <a:pt x="18" y="248"/>
                </a:lnTo>
                <a:lnTo>
                  <a:pt x="18" y="252"/>
                </a:lnTo>
                <a:lnTo>
                  <a:pt x="22" y="256"/>
                </a:lnTo>
                <a:lnTo>
                  <a:pt x="36" y="264"/>
                </a:lnTo>
                <a:lnTo>
                  <a:pt x="64" y="272"/>
                </a:lnTo>
                <a:lnTo>
                  <a:pt x="74" y="266"/>
                </a:lnTo>
                <a:lnTo>
                  <a:pt x="84" y="252"/>
                </a:lnTo>
                <a:lnTo>
                  <a:pt x="92" y="230"/>
                </a:lnTo>
                <a:lnTo>
                  <a:pt x="114" y="238"/>
                </a:lnTo>
                <a:lnTo>
                  <a:pt x="118" y="240"/>
                </a:lnTo>
                <a:lnTo>
                  <a:pt x="118" y="242"/>
                </a:lnTo>
                <a:lnTo>
                  <a:pt x="118" y="244"/>
                </a:lnTo>
                <a:lnTo>
                  <a:pt x="116" y="250"/>
                </a:lnTo>
                <a:lnTo>
                  <a:pt x="116" y="256"/>
                </a:lnTo>
                <a:lnTo>
                  <a:pt x="118" y="260"/>
                </a:lnTo>
                <a:lnTo>
                  <a:pt x="124" y="264"/>
                </a:lnTo>
                <a:lnTo>
                  <a:pt x="148" y="264"/>
                </a:lnTo>
                <a:lnTo>
                  <a:pt x="160" y="260"/>
                </a:lnTo>
                <a:lnTo>
                  <a:pt x="170" y="256"/>
                </a:lnTo>
                <a:lnTo>
                  <a:pt x="172" y="252"/>
                </a:lnTo>
                <a:lnTo>
                  <a:pt x="176" y="252"/>
                </a:lnTo>
                <a:lnTo>
                  <a:pt x="184" y="252"/>
                </a:lnTo>
                <a:lnTo>
                  <a:pt x="198" y="256"/>
                </a:lnTo>
                <a:lnTo>
                  <a:pt x="202" y="258"/>
                </a:lnTo>
                <a:lnTo>
                  <a:pt x="208" y="264"/>
                </a:lnTo>
                <a:lnTo>
                  <a:pt x="212" y="250"/>
                </a:lnTo>
                <a:lnTo>
                  <a:pt x="214" y="248"/>
                </a:lnTo>
                <a:lnTo>
                  <a:pt x="216" y="248"/>
                </a:lnTo>
                <a:lnTo>
                  <a:pt x="220" y="242"/>
                </a:lnTo>
                <a:lnTo>
                  <a:pt x="224" y="236"/>
                </a:lnTo>
                <a:lnTo>
                  <a:pt x="230" y="228"/>
                </a:lnTo>
                <a:lnTo>
                  <a:pt x="238" y="220"/>
                </a:lnTo>
                <a:lnTo>
                  <a:pt x="248" y="214"/>
                </a:lnTo>
                <a:lnTo>
                  <a:pt x="250" y="212"/>
                </a:lnTo>
                <a:lnTo>
                  <a:pt x="250" y="214"/>
                </a:lnTo>
                <a:lnTo>
                  <a:pt x="252" y="214"/>
                </a:lnTo>
                <a:lnTo>
                  <a:pt x="258" y="216"/>
                </a:lnTo>
                <a:lnTo>
                  <a:pt x="260" y="216"/>
                </a:lnTo>
                <a:lnTo>
                  <a:pt x="268" y="176"/>
                </a:lnTo>
                <a:lnTo>
                  <a:pt x="280" y="172"/>
                </a:lnTo>
                <a:lnTo>
                  <a:pt x="290" y="166"/>
                </a:lnTo>
                <a:lnTo>
                  <a:pt x="296" y="160"/>
                </a:lnTo>
                <a:lnTo>
                  <a:pt x="298" y="156"/>
                </a:lnTo>
                <a:lnTo>
                  <a:pt x="300" y="150"/>
                </a:lnTo>
                <a:lnTo>
                  <a:pt x="296" y="138"/>
                </a:lnTo>
                <a:lnTo>
                  <a:pt x="294" y="128"/>
                </a:lnTo>
                <a:lnTo>
                  <a:pt x="296" y="122"/>
                </a:lnTo>
                <a:lnTo>
                  <a:pt x="298" y="120"/>
                </a:lnTo>
                <a:lnTo>
                  <a:pt x="302" y="120"/>
                </a:lnTo>
                <a:lnTo>
                  <a:pt x="310" y="120"/>
                </a:lnTo>
                <a:lnTo>
                  <a:pt x="320" y="124"/>
                </a:lnTo>
                <a:lnTo>
                  <a:pt x="322" y="112"/>
                </a:lnTo>
                <a:lnTo>
                  <a:pt x="322" y="110"/>
                </a:lnTo>
                <a:lnTo>
                  <a:pt x="322" y="108"/>
                </a:lnTo>
                <a:lnTo>
                  <a:pt x="336" y="102"/>
                </a:lnTo>
                <a:lnTo>
                  <a:pt x="338" y="96"/>
                </a:lnTo>
                <a:lnTo>
                  <a:pt x="330" y="96"/>
                </a:lnTo>
                <a:lnTo>
                  <a:pt x="328" y="94"/>
                </a:lnTo>
                <a:lnTo>
                  <a:pt x="328" y="90"/>
                </a:lnTo>
                <a:lnTo>
                  <a:pt x="328" y="88"/>
                </a:lnTo>
                <a:lnTo>
                  <a:pt x="330" y="86"/>
                </a:lnTo>
                <a:lnTo>
                  <a:pt x="332" y="86"/>
                </a:lnTo>
                <a:lnTo>
                  <a:pt x="334" y="86"/>
                </a:lnTo>
                <a:lnTo>
                  <a:pt x="342" y="84"/>
                </a:lnTo>
                <a:lnTo>
                  <a:pt x="352" y="76"/>
                </a:lnTo>
                <a:lnTo>
                  <a:pt x="404" y="40"/>
                </a:lnTo>
                <a:lnTo>
                  <a:pt x="420" y="48"/>
                </a:lnTo>
                <a:lnTo>
                  <a:pt x="428" y="48"/>
                </a:lnTo>
                <a:lnTo>
                  <a:pt x="424" y="30"/>
                </a:lnTo>
                <a:lnTo>
                  <a:pt x="424" y="28"/>
                </a:lnTo>
                <a:lnTo>
                  <a:pt x="434" y="12"/>
                </a:lnTo>
                <a:lnTo>
                  <a:pt x="432" y="12"/>
                </a:lnTo>
                <a:lnTo>
                  <a:pt x="426" y="12"/>
                </a:lnTo>
                <a:lnTo>
                  <a:pt x="426" y="14"/>
                </a:lnTo>
                <a:lnTo>
                  <a:pt x="424" y="14"/>
                </a:lnTo>
                <a:lnTo>
                  <a:pt x="408" y="16"/>
                </a:lnTo>
                <a:lnTo>
                  <a:pt x="404" y="16"/>
                </a:lnTo>
                <a:lnTo>
                  <a:pt x="404" y="12"/>
                </a:lnTo>
                <a:lnTo>
                  <a:pt x="400" y="8"/>
                </a:lnTo>
                <a:lnTo>
                  <a:pt x="396" y="8"/>
                </a:lnTo>
                <a:close/>
              </a:path>
            </a:pathLst>
          </a:custGeom>
          <a:solidFill>
            <a:srgbClr val="BFBFBF"/>
          </a:solidFill>
          <a:ln>
            <a:noFill/>
          </a:ln>
        </p:spPr>
        <p:txBody>
          <a:bodyPr/>
          <a:lstStyle/>
          <a:p>
            <a:endParaRPr altLang="en-US" lang="zh-CN">
              <a:cs typeface="+mn-ea"/>
              <a:sym typeface="+mn-lt"/>
            </a:endParaRPr>
          </a:p>
        </p:txBody>
      </p:sp>
      <p:sp>
        <p:nvSpPr>
          <p:cNvPr id="31" name="上海"/>
          <p:cNvSpPr/>
          <p:nvPr/>
        </p:nvSpPr>
        <p:spPr bwMode="auto">
          <a:xfrm>
            <a:off x="5312141" y="4241462"/>
            <a:ext cx="100296" cy="88539"/>
          </a:xfrm>
          <a:custGeom>
            <a:gdLst>
              <a:gd fmla="*/ 2147483646 w 68" name="T0"/>
              <a:gd fmla="*/ 2147483646 h 60" name="T1"/>
              <a:gd fmla="*/ 2147483646 w 68" name="T2"/>
              <a:gd fmla="*/ 2147483646 h 60" name="T3"/>
              <a:gd fmla="*/ 2147483646 w 68" name="T4"/>
              <a:gd fmla="*/ 2147483646 h 60" name="T5"/>
              <a:gd fmla="*/ 2147483646 w 68" name="T6"/>
              <a:gd fmla="*/ 2147483646 h 60" name="T7"/>
              <a:gd fmla="*/ 2147483646 w 68" name="T8"/>
              <a:gd fmla="*/ 2147483646 h 60" name="T9"/>
              <a:gd fmla="*/ 2147483646 w 68" name="T10"/>
              <a:gd fmla="*/ 2147483646 h 60" name="T11"/>
              <a:gd fmla="*/ 2147483646 w 68" name="T12"/>
              <a:gd fmla="*/ 2147483646 h 60" name="T13"/>
              <a:gd fmla="*/ 2147483646 w 68" name="T14"/>
              <a:gd fmla="*/ 2147483646 h 60" name="T15"/>
              <a:gd fmla="*/ 2147483646 w 68" name="T16"/>
              <a:gd fmla="*/ 0 h 60" name="T17"/>
              <a:gd fmla="*/ 2147483646 w 68" name="T18"/>
              <a:gd fmla="*/ 0 h 60" name="T19"/>
              <a:gd fmla="*/ 2147483646 w 68" name="T20"/>
              <a:gd fmla="*/ 0 h 60" name="T21"/>
              <a:gd fmla="*/ 2147483646 w 68" name="T22"/>
              <a:gd fmla="*/ 2147483646 h 60" name="T23"/>
              <a:gd fmla="*/ 2147483646 w 68" name="T24"/>
              <a:gd fmla="*/ 2147483646 h 60" name="T25"/>
              <a:gd fmla="*/ 2147483646 w 68" name="T26"/>
              <a:gd fmla="*/ 2147483646 h 60" name="T27"/>
              <a:gd fmla="*/ 2147483646 w 68" name="T28"/>
              <a:gd fmla="*/ 2147483646 h 60" name="T29"/>
              <a:gd fmla="*/ 2147483646 w 68" name="T30"/>
              <a:gd fmla="*/ 2147483646 h 60" name="T31"/>
              <a:gd fmla="*/ 0 w 68" name="T32"/>
              <a:gd fmla="*/ 2147483646 h 60" name="T33"/>
              <a:gd fmla="*/ 2147483646 w 68" name="T34"/>
              <a:gd fmla="*/ 2147483646 h 60" name="T35"/>
              <a:gd fmla="*/ 2147483646 w 68" name="T36"/>
              <a:gd fmla="*/ 2147483646 h 60" name="T37"/>
              <a:gd fmla="*/ 2147483646 w 68" name="T38"/>
              <a:gd fmla="*/ 2147483646 h 60" name="T39"/>
              <a:gd fmla="*/ 2147483646 w 68" name="T40"/>
              <a:gd fmla="*/ 2147483646 h 60" name="T41"/>
              <a:gd fmla="*/ 2147483646 w 68" name="T42"/>
              <a:gd fmla="*/ 2147483646 h 60" name="T43"/>
              <a:gd fmla="*/ 2147483646 w 68" name="T44"/>
              <a:gd fmla="*/ 2147483646 h 60" name="T45"/>
              <a:gd fmla="*/ 2147483646 w 68" name="T46"/>
              <a:gd fmla="*/ 2147483646 h 60" name="T47"/>
              <a:gd fmla="*/ 2147483646 w 68" name="T48"/>
              <a:gd fmla="*/ 2147483646 h 60" name="T49"/>
              <a:gd fmla="*/ 2147483646 w 68" name="T50"/>
              <a:gd fmla="*/ 2147483646 h 60" name="T51"/>
              <a:gd fmla="*/ 2147483646 w 68" name="T52"/>
              <a:gd fmla="*/ 2147483646 h 60" name="T53"/>
              <a:gd fmla="*/ 2147483646 w 68" name="T54"/>
              <a:gd fmla="*/ 2147483646 h 60" name="T55"/>
              <a:gd fmla="*/ 2147483646 w 68" name="T56"/>
              <a:gd fmla="*/ 2147483646 h 60" name="T57"/>
              <a:gd fmla="*/ 2147483646 w 68" name="T58"/>
              <a:gd fmla="*/ 2147483646 h 60" name="T59"/>
              <a:gd fmla="*/ 2147483646 w 68" name="T60"/>
              <a:gd fmla="*/ 2147483646 h 60" name="T61"/>
              <a:gd fmla="*/ 2147483646 w 68" name="T62"/>
              <a:gd fmla="*/ 2147483646 h 60"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b="b" l="0" r="r" t="0"/>
            <a:pathLst>
              <a:path h="60" w="68">
                <a:moveTo>
                  <a:pt x="62" y="32"/>
                </a:moveTo>
                <a:lnTo>
                  <a:pt x="68" y="24"/>
                </a:lnTo>
                <a:lnTo>
                  <a:pt x="48" y="8"/>
                </a:lnTo>
                <a:lnTo>
                  <a:pt x="40" y="4"/>
                </a:lnTo>
                <a:lnTo>
                  <a:pt x="34" y="0"/>
                </a:lnTo>
                <a:lnTo>
                  <a:pt x="28" y="0"/>
                </a:lnTo>
                <a:lnTo>
                  <a:pt x="22" y="0"/>
                </a:lnTo>
                <a:lnTo>
                  <a:pt x="14" y="2"/>
                </a:lnTo>
                <a:lnTo>
                  <a:pt x="14" y="20"/>
                </a:lnTo>
                <a:lnTo>
                  <a:pt x="10" y="28"/>
                </a:lnTo>
                <a:lnTo>
                  <a:pt x="4" y="36"/>
                </a:lnTo>
                <a:lnTo>
                  <a:pt x="0" y="40"/>
                </a:lnTo>
                <a:lnTo>
                  <a:pt x="8" y="48"/>
                </a:lnTo>
                <a:lnTo>
                  <a:pt x="10" y="48"/>
                </a:lnTo>
                <a:lnTo>
                  <a:pt x="12" y="56"/>
                </a:lnTo>
                <a:lnTo>
                  <a:pt x="22" y="60"/>
                </a:lnTo>
                <a:lnTo>
                  <a:pt x="28" y="56"/>
                </a:lnTo>
                <a:lnTo>
                  <a:pt x="34" y="54"/>
                </a:lnTo>
                <a:lnTo>
                  <a:pt x="52" y="58"/>
                </a:lnTo>
                <a:lnTo>
                  <a:pt x="52" y="52"/>
                </a:lnTo>
                <a:lnTo>
                  <a:pt x="54" y="44"/>
                </a:lnTo>
                <a:lnTo>
                  <a:pt x="56" y="38"/>
                </a:lnTo>
                <a:lnTo>
                  <a:pt x="58" y="34"/>
                </a:lnTo>
                <a:lnTo>
                  <a:pt x="62" y="32"/>
                </a:lnTo>
                <a:close/>
              </a:path>
            </a:pathLst>
          </a:custGeom>
          <a:solidFill>
            <a:srgbClr val="BFBFBF"/>
          </a:solidFill>
          <a:ln>
            <a:noFill/>
          </a:ln>
        </p:spPr>
        <p:txBody>
          <a:bodyPr/>
          <a:lstStyle/>
          <a:p>
            <a:endParaRPr altLang="en-US" lang="zh-CN">
              <a:cs typeface="+mn-ea"/>
              <a:sym typeface="+mn-lt"/>
            </a:endParaRPr>
          </a:p>
        </p:txBody>
      </p:sp>
      <p:sp>
        <p:nvSpPr>
          <p:cNvPr id="32" name="江苏"/>
          <p:cNvSpPr/>
          <p:nvPr/>
        </p:nvSpPr>
        <p:spPr bwMode="auto">
          <a:xfrm>
            <a:off x="4843109" y="3902063"/>
            <a:ext cx="557528" cy="430888"/>
          </a:xfrm>
          <a:custGeom>
            <a:gdLst>
              <a:gd fmla="*/ 2147483646 w 378" name="T0"/>
              <a:gd fmla="*/ 2147483646 h 292" name="T1"/>
              <a:gd fmla="*/ 2147483646 w 378" name="T2"/>
              <a:gd fmla="*/ 2147483646 h 292" name="T3"/>
              <a:gd fmla="*/ 2147483646 w 378" name="T4"/>
              <a:gd fmla="*/ 2147483646 h 292" name="T5"/>
              <a:gd fmla="*/ 2147483646 w 378" name="T6"/>
              <a:gd fmla="*/ 2147483646 h 292" name="T7"/>
              <a:gd fmla="*/ 2147483646 w 378" name="T8"/>
              <a:gd fmla="*/ 2147483646 h 292" name="T9"/>
              <a:gd fmla="*/ 2147483646 w 378" name="T10"/>
              <a:gd fmla="*/ 0 h 292" name="T11"/>
              <a:gd fmla="*/ 2147483646 w 378" name="T12"/>
              <a:gd fmla="*/ 2147483646 h 292" name="T13"/>
              <a:gd fmla="*/ 2147483646 w 378" name="T14"/>
              <a:gd fmla="*/ 2147483646 h 292" name="T15"/>
              <a:gd fmla="*/ 2147483646 w 378" name="T16"/>
              <a:gd fmla="*/ 2147483646 h 292" name="T17"/>
              <a:gd fmla="*/ 2147483646 w 378" name="T18"/>
              <a:gd fmla="*/ 2147483646 h 292" name="T19"/>
              <a:gd fmla="*/ 2147483646 w 378" name="T20"/>
              <a:gd fmla="*/ 2147483646 h 292" name="T21"/>
              <a:gd fmla="*/ 2147483646 w 378" name="T22"/>
              <a:gd fmla="*/ 2147483646 h 292" name="T23"/>
              <a:gd fmla="*/ 2147483646 w 378" name="T24"/>
              <a:gd fmla="*/ 2147483646 h 292" name="T25"/>
              <a:gd fmla="*/ 2147483646 w 378" name="T26"/>
              <a:gd fmla="*/ 2147483646 h 292" name="T27"/>
              <a:gd fmla="*/ 2147483646 w 378" name="T28"/>
              <a:gd fmla="*/ 2147483646 h 292" name="T29"/>
              <a:gd fmla="*/ 2147483646 w 378" name="T30"/>
              <a:gd fmla="*/ 2147483646 h 292" name="T31"/>
              <a:gd fmla="*/ 2147483646 w 378" name="T32"/>
              <a:gd fmla="*/ 2147483646 h 292" name="T33"/>
              <a:gd fmla="*/ 2147483646 w 378" name="T34"/>
              <a:gd fmla="*/ 2147483646 h 292" name="T35"/>
              <a:gd fmla="*/ 2147483646 w 378" name="T36"/>
              <a:gd fmla="*/ 2147483646 h 292" name="T37"/>
              <a:gd fmla="*/ 2147483646 w 378" name="T38"/>
              <a:gd fmla="*/ 2147483646 h 292" name="T39"/>
              <a:gd fmla="*/ 2147483646 w 378" name="T40"/>
              <a:gd fmla="*/ 2147483646 h 292" name="T41"/>
              <a:gd fmla="*/ 2147483646 w 378" name="T42"/>
              <a:gd fmla="*/ 2147483646 h 292" name="T43"/>
              <a:gd fmla="*/ 2147483646 w 378" name="T44"/>
              <a:gd fmla="*/ 2147483646 h 292" name="T45"/>
              <a:gd fmla="*/ 2147483646 w 378" name="T46"/>
              <a:gd fmla="*/ 2147483646 h 292" name="T47"/>
              <a:gd fmla="*/ 2147483646 w 378" name="T48"/>
              <a:gd fmla="*/ 2147483646 h 292" name="T49"/>
              <a:gd fmla="*/ 2147483646 w 378" name="T50"/>
              <a:gd fmla="*/ 2147483646 h 292" name="T51"/>
              <a:gd fmla="*/ 2147483646 w 378" name="T52"/>
              <a:gd fmla="*/ 2147483646 h 292" name="T53"/>
              <a:gd fmla="*/ 2147483646 w 378" name="T54"/>
              <a:gd fmla="*/ 2147483646 h 292" name="T55"/>
              <a:gd fmla="*/ 2147483646 w 378" name="T56"/>
              <a:gd fmla="*/ 2147483646 h 292" name="T57"/>
              <a:gd fmla="*/ 2147483646 w 378" name="T58"/>
              <a:gd fmla="*/ 2147483646 h 292" name="T59"/>
              <a:gd fmla="*/ 2147483646 w 378" name="T60"/>
              <a:gd fmla="*/ 2147483646 h 292" name="T61"/>
              <a:gd fmla="*/ 2147483646 w 378" name="T62"/>
              <a:gd fmla="*/ 2147483646 h 292" name="T63"/>
              <a:gd fmla="*/ 2147483646 w 378" name="T64"/>
              <a:gd fmla="*/ 2147483646 h 292" name="T65"/>
              <a:gd fmla="*/ 2147483646 w 378" name="T66"/>
              <a:gd fmla="*/ 2147483646 h 292" name="T67"/>
              <a:gd fmla="*/ 2147483646 w 378" name="T68"/>
              <a:gd fmla="*/ 2147483646 h 292" name="T69"/>
              <a:gd fmla="*/ 2147483646 w 378" name="T70"/>
              <a:gd fmla="*/ 2147483646 h 292" name="T71"/>
              <a:gd fmla="*/ 2147483646 w 378" name="T72"/>
              <a:gd fmla="*/ 2147483646 h 292" name="T73"/>
              <a:gd fmla="*/ 2147483646 w 378" name="T74"/>
              <a:gd fmla="*/ 2147483646 h 292" name="T75"/>
              <a:gd fmla="*/ 2147483646 w 378" name="T76"/>
              <a:gd fmla="*/ 2147483646 h 292" name="T77"/>
              <a:gd fmla="*/ 2147483646 w 378" name="T78"/>
              <a:gd fmla="*/ 2147483646 h 292" name="T79"/>
              <a:gd fmla="*/ 2147483646 w 378" name="T80"/>
              <a:gd fmla="*/ 2147483646 h 292" name="T81"/>
              <a:gd fmla="*/ 2147483646 w 378" name="T82"/>
              <a:gd fmla="*/ 2147483646 h 292" name="T83"/>
              <a:gd fmla="*/ 2147483646 w 378" name="T84"/>
              <a:gd fmla="*/ 2147483646 h 292" name="T85"/>
              <a:gd fmla="*/ 2147483646 w 378" name="T86"/>
              <a:gd fmla="*/ 2147483646 h 292" name="T87"/>
              <a:gd fmla="*/ 2147483646 w 378" name="T88"/>
              <a:gd fmla="*/ 2147483646 h 292" name="T89"/>
              <a:gd fmla="*/ 2147483646 w 378" name="T90"/>
              <a:gd fmla="*/ 2147483646 h 292" name="T91"/>
              <a:gd fmla="*/ 2147483646 w 378" name="T92"/>
              <a:gd fmla="*/ 2147483646 h 292" name="T93"/>
              <a:gd fmla="*/ 2147483646 w 378" name="T94"/>
              <a:gd fmla="*/ 2147483646 h 292" name="T95"/>
              <a:gd fmla="*/ 2147483646 w 378" name="T96"/>
              <a:gd fmla="*/ 2147483646 h 292" name="T97"/>
              <a:gd fmla="*/ 2147483646 w 378" name="T98"/>
              <a:gd fmla="*/ 2147483646 h 292" name="T99"/>
              <a:gd fmla="*/ 2147483646 w 378" name="T100"/>
              <a:gd fmla="*/ 2147483646 h 292"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b="b" l="0" r="r" t="0"/>
            <a:pathLst>
              <a:path h="292" w="378">
                <a:moveTo>
                  <a:pt x="264" y="86"/>
                </a:moveTo>
                <a:lnTo>
                  <a:pt x="264" y="86"/>
                </a:lnTo>
                <a:lnTo>
                  <a:pt x="258" y="78"/>
                </a:lnTo>
                <a:lnTo>
                  <a:pt x="252" y="70"/>
                </a:lnTo>
                <a:lnTo>
                  <a:pt x="240" y="46"/>
                </a:lnTo>
                <a:lnTo>
                  <a:pt x="226" y="44"/>
                </a:lnTo>
                <a:lnTo>
                  <a:pt x="214" y="42"/>
                </a:lnTo>
                <a:lnTo>
                  <a:pt x="204" y="38"/>
                </a:lnTo>
                <a:lnTo>
                  <a:pt x="198" y="34"/>
                </a:lnTo>
                <a:lnTo>
                  <a:pt x="194" y="28"/>
                </a:lnTo>
                <a:lnTo>
                  <a:pt x="188" y="24"/>
                </a:lnTo>
                <a:lnTo>
                  <a:pt x="170" y="18"/>
                </a:lnTo>
                <a:lnTo>
                  <a:pt x="166" y="16"/>
                </a:lnTo>
                <a:lnTo>
                  <a:pt x="170" y="2"/>
                </a:lnTo>
                <a:lnTo>
                  <a:pt x="168" y="2"/>
                </a:lnTo>
                <a:lnTo>
                  <a:pt x="164" y="0"/>
                </a:lnTo>
                <a:lnTo>
                  <a:pt x="152" y="8"/>
                </a:lnTo>
                <a:lnTo>
                  <a:pt x="148" y="12"/>
                </a:lnTo>
                <a:lnTo>
                  <a:pt x="144" y="16"/>
                </a:lnTo>
                <a:lnTo>
                  <a:pt x="140" y="26"/>
                </a:lnTo>
                <a:lnTo>
                  <a:pt x="132" y="32"/>
                </a:lnTo>
                <a:lnTo>
                  <a:pt x="126" y="46"/>
                </a:lnTo>
                <a:lnTo>
                  <a:pt x="124" y="50"/>
                </a:lnTo>
                <a:lnTo>
                  <a:pt x="120" y="52"/>
                </a:lnTo>
                <a:lnTo>
                  <a:pt x="118" y="52"/>
                </a:lnTo>
                <a:lnTo>
                  <a:pt x="116" y="48"/>
                </a:lnTo>
                <a:lnTo>
                  <a:pt x="108" y="42"/>
                </a:lnTo>
                <a:lnTo>
                  <a:pt x="102" y="40"/>
                </a:lnTo>
                <a:lnTo>
                  <a:pt x="96" y="38"/>
                </a:lnTo>
                <a:lnTo>
                  <a:pt x="88" y="40"/>
                </a:lnTo>
                <a:lnTo>
                  <a:pt x="76" y="46"/>
                </a:lnTo>
                <a:lnTo>
                  <a:pt x="62" y="50"/>
                </a:lnTo>
                <a:lnTo>
                  <a:pt x="32" y="50"/>
                </a:lnTo>
                <a:lnTo>
                  <a:pt x="26" y="44"/>
                </a:lnTo>
                <a:lnTo>
                  <a:pt x="22" y="38"/>
                </a:lnTo>
                <a:lnTo>
                  <a:pt x="20" y="32"/>
                </a:lnTo>
                <a:lnTo>
                  <a:pt x="20" y="22"/>
                </a:lnTo>
                <a:lnTo>
                  <a:pt x="8" y="18"/>
                </a:lnTo>
                <a:lnTo>
                  <a:pt x="4" y="34"/>
                </a:lnTo>
                <a:lnTo>
                  <a:pt x="4" y="36"/>
                </a:lnTo>
                <a:lnTo>
                  <a:pt x="2" y="36"/>
                </a:lnTo>
                <a:lnTo>
                  <a:pt x="0" y="40"/>
                </a:lnTo>
                <a:lnTo>
                  <a:pt x="8" y="42"/>
                </a:lnTo>
                <a:lnTo>
                  <a:pt x="10" y="42"/>
                </a:lnTo>
                <a:lnTo>
                  <a:pt x="28" y="66"/>
                </a:lnTo>
                <a:lnTo>
                  <a:pt x="40" y="76"/>
                </a:lnTo>
                <a:lnTo>
                  <a:pt x="68" y="86"/>
                </a:lnTo>
                <a:lnTo>
                  <a:pt x="98" y="96"/>
                </a:lnTo>
                <a:lnTo>
                  <a:pt x="104" y="102"/>
                </a:lnTo>
                <a:lnTo>
                  <a:pt x="112" y="112"/>
                </a:lnTo>
                <a:lnTo>
                  <a:pt x="118" y="128"/>
                </a:lnTo>
                <a:lnTo>
                  <a:pt x="124" y="150"/>
                </a:lnTo>
                <a:lnTo>
                  <a:pt x="140" y="158"/>
                </a:lnTo>
                <a:lnTo>
                  <a:pt x="146" y="162"/>
                </a:lnTo>
                <a:lnTo>
                  <a:pt x="152" y="162"/>
                </a:lnTo>
                <a:lnTo>
                  <a:pt x="180" y="144"/>
                </a:lnTo>
                <a:lnTo>
                  <a:pt x="182" y="142"/>
                </a:lnTo>
                <a:lnTo>
                  <a:pt x="184" y="144"/>
                </a:lnTo>
                <a:lnTo>
                  <a:pt x="198" y="146"/>
                </a:lnTo>
                <a:lnTo>
                  <a:pt x="200" y="146"/>
                </a:lnTo>
                <a:lnTo>
                  <a:pt x="200" y="150"/>
                </a:lnTo>
                <a:lnTo>
                  <a:pt x="198" y="152"/>
                </a:lnTo>
                <a:lnTo>
                  <a:pt x="192" y="174"/>
                </a:lnTo>
                <a:lnTo>
                  <a:pt x="186" y="186"/>
                </a:lnTo>
                <a:lnTo>
                  <a:pt x="168" y="186"/>
                </a:lnTo>
                <a:lnTo>
                  <a:pt x="166" y="194"/>
                </a:lnTo>
                <a:lnTo>
                  <a:pt x="164" y="202"/>
                </a:lnTo>
                <a:lnTo>
                  <a:pt x="152" y="222"/>
                </a:lnTo>
                <a:lnTo>
                  <a:pt x="148" y="228"/>
                </a:lnTo>
                <a:lnTo>
                  <a:pt x="148" y="234"/>
                </a:lnTo>
                <a:lnTo>
                  <a:pt x="166" y="246"/>
                </a:lnTo>
                <a:lnTo>
                  <a:pt x="172" y="252"/>
                </a:lnTo>
                <a:lnTo>
                  <a:pt x="178" y="254"/>
                </a:lnTo>
                <a:lnTo>
                  <a:pt x="182" y="254"/>
                </a:lnTo>
                <a:lnTo>
                  <a:pt x="186" y="266"/>
                </a:lnTo>
                <a:lnTo>
                  <a:pt x="194" y="270"/>
                </a:lnTo>
                <a:lnTo>
                  <a:pt x="200" y="266"/>
                </a:lnTo>
                <a:lnTo>
                  <a:pt x="204" y="262"/>
                </a:lnTo>
                <a:lnTo>
                  <a:pt x="208" y="262"/>
                </a:lnTo>
                <a:lnTo>
                  <a:pt x="214" y="264"/>
                </a:lnTo>
                <a:lnTo>
                  <a:pt x="218" y="266"/>
                </a:lnTo>
                <a:lnTo>
                  <a:pt x="224" y="270"/>
                </a:lnTo>
                <a:lnTo>
                  <a:pt x="230" y="278"/>
                </a:lnTo>
                <a:lnTo>
                  <a:pt x="236" y="286"/>
                </a:lnTo>
                <a:lnTo>
                  <a:pt x="238" y="286"/>
                </a:lnTo>
                <a:lnTo>
                  <a:pt x="242" y="284"/>
                </a:lnTo>
                <a:lnTo>
                  <a:pt x="248" y="284"/>
                </a:lnTo>
                <a:lnTo>
                  <a:pt x="264" y="288"/>
                </a:lnTo>
                <a:lnTo>
                  <a:pt x="284" y="292"/>
                </a:lnTo>
                <a:lnTo>
                  <a:pt x="304" y="286"/>
                </a:lnTo>
                <a:lnTo>
                  <a:pt x="312" y="282"/>
                </a:lnTo>
                <a:lnTo>
                  <a:pt x="318" y="278"/>
                </a:lnTo>
                <a:lnTo>
                  <a:pt x="312" y="272"/>
                </a:lnTo>
                <a:lnTo>
                  <a:pt x="312" y="268"/>
                </a:lnTo>
                <a:lnTo>
                  <a:pt x="316" y="262"/>
                </a:lnTo>
                <a:lnTo>
                  <a:pt x="322" y="256"/>
                </a:lnTo>
                <a:lnTo>
                  <a:pt x="324" y="248"/>
                </a:lnTo>
                <a:lnTo>
                  <a:pt x="324" y="238"/>
                </a:lnTo>
                <a:lnTo>
                  <a:pt x="324" y="232"/>
                </a:lnTo>
                <a:lnTo>
                  <a:pt x="326" y="230"/>
                </a:lnTo>
                <a:lnTo>
                  <a:pt x="330" y="226"/>
                </a:lnTo>
                <a:lnTo>
                  <a:pt x="340" y="222"/>
                </a:lnTo>
                <a:lnTo>
                  <a:pt x="348" y="222"/>
                </a:lnTo>
                <a:lnTo>
                  <a:pt x="356" y="226"/>
                </a:lnTo>
                <a:lnTo>
                  <a:pt x="366" y="230"/>
                </a:lnTo>
                <a:lnTo>
                  <a:pt x="378" y="238"/>
                </a:lnTo>
                <a:lnTo>
                  <a:pt x="372" y="222"/>
                </a:lnTo>
                <a:lnTo>
                  <a:pt x="364" y="210"/>
                </a:lnTo>
                <a:lnTo>
                  <a:pt x="362" y="196"/>
                </a:lnTo>
                <a:lnTo>
                  <a:pt x="348" y="194"/>
                </a:lnTo>
                <a:lnTo>
                  <a:pt x="312" y="172"/>
                </a:lnTo>
                <a:lnTo>
                  <a:pt x="294" y="170"/>
                </a:lnTo>
                <a:lnTo>
                  <a:pt x="294" y="166"/>
                </a:lnTo>
                <a:lnTo>
                  <a:pt x="292" y="146"/>
                </a:lnTo>
                <a:lnTo>
                  <a:pt x="276" y="106"/>
                </a:lnTo>
                <a:lnTo>
                  <a:pt x="270" y="94"/>
                </a:lnTo>
                <a:lnTo>
                  <a:pt x="264" y="86"/>
                </a:lnTo>
                <a:close/>
              </a:path>
            </a:pathLst>
          </a:custGeom>
          <a:solidFill>
            <a:srgbClr val="BFBFBF"/>
          </a:solidFill>
          <a:ln>
            <a:noFill/>
          </a:ln>
        </p:spPr>
        <p:txBody>
          <a:bodyPr/>
          <a:lstStyle/>
          <a:p>
            <a:endParaRPr altLang="en-US" lang="zh-CN">
              <a:cs typeface="+mn-ea"/>
              <a:sym typeface="+mn-lt"/>
            </a:endParaRPr>
          </a:p>
        </p:txBody>
      </p:sp>
      <p:sp>
        <p:nvSpPr>
          <p:cNvPr id="33" name="河北"/>
          <p:cNvSpPr/>
          <p:nvPr/>
        </p:nvSpPr>
        <p:spPr bwMode="auto">
          <a:xfrm>
            <a:off x="4551071" y="3078654"/>
            <a:ext cx="519180" cy="740773"/>
          </a:xfrm>
          <a:custGeom>
            <a:gdLst>
              <a:gd fmla="*/ 2147483646 w 352" name="T0"/>
              <a:gd fmla="*/ 2147483646 h 502" name="T1"/>
              <a:gd fmla="*/ 2147483646 w 352" name="T2"/>
              <a:gd fmla="*/ 2147483646 h 502" name="T3"/>
              <a:gd fmla="*/ 2147483646 w 352" name="T4"/>
              <a:gd fmla="*/ 2147483646 h 502" name="T5"/>
              <a:gd fmla="*/ 2147483646 w 352" name="T6"/>
              <a:gd fmla="*/ 2147483646 h 502" name="T7"/>
              <a:gd fmla="*/ 2147483646 w 352" name="T8"/>
              <a:gd fmla="*/ 2147483646 h 502" name="T9"/>
              <a:gd fmla="*/ 2147483646 w 352" name="T10"/>
              <a:gd fmla="*/ 2147483646 h 502" name="T11"/>
              <a:gd fmla="*/ 2147483646 w 352" name="T12"/>
              <a:gd fmla="*/ 2147483646 h 502" name="T13"/>
              <a:gd fmla="*/ 2147483646 w 352" name="T14"/>
              <a:gd fmla="*/ 2147483646 h 502" name="T15"/>
              <a:gd fmla="*/ 2147483646 w 352" name="T16"/>
              <a:gd fmla="*/ 2147483646 h 502" name="T17"/>
              <a:gd fmla="*/ 2147483646 w 352" name="T18"/>
              <a:gd fmla="*/ 2147483646 h 502" name="T19"/>
              <a:gd fmla="*/ 2147483646 w 352" name="T20"/>
              <a:gd fmla="*/ 2147483646 h 502" name="T21"/>
              <a:gd fmla="*/ 2147483646 w 352" name="T22"/>
              <a:gd fmla="*/ 2147483646 h 502" name="T23"/>
              <a:gd fmla="*/ 2147483646 w 352" name="T24"/>
              <a:gd fmla="*/ 2147483646 h 502" name="T25"/>
              <a:gd fmla="*/ 2147483646 w 352" name="T26"/>
              <a:gd fmla="*/ 2147483646 h 502" name="T27"/>
              <a:gd fmla="*/ 2147483646 w 352" name="T28"/>
              <a:gd fmla="*/ 2147483646 h 502" name="T29"/>
              <a:gd fmla="*/ 2147483646 w 352" name="T30"/>
              <a:gd fmla="*/ 2147483646 h 502" name="T31"/>
              <a:gd fmla="*/ 2147483646 w 352" name="T32"/>
              <a:gd fmla="*/ 2147483646 h 502" name="T33"/>
              <a:gd fmla="*/ 2147483646 w 352" name="T34"/>
              <a:gd fmla="*/ 2147483646 h 502" name="T35"/>
              <a:gd fmla="*/ 2147483646 w 352" name="T36"/>
              <a:gd fmla="*/ 2147483646 h 502" name="T37"/>
              <a:gd fmla="*/ 2147483646 w 352" name="T38"/>
              <a:gd fmla="*/ 2147483646 h 502" name="T39"/>
              <a:gd fmla="*/ 2147483646 w 352" name="T40"/>
              <a:gd fmla="*/ 2147483646 h 502" name="T41"/>
              <a:gd fmla="*/ 2147483646 w 352" name="T42"/>
              <a:gd fmla="*/ 2147483646 h 502" name="T43"/>
              <a:gd fmla="*/ 2147483646 w 352" name="T44"/>
              <a:gd fmla="*/ 2147483646 h 502" name="T45"/>
              <a:gd fmla="*/ 2147483646 w 352" name="T46"/>
              <a:gd fmla="*/ 2147483646 h 502" name="T47"/>
              <a:gd fmla="*/ 2147483646 w 352" name="T48"/>
              <a:gd fmla="*/ 2147483646 h 502" name="T49"/>
              <a:gd fmla="*/ 2147483646 w 352" name="T50"/>
              <a:gd fmla="*/ 2147483646 h 502" name="T51"/>
              <a:gd fmla="*/ 2147483646 w 352" name="T52"/>
              <a:gd fmla="*/ 2147483646 h 502" name="T53"/>
              <a:gd fmla="*/ 2147483646 w 352" name="T54"/>
              <a:gd fmla="*/ 2147483646 h 502" name="T55"/>
              <a:gd fmla="*/ 2147483646 w 352" name="T56"/>
              <a:gd fmla="*/ 2147483646 h 502" name="T57"/>
              <a:gd fmla="*/ 2147483646 w 352" name="T58"/>
              <a:gd fmla="*/ 2147483646 h 502" name="T59"/>
              <a:gd fmla="*/ 2147483646 w 352" name="T60"/>
              <a:gd fmla="*/ 2147483646 h 502" name="T61"/>
              <a:gd fmla="*/ 2147483646 w 352" name="T62"/>
              <a:gd fmla="*/ 2147483646 h 502" name="T63"/>
              <a:gd fmla="*/ 2147483646 w 352" name="T64"/>
              <a:gd fmla="*/ 2147483646 h 502" name="T65"/>
              <a:gd fmla="*/ 2147483646 w 352" name="T66"/>
              <a:gd fmla="*/ 2147483646 h 502" name="T67"/>
              <a:gd fmla="*/ 2147483646 w 352" name="T68"/>
              <a:gd fmla="*/ 2147483646 h 502" name="T69"/>
              <a:gd fmla="*/ 2147483646 w 352" name="T70"/>
              <a:gd fmla="*/ 2147483646 h 502" name="T71"/>
              <a:gd fmla="*/ 2147483646 w 352" name="T72"/>
              <a:gd fmla="*/ 2147483646 h 502" name="T73"/>
              <a:gd fmla="*/ 2147483646 w 352" name="T74"/>
              <a:gd fmla="*/ 2147483646 h 502" name="T75"/>
              <a:gd fmla="*/ 2147483646 w 352" name="T76"/>
              <a:gd fmla="*/ 2147483646 h 502" name="T77"/>
              <a:gd fmla="*/ 2147483646 w 352" name="T78"/>
              <a:gd fmla="*/ 2147483646 h 502" name="T79"/>
              <a:gd fmla="*/ 2147483646 w 352" name="T80"/>
              <a:gd fmla="*/ 2147483646 h 502" name="T81"/>
              <a:gd fmla="*/ 2147483646 w 352" name="T82"/>
              <a:gd fmla="*/ 2147483646 h 502" name="T83"/>
              <a:gd fmla="*/ 2147483646 w 352" name="T84"/>
              <a:gd fmla="*/ 2147483646 h 502" name="T85"/>
              <a:gd fmla="*/ 2147483646 w 352" name="T86"/>
              <a:gd fmla="*/ 2147483646 h 502" name="T87"/>
              <a:gd fmla="*/ 2147483646 w 352" name="T88"/>
              <a:gd fmla="*/ 2147483646 h 502" name="T89"/>
              <a:gd fmla="*/ 2147483646 w 352" name="T90"/>
              <a:gd fmla="*/ 2147483646 h 502" name="T91"/>
              <a:gd fmla="*/ 2147483646 w 352" name="T92"/>
              <a:gd fmla="*/ 2147483646 h 502" name="T93"/>
              <a:gd fmla="*/ 2147483646 w 352" name="T94"/>
              <a:gd fmla="*/ 2147483646 h 502" name="T95"/>
              <a:gd fmla="*/ 2147483646 w 352" name="T96"/>
              <a:gd fmla="*/ 2147483646 h 502" name="T97"/>
              <a:gd fmla="*/ 2147483646 w 352" name="T98"/>
              <a:gd fmla="*/ 2147483646 h 502" name="T99"/>
              <a:gd fmla="*/ 2147483646 w 352" name="T100"/>
              <a:gd fmla="*/ 2147483646 h 502" name="T101"/>
              <a:gd fmla="*/ 2147483646 w 352" name="T102"/>
              <a:gd fmla="*/ 2147483646 h 502" name="T103"/>
              <a:gd fmla="*/ 2147483646 w 352" name="T104"/>
              <a:gd fmla="*/ 2147483646 h 502" name="T105"/>
              <a:gd fmla="*/ 2147483646 w 352" name="T106"/>
              <a:gd fmla="*/ 2147483646 h 502" name="T107"/>
              <a:gd fmla="*/ 2147483646 w 352" name="T108"/>
              <a:gd fmla="*/ 2147483646 h 502"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b="b" l="0" r="r" t="0"/>
            <a:pathLst>
              <a:path h="502" w="352">
                <a:moveTo>
                  <a:pt x="324" y="152"/>
                </a:moveTo>
                <a:lnTo>
                  <a:pt x="318" y="148"/>
                </a:lnTo>
                <a:lnTo>
                  <a:pt x="316" y="148"/>
                </a:lnTo>
                <a:lnTo>
                  <a:pt x="312" y="144"/>
                </a:lnTo>
                <a:lnTo>
                  <a:pt x="290" y="136"/>
                </a:lnTo>
                <a:lnTo>
                  <a:pt x="284" y="136"/>
                </a:lnTo>
                <a:lnTo>
                  <a:pt x="280" y="138"/>
                </a:lnTo>
                <a:lnTo>
                  <a:pt x="270" y="122"/>
                </a:lnTo>
                <a:lnTo>
                  <a:pt x="272" y="120"/>
                </a:lnTo>
                <a:lnTo>
                  <a:pt x="278" y="112"/>
                </a:lnTo>
                <a:lnTo>
                  <a:pt x="278" y="104"/>
                </a:lnTo>
                <a:lnTo>
                  <a:pt x="278" y="102"/>
                </a:lnTo>
                <a:lnTo>
                  <a:pt x="282" y="96"/>
                </a:lnTo>
                <a:lnTo>
                  <a:pt x="280" y="94"/>
                </a:lnTo>
                <a:lnTo>
                  <a:pt x="268" y="92"/>
                </a:lnTo>
                <a:lnTo>
                  <a:pt x="246" y="88"/>
                </a:lnTo>
                <a:lnTo>
                  <a:pt x="234" y="76"/>
                </a:lnTo>
                <a:lnTo>
                  <a:pt x="230" y="68"/>
                </a:lnTo>
                <a:lnTo>
                  <a:pt x="228" y="64"/>
                </a:lnTo>
                <a:lnTo>
                  <a:pt x="234" y="48"/>
                </a:lnTo>
                <a:lnTo>
                  <a:pt x="234" y="36"/>
                </a:lnTo>
                <a:lnTo>
                  <a:pt x="234" y="32"/>
                </a:lnTo>
                <a:lnTo>
                  <a:pt x="228" y="40"/>
                </a:lnTo>
                <a:lnTo>
                  <a:pt x="226" y="40"/>
                </a:lnTo>
                <a:lnTo>
                  <a:pt x="226" y="42"/>
                </a:lnTo>
                <a:lnTo>
                  <a:pt x="224" y="40"/>
                </a:lnTo>
                <a:lnTo>
                  <a:pt x="222" y="40"/>
                </a:lnTo>
                <a:lnTo>
                  <a:pt x="210" y="30"/>
                </a:lnTo>
                <a:lnTo>
                  <a:pt x="208" y="28"/>
                </a:lnTo>
                <a:lnTo>
                  <a:pt x="208" y="26"/>
                </a:lnTo>
                <a:lnTo>
                  <a:pt x="206" y="8"/>
                </a:lnTo>
                <a:lnTo>
                  <a:pt x="200" y="0"/>
                </a:lnTo>
                <a:lnTo>
                  <a:pt x="188" y="0"/>
                </a:lnTo>
                <a:lnTo>
                  <a:pt x="180" y="14"/>
                </a:lnTo>
                <a:lnTo>
                  <a:pt x="180" y="16"/>
                </a:lnTo>
                <a:lnTo>
                  <a:pt x="178" y="16"/>
                </a:lnTo>
                <a:lnTo>
                  <a:pt x="160" y="12"/>
                </a:lnTo>
                <a:lnTo>
                  <a:pt x="156" y="30"/>
                </a:lnTo>
                <a:lnTo>
                  <a:pt x="156" y="48"/>
                </a:lnTo>
                <a:lnTo>
                  <a:pt x="146" y="64"/>
                </a:lnTo>
                <a:lnTo>
                  <a:pt x="146" y="66"/>
                </a:lnTo>
                <a:lnTo>
                  <a:pt x="144" y="66"/>
                </a:lnTo>
                <a:lnTo>
                  <a:pt x="142" y="66"/>
                </a:lnTo>
                <a:lnTo>
                  <a:pt x="130" y="68"/>
                </a:lnTo>
                <a:lnTo>
                  <a:pt x="118" y="76"/>
                </a:lnTo>
                <a:lnTo>
                  <a:pt x="118" y="78"/>
                </a:lnTo>
                <a:lnTo>
                  <a:pt x="116" y="78"/>
                </a:lnTo>
                <a:lnTo>
                  <a:pt x="114" y="78"/>
                </a:lnTo>
                <a:lnTo>
                  <a:pt x="92" y="70"/>
                </a:lnTo>
                <a:lnTo>
                  <a:pt x="90" y="78"/>
                </a:lnTo>
                <a:lnTo>
                  <a:pt x="90" y="80"/>
                </a:lnTo>
                <a:lnTo>
                  <a:pt x="80" y="96"/>
                </a:lnTo>
                <a:lnTo>
                  <a:pt x="76" y="100"/>
                </a:lnTo>
                <a:lnTo>
                  <a:pt x="74" y="100"/>
                </a:lnTo>
                <a:lnTo>
                  <a:pt x="64" y="100"/>
                </a:lnTo>
                <a:lnTo>
                  <a:pt x="50" y="94"/>
                </a:lnTo>
                <a:lnTo>
                  <a:pt x="48" y="92"/>
                </a:lnTo>
                <a:lnTo>
                  <a:pt x="48" y="90"/>
                </a:lnTo>
                <a:lnTo>
                  <a:pt x="46" y="72"/>
                </a:lnTo>
                <a:lnTo>
                  <a:pt x="42" y="56"/>
                </a:lnTo>
                <a:lnTo>
                  <a:pt x="38" y="52"/>
                </a:lnTo>
                <a:lnTo>
                  <a:pt x="34" y="64"/>
                </a:lnTo>
                <a:lnTo>
                  <a:pt x="24" y="76"/>
                </a:lnTo>
                <a:lnTo>
                  <a:pt x="16" y="96"/>
                </a:lnTo>
                <a:lnTo>
                  <a:pt x="14" y="96"/>
                </a:lnTo>
                <a:lnTo>
                  <a:pt x="8" y="108"/>
                </a:lnTo>
                <a:lnTo>
                  <a:pt x="6" y="114"/>
                </a:lnTo>
                <a:lnTo>
                  <a:pt x="0" y="122"/>
                </a:lnTo>
                <a:lnTo>
                  <a:pt x="6" y="140"/>
                </a:lnTo>
                <a:lnTo>
                  <a:pt x="30" y="168"/>
                </a:lnTo>
                <a:lnTo>
                  <a:pt x="38" y="184"/>
                </a:lnTo>
                <a:lnTo>
                  <a:pt x="38" y="186"/>
                </a:lnTo>
                <a:lnTo>
                  <a:pt x="36" y="188"/>
                </a:lnTo>
                <a:lnTo>
                  <a:pt x="30" y="196"/>
                </a:lnTo>
                <a:lnTo>
                  <a:pt x="28" y="196"/>
                </a:lnTo>
                <a:lnTo>
                  <a:pt x="12" y="200"/>
                </a:lnTo>
                <a:lnTo>
                  <a:pt x="14" y="212"/>
                </a:lnTo>
                <a:lnTo>
                  <a:pt x="26" y="220"/>
                </a:lnTo>
                <a:lnTo>
                  <a:pt x="42" y="224"/>
                </a:lnTo>
                <a:lnTo>
                  <a:pt x="48" y="240"/>
                </a:lnTo>
                <a:lnTo>
                  <a:pt x="44" y="268"/>
                </a:lnTo>
                <a:lnTo>
                  <a:pt x="38" y="280"/>
                </a:lnTo>
                <a:lnTo>
                  <a:pt x="38" y="284"/>
                </a:lnTo>
                <a:lnTo>
                  <a:pt x="36" y="284"/>
                </a:lnTo>
                <a:lnTo>
                  <a:pt x="16" y="286"/>
                </a:lnTo>
                <a:lnTo>
                  <a:pt x="16" y="294"/>
                </a:lnTo>
                <a:lnTo>
                  <a:pt x="10" y="312"/>
                </a:lnTo>
                <a:lnTo>
                  <a:pt x="8" y="332"/>
                </a:lnTo>
                <a:lnTo>
                  <a:pt x="12" y="344"/>
                </a:lnTo>
                <a:lnTo>
                  <a:pt x="36" y="358"/>
                </a:lnTo>
                <a:lnTo>
                  <a:pt x="38" y="360"/>
                </a:lnTo>
                <a:lnTo>
                  <a:pt x="48" y="376"/>
                </a:lnTo>
                <a:lnTo>
                  <a:pt x="48" y="378"/>
                </a:lnTo>
                <a:lnTo>
                  <a:pt x="48" y="380"/>
                </a:lnTo>
                <a:lnTo>
                  <a:pt x="34" y="408"/>
                </a:lnTo>
                <a:lnTo>
                  <a:pt x="32" y="416"/>
                </a:lnTo>
                <a:lnTo>
                  <a:pt x="24" y="434"/>
                </a:lnTo>
                <a:lnTo>
                  <a:pt x="20" y="448"/>
                </a:lnTo>
                <a:lnTo>
                  <a:pt x="20" y="450"/>
                </a:lnTo>
                <a:lnTo>
                  <a:pt x="14" y="456"/>
                </a:lnTo>
                <a:lnTo>
                  <a:pt x="12" y="462"/>
                </a:lnTo>
                <a:lnTo>
                  <a:pt x="12" y="464"/>
                </a:lnTo>
                <a:lnTo>
                  <a:pt x="12" y="466"/>
                </a:lnTo>
                <a:lnTo>
                  <a:pt x="14" y="468"/>
                </a:lnTo>
                <a:lnTo>
                  <a:pt x="22" y="476"/>
                </a:lnTo>
                <a:lnTo>
                  <a:pt x="26" y="482"/>
                </a:lnTo>
                <a:lnTo>
                  <a:pt x="28" y="484"/>
                </a:lnTo>
                <a:lnTo>
                  <a:pt x="28" y="488"/>
                </a:lnTo>
                <a:lnTo>
                  <a:pt x="30" y="492"/>
                </a:lnTo>
                <a:lnTo>
                  <a:pt x="36" y="496"/>
                </a:lnTo>
                <a:lnTo>
                  <a:pt x="66" y="502"/>
                </a:lnTo>
                <a:lnTo>
                  <a:pt x="80" y="500"/>
                </a:lnTo>
                <a:lnTo>
                  <a:pt x="94" y="496"/>
                </a:lnTo>
                <a:lnTo>
                  <a:pt x="108" y="492"/>
                </a:lnTo>
                <a:lnTo>
                  <a:pt x="122" y="492"/>
                </a:lnTo>
                <a:lnTo>
                  <a:pt x="122" y="486"/>
                </a:lnTo>
                <a:lnTo>
                  <a:pt x="114" y="464"/>
                </a:lnTo>
                <a:lnTo>
                  <a:pt x="112" y="464"/>
                </a:lnTo>
                <a:lnTo>
                  <a:pt x="114" y="464"/>
                </a:lnTo>
                <a:lnTo>
                  <a:pt x="158" y="400"/>
                </a:lnTo>
                <a:lnTo>
                  <a:pt x="208" y="352"/>
                </a:lnTo>
                <a:lnTo>
                  <a:pt x="224" y="348"/>
                </a:lnTo>
                <a:lnTo>
                  <a:pt x="232" y="338"/>
                </a:lnTo>
                <a:lnTo>
                  <a:pt x="240" y="332"/>
                </a:lnTo>
                <a:lnTo>
                  <a:pt x="250" y="328"/>
                </a:lnTo>
                <a:lnTo>
                  <a:pt x="246" y="324"/>
                </a:lnTo>
                <a:lnTo>
                  <a:pt x="234" y="312"/>
                </a:lnTo>
                <a:lnTo>
                  <a:pt x="226" y="302"/>
                </a:lnTo>
                <a:lnTo>
                  <a:pt x="226" y="300"/>
                </a:lnTo>
                <a:lnTo>
                  <a:pt x="230" y="294"/>
                </a:lnTo>
                <a:lnTo>
                  <a:pt x="218" y="296"/>
                </a:lnTo>
                <a:lnTo>
                  <a:pt x="196" y="292"/>
                </a:lnTo>
                <a:lnTo>
                  <a:pt x="186" y="284"/>
                </a:lnTo>
                <a:lnTo>
                  <a:pt x="182" y="280"/>
                </a:lnTo>
                <a:lnTo>
                  <a:pt x="180" y="276"/>
                </a:lnTo>
                <a:lnTo>
                  <a:pt x="176" y="256"/>
                </a:lnTo>
                <a:lnTo>
                  <a:pt x="174" y="238"/>
                </a:lnTo>
                <a:lnTo>
                  <a:pt x="170" y="242"/>
                </a:lnTo>
                <a:lnTo>
                  <a:pt x="164" y="244"/>
                </a:lnTo>
                <a:lnTo>
                  <a:pt x="146" y="240"/>
                </a:lnTo>
                <a:lnTo>
                  <a:pt x="136" y="232"/>
                </a:lnTo>
                <a:lnTo>
                  <a:pt x="122" y="228"/>
                </a:lnTo>
                <a:lnTo>
                  <a:pt x="116" y="228"/>
                </a:lnTo>
                <a:lnTo>
                  <a:pt x="110" y="226"/>
                </a:lnTo>
                <a:lnTo>
                  <a:pt x="104" y="224"/>
                </a:lnTo>
                <a:lnTo>
                  <a:pt x="98" y="218"/>
                </a:lnTo>
                <a:lnTo>
                  <a:pt x="96" y="214"/>
                </a:lnTo>
                <a:lnTo>
                  <a:pt x="96" y="210"/>
                </a:lnTo>
                <a:lnTo>
                  <a:pt x="96" y="206"/>
                </a:lnTo>
                <a:lnTo>
                  <a:pt x="98" y="202"/>
                </a:lnTo>
                <a:lnTo>
                  <a:pt x="102" y="200"/>
                </a:lnTo>
                <a:lnTo>
                  <a:pt x="110" y="192"/>
                </a:lnTo>
                <a:lnTo>
                  <a:pt x="118" y="180"/>
                </a:lnTo>
                <a:lnTo>
                  <a:pt x="116" y="176"/>
                </a:lnTo>
                <a:lnTo>
                  <a:pt x="114" y="170"/>
                </a:lnTo>
                <a:lnTo>
                  <a:pt x="112" y="164"/>
                </a:lnTo>
                <a:lnTo>
                  <a:pt x="114" y="160"/>
                </a:lnTo>
                <a:lnTo>
                  <a:pt x="114" y="158"/>
                </a:lnTo>
                <a:lnTo>
                  <a:pt x="116" y="156"/>
                </a:lnTo>
                <a:lnTo>
                  <a:pt x="120" y="152"/>
                </a:lnTo>
                <a:lnTo>
                  <a:pt x="134" y="148"/>
                </a:lnTo>
                <a:lnTo>
                  <a:pt x="136" y="142"/>
                </a:lnTo>
                <a:lnTo>
                  <a:pt x="138" y="140"/>
                </a:lnTo>
                <a:lnTo>
                  <a:pt x="150" y="140"/>
                </a:lnTo>
                <a:lnTo>
                  <a:pt x="148" y="140"/>
                </a:lnTo>
                <a:lnTo>
                  <a:pt x="142" y="136"/>
                </a:lnTo>
                <a:lnTo>
                  <a:pt x="140" y="132"/>
                </a:lnTo>
                <a:lnTo>
                  <a:pt x="140" y="128"/>
                </a:lnTo>
                <a:lnTo>
                  <a:pt x="142" y="122"/>
                </a:lnTo>
                <a:lnTo>
                  <a:pt x="148" y="118"/>
                </a:lnTo>
                <a:lnTo>
                  <a:pt x="154" y="116"/>
                </a:lnTo>
                <a:lnTo>
                  <a:pt x="160" y="116"/>
                </a:lnTo>
                <a:lnTo>
                  <a:pt x="166" y="118"/>
                </a:lnTo>
                <a:lnTo>
                  <a:pt x="172" y="120"/>
                </a:lnTo>
                <a:lnTo>
                  <a:pt x="190" y="134"/>
                </a:lnTo>
                <a:lnTo>
                  <a:pt x="208" y="134"/>
                </a:lnTo>
                <a:lnTo>
                  <a:pt x="214" y="138"/>
                </a:lnTo>
                <a:lnTo>
                  <a:pt x="214" y="144"/>
                </a:lnTo>
                <a:lnTo>
                  <a:pt x="214" y="150"/>
                </a:lnTo>
                <a:lnTo>
                  <a:pt x="210" y="152"/>
                </a:lnTo>
                <a:lnTo>
                  <a:pt x="206" y="152"/>
                </a:lnTo>
                <a:lnTo>
                  <a:pt x="204" y="154"/>
                </a:lnTo>
                <a:lnTo>
                  <a:pt x="202" y="160"/>
                </a:lnTo>
                <a:lnTo>
                  <a:pt x="210" y="180"/>
                </a:lnTo>
                <a:lnTo>
                  <a:pt x="218" y="170"/>
                </a:lnTo>
                <a:lnTo>
                  <a:pt x="226" y="168"/>
                </a:lnTo>
                <a:lnTo>
                  <a:pt x="230" y="168"/>
                </a:lnTo>
                <a:lnTo>
                  <a:pt x="234" y="172"/>
                </a:lnTo>
                <a:lnTo>
                  <a:pt x="236" y="180"/>
                </a:lnTo>
                <a:lnTo>
                  <a:pt x="240" y="190"/>
                </a:lnTo>
                <a:lnTo>
                  <a:pt x="242" y="202"/>
                </a:lnTo>
                <a:lnTo>
                  <a:pt x="246" y="210"/>
                </a:lnTo>
                <a:lnTo>
                  <a:pt x="252" y="220"/>
                </a:lnTo>
                <a:lnTo>
                  <a:pt x="264" y="236"/>
                </a:lnTo>
                <a:lnTo>
                  <a:pt x="268" y="248"/>
                </a:lnTo>
                <a:lnTo>
                  <a:pt x="300" y="244"/>
                </a:lnTo>
                <a:lnTo>
                  <a:pt x="314" y="236"/>
                </a:lnTo>
                <a:lnTo>
                  <a:pt x="326" y="220"/>
                </a:lnTo>
                <a:lnTo>
                  <a:pt x="332" y="204"/>
                </a:lnTo>
                <a:lnTo>
                  <a:pt x="336" y="188"/>
                </a:lnTo>
                <a:lnTo>
                  <a:pt x="336" y="186"/>
                </a:lnTo>
                <a:lnTo>
                  <a:pt x="336" y="184"/>
                </a:lnTo>
                <a:lnTo>
                  <a:pt x="338" y="184"/>
                </a:lnTo>
                <a:lnTo>
                  <a:pt x="350" y="176"/>
                </a:lnTo>
                <a:lnTo>
                  <a:pt x="352" y="176"/>
                </a:lnTo>
                <a:lnTo>
                  <a:pt x="350" y="174"/>
                </a:lnTo>
                <a:lnTo>
                  <a:pt x="330" y="168"/>
                </a:lnTo>
                <a:lnTo>
                  <a:pt x="326" y="156"/>
                </a:lnTo>
                <a:lnTo>
                  <a:pt x="324" y="152"/>
                </a:lnTo>
                <a:close/>
              </a:path>
            </a:pathLst>
          </a:custGeom>
          <a:solidFill>
            <a:srgbClr val="BFBFBF"/>
          </a:solidFill>
          <a:ln>
            <a:noFill/>
          </a:ln>
        </p:spPr>
        <p:txBody>
          <a:bodyPr/>
          <a:lstStyle/>
          <a:p>
            <a:endParaRPr altLang="en-US" lang="zh-CN">
              <a:cs typeface="+mn-ea"/>
              <a:sym typeface="+mn-lt"/>
            </a:endParaRPr>
          </a:p>
        </p:txBody>
      </p:sp>
      <p:sp>
        <p:nvSpPr>
          <p:cNvPr id="34" name="河南"/>
          <p:cNvSpPr/>
          <p:nvPr/>
        </p:nvSpPr>
        <p:spPr bwMode="auto">
          <a:xfrm>
            <a:off x="4315080" y="3789914"/>
            <a:ext cx="545728" cy="540085"/>
          </a:xfrm>
          <a:custGeom>
            <a:gdLst>
              <a:gd fmla="*/ 2147483646 w 370" name="T0"/>
              <a:gd fmla="*/ 2147483646 h 366" name="T1"/>
              <a:gd fmla="*/ 0 w 370" name="T2"/>
              <a:gd fmla="*/ 2147483646 h 366" name="T3"/>
              <a:gd fmla="*/ 2147483646 w 370" name="T4"/>
              <a:gd fmla="*/ 2147483646 h 366" name="T5"/>
              <a:gd fmla="*/ 2147483646 w 370" name="T6"/>
              <a:gd fmla="*/ 2147483646 h 366" name="T7"/>
              <a:gd fmla="*/ 2147483646 w 370" name="T8"/>
              <a:gd fmla="*/ 2147483646 h 366" name="T9"/>
              <a:gd fmla="*/ 2147483646 w 370" name="T10"/>
              <a:gd fmla="*/ 2147483646 h 366" name="T11"/>
              <a:gd fmla="*/ 2147483646 w 370" name="T12"/>
              <a:gd fmla="*/ 2147483646 h 366" name="T13"/>
              <a:gd fmla="*/ 2147483646 w 370" name="T14"/>
              <a:gd fmla="*/ 2147483646 h 366" name="T15"/>
              <a:gd fmla="*/ 2147483646 w 370" name="T16"/>
              <a:gd fmla="*/ 2147483646 h 366" name="T17"/>
              <a:gd fmla="*/ 2147483646 w 370" name="T18"/>
              <a:gd fmla="*/ 2147483646 h 366" name="T19"/>
              <a:gd fmla="*/ 2147483646 w 370" name="T20"/>
              <a:gd fmla="*/ 2147483646 h 366" name="T21"/>
              <a:gd fmla="*/ 2147483646 w 370" name="T22"/>
              <a:gd fmla="*/ 2147483646 h 366" name="T23"/>
              <a:gd fmla="*/ 2147483646 w 370" name="T24"/>
              <a:gd fmla="*/ 2147483646 h 366" name="T25"/>
              <a:gd fmla="*/ 2147483646 w 370" name="T26"/>
              <a:gd fmla="*/ 2147483646 h 366" name="T27"/>
              <a:gd fmla="*/ 2147483646 w 370" name="T28"/>
              <a:gd fmla="*/ 2147483646 h 366" name="T29"/>
              <a:gd fmla="*/ 2147483646 w 370" name="T30"/>
              <a:gd fmla="*/ 2147483646 h 366" name="T31"/>
              <a:gd fmla="*/ 2147483646 w 370" name="T32"/>
              <a:gd fmla="*/ 2147483646 h 366" name="T33"/>
              <a:gd fmla="*/ 2147483646 w 370" name="T34"/>
              <a:gd fmla="*/ 2147483646 h 366" name="T35"/>
              <a:gd fmla="*/ 2147483646 w 370" name="T36"/>
              <a:gd fmla="*/ 2147483646 h 366" name="T37"/>
              <a:gd fmla="*/ 2147483646 w 370" name="T38"/>
              <a:gd fmla="*/ 2147483646 h 366" name="T39"/>
              <a:gd fmla="*/ 2147483646 w 370" name="T40"/>
              <a:gd fmla="*/ 2147483646 h 366" name="T41"/>
              <a:gd fmla="*/ 2147483646 w 370" name="T42"/>
              <a:gd fmla="*/ 2147483646 h 366" name="T43"/>
              <a:gd fmla="*/ 2147483646 w 370" name="T44"/>
              <a:gd fmla="*/ 2147483646 h 366" name="T45"/>
              <a:gd fmla="*/ 2147483646 w 370" name="T46"/>
              <a:gd fmla="*/ 2147483646 h 366" name="T47"/>
              <a:gd fmla="*/ 2147483646 w 370" name="T48"/>
              <a:gd fmla="*/ 2147483646 h 366" name="T49"/>
              <a:gd fmla="*/ 2147483646 w 370" name="T50"/>
              <a:gd fmla="*/ 2147483646 h 366" name="T51"/>
              <a:gd fmla="*/ 2147483646 w 370" name="T52"/>
              <a:gd fmla="*/ 2147483646 h 366" name="T53"/>
              <a:gd fmla="*/ 2147483646 w 370" name="T54"/>
              <a:gd fmla="*/ 2147483646 h 366" name="T55"/>
              <a:gd fmla="*/ 2147483646 w 370" name="T56"/>
              <a:gd fmla="*/ 2147483646 h 366" name="T57"/>
              <a:gd fmla="*/ 2147483646 w 370" name="T58"/>
              <a:gd fmla="*/ 2147483646 h 366" name="T59"/>
              <a:gd fmla="*/ 2147483646 w 370" name="T60"/>
              <a:gd fmla="*/ 2147483646 h 366" name="T61"/>
              <a:gd fmla="*/ 2147483646 w 370" name="T62"/>
              <a:gd fmla="*/ 2147483646 h 366" name="T63"/>
              <a:gd fmla="*/ 2147483646 w 370" name="T64"/>
              <a:gd fmla="*/ 2147483646 h 366" name="T65"/>
              <a:gd fmla="*/ 2147483646 w 370" name="T66"/>
              <a:gd fmla="*/ 2147483646 h 366" name="T67"/>
              <a:gd fmla="*/ 2147483646 w 370" name="T68"/>
              <a:gd fmla="*/ 2147483646 h 366" name="T69"/>
              <a:gd fmla="*/ 2147483646 w 370" name="T70"/>
              <a:gd fmla="*/ 2147483646 h 366" name="T71"/>
              <a:gd fmla="*/ 2147483646 w 370" name="T72"/>
              <a:gd fmla="*/ 2147483646 h 366" name="T73"/>
              <a:gd fmla="*/ 2147483646 w 370" name="T74"/>
              <a:gd fmla="*/ 2147483646 h 366" name="T75"/>
              <a:gd fmla="*/ 2147483646 w 370" name="T76"/>
              <a:gd fmla="*/ 2147483646 h 366" name="T77"/>
              <a:gd fmla="*/ 2147483646 w 370" name="T78"/>
              <a:gd fmla="*/ 2147483646 h 366" name="T79"/>
              <a:gd fmla="*/ 2147483646 w 370" name="T80"/>
              <a:gd fmla="*/ 2147483646 h 366" name="T81"/>
              <a:gd fmla="*/ 2147483646 w 370" name="T82"/>
              <a:gd fmla="*/ 2147483646 h 366" name="T83"/>
              <a:gd fmla="*/ 2147483646 w 370" name="T84"/>
              <a:gd fmla="*/ 2147483646 h 366" name="T85"/>
              <a:gd fmla="*/ 2147483646 w 370" name="T86"/>
              <a:gd fmla="*/ 2147483646 h 366" name="T87"/>
              <a:gd fmla="*/ 2147483646 w 370" name="T88"/>
              <a:gd fmla="*/ 2147483646 h 366" name="T89"/>
              <a:gd fmla="*/ 2147483646 w 370" name="T90"/>
              <a:gd fmla="*/ 2147483646 h 366" name="T91"/>
              <a:gd fmla="*/ 2147483646 w 370" name="T92"/>
              <a:gd fmla="*/ 2147483646 h 366" name="T93"/>
              <a:gd fmla="*/ 2147483646 w 370" name="T94"/>
              <a:gd fmla="*/ 0 h 366" name="T95"/>
              <a:gd fmla="*/ 2147483646 w 370" name="T96"/>
              <a:gd fmla="*/ 2147483646 h 366" name="T97"/>
              <a:gd fmla="*/ 2147483646 w 370" name="T98"/>
              <a:gd fmla="*/ 2147483646 h 366" name="T99"/>
              <a:gd fmla="*/ 2147483646 w 370" name="T100"/>
              <a:gd fmla="*/ 2147483646 h 366" name="T101"/>
              <a:gd fmla="*/ 2147483646 w 370" name="T102"/>
              <a:gd fmla="*/ 2147483646 h 366" name="T103"/>
              <a:gd fmla="*/ 2147483646 w 370" name="T104"/>
              <a:gd fmla="*/ 2147483646 h 366" name="T105"/>
              <a:gd fmla="*/ 2147483646 w 370" name="T106"/>
              <a:gd fmla="*/ 2147483646 h 366" name="T107"/>
              <a:gd fmla="*/ 2147483646 w 370" name="T108"/>
              <a:gd fmla="*/ 2147483646 h 36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 fmla="*/ 0 60000 65536" name="T162"/>
              <a:gd fmla="*/ 0 60000 65536" name="T163"/>
              <a:gd fmla="*/ 0 60000 65536" name="T164"/>
            </a:gd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b="b" l="0" r="r" t="0"/>
            <a:pathLst>
              <a:path h="366" w="370">
                <a:moveTo>
                  <a:pt x="82" y="120"/>
                </a:moveTo>
                <a:lnTo>
                  <a:pt x="80" y="120"/>
                </a:lnTo>
                <a:lnTo>
                  <a:pt x="20" y="146"/>
                </a:lnTo>
                <a:lnTo>
                  <a:pt x="2" y="162"/>
                </a:lnTo>
                <a:lnTo>
                  <a:pt x="0" y="182"/>
                </a:lnTo>
                <a:lnTo>
                  <a:pt x="2" y="196"/>
                </a:lnTo>
                <a:lnTo>
                  <a:pt x="4" y="206"/>
                </a:lnTo>
                <a:lnTo>
                  <a:pt x="10" y="210"/>
                </a:lnTo>
                <a:lnTo>
                  <a:pt x="28" y="222"/>
                </a:lnTo>
                <a:lnTo>
                  <a:pt x="30" y="222"/>
                </a:lnTo>
                <a:lnTo>
                  <a:pt x="34" y="252"/>
                </a:lnTo>
                <a:lnTo>
                  <a:pt x="54" y="276"/>
                </a:lnTo>
                <a:lnTo>
                  <a:pt x="60" y="282"/>
                </a:lnTo>
                <a:lnTo>
                  <a:pt x="66" y="286"/>
                </a:lnTo>
                <a:lnTo>
                  <a:pt x="82" y="290"/>
                </a:lnTo>
                <a:lnTo>
                  <a:pt x="86" y="290"/>
                </a:lnTo>
                <a:lnTo>
                  <a:pt x="92" y="296"/>
                </a:lnTo>
                <a:lnTo>
                  <a:pt x="104" y="300"/>
                </a:lnTo>
                <a:lnTo>
                  <a:pt x="152" y="302"/>
                </a:lnTo>
                <a:lnTo>
                  <a:pt x="194" y="304"/>
                </a:lnTo>
                <a:lnTo>
                  <a:pt x="204" y="306"/>
                </a:lnTo>
                <a:lnTo>
                  <a:pt x="210" y="310"/>
                </a:lnTo>
                <a:lnTo>
                  <a:pt x="214" y="312"/>
                </a:lnTo>
                <a:lnTo>
                  <a:pt x="214" y="318"/>
                </a:lnTo>
                <a:lnTo>
                  <a:pt x="214" y="332"/>
                </a:lnTo>
                <a:lnTo>
                  <a:pt x="214" y="342"/>
                </a:lnTo>
                <a:lnTo>
                  <a:pt x="216" y="346"/>
                </a:lnTo>
                <a:lnTo>
                  <a:pt x="234" y="342"/>
                </a:lnTo>
                <a:lnTo>
                  <a:pt x="242" y="340"/>
                </a:lnTo>
                <a:lnTo>
                  <a:pt x="250" y="338"/>
                </a:lnTo>
                <a:lnTo>
                  <a:pt x="256" y="340"/>
                </a:lnTo>
                <a:lnTo>
                  <a:pt x="258" y="342"/>
                </a:lnTo>
                <a:lnTo>
                  <a:pt x="266" y="350"/>
                </a:lnTo>
                <a:lnTo>
                  <a:pt x="278" y="362"/>
                </a:lnTo>
                <a:lnTo>
                  <a:pt x="280" y="364"/>
                </a:lnTo>
                <a:lnTo>
                  <a:pt x="282" y="366"/>
                </a:lnTo>
                <a:lnTo>
                  <a:pt x="290" y="360"/>
                </a:lnTo>
                <a:lnTo>
                  <a:pt x="298" y="350"/>
                </a:lnTo>
                <a:lnTo>
                  <a:pt x="300" y="348"/>
                </a:lnTo>
                <a:lnTo>
                  <a:pt x="314" y="358"/>
                </a:lnTo>
                <a:lnTo>
                  <a:pt x="324" y="350"/>
                </a:lnTo>
                <a:lnTo>
                  <a:pt x="326" y="342"/>
                </a:lnTo>
                <a:lnTo>
                  <a:pt x="330" y="338"/>
                </a:lnTo>
                <a:lnTo>
                  <a:pt x="334" y="334"/>
                </a:lnTo>
                <a:lnTo>
                  <a:pt x="342" y="332"/>
                </a:lnTo>
                <a:lnTo>
                  <a:pt x="346" y="330"/>
                </a:lnTo>
                <a:lnTo>
                  <a:pt x="344" y="328"/>
                </a:lnTo>
                <a:lnTo>
                  <a:pt x="342" y="326"/>
                </a:lnTo>
                <a:lnTo>
                  <a:pt x="344" y="306"/>
                </a:lnTo>
                <a:lnTo>
                  <a:pt x="338" y="300"/>
                </a:lnTo>
                <a:lnTo>
                  <a:pt x="334" y="296"/>
                </a:lnTo>
                <a:lnTo>
                  <a:pt x="328" y="294"/>
                </a:lnTo>
                <a:lnTo>
                  <a:pt x="320" y="294"/>
                </a:lnTo>
                <a:lnTo>
                  <a:pt x="310" y="296"/>
                </a:lnTo>
                <a:lnTo>
                  <a:pt x="306" y="296"/>
                </a:lnTo>
                <a:lnTo>
                  <a:pt x="302" y="294"/>
                </a:lnTo>
                <a:lnTo>
                  <a:pt x="302" y="290"/>
                </a:lnTo>
                <a:lnTo>
                  <a:pt x="302" y="286"/>
                </a:lnTo>
                <a:lnTo>
                  <a:pt x="292" y="272"/>
                </a:lnTo>
                <a:lnTo>
                  <a:pt x="282" y="262"/>
                </a:lnTo>
                <a:lnTo>
                  <a:pt x="278" y="256"/>
                </a:lnTo>
                <a:lnTo>
                  <a:pt x="274" y="250"/>
                </a:lnTo>
                <a:lnTo>
                  <a:pt x="272" y="244"/>
                </a:lnTo>
                <a:lnTo>
                  <a:pt x="274" y="238"/>
                </a:lnTo>
                <a:lnTo>
                  <a:pt x="274" y="236"/>
                </a:lnTo>
                <a:lnTo>
                  <a:pt x="298" y="240"/>
                </a:lnTo>
                <a:lnTo>
                  <a:pt x="296" y="226"/>
                </a:lnTo>
                <a:lnTo>
                  <a:pt x="296" y="216"/>
                </a:lnTo>
                <a:lnTo>
                  <a:pt x="298" y="212"/>
                </a:lnTo>
                <a:lnTo>
                  <a:pt x="300" y="210"/>
                </a:lnTo>
                <a:lnTo>
                  <a:pt x="304" y="206"/>
                </a:lnTo>
                <a:lnTo>
                  <a:pt x="310" y="204"/>
                </a:lnTo>
                <a:lnTo>
                  <a:pt x="318" y="200"/>
                </a:lnTo>
                <a:lnTo>
                  <a:pt x="318" y="196"/>
                </a:lnTo>
                <a:lnTo>
                  <a:pt x="312" y="178"/>
                </a:lnTo>
                <a:lnTo>
                  <a:pt x="312" y="170"/>
                </a:lnTo>
                <a:lnTo>
                  <a:pt x="312" y="166"/>
                </a:lnTo>
                <a:lnTo>
                  <a:pt x="318" y="162"/>
                </a:lnTo>
                <a:lnTo>
                  <a:pt x="324" y="162"/>
                </a:lnTo>
                <a:lnTo>
                  <a:pt x="338" y="166"/>
                </a:lnTo>
                <a:lnTo>
                  <a:pt x="340" y="166"/>
                </a:lnTo>
                <a:lnTo>
                  <a:pt x="340" y="168"/>
                </a:lnTo>
                <a:lnTo>
                  <a:pt x="356" y="186"/>
                </a:lnTo>
                <a:lnTo>
                  <a:pt x="370" y="162"/>
                </a:lnTo>
                <a:lnTo>
                  <a:pt x="356" y="140"/>
                </a:lnTo>
                <a:lnTo>
                  <a:pt x="348" y="128"/>
                </a:lnTo>
                <a:lnTo>
                  <a:pt x="336" y="136"/>
                </a:lnTo>
                <a:lnTo>
                  <a:pt x="334" y="134"/>
                </a:lnTo>
                <a:lnTo>
                  <a:pt x="302" y="126"/>
                </a:lnTo>
                <a:lnTo>
                  <a:pt x="292" y="122"/>
                </a:lnTo>
                <a:lnTo>
                  <a:pt x="286" y="116"/>
                </a:lnTo>
                <a:lnTo>
                  <a:pt x="280" y="110"/>
                </a:lnTo>
                <a:lnTo>
                  <a:pt x="278" y="106"/>
                </a:lnTo>
                <a:lnTo>
                  <a:pt x="260" y="96"/>
                </a:lnTo>
                <a:lnTo>
                  <a:pt x="260" y="78"/>
                </a:lnTo>
                <a:lnTo>
                  <a:pt x="294" y="58"/>
                </a:lnTo>
                <a:lnTo>
                  <a:pt x="292" y="44"/>
                </a:lnTo>
                <a:lnTo>
                  <a:pt x="286" y="30"/>
                </a:lnTo>
                <a:lnTo>
                  <a:pt x="282" y="18"/>
                </a:lnTo>
                <a:lnTo>
                  <a:pt x="258" y="22"/>
                </a:lnTo>
                <a:lnTo>
                  <a:pt x="242" y="26"/>
                </a:lnTo>
                <a:lnTo>
                  <a:pt x="226" y="28"/>
                </a:lnTo>
                <a:lnTo>
                  <a:pt x="200" y="22"/>
                </a:lnTo>
                <a:lnTo>
                  <a:pt x="200" y="14"/>
                </a:lnTo>
                <a:lnTo>
                  <a:pt x="196" y="14"/>
                </a:lnTo>
                <a:lnTo>
                  <a:pt x="190" y="10"/>
                </a:lnTo>
                <a:lnTo>
                  <a:pt x="188" y="6"/>
                </a:lnTo>
                <a:lnTo>
                  <a:pt x="186" y="2"/>
                </a:lnTo>
                <a:lnTo>
                  <a:pt x="186" y="0"/>
                </a:lnTo>
                <a:lnTo>
                  <a:pt x="184" y="22"/>
                </a:lnTo>
                <a:lnTo>
                  <a:pt x="182" y="28"/>
                </a:lnTo>
                <a:lnTo>
                  <a:pt x="180" y="34"/>
                </a:lnTo>
                <a:lnTo>
                  <a:pt x="182" y="36"/>
                </a:lnTo>
                <a:lnTo>
                  <a:pt x="184" y="40"/>
                </a:lnTo>
                <a:lnTo>
                  <a:pt x="184" y="46"/>
                </a:lnTo>
                <a:lnTo>
                  <a:pt x="182" y="50"/>
                </a:lnTo>
                <a:lnTo>
                  <a:pt x="180" y="54"/>
                </a:lnTo>
                <a:lnTo>
                  <a:pt x="184" y="68"/>
                </a:lnTo>
                <a:lnTo>
                  <a:pt x="182" y="68"/>
                </a:lnTo>
                <a:lnTo>
                  <a:pt x="182" y="70"/>
                </a:lnTo>
                <a:lnTo>
                  <a:pt x="172" y="78"/>
                </a:lnTo>
                <a:lnTo>
                  <a:pt x="172" y="96"/>
                </a:lnTo>
                <a:lnTo>
                  <a:pt x="170" y="98"/>
                </a:lnTo>
                <a:lnTo>
                  <a:pt x="148" y="106"/>
                </a:lnTo>
                <a:lnTo>
                  <a:pt x="132" y="110"/>
                </a:lnTo>
                <a:lnTo>
                  <a:pt x="98" y="106"/>
                </a:lnTo>
                <a:lnTo>
                  <a:pt x="82" y="120"/>
                </a:lnTo>
                <a:close/>
              </a:path>
            </a:pathLst>
          </a:custGeom>
          <a:solidFill>
            <a:srgbClr val="BFBFBF"/>
          </a:solidFill>
          <a:ln>
            <a:noFill/>
          </a:ln>
        </p:spPr>
        <p:txBody>
          <a:bodyPr/>
          <a:lstStyle/>
          <a:p>
            <a:endParaRPr altLang="en-US" lang="zh-CN">
              <a:cs typeface="+mn-ea"/>
              <a:sym typeface="+mn-lt"/>
            </a:endParaRPr>
          </a:p>
        </p:txBody>
      </p:sp>
      <p:sp>
        <p:nvSpPr>
          <p:cNvPr id="35" name="台湾"/>
          <p:cNvSpPr/>
          <p:nvPr/>
        </p:nvSpPr>
        <p:spPr bwMode="auto">
          <a:xfrm>
            <a:off x="5341640" y="4943867"/>
            <a:ext cx="156344" cy="377765"/>
          </a:xfrm>
          <a:custGeom>
            <a:gdLst>
              <a:gd fmla="*/ 2147483646 w 106" name="T0"/>
              <a:gd fmla="*/ 0 h 256" name="T1"/>
              <a:gd fmla="*/ 2147483646 w 106" name="T2"/>
              <a:gd fmla="*/ 0 h 256" name="T3"/>
              <a:gd fmla="*/ 2147483646 w 106" name="T4"/>
              <a:gd fmla="*/ 2147483646 h 256" name="T5"/>
              <a:gd fmla="*/ 2147483646 w 106" name="T6"/>
              <a:gd fmla="*/ 2147483646 h 256" name="T7"/>
              <a:gd fmla="*/ 2147483646 w 106" name="T8"/>
              <a:gd fmla="*/ 2147483646 h 256" name="T9"/>
              <a:gd fmla="*/ 2147483646 w 106" name="T10"/>
              <a:gd fmla="*/ 2147483646 h 256" name="T11"/>
              <a:gd fmla="*/ 2147483646 w 106" name="T12"/>
              <a:gd fmla="*/ 2147483646 h 256" name="T13"/>
              <a:gd fmla="*/ 2147483646 w 106" name="T14"/>
              <a:gd fmla="*/ 2147483646 h 256" name="T15"/>
              <a:gd fmla="*/ 2147483646 w 106" name="T16"/>
              <a:gd fmla="*/ 2147483646 h 256" name="T17"/>
              <a:gd fmla="*/ 0 w 106" name="T18"/>
              <a:gd fmla="*/ 2147483646 h 256" name="T19"/>
              <a:gd fmla="*/ 2147483646 w 106" name="T20"/>
              <a:gd fmla="*/ 2147483646 h 256" name="T21"/>
              <a:gd fmla="*/ 2147483646 w 106" name="T22"/>
              <a:gd fmla="*/ 2147483646 h 256" name="T23"/>
              <a:gd fmla="*/ 2147483646 w 106" name="T24"/>
              <a:gd fmla="*/ 2147483646 h 256" name="T25"/>
              <a:gd fmla="*/ 2147483646 w 106" name="T26"/>
              <a:gd fmla="*/ 2147483646 h 256" name="T27"/>
              <a:gd fmla="*/ 2147483646 w 106" name="T28"/>
              <a:gd fmla="*/ 2147483646 h 256" name="T29"/>
              <a:gd fmla="*/ 2147483646 w 106" name="T30"/>
              <a:gd fmla="*/ 2147483646 h 256" name="T31"/>
              <a:gd fmla="*/ 2147483646 w 106" name="T32"/>
              <a:gd fmla="*/ 2147483646 h 256" name="T33"/>
              <a:gd fmla="*/ 2147483646 w 106" name="T34"/>
              <a:gd fmla="*/ 2147483646 h 256" name="T35"/>
              <a:gd fmla="*/ 2147483646 w 106" name="T36"/>
              <a:gd fmla="*/ 2147483646 h 256" name="T37"/>
              <a:gd fmla="*/ 2147483646 w 106" name="T38"/>
              <a:gd fmla="*/ 2147483646 h 256" name="T39"/>
              <a:gd fmla="*/ 2147483646 w 106" name="T40"/>
              <a:gd fmla="*/ 2147483646 h 256" name="T41"/>
              <a:gd fmla="*/ 2147483646 w 106" name="T42"/>
              <a:gd fmla="*/ 2147483646 h 256" name="T43"/>
              <a:gd fmla="*/ 2147483646 w 106" name="T44"/>
              <a:gd fmla="*/ 2147483646 h 256" name="T45"/>
              <a:gd fmla="*/ 2147483646 w 106" name="T46"/>
              <a:gd fmla="*/ 2147483646 h 256" name="T47"/>
              <a:gd fmla="*/ 2147483646 w 106" name="T48"/>
              <a:gd fmla="*/ 2147483646 h 256" name="T49"/>
              <a:gd fmla="*/ 2147483646 w 106" name="T50"/>
              <a:gd fmla="*/ 2147483646 h 256" name="T51"/>
              <a:gd fmla="*/ 2147483646 w 106" name="T52"/>
              <a:gd fmla="*/ 2147483646 h 256" name="T53"/>
              <a:gd fmla="*/ 2147483646 w 106" name="T54"/>
              <a:gd fmla="*/ 2147483646 h 256" name="T55"/>
              <a:gd fmla="*/ 2147483646 w 106" name="T56"/>
              <a:gd fmla="*/ 2147483646 h 256" name="T57"/>
              <a:gd fmla="*/ 2147483646 w 106" name="T58"/>
              <a:gd fmla="*/ 2147483646 h 256" name="T59"/>
              <a:gd fmla="*/ 2147483646 w 106" name="T60"/>
              <a:gd fmla="*/ 2147483646 h 256" name="T61"/>
              <a:gd fmla="*/ 2147483646 w 106" name="T62"/>
              <a:gd fmla="*/ 2147483646 h 256" name="T63"/>
              <a:gd fmla="*/ 2147483646 w 106" name="T64"/>
              <a:gd fmla="*/ 2147483646 h 256" name="T65"/>
              <a:gd fmla="*/ 2147483646 w 106" name="T66"/>
              <a:gd fmla="*/ 2147483646 h 256" name="T67"/>
              <a:gd fmla="*/ 2147483646 w 106" name="T68"/>
              <a:gd fmla="*/ 2147483646 h 256" name="T69"/>
              <a:gd fmla="*/ 2147483646 w 106" name="T70"/>
              <a:gd fmla="*/ 2147483646 h 256" name="T71"/>
              <a:gd fmla="*/ 2147483646 w 106" name="T72"/>
              <a:gd fmla="*/ 2147483646 h 256" name="T73"/>
              <a:gd fmla="*/ 2147483646 w 106" name="T74"/>
              <a:gd fmla="*/ 2147483646 h 256" name="T75"/>
              <a:gd fmla="*/ 2147483646 w 106" name="T76"/>
              <a:gd fmla="*/ 2147483646 h 256" name="T77"/>
              <a:gd fmla="*/ 2147483646 w 106" name="T78"/>
              <a:gd fmla="*/ 2147483646 h 256" name="T79"/>
              <a:gd fmla="*/ 2147483646 w 106" name="T80"/>
              <a:gd fmla="*/ 2147483646 h 256" name="T81"/>
              <a:gd fmla="*/ 2147483646 w 106" name="T82"/>
              <a:gd fmla="*/ 2147483646 h 256" name="T83"/>
              <a:gd fmla="*/ 2147483646 w 106" name="T84"/>
              <a:gd fmla="*/ 2147483646 h 256" name="T85"/>
              <a:gd fmla="*/ 2147483646 w 106" name="T86"/>
              <a:gd fmla="*/ 2147483646 h 256" name="T87"/>
              <a:gd fmla="*/ 2147483646 w 106" name="T88"/>
              <a:gd fmla="*/ 0 h 25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b="b" l="0" r="r" t="0"/>
            <a:pathLst>
              <a:path h="256" w="105">
                <a:moveTo>
                  <a:pt x="80" y="0"/>
                </a:moveTo>
                <a:lnTo>
                  <a:pt x="80" y="0"/>
                </a:lnTo>
                <a:lnTo>
                  <a:pt x="62" y="14"/>
                </a:lnTo>
                <a:lnTo>
                  <a:pt x="46" y="32"/>
                </a:lnTo>
                <a:lnTo>
                  <a:pt x="34" y="50"/>
                </a:lnTo>
                <a:lnTo>
                  <a:pt x="24" y="70"/>
                </a:lnTo>
                <a:lnTo>
                  <a:pt x="10" y="98"/>
                </a:lnTo>
                <a:lnTo>
                  <a:pt x="4" y="104"/>
                </a:lnTo>
                <a:lnTo>
                  <a:pt x="0" y="108"/>
                </a:lnTo>
                <a:lnTo>
                  <a:pt x="6" y="152"/>
                </a:lnTo>
                <a:lnTo>
                  <a:pt x="6" y="154"/>
                </a:lnTo>
                <a:lnTo>
                  <a:pt x="2" y="184"/>
                </a:lnTo>
                <a:lnTo>
                  <a:pt x="2" y="196"/>
                </a:lnTo>
                <a:lnTo>
                  <a:pt x="2" y="200"/>
                </a:lnTo>
                <a:lnTo>
                  <a:pt x="4" y="202"/>
                </a:lnTo>
                <a:lnTo>
                  <a:pt x="36" y="224"/>
                </a:lnTo>
                <a:lnTo>
                  <a:pt x="38" y="224"/>
                </a:lnTo>
                <a:lnTo>
                  <a:pt x="38" y="226"/>
                </a:lnTo>
                <a:lnTo>
                  <a:pt x="42" y="236"/>
                </a:lnTo>
                <a:lnTo>
                  <a:pt x="50" y="248"/>
                </a:lnTo>
                <a:lnTo>
                  <a:pt x="56" y="252"/>
                </a:lnTo>
                <a:lnTo>
                  <a:pt x="62" y="256"/>
                </a:lnTo>
                <a:lnTo>
                  <a:pt x="66" y="204"/>
                </a:lnTo>
                <a:lnTo>
                  <a:pt x="66" y="202"/>
                </a:lnTo>
                <a:lnTo>
                  <a:pt x="90" y="146"/>
                </a:lnTo>
                <a:lnTo>
                  <a:pt x="98" y="80"/>
                </a:lnTo>
                <a:lnTo>
                  <a:pt x="98" y="78"/>
                </a:lnTo>
                <a:lnTo>
                  <a:pt x="106" y="60"/>
                </a:lnTo>
                <a:lnTo>
                  <a:pt x="100" y="44"/>
                </a:lnTo>
                <a:lnTo>
                  <a:pt x="98" y="44"/>
                </a:lnTo>
                <a:lnTo>
                  <a:pt x="98" y="24"/>
                </a:lnTo>
                <a:lnTo>
                  <a:pt x="98" y="22"/>
                </a:lnTo>
                <a:lnTo>
                  <a:pt x="102" y="16"/>
                </a:lnTo>
                <a:lnTo>
                  <a:pt x="106" y="12"/>
                </a:lnTo>
                <a:lnTo>
                  <a:pt x="80" y="0"/>
                </a:lnTo>
                <a:close/>
              </a:path>
            </a:pathLst>
          </a:custGeom>
          <a:solidFill>
            <a:srgbClr val="BFBFBF"/>
          </a:solidFill>
          <a:ln>
            <a:noFill/>
          </a:ln>
        </p:spPr>
        <p:txBody>
          <a:bodyPr/>
          <a:lstStyle/>
          <a:p>
            <a:endParaRPr altLang="en-US" lang="zh-CN">
              <a:cs typeface="+mn-ea"/>
              <a:sym typeface="+mn-lt"/>
            </a:endParaRPr>
          </a:p>
        </p:txBody>
      </p:sp>
      <p:sp>
        <p:nvSpPr>
          <p:cNvPr id="36" name="海南"/>
          <p:cNvSpPr/>
          <p:nvPr/>
        </p:nvSpPr>
        <p:spPr bwMode="auto">
          <a:xfrm>
            <a:off x="4191185" y="5613809"/>
            <a:ext cx="235991" cy="206591"/>
          </a:xfrm>
          <a:custGeom>
            <a:gdLst>
              <a:gd fmla="*/ 2147483646 w 160" name="T0"/>
              <a:gd fmla="*/ 2147483646 h 140" name="T1"/>
              <a:gd fmla="*/ 2147483646 w 160" name="T2"/>
              <a:gd fmla="*/ 2147483646 h 140" name="T3"/>
              <a:gd fmla="*/ 2147483646 w 160" name="T4"/>
              <a:gd fmla="*/ 2147483646 h 140" name="T5"/>
              <a:gd fmla="*/ 2147483646 w 160" name="T6"/>
              <a:gd fmla="*/ 2147483646 h 140" name="T7"/>
              <a:gd fmla="*/ 2147483646 w 160" name="T8"/>
              <a:gd fmla="*/ 2147483646 h 140" name="T9"/>
              <a:gd fmla="*/ 2147483646 w 160" name="T10"/>
              <a:gd fmla="*/ 2147483646 h 140" name="T11"/>
              <a:gd fmla="*/ 2147483646 w 160" name="T12"/>
              <a:gd fmla="*/ 2147483646 h 140" name="T13"/>
              <a:gd fmla="*/ 2147483646 w 160" name="T14"/>
              <a:gd fmla="*/ 2147483646 h 140" name="T15"/>
              <a:gd fmla="*/ 2147483646 w 160" name="T16"/>
              <a:gd fmla="*/ 2147483646 h 140" name="T17"/>
              <a:gd fmla="*/ 2147483646 w 160" name="T18"/>
              <a:gd fmla="*/ 2147483646 h 140" name="T19"/>
              <a:gd fmla="*/ 2147483646 w 160" name="T20"/>
              <a:gd fmla="*/ 2147483646 h 140" name="T21"/>
              <a:gd fmla="*/ 2147483646 w 160" name="T22"/>
              <a:gd fmla="*/ 2147483646 h 140" name="T23"/>
              <a:gd fmla="*/ 2147483646 w 160" name="T24"/>
              <a:gd fmla="*/ 2147483646 h 140" name="T25"/>
              <a:gd fmla="*/ 0 w 160" name="T26"/>
              <a:gd fmla="*/ 2147483646 h 140" name="T27"/>
              <a:gd fmla="*/ 2147483646 w 160" name="T28"/>
              <a:gd fmla="*/ 2147483646 h 140" name="T29"/>
              <a:gd fmla="*/ 2147483646 w 160" name="T30"/>
              <a:gd fmla="*/ 2147483646 h 140" name="T31"/>
              <a:gd fmla="*/ 2147483646 w 160" name="T32"/>
              <a:gd fmla="*/ 2147483646 h 140" name="T33"/>
              <a:gd fmla="*/ 2147483646 w 160" name="T34"/>
              <a:gd fmla="*/ 2147483646 h 140" name="T35"/>
              <a:gd fmla="*/ 2147483646 w 160" name="T36"/>
              <a:gd fmla="*/ 2147483646 h 140" name="T37"/>
              <a:gd fmla="*/ 2147483646 w 160" name="T38"/>
              <a:gd fmla="*/ 2147483646 h 140" name="T39"/>
              <a:gd fmla="*/ 2147483646 w 160" name="T40"/>
              <a:gd fmla="*/ 2147483646 h 140" name="T41"/>
              <a:gd fmla="*/ 2147483646 w 160" name="T42"/>
              <a:gd fmla="*/ 2147483646 h 140" name="T43"/>
              <a:gd fmla="*/ 2147483646 w 160" name="T44"/>
              <a:gd fmla="*/ 2147483646 h 140" name="T45"/>
              <a:gd fmla="*/ 2147483646 w 160" name="T46"/>
              <a:gd fmla="*/ 2147483646 h 140" name="T47"/>
              <a:gd fmla="*/ 2147483646 w 160" name="T48"/>
              <a:gd fmla="*/ 2147483646 h 140" name="T49"/>
              <a:gd fmla="*/ 2147483646 w 160" name="T50"/>
              <a:gd fmla="*/ 2147483646 h 140" name="T51"/>
              <a:gd fmla="*/ 2147483646 w 160" name="T52"/>
              <a:gd fmla="*/ 2147483646 h 140" name="T53"/>
              <a:gd fmla="*/ 2147483646 w 160" name="T54"/>
              <a:gd fmla="*/ 2147483646 h 140" name="T55"/>
              <a:gd fmla="*/ 2147483646 w 160" name="T56"/>
              <a:gd fmla="*/ 2147483646 h 140" name="T57"/>
              <a:gd fmla="*/ 2147483646 w 160" name="T58"/>
              <a:gd fmla="*/ 2147483646 h 140" name="T59"/>
              <a:gd fmla="*/ 2147483646 w 160" name="T60"/>
              <a:gd fmla="*/ 2147483646 h 140" name="T61"/>
              <a:gd fmla="*/ 2147483646 w 160" name="T62"/>
              <a:gd fmla="*/ 2147483646 h 140" name="T63"/>
              <a:gd fmla="*/ 2147483646 w 160" name="T64"/>
              <a:gd fmla="*/ 2147483646 h 140" name="T65"/>
              <a:gd fmla="*/ 2147483646 w 160" name="T66"/>
              <a:gd fmla="*/ 2147483646 h 140" name="T67"/>
              <a:gd fmla="*/ 2147483646 w 160" name="T68"/>
              <a:gd fmla="*/ 2147483646 h 140" name="T69"/>
              <a:gd fmla="*/ 2147483646 w 160" name="T70"/>
              <a:gd fmla="*/ 2147483646 h 140" name="T71"/>
              <a:gd fmla="*/ 2147483646 w 160" name="T72"/>
              <a:gd fmla="*/ 2147483646 h 140" name="T73"/>
              <a:gd fmla="*/ 2147483646 w 160" name="T74"/>
              <a:gd fmla="*/ 2147483646 h 140" name="T75"/>
              <a:gd fmla="*/ 2147483646 w 160" name="T76"/>
              <a:gd fmla="*/ 2147483646 h 140" name="T77"/>
              <a:gd fmla="*/ 2147483646 w 160" name="T78"/>
              <a:gd fmla="*/ 2147483646 h 140" name="T79"/>
              <a:gd fmla="*/ 2147483646 w 160" name="T80"/>
              <a:gd fmla="*/ 2147483646 h 140" name="T81"/>
              <a:gd fmla="*/ 2147483646 w 160" name="T82"/>
              <a:gd fmla="*/ 0 h 140" name="T83"/>
              <a:gd fmla="*/ 2147483646 w 160" name="T84"/>
              <a:gd fmla="*/ 2147483646 h 140" name="T85"/>
              <a:gd fmla="*/ 2147483646 w 160" name="T86"/>
              <a:gd fmla="*/ 2147483646 h 140" name="T87"/>
              <a:gd fmla="*/ 2147483646 w 160" name="T88"/>
              <a:gd fmla="*/ 2147483646 h 140" name="T89"/>
              <a:gd fmla="*/ 2147483646 w 160" name="T90"/>
              <a:gd fmla="*/ 2147483646 h 140" name="T91"/>
              <a:gd fmla="*/ 2147483646 w 160" name="T92"/>
              <a:gd fmla="*/ 2147483646 h 140" name="T93"/>
              <a:gd fmla="*/ 2147483646 w 160" name="T94"/>
              <a:gd fmla="*/ 2147483646 h 140"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b="b" l="0" r="r" t="0"/>
            <a:pathLst>
              <a:path h="140" w="160">
                <a:moveTo>
                  <a:pt x="72" y="14"/>
                </a:moveTo>
                <a:lnTo>
                  <a:pt x="70" y="18"/>
                </a:lnTo>
                <a:lnTo>
                  <a:pt x="68" y="20"/>
                </a:lnTo>
                <a:lnTo>
                  <a:pt x="36" y="28"/>
                </a:lnTo>
                <a:lnTo>
                  <a:pt x="38" y="32"/>
                </a:lnTo>
                <a:lnTo>
                  <a:pt x="48" y="44"/>
                </a:lnTo>
                <a:lnTo>
                  <a:pt x="44" y="46"/>
                </a:lnTo>
                <a:lnTo>
                  <a:pt x="30" y="54"/>
                </a:lnTo>
                <a:lnTo>
                  <a:pt x="6" y="72"/>
                </a:lnTo>
                <a:lnTo>
                  <a:pt x="2" y="80"/>
                </a:lnTo>
                <a:lnTo>
                  <a:pt x="0" y="92"/>
                </a:lnTo>
                <a:lnTo>
                  <a:pt x="4" y="108"/>
                </a:lnTo>
                <a:lnTo>
                  <a:pt x="10" y="126"/>
                </a:lnTo>
                <a:lnTo>
                  <a:pt x="34" y="128"/>
                </a:lnTo>
                <a:lnTo>
                  <a:pt x="36" y="128"/>
                </a:lnTo>
                <a:lnTo>
                  <a:pt x="60" y="140"/>
                </a:lnTo>
                <a:lnTo>
                  <a:pt x="86" y="136"/>
                </a:lnTo>
                <a:lnTo>
                  <a:pt x="94" y="132"/>
                </a:lnTo>
                <a:lnTo>
                  <a:pt x="102" y="126"/>
                </a:lnTo>
                <a:lnTo>
                  <a:pt x="112" y="118"/>
                </a:lnTo>
                <a:lnTo>
                  <a:pt x="122" y="106"/>
                </a:lnTo>
                <a:lnTo>
                  <a:pt x="124" y="106"/>
                </a:lnTo>
                <a:lnTo>
                  <a:pt x="126" y="104"/>
                </a:lnTo>
                <a:lnTo>
                  <a:pt x="136" y="100"/>
                </a:lnTo>
                <a:lnTo>
                  <a:pt x="134" y="66"/>
                </a:lnTo>
                <a:lnTo>
                  <a:pt x="148" y="44"/>
                </a:lnTo>
                <a:lnTo>
                  <a:pt x="160" y="34"/>
                </a:lnTo>
                <a:lnTo>
                  <a:pt x="160" y="22"/>
                </a:lnTo>
                <a:lnTo>
                  <a:pt x="158" y="14"/>
                </a:lnTo>
                <a:lnTo>
                  <a:pt x="156" y="10"/>
                </a:lnTo>
                <a:lnTo>
                  <a:pt x="152" y="2"/>
                </a:lnTo>
                <a:lnTo>
                  <a:pt x="146" y="0"/>
                </a:lnTo>
                <a:lnTo>
                  <a:pt x="146" y="12"/>
                </a:lnTo>
                <a:lnTo>
                  <a:pt x="126" y="8"/>
                </a:lnTo>
                <a:lnTo>
                  <a:pt x="116" y="14"/>
                </a:lnTo>
                <a:lnTo>
                  <a:pt x="114" y="14"/>
                </a:lnTo>
                <a:lnTo>
                  <a:pt x="72" y="14"/>
                </a:lnTo>
                <a:close/>
              </a:path>
            </a:pathLst>
          </a:custGeom>
          <a:solidFill>
            <a:srgbClr val="BFBFBF"/>
          </a:solidFill>
          <a:ln>
            <a:noFill/>
          </a:ln>
        </p:spPr>
        <p:txBody>
          <a:bodyPr/>
          <a:lstStyle/>
          <a:p>
            <a:endParaRPr altLang="en-US" lang="zh-CN">
              <a:cs typeface="+mn-ea"/>
              <a:sym typeface="+mn-lt"/>
            </a:endParaRPr>
          </a:p>
        </p:txBody>
      </p:sp>
      <p:sp>
        <p:nvSpPr>
          <p:cNvPr id="37" name="矩形 36"/>
          <p:cNvSpPr/>
          <p:nvPr/>
        </p:nvSpPr>
        <p:spPr>
          <a:xfrm>
            <a:off x="450874" y="1533228"/>
            <a:ext cx="6256421" cy="460191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sp>
        <p:nvSpPr>
          <p:cNvPr id="38" name="KSO_Shape"/>
          <p:cNvSpPr>
            <a:spLocks noChangeAspect="1"/>
          </p:cNvSpPr>
          <p:nvPr/>
        </p:nvSpPr>
        <p:spPr bwMode="auto">
          <a:xfrm>
            <a:off x="6858093" y="1458278"/>
            <a:ext cx="409500" cy="900000"/>
          </a:xfrm>
          <a:custGeom>
            <a:gdLst>
              <a:gd fmla="*/ 2147483646 w 216" name="T0"/>
              <a:gd fmla="*/ 2147483646 h 474" name="T1"/>
              <a:gd fmla="*/ 2147483646 w 216" name="T2"/>
              <a:gd fmla="*/ 2147483646 h 474" name="T3"/>
              <a:gd fmla="*/ 2147483646 w 216" name="T4"/>
              <a:gd fmla="*/ 2147483646 h 474" name="T5"/>
              <a:gd fmla="*/ 2147483646 w 216" name="T6"/>
              <a:gd fmla="*/ 2147483646 h 474" name="T7"/>
              <a:gd fmla="*/ 2147483646 w 216" name="T8"/>
              <a:gd fmla="*/ 2147483646 h 474" name="T9"/>
              <a:gd fmla="*/ 2147483646 w 216" name="T10"/>
              <a:gd fmla="*/ 2147483646 h 474" name="T11"/>
              <a:gd fmla="*/ 2147483646 w 216" name="T12"/>
              <a:gd fmla="*/ 2147483646 h 474" name="T13"/>
              <a:gd fmla="*/ 2147483646 w 216" name="T14"/>
              <a:gd fmla="*/ 2147483646 h 474" name="T15"/>
              <a:gd fmla="*/ 2147483646 w 216" name="T16"/>
              <a:gd fmla="*/ 2147483646 h 474" name="T17"/>
              <a:gd fmla="*/ 2147483646 w 216" name="T18"/>
              <a:gd fmla="*/ 2147483646 h 474" name="T19"/>
              <a:gd fmla="*/ 2147483646 w 216" name="T20"/>
              <a:gd fmla="*/ 2147483646 h 474" name="T21"/>
              <a:gd fmla="*/ 2147483646 w 216" name="T22"/>
              <a:gd fmla="*/ 2147483646 h 474" name="T23"/>
              <a:gd fmla="*/ 2147483646 w 216" name="T24"/>
              <a:gd fmla="*/ 2147483646 h 474" name="T25"/>
              <a:gd fmla="*/ 2147483646 w 216" name="T26"/>
              <a:gd fmla="*/ 2147483646 h 474" name="T27"/>
              <a:gd fmla="*/ 2147483646 w 216" name="T28"/>
              <a:gd fmla="*/ 2147483646 h 474" name="T29"/>
              <a:gd fmla="*/ 2147483646 w 216" name="T30"/>
              <a:gd fmla="*/ 2147483646 h 474" name="T31"/>
              <a:gd fmla="*/ 2147483646 w 216" name="T32"/>
              <a:gd fmla="*/ 2147483646 h 474" name="T33"/>
              <a:gd fmla="*/ 2147483646 w 216" name="T34"/>
              <a:gd fmla="*/ 2147483646 h 474" name="T35"/>
              <a:gd fmla="*/ 2147483646 w 216" name="T36"/>
              <a:gd fmla="*/ 2147483646 h 474" name="T37"/>
              <a:gd fmla="*/ 2147483646 w 216" name="T38"/>
              <a:gd fmla="*/ 2147483646 h 474" name="T39"/>
              <a:gd fmla="*/ 2147483646 w 216" name="T40"/>
              <a:gd fmla="*/ 2147483646 h 474" name="T41"/>
              <a:gd fmla="*/ 2147483646 w 216" name="T42"/>
              <a:gd fmla="*/ 2147483646 h 474" name="T43"/>
              <a:gd fmla="*/ 2147483646 w 216" name="T44"/>
              <a:gd fmla="*/ 2147483646 h 474" name="T45"/>
              <a:gd fmla="*/ 2147483646 w 216" name="T46"/>
              <a:gd fmla="*/ 2147483646 h 474" name="T47"/>
              <a:gd fmla="*/ 2147483646 w 216" name="T48"/>
              <a:gd fmla="*/ 2147483646 h 474" name="T49"/>
              <a:gd fmla="*/ 2147483646 w 216" name="T50"/>
              <a:gd fmla="*/ 2147483646 h 474" name="T51"/>
              <a:gd fmla="*/ 2147483646 w 216" name="T52"/>
              <a:gd fmla="*/ 2147483646 h 474" name="T53"/>
              <a:gd fmla="*/ 2147483646 w 216" name="T54"/>
              <a:gd fmla="*/ 2147483646 h 474" name="T55"/>
              <a:gd fmla="*/ 2147483646 w 216" name="T56"/>
              <a:gd fmla="*/ 2147483646 h 474" name="T57"/>
              <a:gd fmla="*/ 2147483646 w 216" name="T58"/>
              <a:gd fmla="*/ 2147483646 h 474" name="T59"/>
              <a:gd fmla="*/ 2147483646 w 216" name="T60"/>
              <a:gd fmla="*/ 2147483646 h 474" name="T61"/>
              <a:gd fmla="*/ 2147483646 w 216" name="T62"/>
              <a:gd fmla="*/ 2147483646 h 474" name="T63"/>
              <a:gd fmla="*/ 2147483646 w 216" name="T64"/>
              <a:gd fmla="*/ 2147483646 h 474" name="T65"/>
              <a:gd fmla="*/ 2147483646 w 216" name="T66"/>
              <a:gd fmla="*/ 2147483646 h 474" name="T67"/>
              <a:gd fmla="*/ 2147483646 w 216" name="T68"/>
              <a:gd fmla="*/ 2147483646 h 474" name="T69"/>
              <a:gd fmla="*/ 2147483646 w 216" name="T70"/>
              <a:gd fmla="*/ 2147483646 h 474" name="T71"/>
              <a:gd fmla="*/ 2147483646 w 216" name="T72"/>
              <a:gd fmla="*/ 2147483646 h 474" name="T73"/>
              <a:gd fmla="*/ 2147483646 w 216" name="T74"/>
              <a:gd fmla="*/ 2147483646 h 474" name="T75"/>
              <a:gd fmla="*/ 2147483646 w 216" name="T76"/>
              <a:gd fmla="*/ 2147483646 h 474" name="T77"/>
              <a:gd fmla="*/ 2147483646 w 216" name="T78"/>
              <a:gd fmla="*/ 2147483646 h 474" name="T79"/>
              <a:gd fmla="*/ 2147483646 w 216" name="T80"/>
              <a:gd fmla="*/ 2147483646 h 474" name="T81"/>
              <a:gd fmla="*/ 2147483646 w 216" name="T82"/>
              <a:gd fmla="*/ 2147483646 h 474" name="T83"/>
              <a:gd fmla="*/ 2147483646 w 216" name="T84"/>
              <a:gd fmla="*/ 2147483646 h 474" name="T85"/>
              <a:gd fmla="*/ 2147483646 w 216" name="T86"/>
              <a:gd fmla="*/ 2147483646 h 474" name="T87"/>
              <a:gd fmla="*/ 2147483646 w 216" name="T88"/>
              <a:gd fmla="*/ 2147483646 h 474" name="T89"/>
              <a:gd fmla="*/ 2147483646 w 216" name="T90"/>
              <a:gd fmla="*/ 2147483646 h 474" name="T91"/>
              <a:gd fmla="*/ 2147483646 w 216" name="T92"/>
              <a:gd fmla="*/ 2147483646 h 474" name="T93"/>
              <a:gd fmla="*/ 2147483646 w 216" name="T94"/>
              <a:gd fmla="*/ 2147483646 h 474" name="T95"/>
              <a:gd fmla="*/ 2147483646 w 216" name="T96"/>
              <a:gd fmla="*/ 2147483646 h 474"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b="b" l="0" r="r" t="0"/>
            <a:pathLst>
              <a:path h="473" w="216">
                <a:moveTo>
                  <a:pt x="202" y="24"/>
                </a:moveTo>
                <a:lnTo>
                  <a:pt x="204" y="20"/>
                </a:lnTo>
                <a:lnTo>
                  <a:pt x="200" y="8"/>
                </a:lnTo>
                <a:lnTo>
                  <a:pt x="194" y="0"/>
                </a:lnTo>
                <a:lnTo>
                  <a:pt x="188" y="12"/>
                </a:lnTo>
                <a:lnTo>
                  <a:pt x="176" y="24"/>
                </a:lnTo>
                <a:lnTo>
                  <a:pt x="174" y="24"/>
                </a:lnTo>
                <a:lnTo>
                  <a:pt x="156" y="30"/>
                </a:lnTo>
                <a:lnTo>
                  <a:pt x="154" y="30"/>
                </a:lnTo>
                <a:lnTo>
                  <a:pt x="136" y="28"/>
                </a:lnTo>
                <a:lnTo>
                  <a:pt x="124" y="30"/>
                </a:lnTo>
                <a:lnTo>
                  <a:pt x="122" y="40"/>
                </a:lnTo>
                <a:lnTo>
                  <a:pt x="112" y="46"/>
                </a:lnTo>
                <a:lnTo>
                  <a:pt x="112" y="48"/>
                </a:lnTo>
                <a:lnTo>
                  <a:pt x="110" y="48"/>
                </a:lnTo>
                <a:lnTo>
                  <a:pt x="94" y="46"/>
                </a:lnTo>
                <a:lnTo>
                  <a:pt x="92" y="48"/>
                </a:lnTo>
                <a:lnTo>
                  <a:pt x="92" y="64"/>
                </a:lnTo>
                <a:lnTo>
                  <a:pt x="84" y="76"/>
                </a:lnTo>
                <a:lnTo>
                  <a:pt x="82" y="76"/>
                </a:lnTo>
                <a:lnTo>
                  <a:pt x="68" y="92"/>
                </a:lnTo>
                <a:lnTo>
                  <a:pt x="66" y="92"/>
                </a:lnTo>
                <a:lnTo>
                  <a:pt x="50" y="96"/>
                </a:lnTo>
                <a:lnTo>
                  <a:pt x="40" y="106"/>
                </a:lnTo>
                <a:lnTo>
                  <a:pt x="42" y="120"/>
                </a:lnTo>
                <a:lnTo>
                  <a:pt x="42" y="124"/>
                </a:lnTo>
                <a:lnTo>
                  <a:pt x="40" y="124"/>
                </a:lnTo>
                <a:lnTo>
                  <a:pt x="28" y="136"/>
                </a:lnTo>
                <a:lnTo>
                  <a:pt x="20" y="144"/>
                </a:lnTo>
                <a:lnTo>
                  <a:pt x="26" y="154"/>
                </a:lnTo>
                <a:lnTo>
                  <a:pt x="26" y="156"/>
                </a:lnTo>
                <a:lnTo>
                  <a:pt x="26" y="170"/>
                </a:lnTo>
                <a:lnTo>
                  <a:pt x="26" y="172"/>
                </a:lnTo>
                <a:lnTo>
                  <a:pt x="16" y="184"/>
                </a:lnTo>
                <a:lnTo>
                  <a:pt x="4" y="198"/>
                </a:lnTo>
                <a:lnTo>
                  <a:pt x="6" y="214"/>
                </a:lnTo>
                <a:lnTo>
                  <a:pt x="16" y="224"/>
                </a:lnTo>
                <a:lnTo>
                  <a:pt x="22" y="236"/>
                </a:lnTo>
                <a:lnTo>
                  <a:pt x="24" y="244"/>
                </a:lnTo>
                <a:lnTo>
                  <a:pt x="24" y="262"/>
                </a:lnTo>
                <a:lnTo>
                  <a:pt x="22" y="264"/>
                </a:lnTo>
                <a:lnTo>
                  <a:pt x="6" y="276"/>
                </a:lnTo>
                <a:lnTo>
                  <a:pt x="4" y="300"/>
                </a:lnTo>
                <a:lnTo>
                  <a:pt x="6" y="324"/>
                </a:lnTo>
                <a:lnTo>
                  <a:pt x="10" y="340"/>
                </a:lnTo>
                <a:lnTo>
                  <a:pt x="18" y="368"/>
                </a:lnTo>
                <a:lnTo>
                  <a:pt x="18" y="370"/>
                </a:lnTo>
                <a:lnTo>
                  <a:pt x="18" y="372"/>
                </a:lnTo>
                <a:lnTo>
                  <a:pt x="0" y="452"/>
                </a:lnTo>
                <a:lnTo>
                  <a:pt x="2" y="468"/>
                </a:lnTo>
                <a:lnTo>
                  <a:pt x="14" y="474"/>
                </a:lnTo>
                <a:lnTo>
                  <a:pt x="32" y="456"/>
                </a:lnTo>
                <a:lnTo>
                  <a:pt x="34" y="456"/>
                </a:lnTo>
                <a:lnTo>
                  <a:pt x="96" y="432"/>
                </a:lnTo>
                <a:lnTo>
                  <a:pt x="112" y="416"/>
                </a:lnTo>
                <a:lnTo>
                  <a:pt x="114" y="416"/>
                </a:lnTo>
                <a:lnTo>
                  <a:pt x="116" y="416"/>
                </a:lnTo>
                <a:lnTo>
                  <a:pt x="150" y="420"/>
                </a:lnTo>
                <a:lnTo>
                  <a:pt x="162" y="416"/>
                </a:lnTo>
                <a:lnTo>
                  <a:pt x="180" y="408"/>
                </a:lnTo>
                <a:lnTo>
                  <a:pt x="180" y="392"/>
                </a:lnTo>
                <a:lnTo>
                  <a:pt x="182" y="392"/>
                </a:lnTo>
                <a:lnTo>
                  <a:pt x="192" y="382"/>
                </a:lnTo>
                <a:lnTo>
                  <a:pt x="190" y="372"/>
                </a:lnTo>
                <a:lnTo>
                  <a:pt x="190" y="370"/>
                </a:lnTo>
                <a:lnTo>
                  <a:pt x="190" y="368"/>
                </a:lnTo>
                <a:lnTo>
                  <a:pt x="194" y="364"/>
                </a:lnTo>
                <a:lnTo>
                  <a:pt x="192" y="360"/>
                </a:lnTo>
                <a:lnTo>
                  <a:pt x="190" y="356"/>
                </a:lnTo>
                <a:lnTo>
                  <a:pt x="190" y="352"/>
                </a:lnTo>
                <a:lnTo>
                  <a:pt x="194" y="340"/>
                </a:lnTo>
                <a:lnTo>
                  <a:pt x="198" y="336"/>
                </a:lnTo>
                <a:lnTo>
                  <a:pt x="196" y="324"/>
                </a:lnTo>
                <a:lnTo>
                  <a:pt x="184" y="310"/>
                </a:lnTo>
                <a:lnTo>
                  <a:pt x="182" y="306"/>
                </a:lnTo>
                <a:lnTo>
                  <a:pt x="180" y="302"/>
                </a:lnTo>
                <a:lnTo>
                  <a:pt x="180" y="298"/>
                </a:lnTo>
                <a:lnTo>
                  <a:pt x="182" y="294"/>
                </a:lnTo>
                <a:lnTo>
                  <a:pt x="184" y="288"/>
                </a:lnTo>
                <a:lnTo>
                  <a:pt x="190" y="280"/>
                </a:lnTo>
                <a:lnTo>
                  <a:pt x="192" y="268"/>
                </a:lnTo>
                <a:lnTo>
                  <a:pt x="202" y="248"/>
                </a:lnTo>
                <a:lnTo>
                  <a:pt x="204" y="240"/>
                </a:lnTo>
                <a:lnTo>
                  <a:pt x="216" y="216"/>
                </a:lnTo>
                <a:lnTo>
                  <a:pt x="208" y="200"/>
                </a:lnTo>
                <a:lnTo>
                  <a:pt x="184" y="184"/>
                </a:lnTo>
                <a:lnTo>
                  <a:pt x="182" y="184"/>
                </a:lnTo>
                <a:lnTo>
                  <a:pt x="176" y="170"/>
                </a:lnTo>
                <a:lnTo>
                  <a:pt x="176" y="168"/>
                </a:lnTo>
                <a:lnTo>
                  <a:pt x="180" y="146"/>
                </a:lnTo>
                <a:lnTo>
                  <a:pt x="184" y="130"/>
                </a:lnTo>
                <a:lnTo>
                  <a:pt x="184" y="122"/>
                </a:lnTo>
                <a:lnTo>
                  <a:pt x="188" y="116"/>
                </a:lnTo>
                <a:lnTo>
                  <a:pt x="190" y="114"/>
                </a:lnTo>
                <a:lnTo>
                  <a:pt x="194" y="114"/>
                </a:lnTo>
                <a:lnTo>
                  <a:pt x="208" y="112"/>
                </a:lnTo>
                <a:lnTo>
                  <a:pt x="212" y="102"/>
                </a:lnTo>
                <a:lnTo>
                  <a:pt x="216" y="76"/>
                </a:lnTo>
                <a:lnTo>
                  <a:pt x="214" y="66"/>
                </a:lnTo>
                <a:lnTo>
                  <a:pt x="200" y="64"/>
                </a:lnTo>
                <a:lnTo>
                  <a:pt x="184" y="56"/>
                </a:lnTo>
                <a:lnTo>
                  <a:pt x="182" y="54"/>
                </a:lnTo>
                <a:lnTo>
                  <a:pt x="182" y="52"/>
                </a:lnTo>
                <a:lnTo>
                  <a:pt x="180" y="32"/>
                </a:lnTo>
                <a:lnTo>
                  <a:pt x="180" y="28"/>
                </a:lnTo>
                <a:lnTo>
                  <a:pt x="202" y="24"/>
                </a:lnTo>
                <a:close/>
              </a:path>
            </a:pathLst>
          </a:custGeom>
          <a:solidFill>
            <a:srgbClr val="EC667C"/>
          </a:solidFill>
          <a:ln>
            <a:noFill/>
          </a:ln>
        </p:spPr>
        <p:txBody>
          <a:bodyPr/>
          <a:lstStyle/>
          <a:p>
            <a:endParaRPr altLang="en-US" lang="zh-CN">
              <a:cs typeface="+mn-ea"/>
              <a:sym typeface="+mn-lt"/>
            </a:endParaRPr>
          </a:p>
        </p:txBody>
      </p:sp>
      <p:sp>
        <p:nvSpPr>
          <p:cNvPr id="39" name="文本框 38"/>
          <p:cNvSpPr txBox="1"/>
          <p:nvPr/>
        </p:nvSpPr>
        <p:spPr>
          <a:xfrm>
            <a:off x="7710398" y="1136760"/>
            <a:ext cx="2010416" cy="396240"/>
          </a:xfrm>
          <a:prstGeom prst="rect">
            <a:avLst/>
          </a:prstGeom>
          <a:noFill/>
        </p:spPr>
        <p:txBody>
          <a:bodyPr rtlCol="0" wrap="square">
            <a:spAutoFit/>
          </a:bodyPr>
          <a:lstStyle/>
          <a:p>
            <a:r>
              <a:rPr altLang="en-US" b="1" lang="zh-CN" sz="20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标题</a:t>
            </a:r>
          </a:p>
        </p:txBody>
      </p:sp>
      <p:sp>
        <p:nvSpPr>
          <p:cNvPr id="40" name="文本框 39"/>
          <p:cNvSpPr txBox="1"/>
          <p:nvPr/>
        </p:nvSpPr>
        <p:spPr>
          <a:xfrm>
            <a:off x="7694123" y="1608168"/>
            <a:ext cx="2506816" cy="914400"/>
          </a:xfrm>
          <a:prstGeom prst="rect">
            <a:avLst/>
          </a:prstGeom>
          <a:noFill/>
        </p:spPr>
        <p:txBody>
          <a:bodyPr rtlCol="0" wrap="square">
            <a:spAutoFit/>
          </a:bodyPr>
          <a:lstStyle/>
          <a:p>
            <a:r>
              <a:rPr altLang="en-US" lang="zh-CN">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请在此输入文本请在此输入文本请在此输入文本请在此输入文本</a:t>
            </a:r>
          </a:p>
        </p:txBody>
      </p:sp>
      <p:sp>
        <p:nvSpPr>
          <p:cNvPr id="41" name="KSO_Shape"/>
          <p:cNvSpPr>
            <a:spLocks noChangeAspect="1"/>
          </p:cNvSpPr>
          <p:nvPr/>
        </p:nvSpPr>
        <p:spPr bwMode="auto">
          <a:xfrm>
            <a:off x="6664681" y="5013022"/>
            <a:ext cx="864000" cy="900000"/>
          </a:xfrm>
          <a:custGeom>
            <a:gdLst>
              <a:gd fmla="*/ 2147483646 w 568" name="T0"/>
              <a:gd fmla="*/ 2147483646 h 592" name="T1"/>
              <a:gd fmla="*/ 2147483646 w 568" name="T2"/>
              <a:gd fmla="*/ 2147483646 h 592" name="T3"/>
              <a:gd fmla="*/ 2147483646 w 568" name="T4"/>
              <a:gd fmla="*/ 2147483646 h 592" name="T5"/>
              <a:gd fmla="*/ 2147483646 w 568" name="T6"/>
              <a:gd fmla="*/ 2147483646 h 592" name="T7"/>
              <a:gd fmla="*/ 2147483646 w 568" name="T8"/>
              <a:gd fmla="*/ 2147483646 h 592" name="T9"/>
              <a:gd fmla="*/ 2147483646 w 568" name="T10"/>
              <a:gd fmla="*/ 2147483646 h 592" name="T11"/>
              <a:gd fmla="*/ 2147483646 w 568" name="T12"/>
              <a:gd fmla="*/ 2147483646 h 592" name="T13"/>
              <a:gd fmla="*/ 2147483646 w 568" name="T14"/>
              <a:gd fmla="*/ 2147483646 h 592" name="T15"/>
              <a:gd fmla="*/ 2147483646 w 568" name="T16"/>
              <a:gd fmla="*/ 2147483646 h 592" name="T17"/>
              <a:gd fmla="*/ 2147483646 w 568" name="T18"/>
              <a:gd fmla="*/ 2147483646 h 592" name="T19"/>
              <a:gd fmla="*/ 2147483646 w 568" name="T20"/>
              <a:gd fmla="*/ 2147483646 h 592" name="T21"/>
              <a:gd fmla="*/ 2147483646 w 568" name="T22"/>
              <a:gd fmla="*/ 2147483646 h 592" name="T23"/>
              <a:gd fmla="*/ 2147483646 w 568" name="T24"/>
              <a:gd fmla="*/ 2147483646 h 592" name="T25"/>
              <a:gd fmla="*/ 2147483646 w 568" name="T26"/>
              <a:gd fmla="*/ 2147483646 h 592" name="T27"/>
              <a:gd fmla="*/ 2147483646 w 568" name="T28"/>
              <a:gd fmla="*/ 2147483646 h 592" name="T29"/>
              <a:gd fmla="*/ 2147483646 w 568" name="T30"/>
              <a:gd fmla="*/ 2147483646 h 592" name="T31"/>
              <a:gd fmla="*/ 2147483646 w 568" name="T32"/>
              <a:gd fmla="*/ 2147483646 h 592" name="T33"/>
              <a:gd fmla="*/ 2147483646 w 568" name="T34"/>
              <a:gd fmla="*/ 2147483646 h 592" name="T35"/>
              <a:gd fmla="*/ 2147483646 w 568" name="T36"/>
              <a:gd fmla="*/ 2147483646 h 592" name="T37"/>
              <a:gd fmla="*/ 2147483646 w 568" name="T38"/>
              <a:gd fmla="*/ 2147483646 h 592" name="T39"/>
              <a:gd fmla="*/ 2147483646 w 568" name="T40"/>
              <a:gd fmla="*/ 2147483646 h 592" name="T41"/>
              <a:gd fmla="*/ 2147483646 w 568" name="T42"/>
              <a:gd fmla="*/ 2147483646 h 592" name="T43"/>
              <a:gd fmla="*/ 2147483646 w 568" name="T44"/>
              <a:gd fmla="*/ 2147483646 h 592" name="T45"/>
              <a:gd fmla="*/ 2147483646 w 568" name="T46"/>
              <a:gd fmla="*/ 2147483646 h 592" name="T47"/>
              <a:gd fmla="*/ 2147483646 w 568" name="T48"/>
              <a:gd fmla="*/ 2147483646 h 592" name="T49"/>
              <a:gd fmla="*/ 2147483646 w 568" name="T50"/>
              <a:gd fmla="*/ 2147483646 h 592" name="T51"/>
              <a:gd fmla="*/ 2147483646 w 568" name="T52"/>
              <a:gd fmla="*/ 2147483646 h 592" name="T53"/>
              <a:gd fmla="*/ 2147483646 w 568" name="T54"/>
              <a:gd fmla="*/ 2147483646 h 592" name="T55"/>
              <a:gd fmla="*/ 2147483646 w 568" name="T56"/>
              <a:gd fmla="*/ 2147483646 h 592" name="T57"/>
              <a:gd fmla="*/ 2147483646 w 568" name="T58"/>
              <a:gd fmla="*/ 2147483646 h 592" name="T59"/>
              <a:gd fmla="*/ 2147483646 w 568" name="T60"/>
              <a:gd fmla="*/ 2147483646 h 592" name="T61"/>
              <a:gd fmla="*/ 2147483646 w 568" name="T62"/>
              <a:gd fmla="*/ 2147483646 h 592" name="T63"/>
              <a:gd fmla="*/ 2147483646 w 568" name="T64"/>
              <a:gd fmla="*/ 2147483646 h 592" name="T65"/>
              <a:gd fmla="*/ 2147483646 w 568" name="T66"/>
              <a:gd fmla="*/ 2147483646 h 592" name="T67"/>
              <a:gd fmla="*/ 2147483646 w 568" name="T68"/>
              <a:gd fmla="*/ 2147483646 h 592" name="T69"/>
              <a:gd fmla="*/ 2147483646 w 568" name="T70"/>
              <a:gd fmla="*/ 2147483646 h 592" name="T71"/>
              <a:gd fmla="*/ 2147483646 w 568" name="T72"/>
              <a:gd fmla="*/ 2147483646 h 592" name="T73"/>
              <a:gd fmla="*/ 2147483646 w 568" name="T74"/>
              <a:gd fmla="*/ 2147483646 h 592" name="T75"/>
              <a:gd fmla="*/ 2147483646 w 568" name="T76"/>
              <a:gd fmla="*/ 2147483646 h 592" name="T77"/>
              <a:gd fmla="*/ 2147483646 w 568" name="T78"/>
              <a:gd fmla="*/ 2147483646 h 592" name="T79"/>
              <a:gd fmla="*/ 2147483646 w 568" name="T80"/>
              <a:gd fmla="*/ 2147483646 h 592" name="T81"/>
              <a:gd fmla="*/ 2147483646 w 568" name="T82"/>
              <a:gd fmla="*/ 2147483646 h 592" name="T83"/>
              <a:gd fmla="*/ 2147483646 w 568" name="T84"/>
              <a:gd fmla="*/ 2147483646 h 592" name="T85"/>
              <a:gd fmla="*/ 2147483646 w 568" name="T86"/>
              <a:gd fmla="*/ 2147483646 h 592" name="T87"/>
              <a:gd fmla="*/ 2147483646 w 568" name="T88"/>
              <a:gd fmla="*/ 2147483646 h 592" name="T89"/>
              <a:gd fmla="*/ 2147483646 w 568" name="T90"/>
              <a:gd fmla="*/ 2147483646 h 592" name="T91"/>
              <a:gd fmla="*/ 2147483646 w 568" name="T92"/>
              <a:gd fmla="*/ 2147483646 h 592" name="T93"/>
              <a:gd fmla="*/ 2147483646 w 568" name="T94"/>
              <a:gd fmla="*/ 2147483646 h 592" name="T95"/>
              <a:gd fmla="*/ 2147483646 w 568" name="T96"/>
              <a:gd fmla="*/ 2147483646 h 592" name="T97"/>
              <a:gd fmla="*/ 2147483646 w 568" name="T98"/>
              <a:gd fmla="*/ 2147483646 h 592" name="T99"/>
              <a:gd fmla="*/ 2147483646 w 568" name="T100"/>
              <a:gd fmla="*/ 2147483646 h 592" name="T101"/>
              <a:gd fmla="*/ 2147483646 w 568" name="T102"/>
              <a:gd fmla="*/ 2147483646 h 592" name="T103"/>
              <a:gd fmla="*/ 2147483646 w 568" name="T104"/>
              <a:gd fmla="*/ 2147483646 h 592" name="T105"/>
              <a:gd fmla="*/ 2147483646 w 568" name="T106"/>
              <a:gd fmla="*/ 2147483646 h 592"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b="b" l="0" r="r" t="0"/>
            <a:pathLst>
              <a:path h="592" w="568">
                <a:moveTo>
                  <a:pt x="4" y="364"/>
                </a:moveTo>
                <a:lnTo>
                  <a:pt x="0" y="374"/>
                </a:lnTo>
                <a:lnTo>
                  <a:pt x="10" y="372"/>
                </a:lnTo>
                <a:lnTo>
                  <a:pt x="18" y="366"/>
                </a:lnTo>
                <a:lnTo>
                  <a:pt x="20" y="364"/>
                </a:lnTo>
                <a:lnTo>
                  <a:pt x="52" y="360"/>
                </a:lnTo>
                <a:lnTo>
                  <a:pt x="74" y="350"/>
                </a:lnTo>
                <a:lnTo>
                  <a:pt x="82" y="362"/>
                </a:lnTo>
                <a:lnTo>
                  <a:pt x="84" y="362"/>
                </a:lnTo>
                <a:lnTo>
                  <a:pt x="74" y="378"/>
                </a:lnTo>
                <a:lnTo>
                  <a:pt x="84" y="388"/>
                </a:lnTo>
                <a:lnTo>
                  <a:pt x="84" y="390"/>
                </a:lnTo>
                <a:lnTo>
                  <a:pt x="84" y="392"/>
                </a:lnTo>
                <a:lnTo>
                  <a:pt x="76" y="426"/>
                </a:lnTo>
                <a:lnTo>
                  <a:pt x="98" y="440"/>
                </a:lnTo>
                <a:lnTo>
                  <a:pt x="136" y="442"/>
                </a:lnTo>
                <a:lnTo>
                  <a:pt x="130" y="450"/>
                </a:lnTo>
                <a:lnTo>
                  <a:pt x="104" y="486"/>
                </a:lnTo>
                <a:lnTo>
                  <a:pt x="98" y="496"/>
                </a:lnTo>
                <a:lnTo>
                  <a:pt x="96" y="502"/>
                </a:lnTo>
                <a:lnTo>
                  <a:pt x="110" y="506"/>
                </a:lnTo>
                <a:lnTo>
                  <a:pt x="122" y="508"/>
                </a:lnTo>
                <a:lnTo>
                  <a:pt x="132" y="510"/>
                </a:lnTo>
                <a:lnTo>
                  <a:pt x="140" y="516"/>
                </a:lnTo>
                <a:lnTo>
                  <a:pt x="144" y="520"/>
                </a:lnTo>
                <a:lnTo>
                  <a:pt x="152" y="534"/>
                </a:lnTo>
                <a:lnTo>
                  <a:pt x="158" y="550"/>
                </a:lnTo>
                <a:lnTo>
                  <a:pt x="180" y="562"/>
                </a:lnTo>
                <a:lnTo>
                  <a:pt x="192" y="564"/>
                </a:lnTo>
                <a:lnTo>
                  <a:pt x="220" y="540"/>
                </a:lnTo>
                <a:lnTo>
                  <a:pt x="236" y="562"/>
                </a:lnTo>
                <a:lnTo>
                  <a:pt x="236" y="564"/>
                </a:lnTo>
                <a:lnTo>
                  <a:pt x="240" y="584"/>
                </a:lnTo>
                <a:lnTo>
                  <a:pt x="252" y="586"/>
                </a:lnTo>
                <a:lnTo>
                  <a:pt x="272" y="592"/>
                </a:lnTo>
                <a:lnTo>
                  <a:pt x="276" y="592"/>
                </a:lnTo>
                <a:lnTo>
                  <a:pt x="276" y="590"/>
                </a:lnTo>
                <a:lnTo>
                  <a:pt x="272" y="570"/>
                </a:lnTo>
                <a:lnTo>
                  <a:pt x="272" y="568"/>
                </a:lnTo>
                <a:lnTo>
                  <a:pt x="262" y="522"/>
                </a:lnTo>
                <a:lnTo>
                  <a:pt x="262" y="520"/>
                </a:lnTo>
                <a:lnTo>
                  <a:pt x="268" y="488"/>
                </a:lnTo>
                <a:lnTo>
                  <a:pt x="270" y="488"/>
                </a:lnTo>
                <a:lnTo>
                  <a:pt x="272" y="488"/>
                </a:lnTo>
                <a:lnTo>
                  <a:pt x="294" y="490"/>
                </a:lnTo>
                <a:lnTo>
                  <a:pt x="320" y="470"/>
                </a:lnTo>
                <a:lnTo>
                  <a:pt x="324" y="472"/>
                </a:lnTo>
                <a:lnTo>
                  <a:pt x="342" y="486"/>
                </a:lnTo>
                <a:lnTo>
                  <a:pt x="352" y="498"/>
                </a:lnTo>
                <a:lnTo>
                  <a:pt x="362" y="490"/>
                </a:lnTo>
                <a:lnTo>
                  <a:pt x="378" y="474"/>
                </a:lnTo>
                <a:lnTo>
                  <a:pt x="378" y="472"/>
                </a:lnTo>
                <a:lnTo>
                  <a:pt x="380" y="472"/>
                </a:lnTo>
                <a:lnTo>
                  <a:pt x="420" y="482"/>
                </a:lnTo>
                <a:lnTo>
                  <a:pt x="438" y="468"/>
                </a:lnTo>
                <a:lnTo>
                  <a:pt x="438" y="466"/>
                </a:lnTo>
                <a:lnTo>
                  <a:pt x="440" y="466"/>
                </a:lnTo>
                <a:lnTo>
                  <a:pt x="458" y="470"/>
                </a:lnTo>
                <a:lnTo>
                  <a:pt x="512" y="422"/>
                </a:lnTo>
                <a:lnTo>
                  <a:pt x="528" y="426"/>
                </a:lnTo>
                <a:lnTo>
                  <a:pt x="530" y="428"/>
                </a:lnTo>
                <a:lnTo>
                  <a:pt x="532" y="428"/>
                </a:lnTo>
                <a:lnTo>
                  <a:pt x="536" y="436"/>
                </a:lnTo>
                <a:lnTo>
                  <a:pt x="540" y="432"/>
                </a:lnTo>
                <a:lnTo>
                  <a:pt x="540" y="430"/>
                </a:lnTo>
                <a:lnTo>
                  <a:pt x="556" y="422"/>
                </a:lnTo>
                <a:lnTo>
                  <a:pt x="568" y="410"/>
                </a:lnTo>
                <a:lnTo>
                  <a:pt x="566" y="386"/>
                </a:lnTo>
                <a:lnTo>
                  <a:pt x="564" y="382"/>
                </a:lnTo>
                <a:lnTo>
                  <a:pt x="548" y="388"/>
                </a:lnTo>
                <a:lnTo>
                  <a:pt x="542" y="392"/>
                </a:lnTo>
                <a:lnTo>
                  <a:pt x="534" y="392"/>
                </a:lnTo>
                <a:lnTo>
                  <a:pt x="516" y="392"/>
                </a:lnTo>
                <a:lnTo>
                  <a:pt x="510" y="390"/>
                </a:lnTo>
                <a:lnTo>
                  <a:pt x="504" y="386"/>
                </a:lnTo>
                <a:lnTo>
                  <a:pt x="504" y="360"/>
                </a:lnTo>
                <a:lnTo>
                  <a:pt x="496" y="358"/>
                </a:lnTo>
                <a:lnTo>
                  <a:pt x="492" y="356"/>
                </a:lnTo>
                <a:lnTo>
                  <a:pt x="488" y="358"/>
                </a:lnTo>
                <a:lnTo>
                  <a:pt x="484" y="360"/>
                </a:lnTo>
                <a:lnTo>
                  <a:pt x="472" y="364"/>
                </a:lnTo>
                <a:lnTo>
                  <a:pt x="468" y="364"/>
                </a:lnTo>
                <a:lnTo>
                  <a:pt x="468" y="362"/>
                </a:lnTo>
                <a:lnTo>
                  <a:pt x="462" y="350"/>
                </a:lnTo>
                <a:lnTo>
                  <a:pt x="460" y="340"/>
                </a:lnTo>
                <a:lnTo>
                  <a:pt x="468" y="310"/>
                </a:lnTo>
                <a:lnTo>
                  <a:pt x="468" y="308"/>
                </a:lnTo>
                <a:lnTo>
                  <a:pt x="476" y="294"/>
                </a:lnTo>
                <a:lnTo>
                  <a:pt x="452" y="274"/>
                </a:lnTo>
                <a:lnTo>
                  <a:pt x="452" y="272"/>
                </a:lnTo>
                <a:lnTo>
                  <a:pt x="452" y="248"/>
                </a:lnTo>
                <a:lnTo>
                  <a:pt x="464" y="212"/>
                </a:lnTo>
                <a:lnTo>
                  <a:pt x="456" y="192"/>
                </a:lnTo>
                <a:lnTo>
                  <a:pt x="450" y="190"/>
                </a:lnTo>
                <a:lnTo>
                  <a:pt x="440" y="190"/>
                </a:lnTo>
                <a:lnTo>
                  <a:pt x="432" y="204"/>
                </a:lnTo>
                <a:lnTo>
                  <a:pt x="420" y="196"/>
                </a:lnTo>
                <a:lnTo>
                  <a:pt x="410" y="190"/>
                </a:lnTo>
                <a:lnTo>
                  <a:pt x="400" y="168"/>
                </a:lnTo>
                <a:lnTo>
                  <a:pt x="398" y="152"/>
                </a:lnTo>
                <a:lnTo>
                  <a:pt x="398" y="150"/>
                </a:lnTo>
                <a:lnTo>
                  <a:pt x="396" y="148"/>
                </a:lnTo>
                <a:lnTo>
                  <a:pt x="400" y="148"/>
                </a:lnTo>
                <a:lnTo>
                  <a:pt x="410" y="132"/>
                </a:lnTo>
                <a:lnTo>
                  <a:pt x="412" y="132"/>
                </a:lnTo>
                <a:lnTo>
                  <a:pt x="420" y="130"/>
                </a:lnTo>
                <a:lnTo>
                  <a:pt x="430" y="128"/>
                </a:lnTo>
                <a:lnTo>
                  <a:pt x="472" y="126"/>
                </a:lnTo>
                <a:lnTo>
                  <a:pt x="478" y="128"/>
                </a:lnTo>
                <a:lnTo>
                  <a:pt x="480" y="128"/>
                </a:lnTo>
                <a:lnTo>
                  <a:pt x="486" y="132"/>
                </a:lnTo>
                <a:lnTo>
                  <a:pt x="496" y="126"/>
                </a:lnTo>
                <a:lnTo>
                  <a:pt x="506" y="120"/>
                </a:lnTo>
                <a:lnTo>
                  <a:pt x="512" y="112"/>
                </a:lnTo>
                <a:lnTo>
                  <a:pt x="512" y="108"/>
                </a:lnTo>
                <a:lnTo>
                  <a:pt x="512" y="90"/>
                </a:lnTo>
                <a:lnTo>
                  <a:pt x="502" y="88"/>
                </a:lnTo>
                <a:lnTo>
                  <a:pt x="486" y="94"/>
                </a:lnTo>
                <a:lnTo>
                  <a:pt x="478" y="100"/>
                </a:lnTo>
                <a:lnTo>
                  <a:pt x="474" y="102"/>
                </a:lnTo>
                <a:lnTo>
                  <a:pt x="470" y="104"/>
                </a:lnTo>
                <a:lnTo>
                  <a:pt x="466" y="102"/>
                </a:lnTo>
                <a:lnTo>
                  <a:pt x="462" y="100"/>
                </a:lnTo>
                <a:lnTo>
                  <a:pt x="454" y="90"/>
                </a:lnTo>
                <a:lnTo>
                  <a:pt x="454" y="88"/>
                </a:lnTo>
                <a:lnTo>
                  <a:pt x="452" y="78"/>
                </a:lnTo>
                <a:lnTo>
                  <a:pt x="452" y="76"/>
                </a:lnTo>
                <a:lnTo>
                  <a:pt x="454" y="66"/>
                </a:lnTo>
                <a:lnTo>
                  <a:pt x="444" y="44"/>
                </a:lnTo>
                <a:lnTo>
                  <a:pt x="428" y="48"/>
                </a:lnTo>
                <a:lnTo>
                  <a:pt x="420" y="56"/>
                </a:lnTo>
                <a:lnTo>
                  <a:pt x="424" y="80"/>
                </a:lnTo>
                <a:lnTo>
                  <a:pt x="396" y="68"/>
                </a:lnTo>
                <a:lnTo>
                  <a:pt x="404" y="82"/>
                </a:lnTo>
                <a:lnTo>
                  <a:pt x="404" y="84"/>
                </a:lnTo>
                <a:lnTo>
                  <a:pt x="402" y="100"/>
                </a:lnTo>
                <a:lnTo>
                  <a:pt x="402" y="102"/>
                </a:lnTo>
                <a:lnTo>
                  <a:pt x="400" y="102"/>
                </a:lnTo>
                <a:lnTo>
                  <a:pt x="386" y="124"/>
                </a:lnTo>
                <a:lnTo>
                  <a:pt x="360" y="138"/>
                </a:lnTo>
                <a:lnTo>
                  <a:pt x="358" y="152"/>
                </a:lnTo>
                <a:lnTo>
                  <a:pt x="360" y="160"/>
                </a:lnTo>
                <a:lnTo>
                  <a:pt x="364" y="170"/>
                </a:lnTo>
                <a:lnTo>
                  <a:pt x="366" y="170"/>
                </a:lnTo>
                <a:lnTo>
                  <a:pt x="366" y="172"/>
                </a:lnTo>
                <a:lnTo>
                  <a:pt x="368" y="192"/>
                </a:lnTo>
                <a:lnTo>
                  <a:pt x="368" y="194"/>
                </a:lnTo>
                <a:lnTo>
                  <a:pt x="366" y="196"/>
                </a:lnTo>
                <a:lnTo>
                  <a:pt x="356" y="208"/>
                </a:lnTo>
                <a:lnTo>
                  <a:pt x="348" y="214"/>
                </a:lnTo>
                <a:lnTo>
                  <a:pt x="346" y="214"/>
                </a:lnTo>
                <a:lnTo>
                  <a:pt x="344" y="214"/>
                </a:lnTo>
                <a:lnTo>
                  <a:pt x="326" y="210"/>
                </a:lnTo>
                <a:lnTo>
                  <a:pt x="322" y="210"/>
                </a:lnTo>
                <a:lnTo>
                  <a:pt x="316" y="214"/>
                </a:lnTo>
                <a:lnTo>
                  <a:pt x="308" y="224"/>
                </a:lnTo>
                <a:lnTo>
                  <a:pt x="300" y="232"/>
                </a:lnTo>
                <a:lnTo>
                  <a:pt x="298" y="236"/>
                </a:lnTo>
                <a:lnTo>
                  <a:pt x="294" y="238"/>
                </a:lnTo>
                <a:lnTo>
                  <a:pt x="288" y="240"/>
                </a:lnTo>
                <a:lnTo>
                  <a:pt x="282" y="238"/>
                </a:lnTo>
                <a:lnTo>
                  <a:pt x="280" y="238"/>
                </a:lnTo>
                <a:lnTo>
                  <a:pt x="278" y="234"/>
                </a:lnTo>
                <a:lnTo>
                  <a:pt x="276" y="230"/>
                </a:lnTo>
                <a:lnTo>
                  <a:pt x="276" y="224"/>
                </a:lnTo>
                <a:lnTo>
                  <a:pt x="276" y="220"/>
                </a:lnTo>
                <a:lnTo>
                  <a:pt x="276" y="214"/>
                </a:lnTo>
                <a:lnTo>
                  <a:pt x="272" y="218"/>
                </a:lnTo>
                <a:lnTo>
                  <a:pt x="270" y="220"/>
                </a:lnTo>
                <a:lnTo>
                  <a:pt x="264" y="222"/>
                </a:lnTo>
                <a:lnTo>
                  <a:pt x="260" y="218"/>
                </a:lnTo>
                <a:lnTo>
                  <a:pt x="258" y="212"/>
                </a:lnTo>
                <a:lnTo>
                  <a:pt x="256" y="192"/>
                </a:lnTo>
                <a:lnTo>
                  <a:pt x="252" y="176"/>
                </a:lnTo>
                <a:lnTo>
                  <a:pt x="244" y="168"/>
                </a:lnTo>
                <a:lnTo>
                  <a:pt x="244" y="166"/>
                </a:lnTo>
                <a:lnTo>
                  <a:pt x="226" y="128"/>
                </a:lnTo>
                <a:lnTo>
                  <a:pt x="220" y="116"/>
                </a:lnTo>
                <a:lnTo>
                  <a:pt x="220" y="114"/>
                </a:lnTo>
                <a:lnTo>
                  <a:pt x="216" y="94"/>
                </a:lnTo>
                <a:lnTo>
                  <a:pt x="214" y="90"/>
                </a:lnTo>
                <a:lnTo>
                  <a:pt x="212" y="92"/>
                </a:lnTo>
                <a:lnTo>
                  <a:pt x="204" y="100"/>
                </a:lnTo>
                <a:lnTo>
                  <a:pt x="200" y="104"/>
                </a:lnTo>
                <a:lnTo>
                  <a:pt x="196" y="102"/>
                </a:lnTo>
                <a:lnTo>
                  <a:pt x="188" y="96"/>
                </a:lnTo>
                <a:lnTo>
                  <a:pt x="176" y="90"/>
                </a:lnTo>
                <a:lnTo>
                  <a:pt x="174" y="88"/>
                </a:lnTo>
                <a:lnTo>
                  <a:pt x="172" y="88"/>
                </a:lnTo>
                <a:lnTo>
                  <a:pt x="172" y="86"/>
                </a:lnTo>
                <a:lnTo>
                  <a:pt x="172" y="70"/>
                </a:lnTo>
                <a:lnTo>
                  <a:pt x="168" y="58"/>
                </a:lnTo>
                <a:lnTo>
                  <a:pt x="162" y="42"/>
                </a:lnTo>
                <a:lnTo>
                  <a:pt x="156" y="42"/>
                </a:lnTo>
                <a:lnTo>
                  <a:pt x="156" y="50"/>
                </a:lnTo>
                <a:lnTo>
                  <a:pt x="154" y="58"/>
                </a:lnTo>
                <a:lnTo>
                  <a:pt x="150" y="64"/>
                </a:lnTo>
                <a:lnTo>
                  <a:pt x="144" y="70"/>
                </a:lnTo>
                <a:lnTo>
                  <a:pt x="142" y="78"/>
                </a:lnTo>
                <a:lnTo>
                  <a:pt x="138" y="82"/>
                </a:lnTo>
                <a:lnTo>
                  <a:pt x="134" y="86"/>
                </a:lnTo>
                <a:lnTo>
                  <a:pt x="130" y="86"/>
                </a:lnTo>
                <a:lnTo>
                  <a:pt x="128" y="86"/>
                </a:lnTo>
                <a:lnTo>
                  <a:pt x="124" y="84"/>
                </a:lnTo>
                <a:lnTo>
                  <a:pt x="122" y="84"/>
                </a:lnTo>
                <a:lnTo>
                  <a:pt x="118" y="82"/>
                </a:lnTo>
                <a:lnTo>
                  <a:pt x="118" y="78"/>
                </a:lnTo>
                <a:lnTo>
                  <a:pt x="116" y="66"/>
                </a:lnTo>
                <a:lnTo>
                  <a:pt x="116" y="62"/>
                </a:lnTo>
                <a:lnTo>
                  <a:pt x="106" y="56"/>
                </a:lnTo>
                <a:lnTo>
                  <a:pt x="104" y="54"/>
                </a:lnTo>
                <a:lnTo>
                  <a:pt x="102" y="50"/>
                </a:lnTo>
                <a:lnTo>
                  <a:pt x="100" y="42"/>
                </a:lnTo>
                <a:lnTo>
                  <a:pt x="104" y="6"/>
                </a:lnTo>
                <a:lnTo>
                  <a:pt x="102" y="0"/>
                </a:lnTo>
                <a:lnTo>
                  <a:pt x="88" y="14"/>
                </a:lnTo>
                <a:lnTo>
                  <a:pt x="80" y="20"/>
                </a:lnTo>
                <a:lnTo>
                  <a:pt x="78" y="26"/>
                </a:lnTo>
                <a:lnTo>
                  <a:pt x="82" y="36"/>
                </a:lnTo>
                <a:lnTo>
                  <a:pt x="82" y="44"/>
                </a:lnTo>
                <a:lnTo>
                  <a:pt x="82" y="48"/>
                </a:lnTo>
                <a:lnTo>
                  <a:pt x="80" y="54"/>
                </a:lnTo>
                <a:lnTo>
                  <a:pt x="76" y="58"/>
                </a:lnTo>
                <a:lnTo>
                  <a:pt x="72" y="60"/>
                </a:lnTo>
                <a:lnTo>
                  <a:pt x="56" y="66"/>
                </a:lnTo>
                <a:lnTo>
                  <a:pt x="52" y="68"/>
                </a:lnTo>
                <a:lnTo>
                  <a:pt x="52" y="74"/>
                </a:lnTo>
                <a:lnTo>
                  <a:pt x="52" y="96"/>
                </a:lnTo>
                <a:lnTo>
                  <a:pt x="54" y="104"/>
                </a:lnTo>
                <a:lnTo>
                  <a:pt x="54" y="106"/>
                </a:lnTo>
                <a:lnTo>
                  <a:pt x="56" y="108"/>
                </a:lnTo>
                <a:lnTo>
                  <a:pt x="64" y="108"/>
                </a:lnTo>
                <a:lnTo>
                  <a:pt x="68" y="108"/>
                </a:lnTo>
                <a:lnTo>
                  <a:pt x="72" y="106"/>
                </a:lnTo>
                <a:lnTo>
                  <a:pt x="76" y="104"/>
                </a:lnTo>
                <a:lnTo>
                  <a:pt x="92" y="138"/>
                </a:lnTo>
                <a:lnTo>
                  <a:pt x="92" y="140"/>
                </a:lnTo>
                <a:lnTo>
                  <a:pt x="88" y="184"/>
                </a:lnTo>
                <a:lnTo>
                  <a:pt x="82" y="216"/>
                </a:lnTo>
                <a:lnTo>
                  <a:pt x="78" y="238"/>
                </a:lnTo>
                <a:lnTo>
                  <a:pt x="72" y="250"/>
                </a:lnTo>
                <a:lnTo>
                  <a:pt x="68" y="254"/>
                </a:lnTo>
                <a:lnTo>
                  <a:pt x="62" y="256"/>
                </a:lnTo>
                <a:lnTo>
                  <a:pt x="54" y="254"/>
                </a:lnTo>
                <a:lnTo>
                  <a:pt x="48" y="252"/>
                </a:lnTo>
                <a:lnTo>
                  <a:pt x="22" y="298"/>
                </a:lnTo>
                <a:lnTo>
                  <a:pt x="12" y="312"/>
                </a:lnTo>
                <a:lnTo>
                  <a:pt x="6" y="318"/>
                </a:lnTo>
                <a:lnTo>
                  <a:pt x="8" y="318"/>
                </a:lnTo>
                <a:lnTo>
                  <a:pt x="6" y="320"/>
                </a:lnTo>
                <a:lnTo>
                  <a:pt x="4" y="326"/>
                </a:lnTo>
                <a:lnTo>
                  <a:pt x="4" y="348"/>
                </a:lnTo>
                <a:lnTo>
                  <a:pt x="8" y="352"/>
                </a:lnTo>
                <a:lnTo>
                  <a:pt x="10" y="352"/>
                </a:lnTo>
                <a:lnTo>
                  <a:pt x="12" y="354"/>
                </a:lnTo>
                <a:lnTo>
                  <a:pt x="4" y="364"/>
                </a:lnTo>
                <a:close/>
              </a:path>
            </a:pathLst>
          </a:custGeom>
          <a:solidFill>
            <a:srgbClr val="E00024"/>
          </a:solidFill>
          <a:ln>
            <a:noFill/>
          </a:ln>
        </p:spPr>
        <p:txBody>
          <a:bodyPr/>
          <a:lstStyle/>
          <a:p>
            <a:endParaRPr altLang="en-US" lang="zh-CN">
              <a:cs typeface="+mn-ea"/>
              <a:sym typeface="+mn-lt"/>
            </a:endParaRPr>
          </a:p>
        </p:txBody>
      </p:sp>
      <p:sp>
        <p:nvSpPr>
          <p:cNvPr id="44" name="KSO_Shape"/>
          <p:cNvSpPr>
            <a:spLocks noChangeAspect="1"/>
          </p:cNvSpPr>
          <p:nvPr/>
        </p:nvSpPr>
        <p:spPr bwMode="auto">
          <a:xfrm>
            <a:off x="6665961" y="3260466"/>
            <a:ext cx="888000" cy="900000"/>
          </a:xfrm>
          <a:custGeom>
            <a:gdLst>
              <a:gd fmla="*/ 2147483646 w 284" name="T0"/>
              <a:gd fmla="*/ 2147483646 h 288" name="T1"/>
              <a:gd fmla="*/ 2147483646 w 284" name="T2"/>
              <a:gd fmla="*/ 2147483646 h 288" name="T3"/>
              <a:gd fmla="*/ 2147483646 w 284" name="T4"/>
              <a:gd fmla="*/ 2147483646 h 288" name="T5"/>
              <a:gd fmla="*/ 2147483646 w 284" name="T6"/>
              <a:gd fmla="*/ 2147483646 h 288" name="T7"/>
              <a:gd fmla="*/ 2147483646 w 284" name="T8"/>
              <a:gd fmla="*/ 2147483646 h 288" name="T9"/>
              <a:gd fmla="*/ 2147483646 w 284" name="T10"/>
              <a:gd fmla="*/ 2147483646 h 288" name="T11"/>
              <a:gd fmla="*/ 2147483646 w 284" name="T12"/>
              <a:gd fmla="*/ 2147483646 h 288" name="T13"/>
              <a:gd fmla="*/ 2147483646 w 284" name="T14"/>
              <a:gd fmla="*/ 2147483646 h 288" name="T15"/>
              <a:gd fmla="*/ 2147483646 w 284" name="T16"/>
              <a:gd fmla="*/ 2147483646 h 288" name="T17"/>
              <a:gd fmla="*/ 2147483646 w 284" name="T18"/>
              <a:gd fmla="*/ 2147483646 h 288" name="T19"/>
              <a:gd fmla="*/ 2147483646 w 284" name="T20"/>
              <a:gd fmla="*/ 2147483646 h 288" name="T21"/>
              <a:gd fmla="*/ 2147483646 w 284" name="T22"/>
              <a:gd fmla="*/ 2147483646 h 288" name="T23"/>
              <a:gd fmla="*/ 2147483646 w 284" name="T24"/>
              <a:gd fmla="*/ 2147483646 h 288" name="T25"/>
              <a:gd fmla="*/ 2147483646 w 284" name="T26"/>
              <a:gd fmla="*/ 2147483646 h 288" name="T27"/>
              <a:gd fmla="*/ 2147483646 w 284" name="T28"/>
              <a:gd fmla="*/ 2147483646 h 288" name="T29"/>
              <a:gd fmla="*/ 2147483646 w 284" name="T30"/>
              <a:gd fmla="*/ 2147483646 h 288" name="T31"/>
              <a:gd fmla="*/ 2147483646 w 284" name="T32"/>
              <a:gd fmla="*/ 2147483646 h 288" name="T33"/>
              <a:gd fmla="*/ 2147483646 w 284" name="T34"/>
              <a:gd fmla="*/ 2147483646 h 288" name="T35"/>
              <a:gd fmla="*/ 2147483646 w 284" name="T36"/>
              <a:gd fmla="*/ 2147483646 h 288" name="T37"/>
              <a:gd fmla="*/ 2147483646 w 284" name="T38"/>
              <a:gd fmla="*/ 2147483646 h 288" name="T39"/>
              <a:gd fmla="*/ 2147483646 w 284" name="T40"/>
              <a:gd fmla="*/ 2147483646 h 288" name="T41"/>
              <a:gd fmla="*/ 2147483646 w 284" name="T42"/>
              <a:gd fmla="*/ 2147483646 h 288" name="T43"/>
              <a:gd fmla="*/ 2147483646 w 284" name="T44"/>
              <a:gd fmla="*/ 2147483646 h 288" name="T45"/>
              <a:gd fmla="*/ 2147483646 w 284" name="T46"/>
              <a:gd fmla="*/ 2147483646 h 288" name="T47"/>
              <a:gd fmla="*/ 2147483646 w 284" name="T48"/>
              <a:gd fmla="*/ 2147483646 h 288" name="T49"/>
              <a:gd fmla="*/ 2147483646 w 284" name="T50"/>
              <a:gd fmla="*/ 2147483646 h 288" name="T51"/>
              <a:gd fmla="*/ 2147483646 w 284" name="T52"/>
              <a:gd fmla="*/ 2147483646 h 288" name="T53"/>
              <a:gd fmla="*/ 2147483646 w 284" name="T54"/>
              <a:gd fmla="*/ 2147483646 h 288" name="T55"/>
              <a:gd fmla="*/ 2147483646 w 284" name="T56"/>
              <a:gd fmla="*/ 2147483646 h 288" name="T57"/>
              <a:gd fmla="*/ 2147483646 w 284" name="T58"/>
              <a:gd fmla="*/ 2147483646 h 288" name="T59"/>
              <a:gd fmla="*/ 2147483646 w 284" name="T60"/>
              <a:gd fmla="*/ 2147483646 h 288" name="T61"/>
              <a:gd fmla="*/ 2147483646 w 284" name="T62"/>
              <a:gd fmla="*/ 2147483646 h 288" name="T63"/>
              <a:gd fmla="*/ 2147483646 w 284" name="T64"/>
              <a:gd fmla="*/ 2147483646 h 288" name="T65"/>
              <a:gd fmla="*/ 2147483646 w 284" name="T66"/>
              <a:gd fmla="*/ 2147483646 h 288" name="T67"/>
              <a:gd fmla="*/ 2147483646 w 284" name="T68"/>
              <a:gd fmla="*/ 2147483646 h 288" name="T69"/>
              <a:gd fmla="*/ 2147483646 w 284" name="T70"/>
              <a:gd fmla="*/ 2147483646 h 288" name="T71"/>
              <a:gd fmla="*/ 2147483646 w 284" name="T72"/>
              <a:gd fmla="*/ 2147483646 h 288" name="T73"/>
              <a:gd fmla="*/ 2147483646 w 284" name="T74"/>
              <a:gd fmla="*/ 2147483646 h 288" name="T75"/>
              <a:gd fmla="*/ 2147483646 w 284" name="T76"/>
              <a:gd fmla="*/ 2147483646 h 288" name="T77"/>
              <a:gd fmla="*/ 2147483646 w 284" name="T78"/>
              <a:gd fmla="*/ 2147483646 h 288" name="T79"/>
              <a:gd fmla="*/ 2147483646 w 284" name="T80"/>
              <a:gd fmla="*/ 2147483646 h 288" name="T81"/>
              <a:gd fmla="*/ 2147483646 w 284" name="T82"/>
              <a:gd fmla="*/ 2147483646 h 288" name="T83"/>
              <a:gd fmla="*/ 2147483646 w 284" name="T84"/>
              <a:gd fmla="*/ 2147483646 h 288" name="T85"/>
              <a:gd fmla="*/ 2147483646 w 284" name="T86"/>
              <a:gd fmla="*/ 2147483646 h 288" name="T87"/>
              <a:gd fmla="*/ 2147483646 w 284" name="T88"/>
              <a:gd fmla="*/ 2147483646 h 288" name="T89"/>
              <a:gd fmla="*/ 2147483646 w 284" name="T90"/>
              <a:gd fmla="*/ 2147483646 h 288" name="T91"/>
              <a:gd fmla="*/ 2147483646 w 284" name="T92"/>
              <a:gd fmla="*/ 2147483646 h 288" name="T93"/>
              <a:gd fmla="*/ 2147483646 w 284" name="T94"/>
              <a:gd fmla="*/ 2147483646 h 288" name="T95"/>
              <a:gd fmla="*/ 2147483646 w 284" name="T96"/>
              <a:gd fmla="*/ 2147483646 h 288" name="T97"/>
              <a:gd fmla="*/ 2147483646 w 284" name="T98"/>
              <a:gd fmla="*/ 2147483646 h 288" name="T99"/>
              <a:gd fmla="*/ 2147483646 w 284" name="T100"/>
              <a:gd fmla="*/ 2147483646 h 288" name="T101"/>
              <a:gd fmla="*/ 2147483646 w 284" name="T102"/>
              <a:gd fmla="*/ 2147483646 h 288"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b="b" l="0" r="r" t="0"/>
            <a:pathLst>
              <a:path h="288" w="284">
                <a:moveTo>
                  <a:pt x="284" y="58"/>
                </a:moveTo>
                <a:lnTo>
                  <a:pt x="278" y="44"/>
                </a:lnTo>
                <a:lnTo>
                  <a:pt x="268" y="32"/>
                </a:lnTo>
                <a:lnTo>
                  <a:pt x="260" y="30"/>
                </a:lnTo>
                <a:lnTo>
                  <a:pt x="258" y="30"/>
                </a:lnTo>
                <a:lnTo>
                  <a:pt x="258" y="28"/>
                </a:lnTo>
                <a:lnTo>
                  <a:pt x="250" y="24"/>
                </a:lnTo>
                <a:lnTo>
                  <a:pt x="248" y="24"/>
                </a:lnTo>
                <a:lnTo>
                  <a:pt x="244" y="26"/>
                </a:lnTo>
                <a:lnTo>
                  <a:pt x="234" y="28"/>
                </a:lnTo>
                <a:lnTo>
                  <a:pt x="232" y="26"/>
                </a:lnTo>
                <a:lnTo>
                  <a:pt x="222" y="22"/>
                </a:lnTo>
                <a:lnTo>
                  <a:pt x="220" y="22"/>
                </a:lnTo>
                <a:lnTo>
                  <a:pt x="220" y="20"/>
                </a:lnTo>
                <a:lnTo>
                  <a:pt x="212" y="12"/>
                </a:lnTo>
                <a:lnTo>
                  <a:pt x="204" y="4"/>
                </a:lnTo>
                <a:lnTo>
                  <a:pt x="196" y="0"/>
                </a:lnTo>
                <a:lnTo>
                  <a:pt x="188" y="8"/>
                </a:lnTo>
                <a:lnTo>
                  <a:pt x="176" y="16"/>
                </a:lnTo>
                <a:lnTo>
                  <a:pt x="172" y="40"/>
                </a:lnTo>
                <a:lnTo>
                  <a:pt x="162" y="58"/>
                </a:lnTo>
                <a:lnTo>
                  <a:pt x="162" y="60"/>
                </a:lnTo>
                <a:lnTo>
                  <a:pt x="154" y="68"/>
                </a:lnTo>
                <a:lnTo>
                  <a:pt x="144" y="86"/>
                </a:lnTo>
                <a:lnTo>
                  <a:pt x="144" y="88"/>
                </a:lnTo>
                <a:lnTo>
                  <a:pt x="124" y="104"/>
                </a:lnTo>
                <a:lnTo>
                  <a:pt x="116" y="118"/>
                </a:lnTo>
                <a:lnTo>
                  <a:pt x="114" y="120"/>
                </a:lnTo>
                <a:lnTo>
                  <a:pt x="110" y="124"/>
                </a:lnTo>
                <a:lnTo>
                  <a:pt x="96" y="132"/>
                </a:lnTo>
                <a:lnTo>
                  <a:pt x="88" y="144"/>
                </a:lnTo>
                <a:lnTo>
                  <a:pt x="74" y="164"/>
                </a:lnTo>
                <a:lnTo>
                  <a:pt x="72" y="164"/>
                </a:lnTo>
                <a:lnTo>
                  <a:pt x="8" y="160"/>
                </a:lnTo>
                <a:lnTo>
                  <a:pt x="0" y="168"/>
                </a:lnTo>
                <a:lnTo>
                  <a:pt x="0" y="180"/>
                </a:lnTo>
                <a:lnTo>
                  <a:pt x="6" y="208"/>
                </a:lnTo>
                <a:lnTo>
                  <a:pt x="20" y="226"/>
                </a:lnTo>
                <a:lnTo>
                  <a:pt x="32" y="232"/>
                </a:lnTo>
                <a:lnTo>
                  <a:pt x="32" y="234"/>
                </a:lnTo>
                <a:lnTo>
                  <a:pt x="40" y="244"/>
                </a:lnTo>
                <a:lnTo>
                  <a:pt x="42" y="252"/>
                </a:lnTo>
                <a:lnTo>
                  <a:pt x="42" y="262"/>
                </a:lnTo>
                <a:lnTo>
                  <a:pt x="38" y="266"/>
                </a:lnTo>
                <a:lnTo>
                  <a:pt x="40" y="268"/>
                </a:lnTo>
                <a:lnTo>
                  <a:pt x="44" y="268"/>
                </a:lnTo>
                <a:lnTo>
                  <a:pt x="48" y="258"/>
                </a:lnTo>
                <a:lnTo>
                  <a:pt x="50" y="258"/>
                </a:lnTo>
                <a:lnTo>
                  <a:pt x="62" y="262"/>
                </a:lnTo>
                <a:lnTo>
                  <a:pt x="64" y="266"/>
                </a:lnTo>
                <a:lnTo>
                  <a:pt x="70" y="266"/>
                </a:lnTo>
                <a:lnTo>
                  <a:pt x="68" y="260"/>
                </a:lnTo>
                <a:lnTo>
                  <a:pt x="76" y="246"/>
                </a:lnTo>
                <a:lnTo>
                  <a:pt x="78" y="244"/>
                </a:lnTo>
                <a:lnTo>
                  <a:pt x="80" y="242"/>
                </a:lnTo>
                <a:lnTo>
                  <a:pt x="88" y="242"/>
                </a:lnTo>
                <a:lnTo>
                  <a:pt x="102" y="242"/>
                </a:lnTo>
                <a:lnTo>
                  <a:pt x="110" y="232"/>
                </a:lnTo>
                <a:lnTo>
                  <a:pt x="110" y="222"/>
                </a:lnTo>
                <a:lnTo>
                  <a:pt x="112" y="212"/>
                </a:lnTo>
                <a:lnTo>
                  <a:pt x="114" y="210"/>
                </a:lnTo>
                <a:lnTo>
                  <a:pt x="120" y="206"/>
                </a:lnTo>
                <a:lnTo>
                  <a:pt x="122" y="206"/>
                </a:lnTo>
                <a:lnTo>
                  <a:pt x="134" y="208"/>
                </a:lnTo>
                <a:lnTo>
                  <a:pt x="134" y="210"/>
                </a:lnTo>
                <a:lnTo>
                  <a:pt x="136" y="220"/>
                </a:lnTo>
                <a:lnTo>
                  <a:pt x="136" y="224"/>
                </a:lnTo>
                <a:lnTo>
                  <a:pt x="138" y="232"/>
                </a:lnTo>
                <a:lnTo>
                  <a:pt x="140" y="232"/>
                </a:lnTo>
                <a:lnTo>
                  <a:pt x="144" y="226"/>
                </a:lnTo>
                <a:lnTo>
                  <a:pt x="152" y="216"/>
                </a:lnTo>
                <a:lnTo>
                  <a:pt x="160" y="212"/>
                </a:lnTo>
                <a:lnTo>
                  <a:pt x="162" y="212"/>
                </a:lnTo>
                <a:lnTo>
                  <a:pt x="162" y="210"/>
                </a:lnTo>
                <a:lnTo>
                  <a:pt x="172" y="214"/>
                </a:lnTo>
                <a:lnTo>
                  <a:pt x="174" y="214"/>
                </a:lnTo>
                <a:lnTo>
                  <a:pt x="176" y="214"/>
                </a:lnTo>
                <a:lnTo>
                  <a:pt x="180" y="226"/>
                </a:lnTo>
                <a:lnTo>
                  <a:pt x="180" y="236"/>
                </a:lnTo>
                <a:lnTo>
                  <a:pt x="188" y="252"/>
                </a:lnTo>
                <a:lnTo>
                  <a:pt x="188" y="254"/>
                </a:lnTo>
                <a:lnTo>
                  <a:pt x="188" y="264"/>
                </a:lnTo>
                <a:lnTo>
                  <a:pt x="192" y="270"/>
                </a:lnTo>
                <a:lnTo>
                  <a:pt x="194" y="270"/>
                </a:lnTo>
                <a:lnTo>
                  <a:pt x="196" y="266"/>
                </a:lnTo>
                <a:lnTo>
                  <a:pt x="198" y="264"/>
                </a:lnTo>
                <a:lnTo>
                  <a:pt x="208" y="270"/>
                </a:lnTo>
                <a:lnTo>
                  <a:pt x="208" y="272"/>
                </a:lnTo>
                <a:lnTo>
                  <a:pt x="212" y="286"/>
                </a:lnTo>
                <a:lnTo>
                  <a:pt x="216" y="288"/>
                </a:lnTo>
                <a:lnTo>
                  <a:pt x="216" y="286"/>
                </a:lnTo>
                <a:lnTo>
                  <a:pt x="220" y="276"/>
                </a:lnTo>
                <a:lnTo>
                  <a:pt x="222" y="274"/>
                </a:lnTo>
                <a:lnTo>
                  <a:pt x="224" y="274"/>
                </a:lnTo>
                <a:lnTo>
                  <a:pt x="228" y="270"/>
                </a:lnTo>
                <a:lnTo>
                  <a:pt x="230" y="270"/>
                </a:lnTo>
                <a:lnTo>
                  <a:pt x="236" y="270"/>
                </a:lnTo>
                <a:lnTo>
                  <a:pt x="236" y="266"/>
                </a:lnTo>
                <a:lnTo>
                  <a:pt x="236" y="264"/>
                </a:lnTo>
                <a:lnTo>
                  <a:pt x="232" y="226"/>
                </a:lnTo>
                <a:lnTo>
                  <a:pt x="216" y="202"/>
                </a:lnTo>
                <a:lnTo>
                  <a:pt x="188" y="168"/>
                </a:lnTo>
                <a:lnTo>
                  <a:pt x="186" y="168"/>
                </a:lnTo>
                <a:lnTo>
                  <a:pt x="184" y="146"/>
                </a:lnTo>
                <a:lnTo>
                  <a:pt x="176" y="128"/>
                </a:lnTo>
                <a:lnTo>
                  <a:pt x="174" y="128"/>
                </a:lnTo>
                <a:lnTo>
                  <a:pt x="176" y="126"/>
                </a:lnTo>
                <a:lnTo>
                  <a:pt x="180" y="104"/>
                </a:lnTo>
                <a:lnTo>
                  <a:pt x="182" y="104"/>
                </a:lnTo>
                <a:lnTo>
                  <a:pt x="184" y="104"/>
                </a:lnTo>
                <a:lnTo>
                  <a:pt x="234" y="102"/>
                </a:lnTo>
                <a:lnTo>
                  <a:pt x="260" y="88"/>
                </a:lnTo>
                <a:lnTo>
                  <a:pt x="262" y="86"/>
                </a:lnTo>
                <a:lnTo>
                  <a:pt x="274" y="82"/>
                </a:lnTo>
                <a:lnTo>
                  <a:pt x="278" y="78"/>
                </a:lnTo>
                <a:lnTo>
                  <a:pt x="280" y="76"/>
                </a:lnTo>
                <a:lnTo>
                  <a:pt x="282" y="68"/>
                </a:lnTo>
                <a:lnTo>
                  <a:pt x="284" y="58"/>
                </a:lnTo>
                <a:close/>
              </a:path>
            </a:pathLst>
          </a:custGeom>
          <a:solidFill>
            <a:srgbClr val="E63350"/>
          </a:solidFill>
          <a:ln>
            <a:noFill/>
          </a:ln>
        </p:spPr>
        <p:txBody>
          <a:bodyPr/>
          <a:lstStyle/>
          <a:p>
            <a:endParaRPr altLang="en-US" lang="zh-CN">
              <a:cs typeface="+mn-ea"/>
              <a:sym typeface="+mn-lt"/>
            </a:endParaRPr>
          </a:p>
        </p:txBody>
      </p:sp>
      <p:sp>
        <p:nvSpPr>
          <p:cNvPr id="47" name="文本框 46"/>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49" name="文本框 48"/>
          <p:cNvSpPr txBox="1"/>
          <p:nvPr/>
        </p:nvSpPr>
        <p:spPr>
          <a:xfrm>
            <a:off x="7733236" y="2951847"/>
            <a:ext cx="2010416" cy="396240"/>
          </a:xfrm>
          <a:prstGeom prst="rect">
            <a:avLst/>
          </a:prstGeom>
          <a:noFill/>
        </p:spPr>
        <p:txBody>
          <a:bodyPr rtlCol="0" wrap="square">
            <a:spAutoFit/>
          </a:bodyPr>
          <a:lstStyle/>
          <a:p>
            <a:r>
              <a:rPr altLang="en-US" b="1" lang="zh-CN" sz="20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标题</a:t>
            </a:r>
          </a:p>
        </p:txBody>
      </p:sp>
      <p:sp>
        <p:nvSpPr>
          <p:cNvPr id="50" name="文本框 49"/>
          <p:cNvSpPr txBox="1"/>
          <p:nvPr/>
        </p:nvSpPr>
        <p:spPr>
          <a:xfrm>
            <a:off x="7716963" y="3423255"/>
            <a:ext cx="2506816" cy="914400"/>
          </a:xfrm>
          <a:prstGeom prst="rect">
            <a:avLst/>
          </a:prstGeom>
          <a:noFill/>
        </p:spPr>
        <p:txBody>
          <a:bodyPr rtlCol="0" wrap="square">
            <a:spAutoFit/>
          </a:bodyPr>
          <a:lstStyle/>
          <a:p>
            <a:r>
              <a:rPr altLang="en-US" lang="zh-CN">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请在此输入文本请在此输入文本请在此输入文本请在此输入文本</a:t>
            </a:r>
          </a:p>
        </p:txBody>
      </p:sp>
      <p:sp>
        <p:nvSpPr>
          <p:cNvPr id="51" name="文本框 50"/>
          <p:cNvSpPr txBox="1"/>
          <p:nvPr/>
        </p:nvSpPr>
        <p:spPr>
          <a:xfrm>
            <a:off x="7733236" y="4750865"/>
            <a:ext cx="2010416" cy="396240"/>
          </a:xfrm>
          <a:prstGeom prst="rect">
            <a:avLst/>
          </a:prstGeom>
          <a:noFill/>
        </p:spPr>
        <p:txBody>
          <a:bodyPr rtlCol="0" wrap="square">
            <a:spAutoFit/>
          </a:bodyPr>
          <a:lstStyle/>
          <a:p>
            <a:r>
              <a:rPr altLang="en-US" b="1" lang="zh-CN" sz="2000">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标题</a:t>
            </a:r>
          </a:p>
        </p:txBody>
      </p:sp>
      <p:sp>
        <p:nvSpPr>
          <p:cNvPr id="52" name="文本框 51"/>
          <p:cNvSpPr txBox="1"/>
          <p:nvPr/>
        </p:nvSpPr>
        <p:spPr>
          <a:xfrm>
            <a:off x="7716963" y="5222274"/>
            <a:ext cx="2506816" cy="914400"/>
          </a:xfrm>
          <a:prstGeom prst="rect">
            <a:avLst/>
          </a:prstGeom>
          <a:noFill/>
        </p:spPr>
        <p:txBody>
          <a:bodyPr rtlCol="0" wrap="square">
            <a:spAutoFit/>
          </a:bodyPr>
          <a:lstStyle/>
          <a:p>
            <a:r>
              <a:rPr altLang="en-US" lang="zh-CN">
                <a:solidFill>
                  <a:schemeClr val="tx1">
                    <a:lumMod val="75000"/>
                    <a:lumOff val="25000"/>
                  </a:schemeClr>
                </a:solidFill>
                <a:latin charset="-122" panose="020b0503020204020204" pitchFamily="34" typeface="微软雅黑"/>
                <a:ea charset="-122" panose="020b0503020204020204" pitchFamily="34" typeface="微软雅黑"/>
                <a:cs typeface="+mn-ea"/>
                <a:sym typeface="+mn-lt"/>
              </a:rPr>
              <a:t>请在此输入文本请在此输入文本请在此输入文本请在此输入文本</a:t>
            </a:r>
          </a:p>
        </p:txBody>
      </p:sp>
    </p:spTree>
    <p:extLst>
      <p:ext uri="{BB962C8B-B14F-4D97-AF65-F5344CB8AC3E}">
        <p14:creationId val="2082659398"/>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D48AE406-9F2A-4845-B6A6-0B853C217CB7}" type="slidenum">
              <a:rPr altLang="en-US" lang="zh-CN" smtClean="0"/>
              <a:t>8</a:t>
            </a:fld>
          </a:p>
        </p:txBody>
      </p:sp>
      <p:sp>
        <p:nvSpPr>
          <p:cNvPr id="5" name="文本框 4"/>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sp>
        <p:nvSpPr>
          <p:cNvPr id="6" name="任意多边形 5"/>
          <p:cNvSpPr/>
          <p:nvPr/>
        </p:nvSpPr>
        <p:spPr>
          <a:xfrm>
            <a:off x="1955263" y="1871633"/>
            <a:ext cx="2388565" cy="2388565"/>
          </a:xfrm>
          <a:custGeom>
            <a:gdLst>
              <a:gd fmla="*/ 0 w 2388565" name="connsiteX0"/>
              <a:gd fmla="*/ 1194283 h 2388565" name="connsiteY0"/>
              <a:gd fmla="*/ 1194283 w 2388565" name="connsiteX1"/>
              <a:gd fmla="*/ 0 h 2388565" name="connsiteY1"/>
              <a:gd fmla="*/ 2388566 w 2388565" name="connsiteX2"/>
              <a:gd fmla="*/ 1194283 h 2388565" name="connsiteY2"/>
              <a:gd fmla="*/ 1194283 w 2388565" name="connsiteX3"/>
              <a:gd fmla="*/ 2388566 h 2388565" name="connsiteY3"/>
              <a:gd fmla="*/ 0 w 2388565" name="connsiteX4"/>
              <a:gd fmla="*/ 1194283 h 2388565"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2388565" w="2388565">
                <a:moveTo>
                  <a:pt x="0" y="1194283"/>
                </a:moveTo>
                <a:cubicBezTo>
                  <a:pt x="0" y="534699"/>
                  <a:pt x="534699" y="0"/>
                  <a:pt x="1194283" y="0"/>
                </a:cubicBezTo>
                <a:cubicBezTo>
                  <a:pt x="1853867" y="0"/>
                  <a:pt x="2388566" y="534699"/>
                  <a:pt x="2388566" y="1194283"/>
                </a:cubicBezTo>
                <a:cubicBezTo>
                  <a:pt x="2388566" y="1853867"/>
                  <a:pt x="1853867" y="2388566"/>
                  <a:pt x="1194283" y="2388566"/>
                </a:cubicBezTo>
                <a:cubicBezTo>
                  <a:pt x="534699" y="2388566"/>
                  <a:pt x="0" y="1853867"/>
                  <a:pt x="0" y="1194283"/>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r>
              <a:rPr b="1" lang="pl-PL" sz="2800">
                <a:solidFill>
                  <a:schemeClr val="lt1"/>
                </a:solidFill>
                <a:latin charset="0" panose="020b0604020202020204" pitchFamily="34" typeface="Arial"/>
                <a:ea charset="-122" panose="020b0503020204020204" pitchFamily="34" typeface="微软雅黑"/>
                <a:sym charset="0" panose="020b0604020202020204" pitchFamily="34" typeface="Arial"/>
              </a:rPr>
              <a:t> </a:t>
            </a:r>
          </a:p>
        </p:txBody>
      </p:sp>
      <p:sp>
        <p:nvSpPr>
          <p:cNvPr id="7" name="任意多边形 6"/>
          <p:cNvSpPr/>
          <p:nvPr/>
        </p:nvSpPr>
        <p:spPr>
          <a:xfrm>
            <a:off x="3866115" y="1871633"/>
            <a:ext cx="2388565" cy="2388565"/>
          </a:xfrm>
          <a:custGeom>
            <a:gdLst>
              <a:gd fmla="*/ 0 w 2388565" name="connsiteX0"/>
              <a:gd fmla="*/ 1194283 h 2388565" name="connsiteY0"/>
              <a:gd fmla="*/ 1194283 w 2388565" name="connsiteX1"/>
              <a:gd fmla="*/ 0 h 2388565" name="connsiteY1"/>
              <a:gd fmla="*/ 2388566 w 2388565" name="connsiteX2"/>
              <a:gd fmla="*/ 1194283 h 2388565" name="connsiteY2"/>
              <a:gd fmla="*/ 1194283 w 2388565" name="connsiteX3"/>
              <a:gd fmla="*/ 2388566 h 2388565" name="connsiteY3"/>
              <a:gd fmla="*/ 0 w 2388565" name="connsiteX4"/>
              <a:gd fmla="*/ 1194283 h 2388565"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2388565" w="2388565">
                <a:moveTo>
                  <a:pt x="0" y="1194283"/>
                </a:moveTo>
                <a:cubicBezTo>
                  <a:pt x="0" y="534699"/>
                  <a:pt x="534699" y="0"/>
                  <a:pt x="1194283" y="0"/>
                </a:cubicBezTo>
                <a:cubicBezTo>
                  <a:pt x="1853867" y="0"/>
                  <a:pt x="2388566" y="534699"/>
                  <a:pt x="2388566" y="1194283"/>
                </a:cubicBezTo>
                <a:cubicBezTo>
                  <a:pt x="2388566" y="1853867"/>
                  <a:pt x="1853867" y="2388566"/>
                  <a:pt x="1194283" y="2388566"/>
                </a:cubicBezTo>
                <a:cubicBezTo>
                  <a:pt x="534699" y="2388566"/>
                  <a:pt x="0" y="1853867"/>
                  <a:pt x="0" y="1194283"/>
                </a:cubicBezTo>
                <a:close/>
              </a:path>
            </a:pathLst>
          </a:custGeom>
          <a:solidFill>
            <a:srgbClr val="E00024"/>
          </a:solidFill>
          <a:ln>
            <a:noFill/>
          </a:ln>
        </p:spPr>
        <p:style>
          <a:lnRef idx="2">
            <a:schemeClr val="lt1">
              <a:hueOff val="0"/>
              <a:satOff val="0"/>
              <a:lumOff val="0"/>
              <a:alphaOff val="0"/>
            </a:schemeClr>
          </a:lnRef>
          <a:fillRef idx="1">
            <a:scrgbClr b="0" g="0" r="0"/>
          </a:fillRef>
          <a:effectRef idx="0">
            <a:schemeClr val="accent1">
              <a:hueOff val="0"/>
              <a:satOff val="0"/>
              <a:lumOff val="0"/>
              <a:alphaOff val="0"/>
            </a:schemeClr>
          </a:effectRef>
          <a:fontRef idx="minor">
            <a:schemeClr val="lt1"/>
          </a:fontRef>
        </p:style>
        <p:txBody>
          <a:bodyPr anchor="t" anchorCtr="0" bIns="609441" lIns="76200" numCol="1" rIns="76201" spcCol="1270" spcFirstLastPara="0" tIns="609442" vert="horz" wrap="square">
            <a:noAutofit/>
          </a:bodyPr>
          <a:lstStyle/>
          <a:p>
            <a:pPr defTabSz="533400">
              <a:lnSpc>
                <a:spcPct val="90000"/>
              </a:lnSpc>
              <a:spcBef>
                <a:spcPct val="0"/>
              </a:spcBef>
              <a:spcAft>
                <a:spcPct val="35000"/>
              </a:spcAft>
            </a:pPr>
            <a:r>
              <a:rPr lang="pl-PL">
                <a:solidFill>
                  <a:schemeClr val="lt1"/>
                </a:solidFill>
                <a:latin charset="0" panose="020b0604020202020204" pitchFamily="34" typeface="Arial"/>
                <a:ea charset="-122" panose="020b0503020204020204" pitchFamily="34" typeface="微软雅黑"/>
                <a:sym charset="0" panose="020b0604020202020204" pitchFamily="34" typeface="Arial"/>
              </a:rPr>
              <a:t> </a:t>
            </a:r>
          </a:p>
        </p:txBody>
      </p:sp>
      <p:sp>
        <p:nvSpPr>
          <p:cNvPr id="8" name="任意多边形 7"/>
          <p:cNvSpPr/>
          <p:nvPr/>
        </p:nvSpPr>
        <p:spPr>
          <a:xfrm>
            <a:off x="5776967" y="1871633"/>
            <a:ext cx="2388565" cy="2388565"/>
          </a:xfrm>
          <a:custGeom>
            <a:gdLst>
              <a:gd fmla="*/ 0 w 2388565" name="connsiteX0"/>
              <a:gd fmla="*/ 1194283 h 2388565" name="connsiteY0"/>
              <a:gd fmla="*/ 1194283 w 2388565" name="connsiteX1"/>
              <a:gd fmla="*/ 0 h 2388565" name="connsiteY1"/>
              <a:gd fmla="*/ 2388566 w 2388565" name="connsiteX2"/>
              <a:gd fmla="*/ 1194283 h 2388565" name="connsiteY2"/>
              <a:gd fmla="*/ 1194283 w 2388565" name="connsiteX3"/>
              <a:gd fmla="*/ 2388566 h 2388565" name="connsiteY3"/>
              <a:gd fmla="*/ 0 w 2388565" name="connsiteX4"/>
              <a:gd fmla="*/ 1194283 h 2388565"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2388565" w="2388565">
                <a:moveTo>
                  <a:pt x="0" y="1194283"/>
                </a:moveTo>
                <a:cubicBezTo>
                  <a:pt x="0" y="534699"/>
                  <a:pt x="534699" y="0"/>
                  <a:pt x="1194283" y="0"/>
                </a:cubicBezTo>
                <a:cubicBezTo>
                  <a:pt x="1853867" y="0"/>
                  <a:pt x="2388566" y="534699"/>
                  <a:pt x="2388566" y="1194283"/>
                </a:cubicBezTo>
                <a:cubicBezTo>
                  <a:pt x="2388566" y="1853867"/>
                  <a:pt x="1853867" y="2388566"/>
                  <a:pt x="1194283" y="2388566"/>
                </a:cubicBezTo>
                <a:cubicBezTo>
                  <a:pt x="534699" y="2388566"/>
                  <a:pt x="0" y="1853867"/>
                  <a:pt x="0" y="1194283"/>
                </a:cubicBezTo>
                <a:close/>
              </a:path>
            </a:pathLst>
          </a:cu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prstTxWarp prst="textNoShape">
              <a:avLst/>
            </a:prstTxWarp>
            <a:noAutofit/>
          </a:bodyPr>
          <a:lstStyle/>
          <a:p>
            <a:pPr algn="ctr"/>
            <a:r>
              <a:rPr b="1" lang="pl-PL" sz="2800">
                <a:solidFill>
                  <a:schemeClr val="lt1"/>
                </a:solidFill>
                <a:latin charset="0" panose="020b0604020202020204" pitchFamily="34" typeface="Arial"/>
                <a:ea charset="-122" panose="020b0503020204020204" pitchFamily="34" typeface="微软雅黑"/>
                <a:sym charset="0" panose="020b0604020202020204" pitchFamily="34" typeface="Arial"/>
              </a:rPr>
              <a:t> </a:t>
            </a:r>
          </a:p>
        </p:txBody>
      </p:sp>
      <p:sp>
        <p:nvSpPr>
          <p:cNvPr id="9" name="任意多边形 8"/>
          <p:cNvSpPr/>
          <p:nvPr/>
        </p:nvSpPr>
        <p:spPr>
          <a:xfrm>
            <a:off x="7687820" y="1871633"/>
            <a:ext cx="2388565" cy="2388565"/>
          </a:xfrm>
          <a:custGeom>
            <a:gdLst>
              <a:gd fmla="*/ 0 w 2388565" name="connsiteX0"/>
              <a:gd fmla="*/ 1194283 h 2388565" name="connsiteY0"/>
              <a:gd fmla="*/ 1194283 w 2388565" name="connsiteX1"/>
              <a:gd fmla="*/ 0 h 2388565" name="connsiteY1"/>
              <a:gd fmla="*/ 2388566 w 2388565" name="connsiteX2"/>
              <a:gd fmla="*/ 1194283 h 2388565" name="connsiteY2"/>
              <a:gd fmla="*/ 1194283 w 2388565" name="connsiteX3"/>
              <a:gd fmla="*/ 2388566 h 2388565" name="connsiteY3"/>
              <a:gd fmla="*/ 0 w 2388565" name="connsiteX4"/>
              <a:gd fmla="*/ 1194283 h 2388565" name="connsiteY4"/>
            </a:gdLst>
            <a:cxnLst>
              <a:cxn ang="0">
                <a:pos x="connsiteX0" y="connsiteY0"/>
              </a:cxn>
              <a:cxn ang="0">
                <a:pos x="connsiteX1" y="connsiteY1"/>
              </a:cxn>
              <a:cxn ang="0">
                <a:pos x="connsiteX2" y="connsiteY2"/>
              </a:cxn>
              <a:cxn ang="0">
                <a:pos x="connsiteX3" y="connsiteY3"/>
              </a:cxn>
              <a:cxn ang="0">
                <a:pos x="connsiteX4" y="connsiteY4"/>
              </a:cxn>
            </a:cxnLst>
            <a:rect b="b" l="l" r="r" t="t"/>
            <a:pathLst>
              <a:path h="2388565" w="2388565">
                <a:moveTo>
                  <a:pt x="0" y="1194283"/>
                </a:moveTo>
                <a:cubicBezTo>
                  <a:pt x="0" y="534699"/>
                  <a:pt x="534699" y="0"/>
                  <a:pt x="1194283" y="0"/>
                </a:cubicBezTo>
                <a:cubicBezTo>
                  <a:pt x="1853867" y="0"/>
                  <a:pt x="2388566" y="534699"/>
                  <a:pt x="2388566" y="1194283"/>
                </a:cubicBezTo>
                <a:cubicBezTo>
                  <a:pt x="2388566" y="1853867"/>
                  <a:pt x="1853867" y="2388566"/>
                  <a:pt x="1194283" y="2388566"/>
                </a:cubicBezTo>
                <a:cubicBezTo>
                  <a:pt x="534699" y="2388566"/>
                  <a:pt x="0" y="1853867"/>
                  <a:pt x="0" y="1194283"/>
                </a:cubicBezTo>
                <a:close/>
              </a:path>
            </a:pathLst>
          </a:custGeom>
          <a:solidFill>
            <a:srgbClr val="E00024"/>
          </a:solidFill>
          <a:ln>
            <a:noFill/>
          </a:ln>
        </p:spPr>
        <p:style>
          <a:lnRef idx="2">
            <a:schemeClr val="lt1">
              <a:hueOff val="0"/>
              <a:satOff val="0"/>
              <a:lumOff val="0"/>
              <a:alphaOff val="0"/>
            </a:schemeClr>
          </a:lnRef>
          <a:fillRef idx="1">
            <a:scrgbClr b="0" g="0" r="0"/>
          </a:fillRef>
          <a:effectRef idx="0">
            <a:schemeClr val="accent1">
              <a:hueOff val="0"/>
              <a:satOff val="0"/>
              <a:lumOff val="0"/>
              <a:alphaOff val="0"/>
            </a:schemeClr>
          </a:effectRef>
          <a:fontRef idx="minor">
            <a:schemeClr val="lt1"/>
          </a:fontRef>
        </p:style>
        <p:txBody>
          <a:bodyPr anchor="t" anchorCtr="0" bIns="609441" lIns="76200" numCol="1" rIns="76201" spcCol="1270" spcFirstLastPara="0" tIns="609442" vert="horz" wrap="square">
            <a:noAutofit/>
          </a:bodyPr>
          <a:lstStyle/>
          <a:p>
            <a:pPr defTabSz="533400">
              <a:lnSpc>
                <a:spcPct val="90000"/>
              </a:lnSpc>
              <a:spcBef>
                <a:spcPct val="0"/>
              </a:spcBef>
              <a:spcAft>
                <a:spcPct val="35000"/>
              </a:spcAft>
            </a:pPr>
            <a:r>
              <a:rPr lang="pl-PL">
                <a:solidFill>
                  <a:schemeClr val="lt1"/>
                </a:solidFill>
                <a:latin charset="0" panose="020b0604020202020204" pitchFamily="34" typeface="Arial"/>
                <a:ea charset="-122" panose="020b0503020204020204" pitchFamily="34" typeface="微软雅黑"/>
                <a:sym charset="0" panose="020b0604020202020204" pitchFamily="34" typeface="Arial"/>
              </a:rPr>
              <a:t> </a:t>
            </a:r>
          </a:p>
        </p:txBody>
      </p:sp>
      <p:sp>
        <p:nvSpPr>
          <p:cNvPr id="10" name="Freeform 8"/>
          <p:cNvSpPr>
            <a:spLocks noEditPoints="1"/>
          </p:cNvSpPr>
          <p:nvPr/>
        </p:nvSpPr>
        <p:spPr bwMode="auto">
          <a:xfrm>
            <a:off x="2885782" y="2221675"/>
            <a:ext cx="466785" cy="438121"/>
          </a:xfrm>
          <a:custGeom>
            <a:gdLst>
              <a:gd fmla="*/ 214 w 236" name="T0"/>
              <a:gd fmla="*/ 0 h 221" name="T1"/>
              <a:gd fmla="*/ 22 w 236" name="T2"/>
              <a:gd fmla="*/ 0 h 221" name="T3"/>
              <a:gd fmla="*/ 0 w 236" name="T4"/>
              <a:gd fmla="*/ 22 h 221" name="T5"/>
              <a:gd fmla="*/ 0 w 236" name="T6"/>
              <a:gd fmla="*/ 170 h 221" name="T7"/>
              <a:gd fmla="*/ 22 w 236" name="T8"/>
              <a:gd fmla="*/ 192 h 221" name="T9"/>
              <a:gd fmla="*/ 96 w 236" name="T10"/>
              <a:gd fmla="*/ 192 h 221" name="T11"/>
              <a:gd fmla="*/ 96 w 236" name="T12"/>
              <a:gd fmla="*/ 201 h 221" name="T13"/>
              <a:gd fmla="*/ 50 w 236" name="T14"/>
              <a:gd fmla="*/ 207 h 221" name="T15"/>
              <a:gd fmla="*/ 44 w 236" name="T16"/>
              <a:gd fmla="*/ 214 h 221" name="T17"/>
              <a:gd fmla="*/ 51 w 236" name="T18"/>
              <a:gd fmla="*/ 221 h 221" name="T19"/>
              <a:gd fmla="*/ 184 w 236" name="T20"/>
              <a:gd fmla="*/ 221 h 221" name="T21"/>
              <a:gd fmla="*/ 192 w 236" name="T22"/>
              <a:gd fmla="*/ 214 h 221" name="T23"/>
              <a:gd fmla="*/ 186 w 236" name="T24"/>
              <a:gd fmla="*/ 207 h 221" name="T25"/>
              <a:gd fmla="*/ 140 w 236" name="T26"/>
              <a:gd fmla="*/ 201 h 221" name="T27"/>
              <a:gd fmla="*/ 140 w 236" name="T28"/>
              <a:gd fmla="*/ 192 h 221" name="T29"/>
              <a:gd fmla="*/ 214 w 236" name="T30"/>
              <a:gd fmla="*/ 192 h 221" name="T31"/>
              <a:gd fmla="*/ 236 w 236" name="T32"/>
              <a:gd fmla="*/ 170 h 221" name="T33"/>
              <a:gd fmla="*/ 236 w 236" name="T34"/>
              <a:gd fmla="*/ 22 h 221" name="T35"/>
              <a:gd fmla="*/ 214 w 236" name="T36"/>
              <a:gd fmla="*/ 0 h 221" name="T37"/>
              <a:gd fmla="*/ 221 w 236" name="T38"/>
              <a:gd fmla="*/ 170 h 221" name="T39"/>
              <a:gd fmla="*/ 214 w 236" name="T40"/>
              <a:gd fmla="*/ 177 h 221" name="T41"/>
              <a:gd fmla="*/ 147 w 236" name="T42"/>
              <a:gd fmla="*/ 177 h 221" name="T43"/>
              <a:gd fmla="*/ 88 w 236" name="T44"/>
              <a:gd fmla="*/ 177 h 221" name="T45"/>
              <a:gd fmla="*/ 22 w 236" name="T46"/>
              <a:gd fmla="*/ 177 h 221" name="T47"/>
              <a:gd fmla="*/ 15 w 236" name="T48"/>
              <a:gd fmla="*/ 170 h 221" name="T49"/>
              <a:gd fmla="*/ 15 w 236" name="T50"/>
              <a:gd fmla="*/ 22 h 221" name="T51"/>
              <a:gd fmla="*/ 22 w 236" name="T52"/>
              <a:gd fmla="*/ 15 h 221" name="T53"/>
              <a:gd fmla="*/ 214 w 236" name="T54"/>
              <a:gd fmla="*/ 15 h 221" name="T55"/>
              <a:gd fmla="*/ 221 w 236" name="T56"/>
              <a:gd fmla="*/ 22 h 221" name="T57"/>
              <a:gd fmla="*/ 221 w 236" name="T58"/>
              <a:gd fmla="*/ 170 h 221" name="T5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b="b" l="0" r="r" t="0"/>
            <a:pathLst>
              <a:path h="221" w="236">
                <a:moveTo>
                  <a:pt x="214" y="0"/>
                </a:moveTo>
                <a:cubicBezTo>
                  <a:pt x="22" y="0"/>
                  <a:pt x="22" y="0"/>
                  <a:pt x="22" y="0"/>
                </a:cubicBezTo>
                <a:cubicBezTo>
                  <a:pt x="10" y="0"/>
                  <a:pt x="0" y="10"/>
                  <a:pt x="0" y="22"/>
                </a:cubicBezTo>
                <a:cubicBezTo>
                  <a:pt x="0" y="170"/>
                  <a:pt x="0" y="170"/>
                  <a:pt x="0" y="170"/>
                </a:cubicBezTo>
                <a:cubicBezTo>
                  <a:pt x="0" y="182"/>
                  <a:pt x="10" y="192"/>
                  <a:pt x="22" y="192"/>
                </a:cubicBezTo>
                <a:cubicBezTo>
                  <a:pt x="96" y="192"/>
                  <a:pt x="96" y="192"/>
                  <a:pt x="96" y="192"/>
                </a:cubicBezTo>
                <a:cubicBezTo>
                  <a:pt x="96" y="201"/>
                  <a:pt x="96" y="201"/>
                  <a:pt x="96" y="201"/>
                </a:cubicBezTo>
                <a:cubicBezTo>
                  <a:pt x="50" y="207"/>
                  <a:pt x="50" y="207"/>
                  <a:pt x="50" y="207"/>
                </a:cubicBezTo>
                <a:cubicBezTo>
                  <a:pt x="46" y="207"/>
                  <a:pt x="44" y="210"/>
                  <a:pt x="44" y="214"/>
                </a:cubicBezTo>
                <a:cubicBezTo>
                  <a:pt x="44" y="218"/>
                  <a:pt x="47" y="221"/>
                  <a:pt x="51" y="221"/>
                </a:cubicBezTo>
                <a:cubicBezTo>
                  <a:pt x="184" y="221"/>
                  <a:pt x="184" y="221"/>
                  <a:pt x="184" y="221"/>
                </a:cubicBezTo>
                <a:cubicBezTo>
                  <a:pt x="188" y="221"/>
                  <a:pt x="192" y="218"/>
                  <a:pt x="192" y="214"/>
                </a:cubicBezTo>
                <a:cubicBezTo>
                  <a:pt x="192" y="210"/>
                  <a:pt x="189" y="207"/>
                  <a:pt x="186" y="207"/>
                </a:cubicBezTo>
                <a:cubicBezTo>
                  <a:pt x="140" y="201"/>
                  <a:pt x="140" y="201"/>
                  <a:pt x="140" y="201"/>
                </a:cubicBezTo>
                <a:cubicBezTo>
                  <a:pt x="140" y="192"/>
                  <a:pt x="140" y="192"/>
                  <a:pt x="140" y="192"/>
                </a:cubicBezTo>
                <a:cubicBezTo>
                  <a:pt x="214" y="192"/>
                  <a:pt x="214" y="192"/>
                  <a:pt x="214" y="192"/>
                </a:cubicBezTo>
                <a:cubicBezTo>
                  <a:pt x="226" y="192"/>
                  <a:pt x="236" y="182"/>
                  <a:pt x="236" y="170"/>
                </a:cubicBezTo>
                <a:cubicBezTo>
                  <a:pt x="236" y="22"/>
                  <a:pt x="236" y="22"/>
                  <a:pt x="236" y="22"/>
                </a:cubicBezTo>
                <a:cubicBezTo>
                  <a:pt x="236" y="10"/>
                  <a:pt x="226" y="0"/>
                  <a:pt x="214" y="0"/>
                </a:cubicBezTo>
                <a:close/>
                <a:moveTo>
                  <a:pt x="221" y="170"/>
                </a:moveTo>
                <a:cubicBezTo>
                  <a:pt x="221" y="174"/>
                  <a:pt x="218" y="177"/>
                  <a:pt x="214" y="177"/>
                </a:cubicBezTo>
                <a:cubicBezTo>
                  <a:pt x="147" y="177"/>
                  <a:pt x="147" y="177"/>
                  <a:pt x="147" y="177"/>
                </a:cubicBezTo>
                <a:cubicBezTo>
                  <a:pt x="88" y="177"/>
                  <a:pt x="88" y="177"/>
                  <a:pt x="88" y="177"/>
                </a:cubicBezTo>
                <a:cubicBezTo>
                  <a:pt x="22" y="177"/>
                  <a:pt x="22" y="177"/>
                  <a:pt x="22" y="177"/>
                </a:cubicBezTo>
                <a:cubicBezTo>
                  <a:pt x="18" y="177"/>
                  <a:pt x="15" y="174"/>
                  <a:pt x="15" y="170"/>
                </a:cubicBezTo>
                <a:cubicBezTo>
                  <a:pt x="15" y="22"/>
                  <a:pt x="15" y="22"/>
                  <a:pt x="15" y="22"/>
                </a:cubicBezTo>
                <a:cubicBezTo>
                  <a:pt x="15" y="18"/>
                  <a:pt x="18" y="15"/>
                  <a:pt x="22" y="15"/>
                </a:cubicBezTo>
                <a:cubicBezTo>
                  <a:pt x="214" y="15"/>
                  <a:pt x="214" y="15"/>
                  <a:pt x="214" y="15"/>
                </a:cubicBezTo>
                <a:cubicBezTo>
                  <a:pt x="218" y="15"/>
                  <a:pt x="221" y="18"/>
                  <a:pt x="221" y="22"/>
                </a:cubicBezTo>
                <a:lnTo>
                  <a:pt x="221" y="170"/>
                </a:lnTo>
                <a:close/>
              </a:path>
            </a:pathLst>
          </a:custGeom>
          <a:solidFill>
            <a:schemeClr val="bg1"/>
          </a:solidFill>
          <a:ln>
            <a:noFill/>
          </a:ln>
        </p:spPr>
        <p:txBody>
          <a:bodyPr anchor="t" anchorCtr="0" bIns="60944" compatLnSpc="1" lIns="121888" numCol="1" rIns="121888" tIns="60944" vert="horz" wrap="square">
            <a:prstTxWarp prst="textNoShape">
              <a:avLst/>
            </a:prstTxWarp>
          </a:bodyPr>
          <a:lstStyle/>
          <a:p>
            <a:endParaRPr lang="pl-PL" sz="2399">
              <a:latin charset="0" panose="020b0604020202020204" pitchFamily="34" typeface="Arial"/>
              <a:ea charset="-122" panose="020b0503020204020204" pitchFamily="34" typeface="微软雅黑"/>
              <a:sym charset="0" panose="020b0604020202020204" pitchFamily="34" typeface="Arial"/>
            </a:endParaRPr>
          </a:p>
        </p:txBody>
      </p:sp>
      <p:sp>
        <p:nvSpPr>
          <p:cNvPr id="11" name="Freeform 11"/>
          <p:cNvSpPr>
            <a:spLocks noEditPoints="1"/>
          </p:cNvSpPr>
          <p:nvPr/>
        </p:nvSpPr>
        <p:spPr bwMode="auto">
          <a:xfrm>
            <a:off x="4955677" y="2194961"/>
            <a:ext cx="281527" cy="409608"/>
          </a:xfrm>
          <a:custGeom>
            <a:gdLst>
              <a:gd fmla="*/ 132 w 153" name="T0"/>
              <a:gd fmla="*/ 0 h 222" name="T1"/>
              <a:gd fmla="*/ 21 w 153" name="T2"/>
              <a:gd fmla="*/ 0 h 222" name="T3"/>
              <a:gd fmla="*/ 0 w 153" name="T4"/>
              <a:gd fmla="*/ 21 h 222" name="T5"/>
              <a:gd fmla="*/ 0 w 153" name="T6"/>
              <a:gd fmla="*/ 202 h 222" name="T7"/>
              <a:gd fmla="*/ 21 w 153" name="T8"/>
              <a:gd fmla="*/ 222 h 222" name="T9"/>
              <a:gd fmla="*/ 132 w 153" name="T10"/>
              <a:gd fmla="*/ 222 h 222" name="T11"/>
              <a:gd fmla="*/ 153 w 153" name="T12"/>
              <a:gd fmla="*/ 202 h 222" name="T13"/>
              <a:gd fmla="*/ 153 w 153" name="T14"/>
              <a:gd fmla="*/ 21 h 222" name="T15"/>
              <a:gd fmla="*/ 132 w 153" name="T16"/>
              <a:gd fmla="*/ 0 h 222" name="T17"/>
              <a:gd fmla="*/ 139 w 153" name="T18"/>
              <a:gd fmla="*/ 202 h 222" name="T19"/>
              <a:gd fmla="*/ 132 w 153" name="T20"/>
              <a:gd fmla="*/ 208 h 222" name="T21"/>
              <a:gd fmla="*/ 21 w 153" name="T22"/>
              <a:gd fmla="*/ 208 h 222" name="T23"/>
              <a:gd fmla="*/ 14 w 153" name="T24"/>
              <a:gd fmla="*/ 202 h 222" name="T25"/>
              <a:gd fmla="*/ 14 w 153" name="T26"/>
              <a:gd fmla="*/ 188 h 222" name="T27"/>
              <a:gd fmla="*/ 139 w 153" name="T28"/>
              <a:gd fmla="*/ 188 h 222" name="T29"/>
              <a:gd fmla="*/ 139 w 153" name="T30"/>
              <a:gd fmla="*/ 202 h 222" name="T31"/>
              <a:gd fmla="*/ 139 w 153" name="T32"/>
              <a:gd fmla="*/ 181 h 222" name="T33"/>
              <a:gd fmla="*/ 14 w 153" name="T34"/>
              <a:gd fmla="*/ 181 h 222" name="T35"/>
              <a:gd fmla="*/ 14 w 153" name="T36"/>
              <a:gd fmla="*/ 41 h 222" name="T37"/>
              <a:gd fmla="*/ 139 w 153" name="T38"/>
              <a:gd fmla="*/ 41 h 222" name="T39"/>
              <a:gd fmla="*/ 139 w 153" name="T40"/>
              <a:gd fmla="*/ 181 h 222" name="T41"/>
              <a:gd fmla="*/ 139 w 153" name="T42"/>
              <a:gd fmla="*/ 34 h 222" name="T43"/>
              <a:gd fmla="*/ 14 w 153" name="T44"/>
              <a:gd fmla="*/ 34 h 222" name="T45"/>
              <a:gd fmla="*/ 14 w 153" name="T46"/>
              <a:gd fmla="*/ 21 h 222" name="T47"/>
              <a:gd fmla="*/ 21 w 153" name="T48"/>
              <a:gd fmla="*/ 14 h 222" name="T49"/>
              <a:gd fmla="*/ 132 w 153" name="T50"/>
              <a:gd fmla="*/ 14 h 222" name="T51"/>
              <a:gd fmla="*/ 139 w 153" name="T52"/>
              <a:gd fmla="*/ 21 h 222" name="T53"/>
              <a:gd fmla="*/ 139 w 153" name="T54"/>
              <a:gd fmla="*/ 34 h 222" name="T5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b="b" l="0" r="r" t="0"/>
            <a:pathLst>
              <a:path h="221" w="153">
                <a:moveTo>
                  <a:pt x="132" y="0"/>
                </a:moveTo>
                <a:cubicBezTo>
                  <a:pt x="21" y="0"/>
                  <a:pt x="21" y="0"/>
                  <a:pt x="21" y="0"/>
                </a:cubicBezTo>
                <a:cubicBezTo>
                  <a:pt x="9" y="0"/>
                  <a:pt x="0" y="9"/>
                  <a:pt x="0" y="21"/>
                </a:cubicBezTo>
                <a:cubicBezTo>
                  <a:pt x="0" y="202"/>
                  <a:pt x="0" y="202"/>
                  <a:pt x="0" y="202"/>
                </a:cubicBezTo>
                <a:cubicBezTo>
                  <a:pt x="0" y="213"/>
                  <a:pt x="9" y="222"/>
                  <a:pt x="21" y="222"/>
                </a:cubicBezTo>
                <a:cubicBezTo>
                  <a:pt x="132" y="222"/>
                  <a:pt x="132" y="222"/>
                  <a:pt x="132" y="222"/>
                </a:cubicBezTo>
                <a:cubicBezTo>
                  <a:pt x="143" y="222"/>
                  <a:pt x="153" y="213"/>
                  <a:pt x="153" y="202"/>
                </a:cubicBezTo>
                <a:cubicBezTo>
                  <a:pt x="153" y="21"/>
                  <a:pt x="153" y="21"/>
                  <a:pt x="153" y="21"/>
                </a:cubicBezTo>
                <a:cubicBezTo>
                  <a:pt x="153" y="9"/>
                  <a:pt x="143" y="0"/>
                  <a:pt x="132" y="0"/>
                </a:cubicBezTo>
                <a:close/>
                <a:moveTo>
                  <a:pt x="139" y="202"/>
                </a:moveTo>
                <a:cubicBezTo>
                  <a:pt x="139" y="205"/>
                  <a:pt x="136" y="208"/>
                  <a:pt x="132" y="208"/>
                </a:cubicBezTo>
                <a:cubicBezTo>
                  <a:pt x="21" y="208"/>
                  <a:pt x="21" y="208"/>
                  <a:pt x="21" y="208"/>
                </a:cubicBezTo>
                <a:cubicBezTo>
                  <a:pt x="17" y="208"/>
                  <a:pt x="14" y="205"/>
                  <a:pt x="14" y="202"/>
                </a:cubicBezTo>
                <a:cubicBezTo>
                  <a:pt x="14" y="188"/>
                  <a:pt x="14" y="188"/>
                  <a:pt x="14" y="188"/>
                </a:cubicBezTo>
                <a:cubicBezTo>
                  <a:pt x="139" y="188"/>
                  <a:pt x="139" y="188"/>
                  <a:pt x="139" y="188"/>
                </a:cubicBezTo>
                <a:lnTo>
                  <a:pt x="139" y="202"/>
                </a:lnTo>
                <a:close/>
                <a:moveTo>
                  <a:pt x="139" y="181"/>
                </a:moveTo>
                <a:cubicBezTo>
                  <a:pt x="14" y="181"/>
                  <a:pt x="14" y="181"/>
                  <a:pt x="14" y="181"/>
                </a:cubicBezTo>
                <a:cubicBezTo>
                  <a:pt x="14" y="41"/>
                  <a:pt x="14" y="41"/>
                  <a:pt x="14" y="41"/>
                </a:cubicBezTo>
                <a:cubicBezTo>
                  <a:pt x="139" y="41"/>
                  <a:pt x="139" y="41"/>
                  <a:pt x="139" y="41"/>
                </a:cubicBezTo>
                <a:lnTo>
                  <a:pt x="139" y="181"/>
                </a:lnTo>
                <a:close/>
                <a:moveTo>
                  <a:pt x="139" y="34"/>
                </a:moveTo>
                <a:cubicBezTo>
                  <a:pt x="14" y="34"/>
                  <a:pt x="14" y="34"/>
                  <a:pt x="14" y="34"/>
                </a:cubicBezTo>
                <a:cubicBezTo>
                  <a:pt x="14" y="21"/>
                  <a:pt x="14" y="21"/>
                  <a:pt x="14" y="21"/>
                </a:cubicBezTo>
                <a:cubicBezTo>
                  <a:pt x="14" y="17"/>
                  <a:pt x="17" y="14"/>
                  <a:pt x="21" y="14"/>
                </a:cubicBezTo>
                <a:cubicBezTo>
                  <a:pt x="132" y="14"/>
                  <a:pt x="132" y="14"/>
                  <a:pt x="132" y="14"/>
                </a:cubicBezTo>
                <a:cubicBezTo>
                  <a:pt x="136" y="14"/>
                  <a:pt x="139" y="17"/>
                  <a:pt x="139" y="21"/>
                </a:cubicBezTo>
                <a:lnTo>
                  <a:pt x="139" y="34"/>
                </a:lnTo>
                <a:close/>
              </a:path>
            </a:pathLst>
          </a:custGeom>
          <a:solidFill>
            <a:schemeClr val="bg1"/>
          </a:solidFill>
          <a:ln>
            <a:noFill/>
          </a:ln>
        </p:spPr>
        <p:txBody>
          <a:bodyPr anchor="t" anchorCtr="0" bIns="60944" compatLnSpc="1" lIns="121888" numCol="1" rIns="121888" tIns="60944" vert="horz" wrap="square">
            <a:prstTxWarp prst="textNoShape">
              <a:avLst/>
            </a:prstTxWarp>
          </a:bodyPr>
          <a:lstStyle/>
          <a:p>
            <a:endParaRPr lang="pl-PL" sz="2399">
              <a:latin charset="0" panose="020b0604020202020204" pitchFamily="34" typeface="Arial"/>
              <a:ea charset="-122" panose="020b0503020204020204" pitchFamily="34" typeface="微软雅黑"/>
              <a:sym charset="0" panose="020b0604020202020204" pitchFamily="34" typeface="Arial"/>
            </a:endParaRPr>
          </a:p>
        </p:txBody>
      </p:sp>
      <p:sp>
        <p:nvSpPr>
          <p:cNvPr id="12" name="Freeform 10"/>
          <p:cNvSpPr>
            <a:spLocks noEditPoints="1"/>
          </p:cNvSpPr>
          <p:nvPr/>
        </p:nvSpPr>
        <p:spPr bwMode="auto">
          <a:xfrm>
            <a:off x="6754320" y="2240371"/>
            <a:ext cx="486140" cy="318704"/>
          </a:xfrm>
          <a:custGeom>
            <a:gdLst>
              <a:gd fmla="*/ 254 w 290" name="T0"/>
              <a:gd fmla="*/ 0 h 190" name="T1"/>
              <a:gd fmla="*/ 36 w 290" name="T2"/>
              <a:gd fmla="*/ 0 h 190" name="T3"/>
              <a:gd fmla="*/ 0 w 290" name="T4"/>
              <a:gd fmla="*/ 36 h 190" name="T5"/>
              <a:gd fmla="*/ 0 w 290" name="T6"/>
              <a:gd fmla="*/ 154 h 190" name="T7"/>
              <a:gd fmla="*/ 36 w 290" name="T8"/>
              <a:gd fmla="*/ 190 h 190" name="T9"/>
              <a:gd fmla="*/ 254 w 290" name="T10"/>
              <a:gd fmla="*/ 190 h 190" name="T11"/>
              <a:gd fmla="*/ 290 w 290" name="T12"/>
              <a:gd fmla="*/ 154 h 190" name="T13"/>
              <a:gd fmla="*/ 290 w 290" name="T14"/>
              <a:gd fmla="*/ 36 h 190" name="T15"/>
              <a:gd fmla="*/ 254 w 290" name="T16"/>
              <a:gd fmla="*/ 0 h 190" name="T17"/>
              <a:gd fmla="*/ 18 w 290" name="T18"/>
              <a:gd fmla="*/ 47 h 190" name="T19"/>
              <a:gd fmla="*/ 81 w 290" name="T20"/>
              <a:gd fmla="*/ 95 h 190" name="T21"/>
              <a:gd fmla="*/ 18 w 290" name="T22"/>
              <a:gd fmla="*/ 143 h 190" name="T23"/>
              <a:gd fmla="*/ 18 w 290" name="T24"/>
              <a:gd fmla="*/ 47 h 190" name="T25"/>
              <a:gd fmla="*/ 272 w 290" name="T26"/>
              <a:gd fmla="*/ 154 h 190" name="T27"/>
              <a:gd fmla="*/ 254 w 290" name="T28"/>
              <a:gd fmla="*/ 172 h 190" name="T29"/>
              <a:gd fmla="*/ 36 w 290" name="T30"/>
              <a:gd fmla="*/ 172 h 190" name="T31"/>
              <a:gd fmla="*/ 18 w 290" name="T32"/>
              <a:gd fmla="*/ 154 h 190" name="T33"/>
              <a:gd fmla="*/ 89 w 290" name="T34"/>
              <a:gd fmla="*/ 101 h 190" name="T35"/>
              <a:gd fmla="*/ 129 w 290" name="T36"/>
              <a:gd fmla="*/ 131 h 190" name="T37"/>
              <a:gd fmla="*/ 145 w 290" name="T38"/>
              <a:gd fmla="*/ 136 h 190" name="T39"/>
              <a:gd fmla="*/ 161 w 290" name="T40"/>
              <a:gd fmla="*/ 131 h 190" name="T41"/>
              <a:gd fmla="*/ 201 w 290" name="T42"/>
              <a:gd fmla="*/ 101 h 190" name="T43"/>
              <a:gd fmla="*/ 272 w 290" name="T44"/>
              <a:gd fmla="*/ 154 h 190" name="T45"/>
              <a:gd fmla="*/ 272 w 290" name="T46"/>
              <a:gd fmla="*/ 143 h 190" name="T47"/>
              <a:gd fmla="*/ 209 w 290" name="T48"/>
              <a:gd fmla="*/ 95 h 190" name="T49"/>
              <a:gd fmla="*/ 272 w 290" name="T50"/>
              <a:gd fmla="*/ 47 h 190" name="T51"/>
              <a:gd fmla="*/ 272 w 290" name="T52"/>
              <a:gd fmla="*/ 143 h 190" name="T53"/>
              <a:gd fmla="*/ 156 w 290" name="T54"/>
              <a:gd fmla="*/ 123 h 190" name="T55"/>
              <a:gd fmla="*/ 145 w 290" name="T56"/>
              <a:gd fmla="*/ 127 h 190" name="T57"/>
              <a:gd fmla="*/ 134 w 290" name="T58"/>
              <a:gd fmla="*/ 123 h 190" name="T59"/>
              <a:gd fmla="*/ 97 w 290" name="T60"/>
              <a:gd fmla="*/ 95 h 190" name="T61"/>
              <a:gd fmla="*/ 89 w 290" name="T62"/>
              <a:gd fmla="*/ 89 h 190" name="T63"/>
              <a:gd fmla="*/ 18 w 290" name="T64"/>
              <a:gd fmla="*/ 36 h 190" name="T65"/>
              <a:gd fmla="*/ 18 w 290" name="T66"/>
              <a:gd fmla="*/ 36 h 190" name="T67"/>
              <a:gd fmla="*/ 36 w 290" name="T68"/>
              <a:gd fmla="*/ 18 h 190" name="T69"/>
              <a:gd fmla="*/ 254 w 290" name="T70"/>
              <a:gd fmla="*/ 18 h 190" name="T71"/>
              <a:gd fmla="*/ 272 w 290" name="T72"/>
              <a:gd fmla="*/ 36 h 190" name="T73"/>
              <a:gd fmla="*/ 156 w 290" name="T74"/>
              <a:gd fmla="*/ 123 h 190" name="T7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b="b" l="0" r="r" t="0"/>
            <a:pathLst>
              <a:path h="190" w="290">
                <a:moveTo>
                  <a:pt x="254" y="0"/>
                </a:moveTo>
                <a:cubicBezTo>
                  <a:pt x="36" y="0"/>
                  <a:pt x="36" y="0"/>
                  <a:pt x="36" y="0"/>
                </a:cubicBezTo>
                <a:cubicBezTo>
                  <a:pt x="16" y="0"/>
                  <a:pt x="0" y="16"/>
                  <a:pt x="0" y="36"/>
                </a:cubicBezTo>
                <a:cubicBezTo>
                  <a:pt x="0" y="154"/>
                  <a:pt x="0" y="154"/>
                  <a:pt x="0" y="154"/>
                </a:cubicBezTo>
                <a:cubicBezTo>
                  <a:pt x="0" y="174"/>
                  <a:pt x="16" y="190"/>
                  <a:pt x="36" y="190"/>
                </a:cubicBezTo>
                <a:cubicBezTo>
                  <a:pt x="254" y="190"/>
                  <a:pt x="254" y="190"/>
                  <a:pt x="254" y="190"/>
                </a:cubicBezTo>
                <a:cubicBezTo>
                  <a:pt x="274" y="190"/>
                  <a:pt x="290" y="174"/>
                  <a:pt x="290" y="154"/>
                </a:cubicBezTo>
                <a:cubicBezTo>
                  <a:pt x="290" y="36"/>
                  <a:pt x="290" y="36"/>
                  <a:pt x="290" y="36"/>
                </a:cubicBezTo>
                <a:cubicBezTo>
                  <a:pt x="290" y="16"/>
                  <a:pt x="274" y="0"/>
                  <a:pt x="254" y="0"/>
                </a:cubicBezTo>
                <a:close/>
                <a:moveTo>
                  <a:pt x="18" y="47"/>
                </a:moveTo>
                <a:cubicBezTo>
                  <a:pt x="81" y="95"/>
                  <a:pt x="81" y="95"/>
                  <a:pt x="81" y="95"/>
                </a:cubicBezTo>
                <a:cubicBezTo>
                  <a:pt x="18" y="143"/>
                  <a:pt x="18" y="143"/>
                  <a:pt x="18" y="143"/>
                </a:cubicBezTo>
                <a:lnTo>
                  <a:pt x="18" y="47"/>
                </a:lnTo>
                <a:close/>
                <a:moveTo>
                  <a:pt x="272" y="154"/>
                </a:moveTo>
                <a:cubicBezTo>
                  <a:pt x="272" y="164"/>
                  <a:pt x="264" y="172"/>
                  <a:pt x="254" y="172"/>
                </a:cubicBezTo>
                <a:cubicBezTo>
                  <a:pt x="36" y="172"/>
                  <a:pt x="36" y="172"/>
                  <a:pt x="36" y="172"/>
                </a:cubicBezTo>
                <a:cubicBezTo>
                  <a:pt x="26" y="172"/>
                  <a:pt x="18" y="164"/>
                  <a:pt x="18" y="154"/>
                </a:cubicBezTo>
                <a:cubicBezTo>
                  <a:pt x="89" y="101"/>
                  <a:pt x="89" y="101"/>
                  <a:pt x="89" y="101"/>
                </a:cubicBezTo>
                <a:cubicBezTo>
                  <a:pt x="129" y="131"/>
                  <a:pt x="129" y="131"/>
                  <a:pt x="129" y="131"/>
                </a:cubicBezTo>
                <a:cubicBezTo>
                  <a:pt x="134" y="134"/>
                  <a:pt x="139" y="136"/>
                  <a:pt x="145" y="136"/>
                </a:cubicBezTo>
                <a:cubicBezTo>
                  <a:pt x="151" y="136"/>
                  <a:pt x="157" y="134"/>
                  <a:pt x="161" y="131"/>
                </a:cubicBezTo>
                <a:cubicBezTo>
                  <a:pt x="201" y="101"/>
                  <a:pt x="201" y="101"/>
                  <a:pt x="201" y="101"/>
                </a:cubicBezTo>
                <a:cubicBezTo>
                  <a:pt x="272" y="154"/>
                  <a:pt x="272" y="154"/>
                  <a:pt x="272" y="154"/>
                </a:cubicBezTo>
                <a:close/>
                <a:moveTo>
                  <a:pt x="272" y="143"/>
                </a:moveTo>
                <a:cubicBezTo>
                  <a:pt x="209" y="95"/>
                  <a:pt x="209" y="95"/>
                  <a:pt x="209" y="95"/>
                </a:cubicBezTo>
                <a:cubicBezTo>
                  <a:pt x="272" y="47"/>
                  <a:pt x="272" y="47"/>
                  <a:pt x="272" y="47"/>
                </a:cubicBezTo>
                <a:lnTo>
                  <a:pt x="272" y="143"/>
                </a:lnTo>
                <a:close/>
                <a:moveTo>
                  <a:pt x="156" y="123"/>
                </a:moveTo>
                <a:cubicBezTo>
                  <a:pt x="153" y="126"/>
                  <a:pt x="149" y="127"/>
                  <a:pt x="145" y="127"/>
                </a:cubicBezTo>
                <a:cubicBezTo>
                  <a:pt x="141" y="127"/>
                  <a:pt x="137" y="126"/>
                  <a:pt x="134" y="123"/>
                </a:cubicBezTo>
                <a:cubicBezTo>
                  <a:pt x="97" y="95"/>
                  <a:pt x="97" y="95"/>
                  <a:pt x="97" y="95"/>
                </a:cubicBezTo>
                <a:cubicBezTo>
                  <a:pt x="89" y="89"/>
                  <a:pt x="89" y="89"/>
                  <a:pt x="89" y="89"/>
                </a:cubicBezTo>
                <a:cubicBezTo>
                  <a:pt x="18" y="36"/>
                  <a:pt x="18" y="36"/>
                  <a:pt x="18" y="36"/>
                </a:cubicBezTo>
                <a:cubicBezTo>
                  <a:pt x="18" y="36"/>
                  <a:pt x="18" y="36"/>
                  <a:pt x="18" y="36"/>
                </a:cubicBezTo>
                <a:cubicBezTo>
                  <a:pt x="18" y="26"/>
                  <a:pt x="26" y="18"/>
                  <a:pt x="36" y="18"/>
                </a:cubicBezTo>
                <a:cubicBezTo>
                  <a:pt x="254" y="18"/>
                  <a:pt x="254" y="18"/>
                  <a:pt x="254" y="18"/>
                </a:cubicBezTo>
                <a:cubicBezTo>
                  <a:pt x="264" y="18"/>
                  <a:pt x="272" y="26"/>
                  <a:pt x="272" y="36"/>
                </a:cubicBezTo>
                <a:lnTo>
                  <a:pt x="156" y="123"/>
                </a:lnTo>
                <a:close/>
              </a:path>
            </a:pathLst>
          </a:custGeom>
          <a:solidFill>
            <a:schemeClr val="bg1"/>
          </a:solidFill>
          <a:ln>
            <a:noFill/>
          </a:ln>
        </p:spPr>
        <p:txBody>
          <a:bodyPr anchor="t" anchorCtr="0" bIns="60944" compatLnSpc="1" lIns="121888" numCol="1" rIns="121888" tIns="60944" vert="horz" wrap="square">
            <a:prstTxWarp prst="textNoShape">
              <a:avLst/>
            </a:prstTxWarp>
          </a:bodyPr>
          <a:lstStyle/>
          <a:p>
            <a:endParaRPr lang="pl-PL" sz="2399">
              <a:latin charset="0" panose="020b0604020202020204" pitchFamily="34" typeface="Arial"/>
              <a:ea charset="-122" panose="020b0503020204020204" pitchFamily="34" typeface="微软雅黑"/>
              <a:sym charset="0" panose="020b0604020202020204" pitchFamily="34" typeface="Arial"/>
            </a:endParaRPr>
          </a:p>
        </p:txBody>
      </p:sp>
      <p:sp>
        <p:nvSpPr>
          <p:cNvPr id="13" name="Freeform 9"/>
          <p:cNvSpPr>
            <a:spLocks noEditPoints="1"/>
          </p:cNvSpPr>
          <p:nvPr/>
        </p:nvSpPr>
        <p:spPr bwMode="auto">
          <a:xfrm>
            <a:off x="8751618" y="2180938"/>
            <a:ext cx="423004" cy="423631"/>
          </a:xfrm>
          <a:custGeom>
            <a:gdLst>
              <a:gd fmla="*/ 0 w 222" name="T0"/>
              <a:gd fmla="*/ 111 h 222" name="T1"/>
              <a:gd fmla="*/ 222 w 222" name="T2"/>
              <a:gd fmla="*/ 111 h 222" name="T3"/>
              <a:gd fmla="*/ 207 w 222" name="T4"/>
              <a:gd fmla="*/ 107 h 222" name="T5"/>
              <a:gd fmla="*/ 156 w 222" name="T6"/>
              <a:gd fmla="*/ 62 h 222" name="T7"/>
              <a:gd fmla="*/ 207 w 222" name="T8"/>
              <a:gd fmla="*/ 107 h 222" name="T9"/>
              <a:gd fmla="*/ 78 w 222" name="T10"/>
              <a:gd fmla="*/ 170 h 222" name="T11"/>
              <a:gd fmla="*/ 107 w 222" name="T12"/>
              <a:gd fmla="*/ 207 h 222" name="T13"/>
              <a:gd fmla="*/ 115 w 222" name="T14"/>
              <a:gd fmla="*/ 14 h 222" name="T15"/>
              <a:gd fmla="*/ 114 w 222" name="T16"/>
              <a:gd fmla="*/ 64 h 222" name="T17"/>
              <a:gd fmla="*/ 115 w 222" name="T18"/>
              <a:gd fmla="*/ 14 h 222" name="T19"/>
              <a:gd fmla="*/ 178 w 222" name="T20"/>
              <a:gd fmla="*/ 41 h 222" name="T21"/>
              <a:gd fmla="*/ 127 w 222" name="T22"/>
              <a:gd fmla="*/ 15 h 222" name="T23"/>
              <a:gd fmla="*/ 107 w 222" name="T24"/>
              <a:gd fmla="*/ 64 h 222" name="T25"/>
              <a:gd fmla="*/ 107 w 222" name="T26"/>
              <a:gd fmla="*/ 14 h 222" name="T27"/>
              <a:gd fmla="*/ 68 w 222" name="T28"/>
              <a:gd fmla="*/ 56 h 222" name="T29"/>
              <a:gd fmla="*/ 95 w 222" name="T30"/>
              <a:gd fmla="*/ 15 h 222" name="T31"/>
              <a:gd fmla="*/ 72 w 222" name="T32"/>
              <a:gd fmla="*/ 65 h 222" name="T33"/>
              <a:gd fmla="*/ 107 w 222" name="T34"/>
              <a:gd fmla="*/ 107 h 222" name="T35"/>
              <a:gd fmla="*/ 72 w 222" name="T36"/>
              <a:gd fmla="*/ 65 h 222" name="T37"/>
              <a:gd fmla="*/ 107 w 222" name="T38"/>
              <a:gd fmla="*/ 157 h 222" name="T39"/>
              <a:gd fmla="*/ 64 w 222" name="T40"/>
              <a:gd fmla="*/ 114 h 222" name="T41"/>
              <a:gd fmla="*/ 95 w 222" name="T42"/>
              <a:gd fmla="*/ 206 h 222" name="T43"/>
              <a:gd fmla="*/ 71 w 222" name="T44"/>
              <a:gd fmla="*/ 172 h 222" name="T45"/>
              <a:gd fmla="*/ 114 w 222" name="T46"/>
              <a:gd fmla="*/ 207 h 222" name="T47"/>
              <a:gd fmla="*/ 144 w 222" name="T48"/>
              <a:gd fmla="*/ 170 h 222" name="T49"/>
              <a:gd fmla="*/ 114 w 222" name="T50"/>
              <a:gd fmla="*/ 207 h 222" name="T51"/>
              <a:gd fmla="*/ 174 w 222" name="T52"/>
              <a:gd fmla="*/ 184 h 222" name="T53"/>
              <a:gd fmla="*/ 151 w 222" name="T54"/>
              <a:gd fmla="*/ 172 h 222" name="T55"/>
              <a:gd fmla="*/ 114 w 222" name="T56"/>
              <a:gd fmla="*/ 157 h 222" name="T57"/>
              <a:gd fmla="*/ 157 w 222" name="T58"/>
              <a:gd fmla="*/ 114 h 222" name="T59"/>
              <a:gd fmla="*/ 114 w 222" name="T60"/>
              <a:gd fmla="*/ 107 h 222" name="T61"/>
              <a:gd fmla="*/ 149 w 222" name="T62"/>
              <a:gd fmla="*/ 65 h 222" name="T63"/>
              <a:gd fmla="*/ 114 w 222" name="T64"/>
              <a:gd fmla="*/ 107 h 222" name="T65"/>
              <a:gd fmla="*/ 65 w 222" name="T66"/>
              <a:gd fmla="*/ 62 h 222" name="T67"/>
              <a:gd fmla="*/ 14 w 222" name="T68"/>
              <a:gd fmla="*/ 107 h 222" name="T69"/>
              <a:gd fmla="*/ 14 w 222" name="T70"/>
              <a:gd fmla="*/ 114 h 222" name="T71"/>
              <a:gd fmla="*/ 68 w 222" name="T72"/>
              <a:gd fmla="*/ 165 h 222" name="T73"/>
              <a:gd fmla="*/ 14 w 222" name="T74"/>
              <a:gd fmla="*/ 114 h 222" name="T75"/>
              <a:gd fmla="*/ 154 w 222" name="T76"/>
              <a:gd fmla="*/ 165 h 222" name="T77"/>
              <a:gd fmla="*/ 207 w 222" name="T78"/>
              <a:gd fmla="*/ 114 h 222" name="T7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b="b" l="0" r="r" t="0"/>
            <a:pathLst>
              <a:path h="221" w="221">
                <a:moveTo>
                  <a:pt x="111" y="0"/>
                </a:moveTo>
                <a:cubicBezTo>
                  <a:pt x="49" y="0"/>
                  <a:pt x="0" y="49"/>
                  <a:pt x="0" y="111"/>
                </a:cubicBezTo>
                <a:cubicBezTo>
                  <a:pt x="0" y="172"/>
                  <a:pt x="49" y="222"/>
                  <a:pt x="111" y="222"/>
                </a:cubicBezTo>
                <a:cubicBezTo>
                  <a:pt x="172" y="222"/>
                  <a:pt x="222" y="172"/>
                  <a:pt x="222" y="111"/>
                </a:cubicBezTo>
                <a:cubicBezTo>
                  <a:pt x="222" y="49"/>
                  <a:pt x="172" y="0"/>
                  <a:pt x="111" y="0"/>
                </a:cubicBezTo>
                <a:close/>
                <a:moveTo>
                  <a:pt x="207" y="107"/>
                </a:moveTo>
                <a:cubicBezTo>
                  <a:pt x="164" y="107"/>
                  <a:pt x="164" y="107"/>
                  <a:pt x="164" y="107"/>
                </a:cubicBezTo>
                <a:cubicBezTo>
                  <a:pt x="164" y="91"/>
                  <a:pt x="161" y="76"/>
                  <a:pt x="156" y="62"/>
                </a:cubicBezTo>
                <a:cubicBezTo>
                  <a:pt x="166" y="58"/>
                  <a:pt x="175" y="53"/>
                  <a:pt x="183" y="46"/>
                </a:cubicBezTo>
                <a:cubicBezTo>
                  <a:pt x="197" y="63"/>
                  <a:pt x="206" y="84"/>
                  <a:pt x="207" y="107"/>
                </a:cubicBezTo>
                <a:close/>
                <a:moveTo>
                  <a:pt x="107" y="207"/>
                </a:moveTo>
                <a:cubicBezTo>
                  <a:pt x="95" y="197"/>
                  <a:pt x="85" y="184"/>
                  <a:pt x="78" y="170"/>
                </a:cubicBezTo>
                <a:cubicBezTo>
                  <a:pt x="87" y="167"/>
                  <a:pt x="97" y="165"/>
                  <a:pt x="107" y="165"/>
                </a:cubicBezTo>
                <a:cubicBezTo>
                  <a:pt x="107" y="207"/>
                  <a:pt x="107" y="207"/>
                  <a:pt x="107" y="207"/>
                </a:cubicBezTo>
                <a:cubicBezTo>
                  <a:pt x="107" y="207"/>
                  <a:pt x="107" y="207"/>
                  <a:pt x="107" y="207"/>
                </a:cubicBezTo>
                <a:close/>
                <a:moveTo>
                  <a:pt x="115" y="14"/>
                </a:moveTo>
                <a:cubicBezTo>
                  <a:pt x="128" y="25"/>
                  <a:pt x="139" y="40"/>
                  <a:pt x="147" y="58"/>
                </a:cubicBezTo>
                <a:cubicBezTo>
                  <a:pt x="136" y="62"/>
                  <a:pt x="126" y="64"/>
                  <a:pt x="114" y="64"/>
                </a:cubicBezTo>
                <a:cubicBezTo>
                  <a:pt x="114" y="14"/>
                  <a:pt x="114" y="14"/>
                  <a:pt x="114" y="14"/>
                </a:cubicBezTo>
                <a:cubicBezTo>
                  <a:pt x="114" y="14"/>
                  <a:pt x="115" y="14"/>
                  <a:pt x="115" y="14"/>
                </a:cubicBezTo>
                <a:close/>
                <a:moveTo>
                  <a:pt x="127" y="15"/>
                </a:moveTo>
                <a:cubicBezTo>
                  <a:pt x="146" y="19"/>
                  <a:pt x="164" y="28"/>
                  <a:pt x="178" y="41"/>
                </a:cubicBezTo>
                <a:cubicBezTo>
                  <a:pt x="170" y="47"/>
                  <a:pt x="162" y="52"/>
                  <a:pt x="153" y="56"/>
                </a:cubicBezTo>
                <a:cubicBezTo>
                  <a:pt x="147" y="40"/>
                  <a:pt x="138" y="26"/>
                  <a:pt x="127" y="15"/>
                </a:cubicBezTo>
                <a:close/>
                <a:moveTo>
                  <a:pt x="107" y="14"/>
                </a:moveTo>
                <a:cubicBezTo>
                  <a:pt x="107" y="64"/>
                  <a:pt x="107" y="64"/>
                  <a:pt x="107" y="64"/>
                </a:cubicBezTo>
                <a:cubicBezTo>
                  <a:pt x="96" y="64"/>
                  <a:pt x="85" y="62"/>
                  <a:pt x="75" y="58"/>
                </a:cubicBezTo>
                <a:cubicBezTo>
                  <a:pt x="82" y="40"/>
                  <a:pt x="93" y="25"/>
                  <a:pt x="107" y="14"/>
                </a:cubicBezTo>
                <a:cubicBezTo>
                  <a:pt x="107" y="14"/>
                  <a:pt x="107" y="14"/>
                  <a:pt x="107" y="14"/>
                </a:cubicBezTo>
                <a:close/>
                <a:moveTo>
                  <a:pt x="68" y="56"/>
                </a:moveTo>
                <a:cubicBezTo>
                  <a:pt x="59" y="52"/>
                  <a:pt x="51" y="47"/>
                  <a:pt x="43" y="41"/>
                </a:cubicBezTo>
                <a:cubicBezTo>
                  <a:pt x="57" y="28"/>
                  <a:pt x="75" y="19"/>
                  <a:pt x="95" y="15"/>
                </a:cubicBezTo>
                <a:cubicBezTo>
                  <a:pt x="84" y="26"/>
                  <a:pt x="75" y="40"/>
                  <a:pt x="68" y="56"/>
                </a:cubicBezTo>
                <a:close/>
                <a:moveTo>
                  <a:pt x="72" y="65"/>
                </a:moveTo>
                <a:cubicBezTo>
                  <a:pt x="83" y="68"/>
                  <a:pt x="95" y="71"/>
                  <a:pt x="107" y="71"/>
                </a:cubicBezTo>
                <a:cubicBezTo>
                  <a:pt x="107" y="107"/>
                  <a:pt x="107" y="107"/>
                  <a:pt x="107" y="107"/>
                </a:cubicBezTo>
                <a:cubicBezTo>
                  <a:pt x="64" y="107"/>
                  <a:pt x="64" y="107"/>
                  <a:pt x="64" y="107"/>
                </a:cubicBezTo>
                <a:cubicBezTo>
                  <a:pt x="65" y="92"/>
                  <a:pt x="67" y="78"/>
                  <a:pt x="72" y="65"/>
                </a:cubicBezTo>
                <a:close/>
                <a:moveTo>
                  <a:pt x="107" y="114"/>
                </a:moveTo>
                <a:cubicBezTo>
                  <a:pt x="107" y="157"/>
                  <a:pt x="107" y="157"/>
                  <a:pt x="107" y="157"/>
                </a:cubicBezTo>
                <a:cubicBezTo>
                  <a:pt x="96" y="158"/>
                  <a:pt x="85" y="160"/>
                  <a:pt x="75" y="163"/>
                </a:cubicBezTo>
                <a:cubicBezTo>
                  <a:pt x="68" y="148"/>
                  <a:pt x="65" y="132"/>
                  <a:pt x="64" y="114"/>
                </a:cubicBezTo>
                <a:lnTo>
                  <a:pt x="107" y="114"/>
                </a:lnTo>
                <a:close/>
                <a:moveTo>
                  <a:pt x="95" y="206"/>
                </a:moveTo>
                <a:cubicBezTo>
                  <a:pt x="77" y="203"/>
                  <a:pt x="61" y="195"/>
                  <a:pt x="48" y="184"/>
                </a:cubicBezTo>
                <a:cubicBezTo>
                  <a:pt x="55" y="179"/>
                  <a:pt x="63" y="175"/>
                  <a:pt x="71" y="172"/>
                </a:cubicBezTo>
                <a:cubicBezTo>
                  <a:pt x="77" y="185"/>
                  <a:pt x="85" y="196"/>
                  <a:pt x="95" y="206"/>
                </a:cubicBezTo>
                <a:close/>
                <a:moveTo>
                  <a:pt x="114" y="207"/>
                </a:moveTo>
                <a:cubicBezTo>
                  <a:pt x="114" y="165"/>
                  <a:pt x="114" y="165"/>
                  <a:pt x="114" y="165"/>
                </a:cubicBezTo>
                <a:cubicBezTo>
                  <a:pt x="125" y="165"/>
                  <a:pt x="135" y="167"/>
                  <a:pt x="144" y="170"/>
                </a:cubicBezTo>
                <a:cubicBezTo>
                  <a:pt x="137" y="184"/>
                  <a:pt x="127" y="197"/>
                  <a:pt x="115" y="207"/>
                </a:cubicBezTo>
                <a:cubicBezTo>
                  <a:pt x="115" y="207"/>
                  <a:pt x="114" y="207"/>
                  <a:pt x="114" y="207"/>
                </a:cubicBezTo>
                <a:close/>
                <a:moveTo>
                  <a:pt x="151" y="172"/>
                </a:moveTo>
                <a:cubicBezTo>
                  <a:pt x="159" y="175"/>
                  <a:pt x="166" y="179"/>
                  <a:pt x="174" y="184"/>
                </a:cubicBezTo>
                <a:cubicBezTo>
                  <a:pt x="160" y="195"/>
                  <a:pt x="144" y="203"/>
                  <a:pt x="127" y="206"/>
                </a:cubicBezTo>
                <a:cubicBezTo>
                  <a:pt x="136" y="196"/>
                  <a:pt x="144" y="185"/>
                  <a:pt x="151" y="172"/>
                </a:cubicBezTo>
                <a:close/>
                <a:moveTo>
                  <a:pt x="147" y="163"/>
                </a:moveTo>
                <a:cubicBezTo>
                  <a:pt x="137" y="160"/>
                  <a:pt x="126" y="158"/>
                  <a:pt x="114" y="157"/>
                </a:cubicBezTo>
                <a:cubicBezTo>
                  <a:pt x="114" y="114"/>
                  <a:pt x="114" y="114"/>
                  <a:pt x="114" y="114"/>
                </a:cubicBezTo>
                <a:cubicBezTo>
                  <a:pt x="157" y="114"/>
                  <a:pt x="157" y="114"/>
                  <a:pt x="157" y="114"/>
                </a:cubicBezTo>
                <a:cubicBezTo>
                  <a:pt x="157" y="132"/>
                  <a:pt x="153" y="148"/>
                  <a:pt x="147" y="163"/>
                </a:cubicBezTo>
                <a:close/>
                <a:moveTo>
                  <a:pt x="114" y="107"/>
                </a:moveTo>
                <a:cubicBezTo>
                  <a:pt x="114" y="71"/>
                  <a:pt x="114" y="71"/>
                  <a:pt x="114" y="71"/>
                </a:cubicBezTo>
                <a:cubicBezTo>
                  <a:pt x="127" y="71"/>
                  <a:pt x="138" y="69"/>
                  <a:pt x="149" y="65"/>
                </a:cubicBezTo>
                <a:cubicBezTo>
                  <a:pt x="154" y="78"/>
                  <a:pt x="157" y="92"/>
                  <a:pt x="157" y="107"/>
                </a:cubicBezTo>
                <a:cubicBezTo>
                  <a:pt x="114" y="107"/>
                  <a:pt x="114" y="107"/>
                  <a:pt x="114" y="107"/>
                </a:cubicBezTo>
                <a:close/>
                <a:moveTo>
                  <a:pt x="39" y="46"/>
                </a:moveTo>
                <a:cubicBezTo>
                  <a:pt x="47" y="53"/>
                  <a:pt x="56" y="58"/>
                  <a:pt x="65" y="62"/>
                </a:cubicBezTo>
                <a:cubicBezTo>
                  <a:pt x="60" y="76"/>
                  <a:pt x="57" y="91"/>
                  <a:pt x="57" y="107"/>
                </a:cubicBezTo>
                <a:cubicBezTo>
                  <a:pt x="14" y="107"/>
                  <a:pt x="14" y="107"/>
                  <a:pt x="14" y="107"/>
                </a:cubicBezTo>
                <a:cubicBezTo>
                  <a:pt x="15" y="84"/>
                  <a:pt x="24" y="63"/>
                  <a:pt x="39" y="46"/>
                </a:cubicBezTo>
                <a:close/>
                <a:moveTo>
                  <a:pt x="14" y="114"/>
                </a:moveTo>
                <a:cubicBezTo>
                  <a:pt x="57" y="114"/>
                  <a:pt x="57" y="114"/>
                  <a:pt x="57" y="114"/>
                </a:cubicBezTo>
                <a:cubicBezTo>
                  <a:pt x="58" y="133"/>
                  <a:pt x="61" y="150"/>
                  <a:pt x="68" y="165"/>
                </a:cubicBezTo>
                <a:cubicBezTo>
                  <a:pt x="59" y="169"/>
                  <a:pt x="50" y="174"/>
                  <a:pt x="42" y="179"/>
                </a:cubicBezTo>
                <a:cubicBezTo>
                  <a:pt x="26" y="163"/>
                  <a:pt x="15" y="140"/>
                  <a:pt x="14" y="114"/>
                </a:cubicBezTo>
                <a:close/>
                <a:moveTo>
                  <a:pt x="179" y="179"/>
                </a:moveTo>
                <a:cubicBezTo>
                  <a:pt x="171" y="174"/>
                  <a:pt x="163" y="169"/>
                  <a:pt x="154" y="165"/>
                </a:cubicBezTo>
                <a:cubicBezTo>
                  <a:pt x="160" y="150"/>
                  <a:pt x="164" y="133"/>
                  <a:pt x="164" y="114"/>
                </a:cubicBezTo>
                <a:cubicBezTo>
                  <a:pt x="207" y="114"/>
                  <a:pt x="207" y="114"/>
                  <a:pt x="207" y="114"/>
                </a:cubicBezTo>
                <a:cubicBezTo>
                  <a:pt x="206" y="140"/>
                  <a:pt x="196" y="163"/>
                  <a:pt x="179" y="179"/>
                </a:cubicBezTo>
                <a:close/>
              </a:path>
            </a:pathLst>
          </a:custGeom>
          <a:solidFill>
            <a:schemeClr val="bg1"/>
          </a:solidFill>
          <a:ln>
            <a:noFill/>
          </a:ln>
        </p:spPr>
        <p:txBody>
          <a:bodyPr anchor="t" anchorCtr="0" bIns="60944" compatLnSpc="1" lIns="121888" numCol="1" rIns="121888" tIns="60944" vert="horz" wrap="square">
            <a:prstTxWarp prst="textNoShape">
              <a:avLst/>
            </a:prstTxWarp>
          </a:bodyPr>
          <a:lstStyle/>
          <a:p>
            <a:endParaRPr lang="pl-PL" sz="2399">
              <a:latin charset="0" panose="020b0604020202020204" pitchFamily="34" typeface="Arial"/>
              <a:ea charset="-122" panose="020b0503020204020204" pitchFamily="34" typeface="微软雅黑"/>
              <a:sym charset="0" panose="020b0604020202020204" pitchFamily="34" typeface="Arial"/>
            </a:endParaRPr>
          </a:p>
        </p:txBody>
      </p:sp>
      <p:sp>
        <p:nvSpPr>
          <p:cNvPr id="14" name="文本框 13"/>
          <p:cNvSpPr txBox="1"/>
          <p:nvPr/>
        </p:nvSpPr>
        <p:spPr>
          <a:xfrm>
            <a:off x="2665053" y="2790381"/>
            <a:ext cx="1014820" cy="1188720"/>
          </a:xfrm>
          <a:prstGeom prst="rect">
            <a:avLst/>
          </a:prstGeom>
          <a:noFill/>
        </p:spPr>
        <p:txBody>
          <a:bodyPr rtlCol="0" wrap="square">
            <a:spAutoFit/>
          </a:bodyPr>
          <a:lstStyle/>
          <a:p>
            <a:r>
              <a:rPr altLang="zh-CN" b="1" lang="en-US" smtClean="0" sz="3600">
                <a:solidFill>
                  <a:schemeClr val="bg1"/>
                </a:solidFill>
                <a:latin charset="0" panose="020b0604020202020204" pitchFamily="34" typeface="Arial"/>
                <a:ea charset="-122" panose="020b0503020204020204" pitchFamily="34" typeface="微软雅黑"/>
                <a:sym charset="0" panose="020b0604020202020204" pitchFamily="34" typeface="Arial"/>
              </a:rPr>
              <a:t>28%</a:t>
            </a:r>
          </a:p>
        </p:txBody>
      </p:sp>
      <p:sp>
        <p:nvSpPr>
          <p:cNvPr id="15" name="矩形 14"/>
          <p:cNvSpPr/>
          <p:nvPr/>
        </p:nvSpPr>
        <p:spPr>
          <a:xfrm>
            <a:off x="2555138" y="3422928"/>
            <a:ext cx="1466917" cy="274320"/>
          </a:xfrm>
          <a:prstGeom prst="rect">
            <a:avLst/>
          </a:prstGeom>
        </p:spPr>
        <p:txBody>
          <a:bodyPr wrap="square">
            <a:spAutoFit/>
          </a:bodyPr>
          <a:lstStyle/>
          <a:p>
            <a:r>
              <a:rPr altLang="en-US" b="1" lang="zh-CN" smtClean="0" sz="1200">
                <a:solidFill>
                  <a:schemeClr val="bg1"/>
                </a:solidFill>
                <a:latin charset="0" panose="020b0604020202020204" pitchFamily="34" typeface="Arial"/>
                <a:ea charset="-122" panose="020b0503020204020204" pitchFamily="34" typeface="微软雅黑"/>
                <a:sym charset="0" panose="020b0604020202020204" pitchFamily="34" typeface="Arial"/>
              </a:rPr>
              <a:t>此处输入文本</a:t>
            </a:r>
          </a:p>
        </p:txBody>
      </p:sp>
      <p:sp>
        <p:nvSpPr>
          <p:cNvPr id="16" name="文本框 15"/>
          <p:cNvSpPr txBox="1"/>
          <p:nvPr/>
        </p:nvSpPr>
        <p:spPr>
          <a:xfrm>
            <a:off x="4627970" y="2790381"/>
            <a:ext cx="1014820" cy="1188720"/>
          </a:xfrm>
          <a:prstGeom prst="rect">
            <a:avLst/>
          </a:prstGeom>
          <a:noFill/>
        </p:spPr>
        <p:txBody>
          <a:bodyPr rtlCol="0" wrap="square">
            <a:spAutoFit/>
          </a:bodyPr>
          <a:lstStyle/>
          <a:p>
            <a:r>
              <a:rPr altLang="zh-CN" b="1" lang="en-US" smtClean="0" sz="3600">
                <a:solidFill>
                  <a:schemeClr val="bg1"/>
                </a:solidFill>
                <a:latin charset="0" panose="020b0604020202020204" pitchFamily="34" typeface="Arial"/>
                <a:ea charset="-122" panose="020b0503020204020204" pitchFamily="34" typeface="微软雅黑"/>
                <a:sym charset="0" panose="020b0604020202020204" pitchFamily="34" typeface="Arial"/>
              </a:rPr>
              <a:t>52%</a:t>
            </a:r>
          </a:p>
        </p:txBody>
      </p:sp>
      <p:sp>
        <p:nvSpPr>
          <p:cNvPr id="17" name="矩形 16"/>
          <p:cNvSpPr/>
          <p:nvPr/>
        </p:nvSpPr>
        <p:spPr>
          <a:xfrm>
            <a:off x="4471291" y="3422928"/>
            <a:ext cx="1466917" cy="274320"/>
          </a:xfrm>
          <a:prstGeom prst="rect">
            <a:avLst/>
          </a:prstGeom>
        </p:spPr>
        <p:txBody>
          <a:bodyPr wrap="square">
            <a:spAutoFit/>
          </a:bodyPr>
          <a:lstStyle/>
          <a:p>
            <a:r>
              <a:rPr altLang="en-US" b="1" lang="zh-CN" smtClean="0" sz="1200">
                <a:solidFill>
                  <a:schemeClr val="bg1"/>
                </a:solidFill>
                <a:latin charset="0" panose="020b0604020202020204" pitchFamily="34" typeface="Arial"/>
                <a:ea charset="-122" panose="020b0503020204020204" pitchFamily="34" typeface="微软雅黑"/>
                <a:sym charset="0" panose="020b0604020202020204" pitchFamily="34" typeface="Arial"/>
              </a:rPr>
              <a:t>此处输入文本</a:t>
            </a:r>
          </a:p>
        </p:txBody>
      </p:sp>
      <p:sp>
        <p:nvSpPr>
          <p:cNvPr id="18" name="文本框 17"/>
          <p:cNvSpPr txBox="1"/>
          <p:nvPr/>
        </p:nvSpPr>
        <p:spPr>
          <a:xfrm>
            <a:off x="6535259" y="2788035"/>
            <a:ext cx="1014820" cy="1188720"/>
          </a:xfrm>
          <a:prstGeom prst="rect">
            <a:avLst/>
          </a:prstGeom>
          <a:noFill/>
        </p:spPr>
        <p:txBody>
          <a:bodyPr rtlCol="0" wrap="square">
            <a:spAutoFit/>
          </a:bodyPr>
          <a:lstStyle/>
          <a:p>
            <a:r>
              <a:rPr altLang="zh-CN" b="1" lang="en-US" smtClean="0" sz="3600">
                <a:solidFill>
                  <a:schemeClr val="bg1"/>
                </a:solidFill>
                <a:latin charset="0" panose="020b0604020202020204" pitchFamily="34" typeface="Arial"/>
                <a:ea charset="-122" panose="020b0503020204020204" pitchFamily="34" typeface="微软雅黑"/>
                <a:sym charset="0" panose="020b0604020202020204" pitchFamily="34" typeface="Arial"/>
              </a:rPr>
              <a:t>13%</a:t>
            </a:r>
          </a:p>
        </p:txBody>
      </p:sp>
      <p:sp>
        <p:nvSpPr>
          <p:cNvPr id="19" name="矩形 18"/>
          <p:cNvSpPr/>
          <p:nvPr/>
        </p:nvSpPr>
        <p:spPr>
          <a:xfrm>
            <a:off x="6440922" y="3422929"/>
            <a:ext cx="1466917" cy="274320"/>
          </a:xfrm>
          <a:prstGeom prst="rect">
            <a:avLst/>
          </a:prstGeom>
        </p:spPr>
        <p:txBody>
          <a:bodyPr wrap="square">
            <a:spAutoFit/>
          </a:bodyPr>
          <a:lstStyle/>
          <a:p>
            <a:r>
              <a:rPr altLang="en-US" b="1" lang="zh-CN" smtClean="0" sz="1200">
                <a:solidFill>
                  <a:schemeClr val="bg1"/>
                </a:solidFill>
                <a:latin charset="0" panose="020b0604020202020204" pitchFamily="34" typeface="Arial"/>
                <a:ea charset="-122" panose="020b0503020204020204" pitchFamily="34" typeface="微软雅黑"/>
                <a:sym charset="0" panose="020b0604020202020204" pitchFamily="34" typeface="Arial"/>
              </a:rPr>
              <a:t>此处输入文本</a:t>
            </a:r>
          </a:p>
        </p:txBody>
      </p:sp>
      <p:sp>
        <p:nvSpPr>
          <p:cNvPr id="20" name="文本框 19"/>
          <p:cNvSpPr txBox="1"/>
          <p:nvPr/>
        </p:nvSpPr>
        <p:spPr>
          <a:xfrm>
            <a:off x="8539369" y="2788035"/>
            <a:ext cx="1014820" cy="1188720"/>
          </a:xfrm>
          <a:prstGeom prst="rect">
            <a:avLst/>
          </a:prstGeom>
          <a:noFill/>
        </p:spPr>
        <p:txBody>
          <a:bodyPr rtlCol="0" wrap="square">
            <a:spAutoFit/>
          </a:bodyPr>
          <a:lstStyle/>
          <a:p>
            <a:r>
              <a:rPr altLang="zh-CN" b="1" lang="en-US" smtClean="0" sz="3600">
                <a:solidFill>
                  <a:schemeClr val="bg1"/>
                </a:solidFill>
                <a:latin charset="0" panose="020b0604020202020204" pitchFamily="34" typeface="Arial"/>
                <a:ea charset="-122" panose="020b0503020204020204" pitchFamily="34" typeface="微软雅黑"/>
                <a:sym charset="0" panose="020b0604020202020204" pitchFamily="34" typeface="Arial"/>
              </a:rPr>
              <a:t>63%</a:t>
            </a:r>
          </a:p>
        </p:txBody>
      </p:sp>
      <p:sp>
        <p:nvSpPr>
          <p:cNvPr id="21" name="矩形 20"/>
          <p:cNvSpPr/>
          <p:nvPr/>
        </p:nvSpPr>
        <p:spPr>
          <a:xfrm>
            <a:off x="8387500" y="3422929"/>
            <a:ext cx="1466917" cy="274320"/>
          </a:xfrm>
          <a:prstGeom prst="rect">
            <a:avLst/>
          </a:prstGeom>
        </p:spPr>
        <p:txBody>
          <a:bodyPr wrap="square">
            <a:spAutoFit/>
          </a:bodyPr>
          <a:lstStyle/>
          <a:p>
            <a:r>
              <a:rPr altLang="en-US" b="1" lang="zh-CN" smtClean="0" sz="1200">
                <a:solidFill>
                  <a:schemeClr val="bg1"/>
                </a:solidFill>
                <a:latin charset="0" panose="020b0604020202020204" pitchFamily="34" typeface="Arial"/>
                <a:ea charset="-122" panose="020b0503020204020204" pitchFamily="34" typeface="微软雅黑"/>
                <a:sym charset="0" panose="020b0604020202020204" pitchFamily="34" typeface="Arial"/>
              </a:rPr>
              <a:t>此处输入文本</a:t>
            </a:r>
          </a:p>
        </p:txBody>
      </p:sp>
      <p:sp>
        <p:nvSpPr>
          <p:cNvPr id="23" name="文本框 22"/>
          <p:cNvSpPr txBox="1">
            <a:spLocks noChangeArrowheads="1"/>
          </p:cNvSpPr>
          <p:nvPr/>
        </p:nvSpPr>
        <p:spPr bwMode="auto">
          <a:xfrm>
            <a:off x="1861785" y="4771624"/>
            <a:ext cx="8528260" cy="1064819"/>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algn="l" eaLnBrk="0" fontAlgn="base" hangingPunct="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1pPr>
            <a:lvl2pPr algn="l" eaLnBrk="0" fontAlgn="base" hangingPunct="0" marL="4572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2pPr>
            <a:lvl3pPr algn="l" eaLnBrk="0" fontAlgn="base" hangingPunct="0" marL="9144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3pPr>
            <a:lvl4pPr algn="l" eaLnBrk="0" fontAlgn="base" hangingPunct="0" marL="13716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4pPr>
            <a:lvl5pPr algn="l" eaLnBrk="0" fontAlgn="base" hangingPunct="0" marL="18288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5pPr>
            <a:lvl6pPr algn="l" defTabSz="914400" eaLnBrk="1" hangingPunct="1" latinLnBrk="0" marL="2286000" rtl="0">
              <a:defRPr kern="1200">
                <a:solidFill>
                  <a:schemeClr val="tx1"/>
                </a:solidFill>
                <a:latin charset="0" panose="020f0502020204030204" pitchFamily="34" typeface="Calibri"/>
                <a:ea charset="-122" panose="02010600030101010101" pitchFamily="2" typeface="宋体"/>
                <a:cs typeface="+mn-cs"/>
              </a:defRPr>
            </a:lvl6pPr>
            <a:lvl7pPr algn="l" defTabSz="914400" eaLnBrk="1" hangingPunct="1" latinLnBrk="0" marL="2743200" rtl="0">
              <a:defRPr kern="1200">
                <a:solidFill>
                  <a:schemeClr val="tx1"/>
                </a:solidFill>
                <a:latin charset="0" panose="020f0502020204030204" pitchFamily="34" typeface="Calibri"/>
                <a:ea charset="-122" panose="02010600030101010101" pitchFamily="2" typeface="宋体"/>
                <a:cs typeface="+mn-cs"/>
              </a:defRPr>
            </a:lvl7pPr>
            <a:lvl8pPr algn="l" defTabSz="914400" eaLnBrk="1" hangingPunct="1" latinLnBrk="0" marL="3200400" rtl="0">
              <a:defRPr kern="1200">
                <a:solidFill>
                  <a:schemeClr val="tx1"/>
                </a:solidFill>
                <a:latin charset="0" panose="020f0502020204030204" pitchFamily="34" typeface="Calibri"/>
                <a:ea charset="-122" panose="02010600030101010101" pitchFamily="2" typeface="宋体"/>
                <a:cs typeface="+mn-cs"/>
              </a:defRPr>
            </a:lvl8pPr>
            <a:lvl9pPr algn="l" defTabSz="914400" eaLnBrk="1" hangingPunct="1" latinLnBrk="0" marL="3657600" rtl="0">
              <a:defRPr kern="1200">
                <a:solidFill>
                  <a:schemeClr val="tx1"/>
                </a:solidFill>
                <a:latin charset="0" panose="020f0502020204030204" pitchFamily="34" typeface="Calibri"/>
                <a:ea charset="-122" panose="02010600030101010101" pitchFamily="2" typeface="宋体"/>
                <a:cs typeface="+mn-cs"/>
              </a:defRPr>
            </a:lvl9pPr>
          </a:lstStyle>
          <a:p>
            <a:pPr>
              <a:lnSpc>
                <a:spcPct val="150000"/>
              </a:lnSpc>
            </a:pPr>
            <a:r>
              <a:rPr altLang="en-US" lang="zh-CN" smtClean="0" sz="2129">
                <a:solidFill>
                  <a:schemeClr val="tx1">
                    <a:lumMod val="65000"/>
                    <a:lumOff val="35000"/>
                  </a:schemeClr>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此处输入文本此处输入文本此处输入文本此处输入文本</a:t>
            </a:r>
          </a:p>
        </p:txBody>
      </p:sp>
    </p:spTree>
    <p:extLst>
      <p:ext uri="{BB962C8B-B14F-4D97-AF65-F5344CB8AC3E}">
        <p14:creationId val="3732445451"/>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sp>
        <p:nvSpPr>
          <p:cNvPr id="4" name="灯片编号占位符 3"/>
          <p:cNvSpPr>
            <a:spLocks noGrp="1"/>
          </p:cNvSpPr>
          <p:nvPr>
            <p:ph idx="12" sz="quarter" type="sldNum"/>
          </p:nvPr>
        </p:nvSpPr>
        <p:spPr/>
        <p:txBody>
          <a:bodyPr/>
          <a:lstStyle/>
          <a:p>
            <a:fld id="{CAB68E92-0D93-4ED4-80A5-9C9BBD4FE5CD}" type="slidenum">
              <a:rPr altLang="en-US" lang="zh-CN" smtClean="0"/>
              <a:t>9</a:t>
            </a:fld>
          </a:p>
        </p:txBody>
      </p:sp>
      <p:sp>
        <p:nvSpPr>
          <p:cNvPr id="5" name="文本框 4"/>
          <p:cNvSpPr txBox="1"/>
          <p:nvPr/>
        </p:nvSpPr>
        <p:spPr>
          <a:xfrm>
            <a:off x="1048512" y="377952"/>
            <a:ext cx="3434080" cy="579120"/>
          </a:xfrm>
          <a:prstGeom prst="rect">
            <a:avLst/>
          </a:prstGeom>
          <a:noFill/>
        </p:spPr>
        <p:txBody>
          <a:bodyPr rtlCol="0" wrap="none">
            <a:spAutoFit/>
          </a:bodyPr>
          <a:lstStyle/>
          <a:p>
            <a:r>
              <a:rPr altLang="en-US" b="1" lang="zh-CN" smtClean="0" sz="3200">
                <a:solidFill>
                  <a:schemeClr val="tx1">
                    <a:lumMod val="65000"/>
                    <a:lumOff val="35000"/>
                  </a:schemeClr>
                </a:solidFill>
                <a:latin charset="-122" panose="020b0503020204020204" pitchFamily="34" typeface="微软雅黑"/>
                <a:ea charset="-122" panose="020b0503020204020204" pitchFamily="34" typeface="微软雅黑"/>
              </a:rPr>
              <a:t>请在此处输入标题</a:t>
            </a:r>
          </a:p>
        </p:txBody>
      </p:sp>
      <p:cxnSp>
        <p:nvCxnSpPr>
          <p:cNvPr id="6" name="直接箭头连接符 5"/>
          <p:cNvCxnSpPr/>
          <p:nvPr/>
        </p:nvCxnSpPr>
        <p:spPr>
          <a:xfrm flipV="1">
            <a:off x="1523759" y="2327034"/>
            <a:ext cx="2260580" cy="1868551"/>
          </a:xfrm>
          <a:prstGeom prst="straightConnector1">
            <a:avLst/>
          </a:prstGeom>
          <a:ln w="28575">
            <a:solidFill>
              <a:srgbClr val="DB2914"/>
            </a:solidFill>
            <a:tailEnd type="arrow"/>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3975985" y="1800006"/>
            <a:ext cx="5653566" cy="105405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190"/>
          </a:p>
        </p:txBody>
      </p:sp>
      <p:sp>
        <p:nvSpPr>
          <p:cNvPr id="8" name="矩形 7"/>
          <p:cNvSpPr/>
          <p:nvPr/>
        </p:nvSpPr>
        <p:spPr>
          <a:xfrm>
            <a:off x="3975985" y="3188182"/>
            <a:ext cx="5653566" cy="105405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190"/>
          </a:p>
        </p:txBody>
      </p:sp>
      <p:sp>
        <p:nvSpPr>
          <p:cNvPr id="9" name="矩形 8"/>
          <p:cNvSpPr/>
          <p:nvPr/>
        </p:nvSpPr>
        <p:spPr>
          <a:xfrm>
            <a:off x="3975985" y="4598874"/>
            <a:ext cx="5653566" cy="1054055"/>
          </a:xfrm>
          <a:prstGeom prst="rect">
            <a:avLst/>
          </a:prstGeom>
          <a:solidFill>
            <a:srgbClr val="E0002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190"/>
          </a:p>
        </p:txBody>
      </p:sp>
      <p:cxnSp>
        <p:nvCxnSpPr>
          <p:cNvPr id="10" name="直接箭头连接符 9"/>
          <p:cNvCxnSpPr/>
          <p:nvPr/>
        </p:nvCxnSpPr>
        <p:spPr>
          <a:xfrm flipV="1">
            <a:off x="1523759" y="3715211"/>
            <a:ext cx="2356403" cy="1534429"/>
          </a:xfrm>
          <a:prstGeom prst="straightConnector1">
            <a:avLst/>
          </a:prstGeom>
          <a:ln w="28575">
            <a:solidFill>
              <a:srgbClr val="F58220"/>
            </a:solidFill>
            <a:tailEnd type="arrow"/>
          </a:ln>
        </p:spPr>
        <p:style>
          <a:lnRef idx="1">
            <a:schemeClr val="accent1"/>
          </a:lnRef>
          <a:fillRef idx="0">
            <a:schemeClr val="accent1"/>
          </a:fillRef>
          <a:effectRef idx="0">
            <a:schemeClr val="accent1"/>
          </a:effectRef>
          <a:fontRef idx="minor">
            <a:schemeClr val="tx1"/>
          </a:fontRef>
        </p:style>
      </p:cxnSp>
      <p:cxnSp>
        <p:nvCxnSpPr>
          <p:cNvPr id="11" name="直接箭头连接符 10"/>
          <p:cNvCxnSpPr/>
          <p:nvPr/>
        </p:nvCxnSpPr>
        <p:spPr>
          <a:xfrm flipV="1">
            <a:off x="824868" y="5126530"/>
            <a:ext cx="3055294" cy="1159432"/>
          </a:xfrm>
          <a:prstGeom prst="straightConnector1">
            <a:avLst/>
          </a:prstGeom>
          <a:ln w="28575">
            <a:solidFill>
              <a:srgbClr val="D9507F"/>
            </a:solidFill>
            <a:tailEnd type="arrow"/>
          </a:ln>
        </p:spPr>
        <p:style>
          <a:lnRef idx="1">
            <a:schemeClr val="accent1"/>
          </a:lnRef>
          <a:fillRef idx="0">
            <a:schemeClr val="accent1"/>
          </a:fillRef>
          <a:effectRef idx="0">
            <a:schemeClr val="accent1"/>
          </a:effectRef>
          <a:fontRef idx="minor">
            <a:schemeClr val="tx1"/>
          </a:fontRef>
        </p:style>
      </p:cxnSp>
      <p:pic>
        <p:nvPicPr>
          <p:cNvPr descr="E:\PPT\0。图片\PNG\2、win7风格\灰色超全扁平化图标\41.png" id="12" name="Picture 2"/>
          <p:cNvPicPr>
            <a:picLocks noChangeArrowheads="1" noChangeAspect="1"/>
          </p:cNvPicPr>
          <p:nvPr/>
        </p:nvPicPr>
        <p:blipFill>
          <a:blip r:embed="rId2">
            <a:biLevel thresh="25000"/>
            <a:extLst>
              <a:ext uri="{28A0092B-C50C-407E-A947-70E740481C1C}">
                <a14:useLocalDpi/>
              </a:ext>
            </a:extLst>
          </a:blip>
          <a:stretch>
            <a:fillRect/>
          </a:stretch>
        </p:blipFill>
        <p:spPr bwMode="auto">
          <a:xfrm>
            <a:off x="4171853" y="3503460"/>
            <a:ext cx="513000" cy="513000"/>
          </a:xfrm>
          <a:prstGeom prst="rect">
            <a:avLst/>
          </a:prstGeom>
          <a:noFill/>
          <a:extLst>
            <a:ext uri="{909E8E84-426E-40DD-AFC4-6F175D3DCCD1}">
              <a14:hiddenFill>
                <a:solidFill>
                  <a:srgbClr val="FFFFFF"/>
                </a:solidFill>
              </a14:hiddenFill>
            </a:ext>
          </a:extLst>
        </p:spPr>
      </p:pic>
      <p:pic>
        <p:nvPicPr>
          <p:cNvPr descr="E:\PPT\0。图片\PNG\2、win7风格\灰色超全扁平化图标\42.png" id="13" name="Picture 3"/>
          <p:cNvPicPr>
            <a:picLocks noChangeArrowheads="1" noChangeAspect="1"/>
          </p:cNvPicPr>
          <p:nvPr/>
        </p:nvPicPr>
        <p:blipFill>
          <a:blip r:embed="rId3">
            <a:biLevel thresh="25000"/>
            <a:extLst>
              <a:ext uri="{28A0092B-C50C-407E-A947-70E740481C1C}">
                <a14:useLocalDpi/>
              </a:ext>
            </a:extLst>
          </a:blip>
          <a:stretch>
            <a:fillRect/>
          </a:stretch>
        </p:blipFill>
        <p:spPr bwMode="auto">
          <a:xfrm>
            <a:off x="4165882" y="2081364"/>
            <a:ext cx="482653" cy="482653"/>
          </a:xfrm>
          <a:prstGeom prst="rect">
            <a:avLst/>
          </a:prstGeom>
          <a:noFill/>
          <a:extLst>
            <a:ext uri="{909E8E84-426E-40DD-AFC4-6F175D3DCCD1}">
              <a14:hiddenFill>
                <a:solidFill>
                  <a:srgbClr val="FFFFFF"/>
                </a:solidFill>
              </a14:hiddenFill>
            </a:ext>
          </a:extLst>
        </p:spPr>
      </p:pic>
      <p:pic>
        <p:nvPicPr>
          <p:cNvPr descr="E:\PPT\0。图片\PNG\2、win7风格\灰色超全扁平化图标\43.png" id="14" name="Picture 4"/>
          <p:cNvPicPr>
            <a:picLocks noChangeArrowheads="1" noChangeAspect="1"/>
          </p:cNvPicPr>
          <p:nvPr/>
        </p:nvPicPr>
        <p:blipFill>
          <a:blip r:embed="rId4">
            <a:biLevel thresh="25000"/>
            <a:extLst>
              <a:ext uri="{28A0092B-C50C-407E-A947-70E740481C1C}">
                <a14:useLocalDpi/>
              </a:ext>
            </a:extLst>
          </a:blip>
          <a:stretch>
            <a:fillRect/>
          </a:stretch>
        </p:blipFill>
        <p:spPr bwMode="auto">
          <a:xfrm>
            <a:off x="4181578" y="4882880"/>
            <a:ext cx="520512" cy="520512"/>
          </a:xfrm>
          <a:prstGeom prst="rect">
            <a:avLst/>
          </a:prstGeom>
          <a:noFill/>
          <a:extLst>
            <a:ext uri="{909E8E84-426E-40DD-AFC4-6F175D3DCCD1}">
              <a14:hiddenFill>
                <a:solidFill>
                  <a:srgbClr val="FFFFFF"/>
                </a:solidFill>
              </a14:hiddenFill>
            </a:ext>
          </a:extLst>
        </p:spPr>
      </p:pic>
      <p:sp>
        <p:nvSpPr>
          <p:cNvPr id="15" name="矩形 14"/>
          <p:cNvSpPr/>
          <p:nvPr/>
        </p:nvSpPr>
        <p:spPr>
          <a:xfrm>
            <a:off x="4838394" y="1988597"/>
            <a:ext cx="60840" cy="676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190"/>
          </a:p>
        </p:txBody>
      </p:sp>
      <p:sp>
        <p:nvSpPr>
          <p:cNvPr id="16" name="矩形 15"/>
          <p:cNvSpPr/>
          <p:nvPr/>
        </p:nvSpPr>
        <p:spPr>
          <a:xfrm>
            <a:off x="4838394" y="3402941"/>
            <a:ext cx="60840" cy="676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190"/>
          </a:p>
        </p:txBody>
      </p:sp>
      <p:sp>
        <p:nvSpPr>
          <p:cNvPr id="17" name="矩形 16"/>
          <p:cNvSpPr/>
          <p:nvPr/>
        </p:nvSpPr>
        <p:spPr>
          <a:xfrm>
            <a:off x="4838394" y="4794334"/>
            <a:ext cx="60840" cy="6768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190"/>
          </a:p>
        </p:txBody>
      </p:sp>
      <p:sp>
        <p:nvSpPr>
          <p:cNvPr id="22" name="Arc 327"/>
          <p:cNvSpPr/>
          <p:nvPr/>
        </p:nvSpPr>
        <p:spPr bwMode="auto">
          <a:xfrm>
            <a:off x="251708" y="3715209"/>
            <a:ext cx="2822644" cy="2822643"/>
          </a:xfrm>
          <a:custGeom>
            <a:gdLst>
              <a:gd fmla="*/ 0 w 21600" name="T0"/>
              <a:gd fmla="*/ 0 h 21684" name="T1"/>
              <a:gd fmla="*/ 216 w 21600" name="T2"/>
              <a:gd fmla="*/ 215 h 21684" name="T3"/>
              <a:gd fmla="*/ 0 w 21600" name="T4"/>
              <a:gd fmla="*/ 214 h 21684" name="T5"/>
              <a:gd fmla="*/ 0 60000 65536" name="T6"/>
              <a:gd fmla="*/ 0 60000 65536" name="T7"/>
              <a:gd fmla="*/ 0 60000 65536" name="T8"/>
              <a:gd fmla="*/ 0 w 21600" name="T9"/>
              <a:gd fmla="*/ 0 h 21684" name="T10"/>
              <a:gd fmla="*/ 21600 w 21600" name="T11"/>
              <a:gd fmla="*/ 21684 h 21684" name="T12"/>
            </a:gdLst>
            <a:cxnLst>
              <a:cxn ang="T6">
                <a:pos x="T0" y="T1"/>
              </a:cxn>
              <a:cxn ang="T7">
                <a:pos x="T2" y="T3"/>
              </a:cxn>
              <a:cxn ang="T8">
                <a:pos x="T4" y="T5"/>
              </a:cxn>
            </a:cxnLst>
            <a:rect b="T12" l="T9" r="T11" t="T10"/>
            <a:pathLst>
              <a:path extrusionOk="0" fill="none" h="21684" w="21600">
                <a:moveTo>
                  <a:pt x="-1" y="0"/>
                </a:moveTo>
                <a:cubicBezTo>
                  <a:pt x="11929" y="0"/>
                  <a:pt x="21600" y="9670"/>
                  <a:pt x="21600" y="21600"/>
                </a:cubicBezTo>
                <a:cubicBezTo>
                  <a:pt x="21600" y="21627"/>
                  <a:pt x="21599" y="21655"/>
                  <a:pt x="21599" y="21683"/>
                </a:cubicBezTo>
              </a:path>
              <a:path extrusionOk="0" h="21684" stroke="0" w="21600">
                <a:moveTo>
                  <a:pt x="-1" y="0"/>
                </a:moveTo>
                <a:cubicBezTo>
                  <a:pt x="11929" y="0"/>
                  <a:pt x="21600" y="9670"/>
                  <a:pt x="21600" y="21600"/>
                </a:cubicBezTo>
                <a:cubicBezTo>
                  <a:pt x="21600" y="21627"/>
                  <a:pt x="21599" y="21655"/>
                  <a:pt x="21599" y="21683"/>
                </a:cubicBezTo>
                <a:lnTo>
                  <a:pt x="0" y="21600"/>
                </a:lnTo>
                <a:close/>
              </a:path>
            </a:pathLst>
          </a:custGeom>
          <a:solidFill>
            <a:srgbClr val="E00024"/>
          </a:solidFill>
          <a:ln w="38100">
            <a:solidFill>
              <a:schemeClr val="bg1">
                <a:lumMod val="95000"/>
              </a:schemeClr>
            </a:solidFill>
            <a:round/>
          </a:ln>
          <a:effectLst/>
        </p:spPr>
        <p:txBody>
          <a:bodyPr/>
          <a:lstStyle/>
          <a:p>
            <a:endParaRPr altLang="en-US" lang="ko-KR" sz="3190"/>
          </a:p>
        </p:txBody>
      </p:sp>
      <p:sp>
        <p:nvSpPr>
          <p:cNvPr id="23" name="Arc 328"/>
          <p:cNvSpPr/>
          <p:nvPr/>
        </p:nvSpPr>
        <p:spPr bwMode="auto">
          <a:xfrm>
            <a:off x="251707" y="4637750"/>
            <a:ext cx="1900102" cy="1900102"/>
          </a:xfrm>
          <a:custGeom>
            <a:gdLst>
              <a:gd fmla="*/ 0 w 21600" name="T0"/>
              <a:gd fmla="*/ 0 h 21684" name="T1"/>
              <a:gd fmla="*/ 96 w 21600" name="T2"/>
              <a:gd fmla="*/ 96 h 21684" name="T3"/>
              <a:gd fmla="*/ 0 w 21600" name="T4"/>
              <a:gd fmla="*/ 95 h 21684" name="T5"/>
              <a:gd fmla="*/ 0 60000 65536" name="T6"/>
              <a:gd fmla="*/ 0 60000 65536" name="T7"/>
              <a:gd fmla="*/ 0 60000 65536" name="T8"/>
              <a:gd fmla="*/ 0 w 21600" name="T9"/>
              <a:gd fmla="*/ 0 h 21684" name="T10"/>
              <a:gd fmla="*/ 21600 w 21600" name="T11"/>
              <a:gd fmla="*/ 21684 h 21684" name="T12"/>
            </a:gdLst>
            <a:cxnLst>
              <a:cxn ang="T6">
                <a:pos x="T0" y="T1"/>
              </a:cxn>
              <a:cxn ang="T7">
                <a:pos x="T2" y="T3"/>
              </a:cxn>
              <a:cxn ang="T8">
                <a:pos x="T4" y="T5"/>
              </a:cxn>
            </a:cxnLst>
            <a:rect b="T12" l="T9" r="T11" t="T10"/>
            <a:pathLst>
              <a:path extrusionOk="0" fill="none" h="21684" w="21600">
                <a:moveTo>
                  <a:pt x="-1" y="0"/>
                </a:moveTo>
                <a:cubicBezTo>
                  <a:pt x="11929" y="0"/>
                  <a:pt x="21600" y="9670"/>
                  <a:pt x="21600" y="21600"/>
                </a:cubicBezTo>
                <a:cubicBezTo>
                  <a:pt x="21600" y="21627"/>
                  <a:pt x="21599" y="21655"/>
                  <a:pt x="21599" y="21683"/>
                </a:cubicBezTo>
              </a:path>
              <a:path extrusionOk="0" h="21684" stroke="0" w="21600">
                <a:moveTo>
                  <a:pt x="-1" y="0"/>
                </a:moveTo>
                <a:cubicBezTo>
                  <a:pt x="11929" y="0"/>
                  <a:pt x="21600" y="9670"/>
                  <a:pt x="21600" y="21600"/>
                </a:cubicBezTo>
                <a:cubicBezTo>
                  <a:pt x="21600" y="21627"/>
                  <a:pt x="21599" y="21655"/>
                  <a:pt x="21599" y="21683"/>
                </a:cubicBezTo>
                <a:lnTo>
                  <a:pt x="0" y="21600"/>
                </a:lnTo>
                <a:close/>
              </a:path>
            </a:pathLst>
          </a:custGeom>
          <a:solidFill>
            <a:srgbClr val="FCB814"/>
          </a:solidFill>
          <a:ln cap="rnd" w="19050">
            <a:solidFill>
              <a:srgbClr val="DFD2A0"/>
            </a:solidFill>
            <a:prstDash val="solid"/>
            <a:round/>
          </a:ln>
          <a:effectLst/>
        </p:spPr>
        <p:txBody>
          <a:bodyPr/>
          <a:lstStyle/>
          <a:p>
            <a:endParaRPr altLang="en-US" lang="ko-KR" sz="3190"/>
          </a:p>
        </p:txBody>
      </p:sp>
      <p:sp>
        <p:nvSpPr>
          <p:cNvPr id="24" name="Arc 329"/>
          <p:cNvSpPr/>
          <p:nvPr/>
        </p:nvSpPr>
        <p:spPr bwMode="auto">
          <a:xfrm>
            <a:off x="251708" y="5540296"/>
            <a:ext cx="997557" cy="997556"/>
          </a:xfrm>
          <a:custGeom>
            <a:gdLst>
              <a:gd fmla="*/ 0 w 21600" name="T0"/>
              <a:gd fmla="*/ 0 h 21684" name="T1"/>
              <a:gd fmla="*/ 24 w 21600" name="T2"/>
              <a:gd fmla="*/ 24 h 21684" name="T3"/>
              <a:gd fmla="*/ 0 w 21600" name="T4"/>
              <a:gd fmla="*/ 24 h 21684" name="T5"/>
              <a:gd fmla="*/ 0 60000 65536" name="T6"/>
              <a:gd fmla="*/ 0 60000 65536" name="T7"/>
              <a:gd fmla="*/ 0 60000 65536" name="T8"/>
              <a:gd fmla="*/ 0 w 21600" name="T9"/>
              <a:gd fmla="*/ 0 h 21684" name="T10"/>
              <a:gd fmla="*/ 21600 w 21600" name="T11"/>
              <a:gd fmla="*/ 21684 h 21684" name="T12"/>
            </a:gdLst>
            <a:cxnLst>
              <a:cxn ang="T6">
                <a:pos x="T0" y="T1"/>
              </a:cxn>
              <a:cxn ang="T7">
                <a:pos x="T2" y="T3"/>
              </a:cxn>
              <a:cxn ang="T8">
                <a:pos x="T4" y="T5"/>
              </a:cxn>
            </a:cxnLst>
            <a:rect b="T12" l="T9" r="T11" t="T10"/>
            <a:pathLst>
              <a:path extrusionOk="0" fill="none" h="21684" w="21600">
                <a:moveTo>
                  <a:pt x="-1" y="0"/>
                </a:moveTo>
                <a:cubicBezTo>
                  <a:pt x="11929" y="0"/>
                  <a:pt x="21600" y="9670"/>
                  <a:pt x="21600" y="21600"/>
                </a:cubicBezTo>
                <a:cubicBezTo>
                  <a:pt x="21600" y="21627"/>
                  <a:pt x="21599" y="21655"/>
                  <a:pt x="21599" y="21683"/>
                </a:cubicBezTo>
              </a:path>
              <a:path extrusionOk="0" h="21684" stroke="0" w="21600">
                <a:moveTo>
                  <a:pt x="-1" y="0"/>
                </a:moveTo>
                <a:cubicBezTo>
                  <a:pt x="11929" y="0"/>
                  <a:pt x="21600" y="9670"/>
                  <a:pt x="21600" y="21600"/>
                </a:cubicBezTo>
                <a:cubicBezTo>
                  <a:pt x="21600" y="21627"/>
                  <a:pt x="21599" y="21655"/>
                  <a:pt x="21599" y="21683"/>
                </a:cubicBezTo>
                <a:lnTo>
                  <a:pt x="0" y="21600"/>
                </a:lnTo>
                <a:close/>
              </a:path>
            </a:pathLst>
          </a:custGeom>
          <a:solidFill>
            <a:schemeClr val="tx1">
              <a:lumMod val="50000"/>
              <a:lumOff val="50000"/>
            </a:schemeClr>
          </a:solidFill>
          <a:ln cap="rnd" w="19050">
            <a:solidFill>
              <a:schemeClr val="bg1"/>
            </a:solidFill>
            <a:prstDash val="solid"/>
            <a:round/>
          </a:ln>
          <a:effectLst/>
        </p:spPr>
        <p:txBody>
          <a:bodyPr/>
          <a:lstStyle/>
          <a:p>
            <a:endParaRPr altLang="en-US" lang="ko-KR" sz="3190"/>
          </a:p>
        </p:txBody>
      </p:sp>
      <p:sp>
        <p:nvSpPr>
          <p:cNvPr id="25" name="WordArt 380"/>
          <p:cNvSpPr>
            <a:spLocks noChangeArrowheads="1" noChangeShapeType="1" noTextEdit="1"/>
          </p:cNvSpPr>
          <p:nvPr/>
        </p:nvSpPr>
        <p:spPr bwMode="auto">
          <a:xfrm rot="2832808">
            <a:off x="-244021" y="5394335"/>
            <a:ext cx="2137778" cy="1022466"/>
          </a:xfrm>
          <a:prstGeom prst="rect">
            <a:avLst/>
          </a:prstGeom>
        </p:spPr>
        <p:txBody>
          <a:bodyPr fromWordArt="1" spcFirstLastPara="1" wrap="none">
            <a:prstTxWarp prst="textArchUp">
              <a:avLst>
                <a:gd fmla="val 12453780" name="adj"/>
              </a:avLst>
            </a:prstTxWarp>
          </a:bodyPr>
          <a:lstStyle/>
          <a:p>
            <a:pPr algn="ctr"/>
            <a:endParaRPr altLang="en-US" kern="10" lang="zh-CN" spc="-93" sz="931">
              <a:ln w="9525">
                <a:noFill/>
                <a:round/>
              </a:ln>
              <a:solidFill>
                <a:schemeClr val="bg1"/>
              </a:solidFill>
              <a:effectLst>
                <a:outerShdw algn="ctr" blurRad="63500" rotWithShape="0" sx="102000" sy="102000">
                  <a:prstClr val="black">
                    <a:alpha val="40000"/>
                  </a:prstClr>
                </a:outerShdw>
              </a:effectLst>
              <a:latin charset="-122" panose="020b0503020204020204" pitchFamily="34" typeface="微软雅黑"/>
              <a:ea charset="-122" panose="020b0503020204020204" pitchFamily="34" typeface="微软雅黑"/>
              <a:cs charset="-120" pitchFamily="49" typeface="文鼎霹靂體"/>
            </a:endParaRPr>
          </a:p>
        </p:txBody>
      </p:sp>
      <p:cxnSp>
        <p:nvCxnSpPr>
          <p:cNvPr id="26" name="直接箭头连接符 25"/>
          <p:cNvCxnSpPr/>
          <p:nvPr/>
        </p:nvCxnSpPr>
        <p:spPr>
          <a:xfrm>
            <a:off x="251707" y="6561882"/>
            <a:ext cx="3816564" cy="0"/>
          </a:xfrm>
          <a:prstGeom prst="straightConnector1">
            <a:avLst/>
          </a:prstGeom>
          <a:ln w="28575">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7" name="直接箭头连接符 26"/>
          <p:cNvCxnSpPr/>
          <p:nvPr/>
        </p:nvCxnSpPr>
        <p:spPr>
          <a:xfrm flipH="1" flipV="1">
            <a:off x="240068" y="2948625"/>
            <a:ext cx="0" cy="3641409"/>
          </a:xfrm>
          <a:prstGeom prst="straightConnector1">
            <a:avLst/>
          </a:prstGeom>
          <a:ln w="28575">
            <a:solidFill>
              <a:schemeClr val="bg1">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8" name="椭圆 27"/>
          <p:cNvSpPr/>
          <p:nvPr/>
        </p:nvSpPr>
        <p:spPr>
          <a:xfrm>
            <a:off x="155885" y="6439660"/>
            <a:ext cx="191646" cy="209128"/>
          </a:xfrm>
          <a:prstGeom prst="ellipse">
            <a:avLst/>
          </a:prstGeom>
          <a:solidFill>
            <a:schemeClr val="bg1">
              <a:lumMod val="50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3190"/>
          </a:p>
        </p:txBody>
      </p:sp>
      <p:sp>
        <p:nvSpPr>
          <p:cNvPr id="29" name="WordArt 380"/>
          <p:cNvSpPr>
            <a:spLocks noChangeArrowheads="1" noChangeShapeType="1" noTextEdit="1"/>
          </p:cNvSpPr>
          <p:nvPr/>
        </p:nvSpPr>
        <p:spPr bwMode="auto">
          <a:xfrm rot="2337929">
            <a:off x="-48587" y="5929698"/>
            <a:ext cx="993416" cy="1022466"/>
          </a:xfrm>
          <a:prstGeom prst="rect">
            <a:avLst/>
          </a:prstGeom>
        </p:spPr>
        <p:txBody>
          <a:bodyPr fromWordArt="1" spcFirstLastPara="1" wrap="none">
            <a:prstTxWarp prst="textArchUp">
              <a:avLst>
                <a:gd fmla="val 12983410" name="adj"/>
              </a:avLst>
            </a:prstTxWarp>
          </a:bodyPr>
          <a:lstStyle/>
          <a:p>
            <a:pPr algn="ctr"/>
            <a:endParaRPr altLang="en-US" kern="10" lang="zh-CN" spc="-93" sz="532">
              <a:ln w="9525">
                <a:noFill/>
                <a:round/>
              </a:ln>
              <a:solidFill>
                <a:srgbClr val="2B2B29"/>
              </a:solidFill>
              <a:effectLst>
                <a:outerShdw algn="ctr" blurRad="63500" rotWithShape="0" sx="102000" sy="102000">
                  <a:prstClr val="black">
                    <a:alpha val="40000"/>
                  </a:prstClr>
                </a:outerShdw>
              </a:effectLst>
              <a:latin charset="-122" panose="020b0503020204020204" pitchFamily="34" typeface="微软雅黑"/>
              <a:ea charset="-122" panose="020b0503020204020204" pitchFamily="34" typeface="微软雅黑"/>
              <a:cs charset="0" panose="020b0604020202020204" pitchFamily="34" typeface="Arial"/>
            </a:endParaRPr>
          </a:p>
        </p:txBody>
      </p:sp>
      <p:sp>
        <p:nvSpPr>
          <p:cNvPr id="30" name="WordArt 380"/>
          <p:cNvSpPr>
            <a:spLocks noChangeArrowheads="1" noChangeShapeType="1" noTextEdit="1"/>
          </p:cNvSpPr>
          <p:nvPr/>
        </p:nvSpPr>
        <p:spPr bwMode="auto">
          <a:xfrm rot="2681077">
            <a:off x="67850" y="4855014"/>
            <a:ext cx="2911816" cy="1022466"/>
          </a:xfrm>
          <a:prstGeom prst="rect">
            <a:avLst/>
          </a:prstGeom>
        </p:spPr>
        <p:txBody>
          <a:bodyPr fromWordArt="1" spcFirstLastPara="1" wrap="none">
            <a:prstTxWarp prst="textArchUp">
              <a:avLst>
                <a:gd fmla="val 11210249" name="adj"/>
              </a:avLst>
            </a:prstTxWarp>
          </a:bodyPr>
          <a:lstStyle/>
          <a:p>
            <a:pPr algn="ctr"/>
            <a:endParaRPr altLang="en-US" b="1" kern="10" lang="zh-CN" spc="-93" sz="1597">
              <a:ln w="9525">
                <a:noFill/>
                <a:round/>
              </a:ln>
              <a:solidFill>
                <a:schemeClr val="bg1"/>
              </a:solidFill>
              <a:effectLst>
                <a:outerShdw algn="t" blurRad="50800" dir="5400000" dist="38100" rotWithShape="0">
                  <a:prstClr val="black">
                    <a:alpha val="40000"/>
                  </a:prstClr>
                </a:outerShdw>
              </a:effectLst>
              <a:latin charset="0" panose="020b0604020202020204" pitchFamily="34" typeface="Arial"/>
              <a:cs charset="0" panose="020b0604020202020204" pitchFamily="34" typeface="Arial"/>
            </a:endParaRPr>
          </a:p>
        </p:txBody>
      </p:sp>
      <p:sp>
        <p:nvSpPr>
          <p:cNvPr id="33" name="文本框 32"/>
          <p:cNvSpPr txBox="1">
            <a:spLocks noChangeArrowheads="1"/>
          </p:cNvSpPr>
          <p:nvPr/>
        </p:nvSpPr>
        <p:spPr bwMode="auto">
          <a:xfrm>
            <a:off x="4994762" y="1865086"/>
            <a:ext cx="4586022" cy="9144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algn="l" eaLnBrk="0" fontAlgn="base" hangingPunct="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1pPr>
            <a:lvl2pPr algn="l" eaLnBrk="0" fontAlgn="base" hangingPunct="0" marL="4572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2pPr>
            <a:lvl3pPr algn="l" eaLnBrk="0" fontAlgn="base" hangingPunct="0" marL="9144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3pPr>
            <a:lvl4pPr algn="l" eaLnBrk="0" fontAlgn="base" hangingPunct="0" marL="13716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4pPr>
            <a:lvl5pPr algn="l" eaLnBrk="0" fontAlgn="base" hangingPunct="0" marL="18288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5pPr>
            <a:lvl6pPr algn="l" defTabSz="914400" eaLnBrk="1" hangingPunct="1" latinLnBrk="0" marL="2286000" rtl="0">
              <a:defRPr kern="1200">
                <a:solidFill>
                  <a:schemeClr val="tx1"/>
                </a:solidFill>
                <a:latin charset="0" panose="020f0502020204030204" pitchFamily="34" typeface="Calibri"/>
                <a:ea charset="-122" panose="02010600030101010101" pitchFamily="2" typeface="宋体"/>
                <a:cs typeface="+mn-cs"/>
              </a:defRPr>
            </a:lvl6pPr>
            <a:lvl7pPr algn="l" defTabSz="914400" eaLnBrk="1" hangingPunct="1" latinLnBrk="0" marL="2743200" rtl="0">
              <a:defRPr kern="1200">
                <a:solidFill>
                  <a:schemeClr val="tx1"/>
                </a:solidFill>
                <a:latin charset="0" panose="020f0502020204030204" pitchFamily="34" typeface="Calibri"/>
                <a:ea charset="-122" panose="02010600030101010101" pitchFamily="2" typeface="宋体"/>
                <a:cs typeface="+mn-cs"/>
              </a:defRPr>
            </a:lvl7pPr>
            <a:lvl8pPr algn="l" defTabSz="914400" eaLnBrk="1" hangingPunct="1" latinLnBrk="0" marL="3200400" rtl="0">
              <a:defRPr kern="1200">
                <a:solidFill>
                  <a:schemeClr val="tx1"/>
                </a:solidFill>
                <a:latin charset="0" panose="020f0502020204030204" pitchFamily="34" typeface="Calibri"/>
                <a:ea charset="-122" panose="02010600030101010101" pitchFamily="2" typeface="宋体"/>
                <a:cs typeface="+mn-cs"/>
              </a:defRPr>
            </a:lvl8pPr>
            <a:lvl9pPr algn="l" defTabSz="914400" eaLnBrk="1" hangingPunct="1" latinLnBrk="0" marL="3657600" rtl="0">
              <a:defRPr kern="1200">
                <a:solidFill>
                  <a:schemeClr val="tx1"/>
                </a:solidFill>
                <a:latin charset="0" panose="020f0502020204030204" pitchFamily="34" typeface="Calibri"/>
                <a:ea charset="-122" panose="02010600030101010101" pitchFamily="2" typeface="宋体"/>
                <a:cs typeface="+mn-cs"/>
              </a:defRPr>
            </a:lvl9pPr>
          </a:lstStyle>
          <a:p>
            <a:pPr>
              <a:lnSpc>
                <a:spcPct val="150000"/>
              </a:lnSpc>
            </a:pPr>
            <a:r>
              <a:rPr altLang="en-US" lang="zh-CN">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a:t>
            </a:r>
          </a:p>
        </p:txBody>
      </p:sp>
      <p:sp>
        <p:nvSpPr>
          <p:cNvPr id="34" name="文本框 33"/>
          <p:cNvSpPr txBox="1">
            <a:spLocks noChangeArrowheads="1"/>
          </p:cNvSpPr>
          <p:nvPr/>
        </p:nvSpPr>
        <p:spPr bwMode="auto">
          <a:xfrm>
            <a:off x="5018987" y="3253544"/>
            <a:ext cx="4586022" cy="9144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algn="l" eaLnBrk="0" fontAlgn="base" hangingPunct="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1pPr>
            <a:lvl2pPr algn="l" eaLnBrk="0" fontAlgn="base" hangingPunct="0" marL="4572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2pPr>
            <a:lvl3pPr algn="l" eaLnBrk="0" fontAlgn="base" hangingPunct="0" marL="9144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3pPr>
            <a:lvl4pPr algn="l" eaLnBrk="0" fontAlgn="base" hangingPunct="0" marL="13716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4pPr>
            <a:lvl5pPr algn="l" eaLnBrk="0" fontAlgn="base" hangingPunct="0" marL="18288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5pPr>
            <a:lvl6pPr algn="l" defTabSz="914400" eaLnBrk="1" hangingPunct="1" latinLnBrk="0" marL="2286000" rtl="0">
              <a:defRPr kern="1200">
                <a:solidFill>
                  <a:schemeClr val="tx1"/>
                </a:solidFill>
                <a:latin charset="0" panose="020f0502020204030204" pitchFamily="34" typeface="Calibri"/>
                <a:ea charset="-122" panose="02010600030101010101" pitchFamily="2" typeface="宋体"/>
                <a:cs typeface="+mn-cs"/>
              </a:defRPr>
            </a:lvl6pPr>
            <a:lvl7pPr algn="l" defTabSz="914400" eaLnBrk="1" hangingPunct="1" latinLnBrk="0" marL="2743200" rtl="0">
              <a:defRPr kern="1200">
                <a:solidFill>
                  <a:schemeClr val="tx1"/>
                </a:solidFill>
                <a:latin charset="0" panose="020f0502020204030204" pitchFamily="34" typeface="Calibri"/>
                <a:ea charset="-122" panose="02010600030101010101" pitchFamily="2" typeface="宋体"/>
                <a:cs typeface="+mn-cs"/>
              </a:defRPr>
            </a:lvl7pPr>
            <a:lvl8pPr algn="l" defTabSz="914400" eaLnBrk="1" hangingPunct="1" latinLnBrk="0" marL="3200400" rtl="0">
              <a:defRPr kern="1200">
                <a:solidFill>
                  <a:schemeClr val="tx1"/>
                </a:solidFill>
                <a:latin charset="0" panose="020f0502020204030204" pitchFamily="34" typeface="Calibri"/>
                <a:ea charset="-122" panose="02010600030101010101" pitchFamily="2" typeface="宋体"/>
                <a:cs typeface="+mn-cs"/>
              </a:defRPr>
            </a:lvl8pPr>
            <a:lvl9pPr algn="l" defTabSz="914400" eaLnBrk="1" hangingPunct="1" latinLnBrk="0" marL="3657600" rtl="0">
              <a:defRPr kern="1200">
                <a:solidFill>
                  <a:schemeClr val="tx1"/>
                </a:solidFill>
                <a:latin charset="0" panose="020f0502020204030204" pitchFamily="34" typeface="Calibri"/>
                <a:ea charset="-122" panose="02010600030101010101" pitchFamily="2" typeface="宋体"/>
                <a:cs typeface="+mn-cs"/>
              </a:defRPr>
            </a:lvl9pPr>
          </a:lstStyle>
          <a:p>
            <a:pPr>
              <a:lnSpc>
                <a:spcPct val="150000"/>
              </a:lnSpc>
            </a:pPr>
            <a:r>
              <a:rPr altLang="en-US" lang="zh-CN">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a:t>
            </a:r>
          </a:p>
        </p:txBody>
      </p:sp>
      <p:sp>
        <p:nvSpPr>
          <p:cNvPr id="35" name="文本框 34"/>
          <p:cNvSpPr txBox="1">
            <a:spLocks noChangeArrowheads="1"/>
          </p:cNvSpPr>
          <p:nvPr/>
        </p:nvSpPr>
        <p:spPr bwMode="auto">
          <a:xfrm>
            <a:off x="5018987" y="4681470"/>
            <a:ext cx="4586022" cy="91440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defPPr>
              <a:defRPr lang="zh-CN"/>
            </a:defPPr>
            <a:lvl1pPr algn="l" eaLnBrk="0" fontAlgn="base" hangingPunct="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1pPr>
            <a:lvl2pPr algn="l" eaLnBrk="0" fontAlgn="base" hangingPunct="0" marL="4572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2pPr>
            <a:lvl3pPr algn="l" eaLnBrk="0" fontAlgn="base" hangingPunct="0" marL="9144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3pPr>
            <a:lvl4pPr algn="l" eaLnBrk="0" fontAlgn="base" hangingPunct="0" marL="13716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4pPr>
            <a:lvl5pPr algn="l" eaLnBrk="0" fontAlgn="base" hangingPunct="0" marL="1828800" rtl="0">
              <a:spcBef>
                <a:spcPct val="0"/>
              </a:spcBef>
              <a:spcAft>
                <a:spcPct val="0"/>
              </a:spcAft>
              <a:defRPr kern="1200">
                <a:solidFill>
                  <a:schemeClr val="tx1"/>
                </a:solidFill>
                <a:latin charset="0" panose="020f0502020204030204" pitchFamily="34" typeface="Calibri"/>
                <a:ea charset="-122" panose="02010600030101010101" pitchFamily="2" typeface="宋体"/>
                <a:cs typeface="+mn-cs"/>
              </a:defRPr>
            </a:lvl5pPr>
            <a:lvl6pPr algn="l" defTabSz="914400" eaLnBrk="1" hangingPunct="1" latinLnBrk="0" marL="2286000" rtl="0">
              <a:defRPr kern="1200">
                <a:solidFill>
                  <a:schemeClr val="tx1"/>
                </a:solidFill>
                <a:latin charset="0" panose="020f0502020204030204" pitchFamily="34" typeface="Calibri"/>
                <a:ea charset="-122" panose="02010600030101010101" pitchFamily="2" typeface="宋体"/>
                <a:cs typeface="+mn-cs"/>
              </a:defRPr>
            </a:lvl6pPr>
            <a:lvl7pPr algn="l" defTabSz="914400" eaLnBrk="1" hangingPunct="1" latinLnBrk="0" marL="2743200" rtl="0">
              <a:defRPr kern="1200">
                <a:solidFill>
                  <a:schemeClr val="tx1"/>
                </a:solidFill>
                <a:latin charset="0" panose="020f0502020204030204" pitchFamily="34" typeface="Calibri"/>
                <a:ea charset="-122" panose="02010600030101010101" pitchFamily="2" typeface="宋体"/>
                <a:cs typeface="+mn-cs"/>
              </a:defRPr>
            </a:lvl7pPr>
            <a:lvl8pPr algn="l" defTabSz="914400" eaLnBrk="1" hangingPunct="1" latinLnBrk="0" marL="3200400" rtl="0">
              <a:defRPr kern="1200">
                <a:solidFill>
                  <a:schemeClr val="tx1"/>
                </a:solidFill>
                <a:latin charset="0" panose="020f0502020204030204" pitchFamily="34" typeface="Calibri"/>
                <a:ea charset="-122" panose="02010600030101010101" pitchFamily="2" typeface="宋体"/>
                <a:cs typeface="+mn-cs"/>
              </a:defRPr>
            </a:lvl8pPr>
            <a:lvl9pPr algn="l" defTabSz="914400" eaLnBrk="1" hangingPunct="1" latinLnBrk="0" marL="3657600" rtl="0">
              <a:defRPr kern="1200">
                <a:solidFill>
                  <a:schemeClr val="tx1"/>
                </a:solidFill>
                <a:latin charset="0" panose="020f0502020204030204" pitchFamily="34" typeface="Calibri"/>
                <a:ea charset="-122" panose="02010600030101010101" pitchFamily="2" typeface="宋体"/>
                <a:cs typeface="+mn-cs"/>
              </a:defRPr>
            </a:lvl9pPr>
          </a:lstStyle>
          <a:p>
            <a:pPr>
              <a:lnSpc>
                <a:spcPct val="150000"/>
              </a:lnSpc>
            </a:pPr>
            <a:r>
              <a:rPr altLang="en-US" lang="zh-CN">
                <a:solidFill>
                  <a:schemeClr val="bg1"/>
                </a:solidFill>
                <a:latin charset="-122" panose="020b0503020204020204" pitchFamily="34" typeface="微软雅黑"/>
                <a:ea charset="-122" panose="020b0503020204020204" pitchFamily="34" typeface="微软雅黑"/>
              </a:rPr>
              <a:t>此处输入文本此处输入文本此处输入文本此处输入文本此处输入文本此处输入文本</a:t>
            </a:r>
          </a:p>
        </p:txBody>
      </p:sp>
    </p:spTree>
    <p:extLst>
      <p:ext uri="{BB962C8B-B14F-4D97-AF65-F5344CB8AC3E}">
        <p14:creationId val="3571632235"/>
      </p:ext>
    </p:extLst>
  </p:cSld>
  <p:clrMapOvr>
    <a:masterClrMapping/>
  </p:clrMapOvr>
  <mc:AlternateContent>
    <mc:Choice Requires="p15">
      <p:transition p14:dur="1250" spd="slow">
        <p15:prstTrans prst="pageCurlDouble"/>
      </p:transition>
    </mc:Choice>
    <mc:Fallback>
      <p:transition spd="slow">
        <p:fade/>
      </p:transition>
    </mc:Fallback>
  </mc:AlternateContent>
  <p:timing/>
</p:sld>
</file>

<file path=ppt/tags/tag1.xml><?xml version="1.0" encoding="utf-8"?>
<p:tagLst xmlns:p="http://schemas.openxmlformats.org/presentationml/2006/main">
  <p:tag name="THINKCELLSHAPEDONOTDELETE" val="pJ2u1Pg1xh0C640BzGedlig"/>
</p:tagLst>
</file>

<file path=ppt/tags/tag10.xml><?xml version="1.0" encoding="utf-8"?>
<p:tagLst xmlns:p="http://schemas.openxmlformats.org/presentationml/2006/main">
  <p:tag name="MH" val="20151108135646"/>
  <p:tag name="MH_LIBRARY" val="GRAPHIC"/>
  <p:tag name="MH_ORDER" val="4"/>
  <p:tag name="MH_TYPE" val="Other"/>
</p:tagLst>
</file>

<file path=ppt/tags/tag11.xml><?xml version="1.0" encoding="utf-8"?>
<p:tagLst xmlns:p="http://schemas.openxmlformats.org/presentationml/2006/main">
  <p:tag name="MH" val="20151108135646"/>
  <p:tag name="MH_LIBRARY" val="GRAPHIC"/>
  <p:tag name="MH_ORDER" val="5"/>
  <p:tag name="MH_TYPE" val="Other"/>
</p:tagLst>
</file>

<file path=ppt/tags/tag12.xml><?xml version="1.0" encoding="utf-8"?>
<p:tagLst xmlns:p="http://schemas.openxmlformats.org/presentationml/2006/main">
  <p:tag name="MH" val="20151108135646"/>
  <p:tag name="MH_LIBRARY" val="GRAPHIC"/>
  <p:tag name="MH_ORDER" val="6"/>
  <p:tag name="MH_TYPE" val="Other"/>
</p:tagLst>
</file>

<file path=ppt/tags/tag13.xml><?xml version="1.0" encoding="utf-8"?>
<p:tagLst xmlns:p="http://schemas.openxmlformats.org/presentationml/2006/main">
  <p:tag name="MH" val="20151108135646"/>
  <p:tag name="MH_LIBRARY" val="GRAPHIC"/>
  <p:tag name="MH_ORDER" val="7"/>
  <p:tag name="MH_TYPE" val="Other"/>
</p:tagLst>
</file>

<file path=ppt/tags/tag14.xml><?xml version="1.0" encoding="utf-8"?>
<p:tagLst xmlns:p="http://schemas.openxmlformats.org/presentationml/2006/main">
  <p:tag name="MH" val="20151108135646"/>
  <p:tag name="MH_LIBRARY" val="GRAPHIC"/>
  <p:tag name="MH_ORDER" val="8"/>
  <p:tag name="MH_TYPE" val="Other"/>
</p:tagLst>
</file>

<file path=ppt/tags/tag15.xml><?xml version="1.0" encoding="utf-8"?>
<p:tagLst xmlns:p="http://schemas.openxmlformats.org/presentationml/2006/main">
  <p:tag name="MH" val="20151108135646"/>
  <p:tag name="MH_LIBRARY" val="GRAPHIC"/>
  <p:tag name="MH_ORDER" val="3"/>
  <p:tag name="MH_TYPE" val="SubTitle"/>
</p:tagLst>
</file>

<file path=ppt/tags/tag16.xml><?xml version="1.0" encoding="utf-8"?>
<p:tagLst xmlns:p="http://schemas.openxmlformats.org/presentationml/2006/main">
  <p:tag name="MH" val="20151108135646"/>
  <p:tag name="MH_LIBRARY" val="GRAPHIC"/>
  <p:tag name="MH_ORDER" val="2"/>
  <p:tag name="MH_TYPE" val="SubTitle"/>
</p:tagLst>
</file>

<file path=ppt/tags/tag17.xml><?xml version="1.0" encoding="utf-8"?>
<p:tagLst xmlns:p="http://schemas.openxmlformats.org/presentationml/2006/main">
  <p:tag name="MH" val="20151108135646"/>
  <p:tag name="MH_LIBRARY" val="GRAPHIC"/>
  <p:tag name="MH_ORDER" val="2"/>
  <p:tag name="MH_TYPE" val="Text"/>
</p:tagLst>
</file>

<file path=ppt/tags/tag18.xml><?xml version="1.0" encoding="utf-8"?>
<p:tagLst xmlns:p="http://schemas.openxmlformats.org/presentationml/2006/main">
  <p:tag name="THINKCELLSHAPEDONOTDELETE" val="pPyYV1qJOh0uEB.i7ZP4zZA"/>
</p:tagLst>
</file>

<file path=ppt/tags/tag19.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Lst>
</file>

<file path=ppt/tags/tag2.xml><?xml version="1.0" encoding="utf-8"?>
<p:tagLst xmlns:p="http://schemas.openxmlformats.org/presentationml/2006/main">
  <p:tag name="MH" val="20151108135646"/>
  <p:tag name="MH_LIBRARY" val="GRAPHIC"/>
  <p:tag name="MH_ORDER" val="3"/>
  <p:tag name="MH_TYPE" val="Text"/>
</p:tagLst>
</file>

<file path=ppt/tags/tag3.xml><?xml version="1.0" encoding="utf-8"?>
<p:tagLst xmlns:p="http://schemas.openxmlformats.org/presentationml/2006/main">
  <p:tag name="MH" val="20151108135646"/>
  <p:tag name="MH_LIBRARY" val="GRAPHIC"/>
  <p:tag name="MH_ORDER" val="1"/>
  <p:tag name="MH_TYPE" val="Other"/>
</p:tagLst>
</file>

<file path=ppt/tags/tag4.xml><?xml version="1.0" encoding="utf-8"?>
<p:tagLst xmlns:p="http://schemas.openxmlformats.org/presentationml/2006/main">
  <p:tag name="MH" val="20151108135646"/>
  <p:tag name="MH_LIBRARY" val="GRAPHIC"/>
  <p:tag name="MH_ORDER" val="4"/>
  <p:tag name="MH_TYPE" val="SubTitle"/>
</p:tagLst>
</file>

<file path=ppt/tags/tag5.xml><?xml version="1.0" encoding="utf-8"?>
<p:tagLst xmlns:p="http://schemas.openxmlformats.org/presentationml/2006/main">
  <p:tag name="MH" val="20151108135646"/>
  <p:tag name="MH_LIBRARY" val="GRAPHIC"/>
  <p:tag name="MH_ORDER" val="4"/>
  <p:tag name="MH_TYPE" val="Text"/>
</p:tagLst>
</file>

<file path=ppt/tags/tag6.xml><?xml version="1.0" encoding="utf-8"?>
<p:tagLst xmlns:p="http://schemas.openxmlformats.org/presentationml/2006/main">
  <p:tag name="MH" val="20151108135646"/>
  <p:tag name="MH_LIBRARY" val="GRAPHIC"/>
  <p:tag name="MH_ORDER" val="2"/>
  <p:tag name="MH_TYPE" val="Other"/>
</p:tagLst>
</file>

<file path=ppt/tags/tag7.xml><?xml version="1.0" encoding="utf-8"?>
<p:tagLst xmlns:p="http://schemas.openxmlformats.org/presentationml/2006/main">
  <p:tag name="MH" val="20151108135646"/>
  <p:tag name="MH_LIBRARY" val="GRAPHIC"/>
  <p:tag name="MH_ORDER" val="1"/>
  <p:tag name="MH_TYPE" val="SubTitle"/>
</p:tagLst>
</file>

<file path=ppt/tags/tag8.xml><?xml version="1.0" encoding="utf-8"?>
<p:tagLst xmlns:p="http://schemas.openxmlformats.org/presentationml/2006/main">
  <p:tag name="MH" val="20151108135646"/>
  <p:tag name="MH_LIBRARY" val="GRAPHIC"/>
  <p:tag name="MH_ORDER" val="1"/>
  <p:tag name="MH_TYPE" val="Text"/>
</p:tagLst>
</file>

<file path=ppt/tags/tag9.xml><?xml version="1.0" encoding="utf-8"?>
<p:tagLst xmlns:p="http://schemas.openxmlformats.org/presentationml/2006/main">
  <p:tag name="MH" val="20151108135646"/>
  <p:tag name="MH_LIBRARY" val="GRAPHIC"/>
  <p:tag name="MH_ORDER" val="3"/>
  <p:tag name="MH_TYPE" val="Other"/>
</p:tagLst>
</file>

<file path=ppt/theme/theme1.xml><?xml version="1.0" encoding="utf-8"?>
<a:theme xmlns:r="http://schemas.openxmlformats.org/officeDocument/2006/relationships" xmlns:a="http://schemas.openxmlformats.org/drawingml/2006/main" na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2.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docProps/app.xml><?xml version="1.0" encoding="utf-8"?>
<Properties xmlns:vt="http://schemas.openxmlformats.org/officeDocument/2006/docPropsVTypes" xmlns="http://schemas.openxmlformats.org/officeDocument/2006/extended-properties">
  <Company/>
  <PresentationFormat>宽屏</PresentationFormat>
  <Paragraphs>281</Paragraphs>
  <Slides>33</Slides>
  <Notes>5</Notes>
  <TotalTime>2431</TotalTime>
  <HiddenSlides>0</HiddenSlides>
  <MMClips>0</MMClips>
  <ScaleCrop>0</ScaleCrop>
  <HeadingPairs>
    <vt:vector baseType="variant" size="6">
      <vt:variant>
        <vt:lpstr>Fonts used</vt:lpstr>
      </vt:variant>
      <vt:variant>
        <vt:i4>15</vt:i4>
      </vt:variant>
      <vt:variant>
        <vt:lpstr>Theme</vt:lpstr>
      </vt:variant>
      <vt:variant>
        <vt:i4>1</vt:i4>
      </vt:variant>
      <vt:variant>
        <vt:lpstr>Slide Titles</vt:lpstr>
      </vt:variant>
      <vt:variant>
        <vt:i4>33</vt:i4>
      </vt:variant>
    </vt:vector>
  </HeadingPairs>
  <TitlesOfParts>
    <vt:vector baseType="lpstr" size="49">
      <vt:lpstr>Arial</vt:lpstr>
      <vt:lpstr>Calibri Light</vt:lpstr>
      <vt:lpstr>Calibri</vt:lpstr>
      <vt:lpstr>微软雅黑</vt:lpstr>
      <vt:lpstr>Segoe UI</vt:lpstr>
      <vt:lpstr>方正中等线简体</vt:lpstr>
      <vt:lpstr>方正正粗黑简体</vt:lpstr>
      <vt:lpstr>宋体</vt:lpstr>
      <vt:lpstr>文鼎霹靂體</vt:lpstr>
      <vt:lpstr>Mangal</vt:lpstr>
      <vt:lpstr>等线</vt:lpstr>
      <vt:lpstr>Century Gothic</vt:lpstr>
      <vt:lpstr>汉仪特细等线简</vt:lpstr>
      <vt:lpstr>Segoe</vt:lpstr>
      <vt:lpstr>Agency FB</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16-01-06T03:01:52Z</dcterms:created>
  <cp:lastModifiedBy>优品PPT</cp:lastModifiedBy>
  <dcterms:modified xsi:type="dcterms:W3CDTF">2021-08-20T10:48:46Z</dcterms:modified>
  <cp:revision>104</cp:revision>
  <dc:title>PowerPoint 演示文稿</dc:title>
</cp:coreProperties>
</file>